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1.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1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4.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5.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8.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9.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20.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21.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22.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23.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71" r:id="rId1"/>
    <p:sldMasterId id="2147483648" r:id="rId2"/>
  </p:sldMasterIdLst>
  <p:notesMasterIdLst>
    <p:notesMasterId r:id="rId28"/>
  </p:notesMasterIdLst>
  <p:sldIdLst>
    <p:sldId id="317" r:id="rId3"/>
    <p:sldId id="3322" r:id="rId4"/>
    <p:sldId id="318" r:id="rId5"/>
    <p:sldId id="319" r:id="rId6"/>
    <p:sldId id="320" r:id="rId7"/>
    <p:sldId id="321" r:id="rId8"/>
    <p:sldId id="322" r:id="rId9"/>
    <p:sldId id="323" r:id="rId10"/>
    <p:sldId id="324" r:id="rId11"/>
    <p:sldId id="325" r:id="rId12"/>
    <p:sldId id="326" r:id="rId13"/>
    <p:sldId id="327" r:id="rId14"/>
    <p:sldId id="328" r:id="rId15"/>
    <p:sldId id="329" r:id="rId16"/>
    <p:sldId id="330" r:id="rId17"/>
    <p:sldId id="331" r:id="rId18"/>
    <p:sldId id="339" r:id="rId19"/>
    <p:sldId id="332" r:id="rId20"/>
    <p:sldId id="333" r:id="rId21"/>
    <p:sldId id="334" r:id="rId22"/>
    <p:sldId id="335" r:id="rId23"/>
    <p:sldId id="336" r:id="rId24"/>
    <p:sldId id="337" r:id="rId25"/>
    <p:sldId id="338" r:id="rId26"/>
    <p:sldId id="309" r:id="rId27"/>
  </p:sldIdLst>
  <p:sldSz cx="12192000" cy="6858000"/>
  <p:notesSz cx="6858000" cy="9144000"/>
  <p:defaultTex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rla Casey" initials="OC"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3292"/>
    <a:srgbClr val="245473"/>
    <a:srgbClr val="E64D9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8E4E262-EF5E-4DCC-8585-C7C293F726C4}" v="57" dt="2020-11-23T07:52:01.668"/>
    <p1510:client id="{55A21FA5-97E0-4259-99AD-8685CFC2E718}" v="616" dt="2020-11-23T16:19:54.36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470"/>
    <p:restoredTop sz="94713"/>
  </p:normalViewPr>
  <p:slideViewPr>
    <p:cSldViewPr snapToGrid="0" snapToObjects="1">
      <p:cViewPr>
        <p:scale>
          <a:sx n="66" d="100"/>
          <a:sy n="66" d="100"/>
        </p:scale>
        <p:origin x="-882" y="41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microsoft.com/office/2016/11/relationships/changesInfo" Target="changesInfos/changesInfo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presProps" Target="presProps.xml"/><Relationship Id="rId35"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enos Zenica" userId="de3ee720dba36952" providerId="Windows Live" clId="Web-{55A21FA5-97E0-4259-99AD-8685CFC2E718}"/>
    <pc:docChg chg="addSld modSld addMainMaster modMainMaster">
      <pc:chgData name="Zenos Zenica" userId="de3ee720dba36952" providerId="Windows Live" clId="Web-{55A21FA5-97E0-4259-99AD-8685CFC2E718}" dt="2020-11-23T16:19:54.369" v="600" actId="14100"/>
      <pc:docMkLst>
        <pc:docMk/>
      </pc:docMkLst>
      <pc:sldChg chg="add">
        <pc:chgData name="Zenos Zenica" userId="de3ee720dba36952" providerId="Windows Live" clId="Web-{55A21FA5-97E0-4259-99AD-8685CFC2E718}" dt="2020-11-23T15:59:33.340" v="0"/>
        <pc:sldMkLst>
          <pc:docMk/>
          <pc:sldMk cId="4017488803" sldId="318"/>
        </pc:sldMkLst>
      </pc:sldChg>
      <pc:sldChg chg="modSp add">
        <pc:chgData name="Zenos Zenica" userId="de3ee720dba36952" providerId="Windows Live" clId="Web-{55A21FA5-97E0-4259-99AD-8685CFC2E718}" dt="2020-11-23T16:19:34.760" v="598" actId="1076"/>
        <pc:sldMkLst>
          <pc:docMk/>
          <pc:sldMk cId="131961789" sldId="319"/>
        </pc:sldMkLst>
        <pc:spChg chg="mod">
          <ac:chgData name="Zenos Zenica" userId="de3ee720dba36952" providerId="Windows Live" clId="Web-{55A21FA5-97E0-4259-99AD-8685CFC2E718}" dt="2020-11-23T16:02:26.201" v="26"/>
          <ac:spMkLst>
            <pc:docMk/>
            <pc:sldMk cId="131961789" sldId="319"/>
            <ac:spMk id="41" creationId="{B539AA11-91F1-491D-A2BC-2EA7CE318D36}"/>
          </ac:spMkLst>
        </pc:spChg>
        <pc:spChg chg="mod">
          <ac:chgData name="Zenos Zenica" userId="de3ee720dba36952" providerId="Windows Live" clId="Web-{55A21FA5-97E0-4259-99AD-8685CFC2E718}" dt="2020-11-23T16:02:26.233" v="27"/>
          <ac:spMkLst>
            <pc:docMk/>
            <pc:sldMk cId="131961789" sldId="319"/>
            <ac:spMk id="43" creationId="{1AC21BAA-1520-480F-83E2-57CE88C23D40}"/>
          </ac:spMkLst>
        </pc:spChg>
        <pc:spChg chg="mod">
          <ac:chgData name="Zenos Zenica" userId="de3ee720dba36952" providerId="Windows Live" clId="Web-{55A21FA5-97E0-4259-99AD-8685CFC2E718}" dt="2020-11-23T16:02:26.248" v="28"/>
          <ac:spMkLst>
            <pc:docMk/>
            <pc:sldMk cId="131961789" sldId="319"/>
            <ac:spMk id="50" creationId="{A274DE0E-7F97-48F1-8F7D-D51F79CE4156}"/>
          </ac:spMkLst>
        </pc:spChg>
        <pc:spChg chg="mod">
          <ac:chgData name="Zenos Zenica" userId="de3ee720dba36952" providerId="Windows Live" clId="Web-{55A21FA5-97E0-4259-99AD-8685CFC2E718}" dt="2020-11-23T16:02:26.264" v="29"/>
          <ac:spMkLst>
            <pc:docMk/>
            <pc:sldMk cId="131961789" sldId="319"/>
            <ac:spMk id="52" creationId="{C74C5934-CCD7-43E4-9DC3-6AF7375AFCCD}"/>
          </ac:spMkLst>
        </pc:spChg>
        <pc:spChg chg="mod">
          <ac:chgData name="Zenos Zenica" userId="de3ee720dba36952" providerId="Windows Live" clId="Web-{55A21FA5-97E0-4259-99AD-8685CFC2E718}" dt="2020-11-23T16:02:26.279" v="30"/>
          <ac:spMkLst>
            <pc:docMk/>
            <pc:sldMk cId="131961789" sldId="319"/>
            <ac:spMk id="53" creationId="{E34AB1B9-A13B-46C4-954B-E611529E963E}"/>
          </ac:spMkLst>
        </pc:spChg>
        <pc:spChg chg="mod">
          <ac:chgData name="Zenos Zenica" userId="de3ee720dba36952" providerId="Windows Live" clId="Web-{55A21FA5-97E0-4259-99AD-8685CFC2E718}" dt="2020-11-23T16:02:26.311" v="31"/>
          <ac:spMkLst>
            <pc:docMk/>
            <pc:sldMk cId="131961789" sldId="319"/>
            <ac:spMk id="55" creationId="{D599777F-ACEB-4DC9-B4EF-B3601DEB238F}"/>
          </ac:spMkLst>
        </pc:spChg>
        <pc:spChg chg="mod">
          <ac:chgData name="Zenos Zenica" userId="de3ee720dba36952" providerId="Windows Live" clId="Web-{55A21FA5-97E0-4259-99AD-8685CFC2E718}" dt="2020-11-23T16:02:26.326" v="32"/>
          <ac:spMkLst>
            <pc:docMk/>
            <pc:sldMk cId="131961789" sldId="319"/>
            <ac:spMk id="56" creationId="{5D198D0A-20E8-4AA3-9F23-1E1642FDDFFB}"/>
          </ac:spMkLst>
        </pc:spChg>
        <pc:spChg chg="mod">
          <ac:chgData name="Zenos Zenica" userId="de3ee720dba36952" providerId="Windows Live" clId="Web-{55A21FA5-97E0-4259-99AD-8685CFC2E718}" dt="2020-11-23T16:02:26.342" v="33"/>
          <ac:spMkLst>
            <pc:docMk/>
            <pc:sldMk cId="131961789" sldId="319"/>
            <ac:spMk id="58" creationId="{D763D76E-3438-40E1-97DC-943C7E8C743F}"/>
          </ac:spMkLst>
        </pc:spChg>
        <pc:spChg chg="mod">
          <ac:chgData name="Zenos Zenica" userId="de3ee720dba36952" providerId="Windows Live" clId="Web-{55A21FA5-97E0-4259-99AD-8685CFC2E718}" dt="2020-11-23T16:02:26.373" v="34"/>
          <ac:spMkLst>
            <pc:docMk/>
            <pc:sldMk cId="131961789" sldId="319"/>
            <ac:spMk id="64" creationId="{AD609CC2-5CD0-4B45-9602-D739F799FE02}"/>
          </ac:spMkLst>
        </pc:spChg>
        <pc:spChg chg="mod">
          <ac:chgData name="Zenos Zenica" userId="de3ee720dba36952" providerId="Windows Live" clId="Web-{55A21FA5-97E0-4259-99AD-8685CFC2E718}" dt="2020-11-23T16:02:26.420" v="35"/>
          <ac:spMkLst>
            <pc:docMk/>
            <pc:sldMk cId="131961789" sldId="319"/>
            <ac:spMk id="65" creationId="{AA8CFB47-0154-4658-952A-7C61EA59913F}"/>
          </ac:spMkLst>
        </pc:spChg>
        <pc:spChg chg="mod">
          <ac:chgData name="Zenos Zenica" userId="de3ee720dba36952" providerId="Windows Live" clId="Web-{55A21FA5-97E0-4259-99AD-8685CFC2E718}" dt="2020-11-23T16:02:26.451" v="36"/>
          <ac:spMkLst>
            <pc:docMk/>
            <pc:sldMk cId="131961789" sldId="319"/>
            <ac:spMk id="66" creationId="{2A6389A4-E087-4544-8D22-C159A3AA3C42}"/>
          </ac:spMkLst>
        </pc:spChg>
        <pc:spChg chg="mod">
          <ac:chgData name="Zenos Zenica" userId="de3ee720dba36952" providerId="Windows Live" clId="Web-{55A21FA5-97E0-4259-99AD-8685CFC2E718}" dt="2020-11-23T16:02:26.498" v="37"/>
          <ac:spMkLst>
            <pc:docMk/>
            <pc:sldMk cId="131961789" sldId="319"/>
            <ac:spMk id="67" creationId="{D7BB94CE-4F13-43DA-973C-999C6F3331F1}"/>
          </ac:spMkLst>
        </pc:spChg>
        <pc:spChg chg="mod">
          <ac:chgData name="Zenos Zenica" userId="de3ee720dba36952" providerId="Windows Live" clId="Web-{55A21FA5-97E0-4259-99AD-8685CFC2E718}" dt="2020-11-23T16:02:26.529" v="38"/>
          <ac:spMkLst>
            <pc:docMk/>
            <pc:sldMk cId="131961789" sldId="319"/>
            <ac:spMk id="69" creationId="{54CC5CFC-700E-4CAE-9FF5-E9F1315FFF7B}"/>
          </ac:spMkLst>
        </pc:spChg>
        <pc:spChg chg="mod">
          <ac:chgData name="Zenos Zenica" userId="de3ee720dba36952" providerId="Windows Live" clId="Web-{55A21FA5-97E0-4259-99AD-8685CFC2E718}" dt="2020-11-23T16:02:26.576" v="39"/>
          <ac:spMkLst>
            <pc:docMk/>
            <pc:sldMk cId="131961789" sldId="319"/>
            <ac:spMk id="70" creationId="{01FD99B6-DA9B-45CB-8500-66E69829FCF7}"/>
          </ac:spMkLst>
        </pc:spChg>
        <pc:spChg chg="mod">
          <ac:chgData name="Zenos Zenica" userId="de3ee720dba36952" providerId="Windows Live" clId="Web-{55A21FA5-97E0-4259-99AD-8685CFC2E718}" dt="2020-11-23T16:02:26.623" v="40"/>
          <ac:spMkLst>
            <pc:docMk/>
            <pc:sldMk cId="131961789" sldId="319"/>
            <ac:spMk id="75" creationId="{71C1676D-FDC7-4DD3-9B29-B2DC84D1809C}"/>
          </ac:spMkLst>
        </pc:spChg>
        <pc:spChg chg="mod">
          <ac:chgData name="Zenos Zenica" userId="de3ee720dba36952" providerId="Windows Live" clId="Web-{55A21FA5-97E0-4259-99AD-8685CFC2E718}" dt="2020-11-23T16:02:26.654" v="41"/>
          <ac:spMkLst>
            <pc:docMk/>
            <pc:sldMk cId="131961789" sldId="319"/>
            <ac:spMk id="76" creationId="{1A2FB049-CDD3-42A7-92A6-757C0F8DFB9B}"/>
          </ac:spMkLst>
        </pc:spChg>
        <pc:spChg chg="mod">
          <ac:chgData name="Zenos Zenica" userId="de3ee720dba36952" providerId="Windows Live" clId="Web-{55A21FA5-97E0-4259-99AD-8685CFC2E718}" dt="2020-11-23T16:02:26.701" v="42"/>
          <ac:spMkLst>
            <pc:docMk/>
            <pc:sldMk cId="131961789" sldId="319"/>
            <ac:spMk id="77" creationId="{B55C7927-C0C7-4817-B2F8-4A8516A1A577}"/>
          </ac:spMkLst>
        </pc:spChg>
        <pc:spChg chg="mod">
          <ac:chgData name="Zenos Zenica" userId="de3ee720dba36952" providerId="Windows Live" clId="Web-{55A21FA5-97E0-4259-99AD-8685CFC2E718}" dt="2020-11-23T16:02:26.733" v="43"/>
          <ac:spMkLst>
            <pc:docMk/>
            <pc:sldMk cId="131961789" sldId="319"/>
            <ac:spMk id="78" creationId="{0EA0D933-C2ED-412B-9E35-FA90131E9C53}"/>
          </ac:spMkLst>
        </pc:spChg>
        <pc:spChg chg="mod">
          <ac:chgData name="Zenos Zenica" userId="de3ee720dba36952" providerId="Windows Live" clId="Web-{55A21FA5-97E0-4259-99AD-8685CFC2E718}" dt="2020-11-23T16:02:26.779" v="44"/>
          <ac:spMkLst>
            <pc:docMk/>
            <pc:sldMk cId="131961789" sldId="319"/>
            <ac:spMk id="79" creationId="{8A7A6AFA-7899-47B4-92CA-2ADDDE739582}"/>
          </ac:spMkLst>
        </pc:spChg>
        <pc:spChg chg="mod">
          <ac:chgData name="Zenos Zenica" userId="de3ee720dba36952" providerId="Windows Live" clId="Web-{55A21FA5-97E0-4259-99AD-8685CFC2E718}" dt="2020-11-23T16:02:26.811" v="45"/>
          <ac:spMkLst>
            <pc:docMk/>
            <pc:sldMk cId="131961789" sldId="319"/>
            <ac:spMk id="80" creationId="{0DD1B481-53A5-4E09-9157-645DBB902A85}"/>
          </ac:spMkLst>
        </pc:spChg>
        <pc:spChg chg="mod">
          <ac:chgData name="Zenos Zenica" userId="de3ee720dba36952" providerId="Windows Live" clId="Web-{55A21FA5-97E0-4259-99AD-8685CFC2E718}" dt="2020-11-23T16:02:26.826" v="46"/>
          <ac:spMkLst>
            <pc:docMk/>
            <pc:sldMk cId="131961789" sldId="319"/>
            <ac:spMk id="81" creationId="{69DBEFF0-FF74-4DC1-879D-BE53C3FE7CBA}"/>
          </ac:spMkLst>
        </pc:spChg>
        <pc:spChg chg="mod">
          <ac:chgData name="Zenos Zenica" userId="de3ee720dba36952" providerId="Windows Live" clId="Web-{55A21FA5-97E0-4259-99AD-8685CFC2E718}" dt="2020-11-23T16:19:34.760" v="598" actId="1076"/>
          <ac:spMkLst>
            <pc:docMk/>
            <pc:sldMk cId="131961789" sldId="319"/>
            <ac:spMk id="82" creationId="{172370D8-FB72-4EFA-BE6D-14411BC28BBD}"/>
          </ac:spMkLst>
        </pc:spChg>
        <pc:spChg chg="mod">
          <ac:chgData name="Zenos Zenica" userId="de3ee720dba36952" providerId="Windows Live" clId="Web-{55A21FA5-97E0-4259-99AD-8685CFC2E718}" dt="2020-11-23T16:02:16.842" v="24" actId="20577"/>
          <ac:spMkLst>
            <pc:docMk/>
            <pc:sldMk cId="131961789" sldId="319"/>
            <ac:spMk id="95" creationId="{80CD9C37-64A6-4D5D-8180-A277C0BF7767}"/>
          </ac:spMkLst>
        </pc:spChg>
      </pc:sldChg>
      <pc:sldChg chg="modSp add">
        <pc:chgData name="Zenos Zenica" userId="de3ee720dba36952" providerId="Windows Live" clId="Web-{55A21FA5-97E0-4259-99AD-8685CFC2E718}" dt="2020-11-23T16:19:54.369" v="600" actId="14100"/>
        <pc:sldMkLst>
          <pc:docMk/>
          <pc:sldMk cId="3298027060" sldId="320"/>
        </pc:sldMkLst>
        <pc:spChg chg="mod">
          <ac:chgData name="Zenos Zenica" userId="de3ee720dba36952" providerId="Windows Live" clId="Web-{55A21FA5-97E0-4259-99AD-8685CFC2E718}" dt="2020-11-23T16:03:15.639" v="143" actId="1076"/>
          <ac:spMkLst>
            <pc:docMk/>
            <pc:sldMk cId="3298027060" sldId="320"/>
            <ac:spMk id="28" creationId="{E26E0D75-0A1F-4C4B-B72F-F3395E1C72DB}"/>
          </ac:spMkLst>
        </pc:spChg>
        <pc:spChg chg="mod">
          <ac:chgData name="Zenos Zenica" userId="de3ee720dba36952" providerId="Windows Live" clId="Web-{55A21FA5-97E0-4259-99AD-8685CFC2E718}" dt="2020-11-23T16:03:15.655" v="144" actId="1076"/>
          <ac:spMkLst>
            <pc:docMk/>
            <pc:sldMk cId="3298027060" sldId="320"/>
            <ac:spMk id="29" creationId="{098B0517-E3A9-4F66-81F9-910AA9111569}"/>
          </ac:spMkLst>
        </pc:spChg>
        <pc:spChg chg="mod">
          <ac:chgData name="Zenos Zenica" userId="de3ee720dba36952" providerId="Windows Live" clId="Web-{55A21FA5-97E0-4259-99AD-8685CFC2E718}" dt="2020-11-23T16:03:15.671" v="145" actId="1076"/>
          <ac:spMkLst>
            <pc:docMk/>
            <pc:sldMk cId="3298027060" sldId="320"/>
            <ac:spMk id="30" creationId="{AE75622C-143C-4B50-93EB-C811994B19AE}"/>
          </ac:spMkLst>
        </pc:spChg>
        <pc:spChg chg="mod">
          <ac:chgData name="Zenos Zenica" userId="de3ee720dba36952" providerId="Windows Live" clId="Web-{55A21FA5-97E0-4259-99AD-8685CFC2E718}" dt="2020-11-23T16:03:15.702" v="146" actId="1076"/>
          <ac:spMkLst>
            <pc:docMk/>
            <pc:sldMk cId="3298027060" sldId="320"/>
            <ac:spMk id="31" creationId="{02EC414A-3974-4282-8310-1E217C95B8F1}"/>
          </ac:spMkLst>
        </pc:spChg>
        <pc:spChg chg="mod">
          <ac:chgData name="Zenos Zenica" userId="de3ee720dba36952" providerId="Windows Live" clId="Web-{55A21FA5-97E0-4259-99AD-8685CFC2E718}" dt="2020-11-23T16:03:15.717" v="147" actId="1076"/>
          <ac:spMkLst>
            <pc:docMk/>
            <pc:sldMk cId="3298027060" sldId="320"/>
            <ac:spMk id="32" creationId="{3766BC47-A2BC-4126-BD94-44EDAFC1F9F7}"/>
          </ac:spMkLst>
        </pc:spChg>
        <pc:spChg chg="mod">
          <ac:chgData name="Zenos Zenica" userId="de3ee720dba36952" providerId="Windows Live" clId="Web-{55A21FA5-97E0-4259-99AD-8685CFC2E718}" dt="2020-11-23T16:03:15.733" v="148" actId="1076"/>
          <ac:spMkLst>
            <pc:docMk/>
            <pc:sldMk cId="3298027060" sldId="320"/>
            <ac:spMk id="33" creationId="{B44856CA-CFB9-491E-A961-91BE25129ADF}"/>
          </ac:spMkLst>
        </pc:spChg>
        <pc:spChg chg="mod">
          <ac:chgData name="Zenos Zenica" userId="de3ee720dba36952" providerId="Windows Live" clId="Web-{55A21FA5-97E0-4259-99AD-8685CFC2E718}" dt="2020-11-23T16:03:15.764" v="149" actId="1076"/>
          <ac:spMkLst>
            <pc:docMk/>
            <pc:sldMk cId="3298027060" sldId="320"/>
            <ac:spMk id="34" creationId="{3B34E8B4-31AB-47EB-B087-59ACF919E2B6}"/>
          </ac:spMkLst>
        </pc:spChg>
        <pc:spChg chg="mod">
          <ac:chgData name="Zenos Zenica" userId="de3ee720dba36952" providerId="Windows Live" clId="Web-{55A21FA5-97E0-4259-99AD-8685CFC2E718}" dt="2020-11-23T16:03:15.780" v="150" actId="1076"/>
          <ac:spMkLst>
            <pc:docMk/>
            <pc:sldMk cId="3298027060" sldId="320"/>
            <ac:spMk id="35" creationId="{58D18075-C82F-4C43-8876-2ED4143ED46D}"/>
          </ac:spMkLst>
        </pc:spChg>
        <pc:spChg chg="mod">
          <ac:chgData name="Zenos Zenica" userId="de3ee720dba36952" providerId="Windows Live" clId="Web-{55A21FA5-97E0-4259-99AD-8685CFC2E718}" dt="2020-11-23T16:03:15.796" v="151" actId="1076"/>
          <ac:spMkLst>
            <pc:docMk/>
            <pc:sldMk cId="3298027060" sldId="320"/>
            <ac:spMk id="36" creationId="{F6810D28-30B9-49D8-9B60-3A1C3931FE5D}"/>
          </ac:spMkLst>
        </pc:spChg>
        <pc:spChg chg="mod">
          <ac:chgData name="Zenos Zenica" userId="de3ee720dba36952" providerId="Windows Live" clId="Web-{55A21FA5-97E0-4259-99AD-8685CFC2E718}" dt="2020-11-23T16:03:15.827" v="152" actId="1076"/>
          <ac:spMkLst>
            <pc:docMk/>
            <pc:sldMk cId="3298027060" sldId="320"/>
            <ac:spMk id="37" creationId="{CA4715AF-FF70-45F2-A3B1-441E0DCA0476}"/>
          </ac:spMkLst>
        </pc:spChg>
        <pc:spChg chg="mod">
          <ac:chgData name="Zenos Zenica" userId="de3ee720dba36952" providerId="Windows Live" clId="Web-{55A21FA5-97E0-4259-99AD-8685CFC2E718}" dt="2020-11-23T16:03:15.842" v="153" actId="1076"/>
          <ac:spMkLst>
            <pc:docMk/>
            <pc:sldMk cId="3298027060" sldId="320"/>
            <ac:spMk id="38" creationId="{FA54020B-FCD9-4986-83AB-340760CC686E}"/>
          </ac:spMkLst>
        </pc:spChg>
        <pc:spChg chg="mod">
          <ac:chgData name="Zenos Zenica" userId="de3ee720dba36952" providerId="Windows Live" clId="Web-{55A21FA5-97E0-4259-99AD-8685CFC2E718}" dt="2020-11-23T16:03:15.858" v="154" actId="1076"/>
          <ac:spMkLst>
            <pc:docMk/>
            <pc:sldMk cId="3298027060" sldId="320"/>
            <ac:spMk id="39" creationId="{8DEB0BDA-39EA-44BB-A664-782112C783A9}"/>
          </ac:spMkLst>
        </pc:spChg>
        <pc:spChg chg="mod">
          <ac:chgData name="Zenos Zenica" userId="de3ee720dba36952" providerId="Windows Live" clId="Web-{55A21FA5-97E0-4259-99AD-8685CFC2E718}" dt="2020-11-23T16:03:15.889" v="155" actId="1076"/>
          <ac:spMkLst>
            <pc:docMk/>
            <pc:sldMk cId="3298027060" sldId="320"/>
            <ac:spMk id="40" creationId="{2D571FA0-46B3-4381-B684-8B3239BD4387}"/>
          </ac:spMkLst>
        </pc:spChg>
        <pc:spChg chg="mod">
          <ac:chgData name="Zenos Zenica" userId="de3ee720dba36952" providerId="Windows Live" clId="Web-{55A21FA5-97E0-4259-99AD-8685CFC2E718}" dt="2020-11-23T16:03:15.905" v="156" actId="1076"/>
          <ac:spMkLst>
            <pc:docMk/>
            <pc:sldMk cId="3298027060" sldId="320"/>
            <ac:spMk id="42" creationId="{E3E3B107-3E87-4820-BC0A-46A06E2DBDC0}"/>
          </ac:spMkLst>
        </pc:spChg>
        <pc:spChg chg="mod">
          <ac:chgData name="Zenos Zenica" userId="de3ee720dba36952" providerId="Windows Live" clId="Web-{55A21FA5-97E0-4259-99AD-8685CFC2E718}" dt="2020-11-23T16:03:15.921" v="157" actId="1076"/>
          <ac:spMkLst>
            <pc:docMk/>
            <pc:sldMk cId="3298027060" sldId="320"/>
            <ac:spMk id="44" creationId="{4F10E6FB-959D-44E0-87D5-89C80CF3D808}"/>
          </ac:spMkLst>
        </pc:spChg>
        <pc:spChg chg="mod">
          <ac:chgData name="Zenos Zenica" userId="de3ee720dba36952" providerId="Windows Live" clId="Web-{55A21FA5-97E0-4259-99AD-8685CFC2E718}" dt="2020-11-23T16:03:15.952" v="158" actId="1076"/>
          <ac:spMkLst>
            <pc:docMk/>
            <pc:sldMk cId="3298027060" sldId="320"/>
            <ac:spMk id="45" creationId="{A785AB29-6CEF-4282-BCEB-72649F7AF169}"/>
          </ac:spMkLst>
        </pc:spChg>
        <pc:spChg chg="mod">
          <ac:chgData name="Zenos Zenica" userId="de3ee720dba36952" providerId="Windows Live" clId="Web-{55A21FA5-97E0-4259-99AD-8685CFC2E718}" dt="2020-11-23T16:03:15.967" v="159" actId="1076"/>
          <ac:spMkLst>
            <pc:docMk/>
            <pc:sldMk cId="3298027060" sldId="320"/>
            <ac:spMk id="46" creationId="{2502A0FF-5A3D-4F1C-8E12-74FBD2812A06}"/>
          </ac:spMkLst>
        </pc:spChg>
        <pc:spChg chg="mod">
          <ac:chgData name="Zenos Zenica" userId="de3ee720dba36952" providerId="Windows Live" clId="Web-{55A21FA5-97E0-4259-99AD-8685CFC2E718}" dt="2020-11-23T16:03:15.983" v="160" actId="1076"/>
          <ac:spMkLst>
            <pc:docMk/>
            <pc:sldMk cId="3298027060" sldId="320"/>
            <ac:spMk id="47" creationId="{875C6511-79D8-4CF4-BA03-5F7CC111C7ED}"/>
          </ac:spMkLst>
        </pc:spChg>
        <pc:spChg chg="mod">
          <ac:chgData name="Zenos Zenica" userId="de3ee720dba36952" providerId="Windows Live" clId="Web-{55A21FA5-97E0-4259-99AD-8685CFC2E718}" dt="2020-11-23T16:03:16.014" v="161" actId="1076"/>
          <ac:spMkLst>
            <pc:docMk/>
            <pc:sldMk cId="3298027060" sldId="320"/>
            <ac:spMk id="48" creationId="{8C0FA21D-6A63-4D9A-9A23-5BD6E5CE8D00}"/>
          </ac:spMkLst>
        </pc:spChg>
        <pc:spChg chg="mod">
          <ac:chgData name="Zenos Zenica" userId="de3ee720dba36952" providerId="Windows Live" clId="Web-{55A21FA5-97E0-4259-99AD-8685CFC2E718}" dt="2020-11-23T16:03:16.030" v="162" actId="1076"/>
          <ac:spMkLst>
            <pc:docMk/>
            <pc:sldMk cId="3298027060" sldId="320"/>
            <ac:spMk id="49" creationId="{A014F427-BD79-4654-B7AD-2778CDE72C3D}"/>
          </ac:spMkLst>
        </pc:spChg>
        <pc:spChg chg="mod">
          <ac:chgData name="Zenos Zenica" userId="de3ee720dba36952" providerId="Windows Live" clId="Web-{55A21FA5-97E0-4259-99AD-8685CFC2E718}" dt="2020-11-23T16:03:24.499" v="180" actId="1076"/>
          <ac:spMkLst>
            <pc:docMk/>
            <pc:sldMk cId="3298027060" sldId="320"/>
            <ac:spMk id="50" creationId="{C4B71DD2-1C46-4EC2-B318-22E7CE3F4DFC}"/>
          </ac:spMkLst>
        </pc:spChg>
        <pc:spChg chg="mod">
          <ac:chgData name="Zenos Zenica" userId="de3ee720dba36952" providerId="Windows Live" clId="Web-{55A21FA5-97E0-4259-99AD-8685CFC2E718}" dt="2020-11-23T16:03:16.046" v="163" actId="1076"/>
          <ac:spMkLst>
            <pc:docMk/>
            <pc:sldMk cId="3298027060" sldId="320"/>
            <ac:spMk id="83" creationId="{7FA70489-CB93-4AF5-A7E6-7107F79D8097}"/>
          </ac:spMkLst>
        </pc:spChg>
        <pc:spChg chg="mod">
          <ac:chgData name="Zenos Zenica" userId="de3ee720dba36952" providerId="Windows Live" clId="Web-{55A21FA5-97E0-4259-99AD-8685CFC2E718}" dt="2020-11-23T16:03:16.077" v="164" actId="1076"/>
          <ac:spMkLst>
            <pc:docMk/>
            <pc:sldMk cId="3298027060" sldId="320"/>
            <ac:spMk id="84" creationId="{473B74B6-FBDC-42C6-ABDD-3EA92DBC33A7}"/>
          </ac:spMkLst>
        </pc:spChg>
        <pc:spChg chg="mod">
          <ac:chgData name="Zenos Zenica" userId="de3ee720dba36952" providerId="Windows Live" clId="Web-{55A21FA5-97E0-4259-99AD-8685CFC2E718}" dt="2020-11-23T16:03:16.092" v="165" actId="1076"/>
          <ac:spMkLst>
            <pc:docMk/>
            <pc:sldMk cId="3298027060" sldId="320"/>
            <ac:spMk id="85" creationId="{89A6E2BD-DE7E-44BD-BCB6-5371C39DD0BE}"/>
          </ac:spMkLst>
        </pc:spChg>
        <pc:spChg chg="mod">
          <ac:chgData name="Zenos Zenica" userId="de3ee720dba36952" providerId="Windows Live" clId="Web-{55A21FA5-97E0-4259-99AD-8685CFC2E718}" dt="2020-11-23T16:03:16.124" v="166" actId="1076"/>
          <ac:spMkLst>
            <pc:docMk/>
            <pc:sldMk cId="3298027060" sldId="320"/>
            <ac:spMk id="86" creationId="{34A300B3-28BE-4E37-89A6-3CF3FCA98C56}"/>
          </ac:spMkLst>
        </pc:spChg>
        <pc:spChg chg="mod">
          <ac:chgData name="Zenos Zenica" userId="de3ee720dba36952" providerId="Windows Live" clId="Web-{55A21FA5-97E0-4259-99AD-8685CFC2E718}" dt="2020-11-23T16:03:16.139" v="167" actId="1076"/>
          <ac:spMkLst>
            <pc:docMk/>
            <pc:sldMk cId="3298027060" sldId="320"/>
            <ac:spMk id="87" creationId="{6FB32C32-84E9-4457-B7F9-0A319F58C0AD}"/>
          </ac:spMkLst>
        </pc:spChg>
        <pc:spChg chg="mod">
          <ac:chgData name="Zenos Zenica" userId="de3ee720dba36952" providerId="Windows Live" clId="Web-{55A21FA5-97E0-4259-99AD-8685CFC2E718}" dt="2020-11-23T16:03:16.155" v="168" actId="1076"/>
          <ac:spMkLst>
            <pc:docMk/>
            <pc:sldMk cId="3298027060" sldId="320"/>
            <ac:spMk id="88" creationId="{53317159-A458-4425-ABD8-E5B93F34791A}"/>
          </ac:spMkLst>
        </pc:spChg>
        <pc:spChg chg="mod">
          <ac:chgData name="Zenos Zenica" userId="de3ee720dba36952" providerId="Windows Live" clId="Web-{55A21FA5-97E0-4259-99AD-8685CFC2E718}" dt="2020-11-23T16:03:16.186" v="169" actId="1076"/>
          <ac:spMkLst>
            <pc:docMk/>
            <pc:sldMk cId="3298027060" sldId="320"/>
            <ac:spMk id="89" creationId="{B1DCF9CE-FB7E-4530-B867-33E338AE242A}"/>
          </ac:spMkLst>
        </pc:spChg>
        <pc:spChg chg="mod">
          <ac:chgData name="Zenos Zenica" userId="de3ee720dba36952" providerId="Windows Live" clId="Web-{55A21FA5-97E0-4259-99AD-8685CFC2E718}" dt="2020-11-23T16:03:16.202" v="170" actId="1076"/>
          <ac:spMkLst>
            <pc:docMk/>
            <pc:sldMk cId="3298027060" sldId="320"/>
            <ac:spMk id="90" creationId="{059E9DB4-08E0-46BB-A270-3556ECE2117A}"/>
          </ac:spMkLst>
        </pc:spChg>
        <pc:spChg chg="mod">
          <ac:chgData name="Zenos Zenica" userId="de3ee720dba36952" providerId="Windows Live" clId="Web-{55A21FA5-97E0-4259-99AD-8685CFC2E718}" dt="2020-11-23T16:03:16.217" v="171" actId="1076"/>
          <ac:spMkLst>
            <pc:docMk/>
            <pc:sldMk cId="3298027060" sldId="320"/>
            <ac:spMk id="91" creationId="{D46A6C9D-E849-4D39-993B-4A834424E333}"/>
          </ac:spMkLst>
        </pc:spChg>
        <pc:spChg chg="mod">
          <ac:chgData name="Zenos Zenica" userId="de3ee720dba36952" providerId="Windows Live" clId="Web-{55A21FA5-97E0-4259-99AD-8685CFC2E718}" dt="2020-11-23T16:03:16.249" v="172" actId="1076"/>
          <ac:spMkLst>
            <pc:docMk/>
            <pc:sldMk cId="3298027060" sldId="320"/>
            <ac:spMk id="92" creationId="{E997A26C-EF24-4A08-A846-657920C32C9E}"/>
          </ac:spMkLst>
        </pc:spChg>
        <pc:spChg chg="mod">
          <ac:chgData name="Zenos Zenica" userId="de3ee720dba36952" providerId="Windows Live" clId="Web-{55A21FA5-97E0-4259-99AD-8685CFC2E718}" dt="2020-11-23T16:03:15.483" v="136" actId="1076"/>
          <ac:spMkLst>
            <pc:docMk/>
            <pc:sldMk cId="3298027060" sldId="320"/>
            <ac:spMk id="93" creationId="{1D25D463-FE3D-4803-B3CB-FD3AE6979BA1}"/>
          </ac:spMkLst>
        </pc:spChg>
        <pc:spChg chg="mod">
          <ac:chgData name="Zenos Zenica" userId="de3ee720dba36952" providerId="Windows Live" clId="Web-{55A21FA5-97E0-4259-99AD-8685CFC2E718}" dt="2020-11-23T16:03:16.280" v="173" actId="1076"/>
          <ac:spMkLst>
            <pc:docMk/>
            <pc:sldMk cId="3298027060" sldId="320"/>
            <ac:spMk id="94" creationId="{05B99503-CF0B-4C22-A79C-AFF9AECE2B4D}"/>
          </ac:spMkLst>
        </pc:spChg>
        <pc:spChg chg="mod">
          <ac:chgData name="Zenos Zenica" userId="de3ee720dba36952" providerId="Windows Live" clId="Web-{55A21FA5-97E0-4259-99AD-8685CFC2E718}" dt="2020-11-23T16:02:46.217" v="54" actId="1076"/>
          <ac:spMkLst>
            <pc:docMk/>
            <pc:sldMk cId="3298027060" sldId="320"/>
            <ac:spMk id="95" creationId="{80CD9C37-64A6-4D5D-8180-A277C0BF7767}"/>
          </ac:spMkLst>
        </pc:spChg>
        <pc:spChg chg="mod">
          <ac:chgData name="Zenos Zenica" userId="de3ee720dba36952" providerId="Windows Live" clId="Web-{55A21FA5-97E0-4259-99AD-8685CFC2E718}" dt="2020-11-23T16:03:15.499" v="137" actId="1076"/>
          <ac:spMkLst>
            <pc:docMk/>
            <pc:sldMk cId="3298027060" sldId="320"/>
            <ac:spMk id="96" creationId="{CC7290B2-1777-4BD1-BE77-D12A6AA09F1C}"/>
          </ac:spMkLst>
        </pc:spChg>
        <pc:spChg chg="mod">
          <ac:chgData name="Zenos Zenica" userId="de3ee720dba36952" providerId="Windows Live" clId="Web-{55A21FA5-97E0-4259-99AD-8685CFC2E718}" dt="2020-11-23T16:19:54.369" v="600" actId="14100"/>
          <ac:spMkLst>
            <pc:docMk/>
            <pc:sldMk cId="3298027060" sldId="320"/>
            <ac:spMk id="97" creationId="{FA769BA7-7CA5-4537-9F66-7667DEB96B4C}"/>
          </ac:spMkLst>
        </pc:spChg>
        <pc:spChg chg="mod">
          <ac:chgData name="Zenos Zenica" userId="de3ee720dba36952" providerId="Windows Live" clId="Web-{55A21FA5-97E0-4259-99AD-8685CFC2E718}" dt="2020-11-23T16:03:15.530" v="138" actId="1076"/>
          <ac:spMkLst>
            <pc:docMk/>
            <pc:sldMk cId="3298027060" sldId="320"/>
            <ac:spMk id="98" creationId="{F92068DE-5E64-4456-914C-26097E9E05FC}"/>
          </ac:spMkLst>
        </pc:spChg>
        <pc:spChg chg="mod">
          <ac:chgData name="Zenos Zenica" userId="de3ee720dba36952" providerId="Windows Live" clId="Web-{55A21FA5-97E0-4259-99AD-8685CFC2E718}" dt="2020-11-23T16:03:16.374" v="175" actId="1076"/>
          <ac:spMkLst>
            <pc:docMk/>
            <pc:sldMk cId="3298027060" sldId="320"/>
            <ac:spMk id="99" creationId="{FAFFF092-CCEC-4718-AACF-5D3BD8A68618}"/>
          </ac:spMkLst>
        </pc:spChg>
        <pc:spChg chg="mod">
          <ac:chgData name="Zenos Zenica" userId="de3ee720dba36952" providerId="Windows Live" clId="Web-{55A21FA5-97E0-4259-99AD-8685CFC2E718}" dt="2020-11-23T16:03:15.546" v="139" actId="1076"/>
          <ac:spMkLst>
            <pc:docMk/>
            <pc:sldMk cId="3298027060" sldId="320"/>
            <ac:spMk id="100" creationId="{EF036112-5C0D-4839-9A3F-87FF5A5A0F86}"/>
          </ac:spMkLst>
        </pc:spChg>
        <pc:spChg chg="mod">
          <ac:chgData name="Zenos Zenica" userId="de3ee720dba36952" providerId="Windows Live" clId="Web-{55A21FA5-97E0-4259-99AD-8685CFC2E718}" dt="2020-11-23T16:03:16.405" v="176" actId="1076"/>
          <ac:spMkLst>
            <pc:docMk/>
            <pc:sldMk cId="3298027060" sldId="320"/>
            <ac:spMk id="101" creationId="{68BE5925-4707-43AB-80E1-0F9743BBA70C}"/>
          </ac:spMkLst>
        </pc:spChg>
        <pc:spChg chg="mod">
          <ac:chgData name="Zenos Zenica" userId="de3ee720dba36952" providerId="Windows Live" clId="Web-{55A21FA5-97E0-4259-99AD-8685CFC2E718}" dt="2020-11-23T16:03:15.561" v="140" actId="1076"/>
          <ac:spMkLst>
            <pc:docMk/>
            <pc:sldMk cId="3298027060" sldId="320"/>
            <ac:spMk id="102" creationId="{F9132DA1-5B3C-435D-B066-1ECFA245B5B9}"/>
          </ac:spMkLst>
        </pc:spChg>
        <pc:spChg chg="mod">
          <ac:chgData name="Zenos Zenica" userId="de3ee720dba36952" providerId="Windows Live" clId="Web-{55A21FA5-97E0-4259-99AD-8685CFC2E718}" dt="2020-11-23T16:03:16.436" v="177" actId="1076"/>
          <ac:spMkLst>
            <pc:docMk/>
            <pc:sldMk cId="3298027060" sldId="320"/>
            <ac:spMk id="103" creationId="{22E8D2F8-EF60-4523-8A77-4CE71FB8FB0A}"/>
          </ac:spMkLst>
        </pc:spChg>
        <pc:spChg chg="mod">
          <ac:chgData name="Zenos Zenica" userId="de3ee720dba36952" providerId="Windows Live" clId="Web-{55A21FA5-97E0-4259-99AD-8685CFC2E718}" dt="2020-11-23T16:03:16.452" v="178" actId="1076"/>
          <ac:spMkLst>
            <pc:docMk/>
            <pc:sldMk cId="3298027060" sldId="320"/>
            <ac:spMk id="104" creationId="{AC5E0377-A657-4055-8CDA-E2666FD22B5B}"/>
          </ac:spMkLst>
        </pc:spChg>
        <pc:picChg chg="mod">
          <ac:chgData name="Zenos Zenica" userId="de3ee720dba36952" providerId="Windows Live" clId="Web-{55A21FA5-97E0-4259-99AD-8685CFC2E718}" dt="2020-11-23T16:03:15.592" v="141" actId="1076"/>
          <ac:picMkLst>
            <pc:docMk/>
            <pc:sldMk cId="3298027060" sldId="320"/>
            <ac:picMk id="3" creationId="{AA807139-33D7-4C57-AFB3-D57DDF75CD48}"/>
          </ac:picMkLst>
        </pc:picChg>
        <pc:cxnChg chg="mod">
          <ac:chgData name="Zenos Zenica" userId="de3ee720dba36952" providerId="Windows Live" clId="Web-{55A21FA5-97E0-4259-99AD-8685CFC2E718}" dt="2020-11-23T16:03:15.608" v="142" actId="1076"/>
          <ac:cxnSpMkLst>
            <pc:docMk/>
            <pc:sldMk cId="3298027060" sldId="320"/>
            <ac:cxnSpMk id="5" creationId="{10713C62-60A2-49CC-93DA-61A605028238}"/>
          </ac:cxnSpMkLst>
        </pc:cxnChg>
      </pc:sldChg>
      <pc:sldChg chg="modSp add">
        <pc:chgData name="Zenos Zenica" userId="de3ee720dba36952" providerId="Windows Live" clId="Web-{55A21FA5-97E0-4259-99AD-8685CFC2E718}" dt="2020-11-23T16:06:24.063" v="309" actId="1076"/>
        <pc:sldMkLst>
          <pc:docMk/>
          <pc:sldMk cId="2852696027" sldId="321"/>
        </pc:sldMkLst>
        <pc:spChg chg="mod">
          <ac:chgData name="Zenos Zenica" userId="de3ee720dba36952" providerId="Windows Live" clId="Web-{55A21FA5-97E0-4259-99AD-8685CFC2E718}" dt="2020-11-23T16:04:42.515" v="236"/>
          <ac:spMkLst>
            <pc:docMk/>
            <pc:sldMk cId="2852696027" sldId="321"/>
            <ac:spMk id="2" creationId="{38B4E260-12F3-4A00-968A-9E9720209DA1}"/>
          </ac:spMkLst>
        </pc:spChg>
        <pc:spChg chg="mod">
          <ac:chgData name="Zenos Zenica" userId="de3ee720dba36952" providerId="Windows Live" clId="Web-{55A21FA5-97E0-4259-99AD-8685CFC2E718}" dt="2020-11-23T16:05:52.110" v="296" actId="14100"/>
          <ac:spMkLst>
            <pc:docMk/>
            <pc:sldMk cId="2852696027" sldId="321"/>
            <ac:spMk id="51" creationId="{92A2DC3D-DBCA-42DD-92E8-8718E5858C3C}"/>
          </ac:spMkLst>
        </pc:spChg>
        <pc:spChg chg="mod">
          <ac:chgData name="Zenos Zenica" userId="de3ee720dba36952" providerId="Windows Live" clId="Web-{55A21FA5-97E0-4259-99AD-8685CFC2E718}" dt="2020-11-23T16:05:52.094" v="295" actId="14100"/>
          <ac:spMkLst>
            <pc:docMk/>
            <pc:sldMk cId="2852696027" sldId="321"/>
            <ac:spMk id="52" creationId="{2E5B3586-B524-4B26-B919-FA441CC02BDD}"/>
          </ac:spMkLst>
        </pc:spChg>
        <pc:spChg chg="mod">
          <ac:chgData name="Zenos Zenica" userId="de3ee720dba36952" providerId="Windows Live" clId="Web-{55A21FA5-97E0-4259-99AD-8685CFC2E718}" dt="2020-11-23T16:05:52.063" v="294" actId="14100"/>
          <ac:spMkLst>
            <pc:docMk/>
            <pc:sldMk cId="2852696027" sldId="321"/>
            <ac:spMk id="53" creationId="{31BF3DF7-FFB7-44FA-A185-8EFDF01E6DCC}"/>
          </ac:spMkLst>
        </pc:spChg>
        <pc:spChg chg="mod">
          <ac:chgData name="Zenos Zenica" userId="de3ee720dba36952" providerId="Windows Live" clId="Web-{55A21FA5-97E0-4259-99AD-8685CFC2E718}" dt="2020-11-23T16:05:52.047" v="293" actId="14100"/>
          <ac:spMkLst>
            <pc:docMk/>
            <pc:sldMk cId="2852696027" sldId="321"/>
            <ac:spMk id="54" creationId="{0B96D29B-68CD-4725-8DA2-75B278660A19}"/>
          </ac:spMkLst>
        </pc:spChg>
        <pc:spChg chg="mod">
          <ac:chgData name="Zenos Zenica" userId="de3ee720dba36952" providerId="Windows Live" clId="Web-{55A21FA5-97E0-4259-99AD-8685CFC2E718}" dt="2020-11-23T16:05:52.032" v="292" actId="14100"/>
          <ac:spMkLst>
            <pc:docMk/>
            <pc:sldMk cId="2852696027" sldId="321"/>
            <ac:spMk id="55" creationId="{CB174D17-BF03-4FC9-89B1-CB24E139C26C}"/>
          </ac:spMkLst>
        </pc:spChg>
        <pc:spChg chg="mod">
          <ac:chgData name="Zenos Zenica" userId="de3ee720dba36952" providerId="Windows Live" clId="Web-{55A21FA5-97E0-4259-99AD-8685CFC2E718}" dt="2020-11-23T16:05:52.016" v="291" actId="14100"/>
          <ac:spMkLst>
            <pc:docMk/>
            <pc:sldMk cId="2852696027" sldId="321"/>
            <ac:spMk id="56" creationId="{8BC7E339-04DD-4117-9101-6AA52641DB03}"/>
          </ac:spMkLst>
        </pc:spChg>
        <pc:spChg chg="mod">
          <ac:chgData name="Zenos Zenica" userId="de3ee720dba36952" providerId="Windows Live" clId="Web-{55A21FA5-97E0-4259-99AD-8685CFC2E718}" dt="2020-11-23T16:05:51.985" v="290" actId="14100"/>
          <ac:spMkLst>
            <pc:docMk/>
            <pc:sldMk cId="2852696027" sldId="321"/>
            <ac:spMk id="58" creationId="{D96D4866-D21F-4D1E-A1DB-5129730351F8}"/>
          </ac:spMkLst>
        </pc:spChg>
        <pc:spChg chg="mod">
          <ac:chgData name="Zenos Zenica" userId="de3ee720dba36952" providerId="Windows Live" clId="Web-{55A21FA5-97E0-4259-99AD-8685CFC2E718}" dt="2020-11-23T16:05:51.922" v="289" actId="14100"/>
          <ac:spMkLst>
            <pc:docMk/>
            <pc:sldMk cId="2852696027" sldId="321"/>
            <ac:spMk id="60" creationId="{A776C29F-8321-43E9-9B9C-1BBF02437CBA}"/>
          </ac:spMkLst>
        </pc:spChg>
        <pc:spChg chg="mod">
          <ac:chgData name="Zenos Zenica" userId="de3ee720dba36952" providerId="Windows Live" clId="Web-{55A21FA5-97E0-4259-99AD-8685CFC2E718}" dt="2020-11-23T16:05:51.907" v="288" actId="14100"/>
          <ac:spMkLst>
            <pc:docMk/>
            <pc:sldMk cId="2852696027" sldId="321"/>
            <ac:spMk id="62" creationId="{89EDA933-87A6-449C-B9DE-7DAB6582DE7C}"/>
          </ac:spMkLst>
        </pc:spChg>
        <pc:spChg chg="mod">
          <ac:chgData name="Zenos Zenica" userId="de3ee720dba36952" providerId="Windows Live" clId="Web-{55A21FA5-97E0-4259-99AD-8685CFC2E718}" dt="2020-11-23T16:05:51.860" v="287" actId="14100"/>
          <ac:spMkLst>
            <pc:docMk/>
            <pc:sldMk cId="2852696027" sldId="321"/>
            <ac:spMk id="64" creationId="{88E50221-BD3D-4F48-BB07-C78CB71E58A7}"/>
          </ac:spMkLst>
        </pc:spChg>
        <pc:spChg chg="mod">
          <ac:chgData name="Zenos Zenica" userId="de3ee720dba36952" providerId="Windows Live" clId="Web-{55A21FA5-97E0-4259-99AD-8685CFC2E718}" dt="2020-11-23T16:05:51.844" v="286" actId="14100"/>
          <ac:spMkLst>
            <pc:docMk/>
            <pc:sldMk cId="2852696027" sldId="321"/>
            <ac:spMk id="65" creationId="{63C2CF84-D016-4086-AE4C-F05472C20806}"/>
          </ac:spMkLst>
        </pc:spChg>
        <pc:spChg chg="mod">
          <ac:chgData name="Zenos Zenica" userId="de3ee720dba36952" providerId="Windows Live" clId="Web-{55A21FA5-97E0-4259-99AD-8685CFC2E718}" dt="2020-11-23T16:05:51.829" v="285" actId="14100"/>
          <ac:spMkLst>
            <pc:docMk/>
            <pc:sldMk cId="2852696027" sldId="321"/>
            <ac:spMk id="67" creationId="{A1A97FA1-43DE-4FA8-80B7-17711EC8E184}"/>
          </ac:spMkLst>
        </pc:spChg>
        <pc:spChg chg="mod">
          <ac:chgData name="Zenos Zenica" userId="de3ee720dba36952" providerId="Windows Live" clId="Web-{55A21FA5-97E0-4259-99AD-8685CFC2E718}" dt="2020-11-23T16:05:51.813" v="284" actId="14100"/>
          <ac:spMkLst>
            <pc:docMk/>
            <pc:sldMk cId="2852696027" sldId="321"/>
            <ac:spMk id="68" creationId="{8F0331DC-F04A-4DCE-942E-1551CAC41ACD}"/>
          </ac:spMkLst>
        </pc:spChg>
        <pc:spChg chg="mod">
          <ac:chgData name="Zenos Zenica" userId="de3ee720dba36952" providerId="Windows Live" clId="Web-{55A21FA5-97E0-4259-99AD-8685CFC2E718}" dt="2020-11-23T16:05:51.797" v="283" actId="14100"/>
          <ac:spMkLst>
            <pc:docMk/>
            <pc:sldMk cId="2852696027" sldId="321"/>
            <ac:spMk id="69" creationId="{03C790AD-C07A-441C-9A37-EB16F8A1E8BF}"/>
          </ac:spMkLst>
        </pc:spChg>
        <pc:spChg chg="mod">
          <ac:chgData name="Zenos Zenica" userId="de3ee720dba36952" providerId="Windows Live" clId="Web-{55A21FA5-97E0-4259-99AD-8685CFC2E718}" dt="2020-11-23T16:05:51.750" v="281" actId="14100"/>
          <ac:spMkLst>
            <pc:docMk/>
            <pc:sldMk cId="2852696027" sldId="321"/>
            <ac:spMk id="73" creationId="{96928BDF-9255-4C88-9534-9B87655D5720}"/>
          </ac:spMkLst>
        </pc:spChg>
        <pc:spChg chg="mod">
          <ac:chgData name="Zenos Zenica" userId="de3ee720dba36952" providerId="Windows Live" clId="Web-{55A21FA5-97E0-4259-99AD-8685CFC2E718}" dt="2020-11-23T16:05:51.735" v="280" actId="14100"/>
          <ac:spMkLst>
            <pc:docMk/>
            <pc:sldMk cId="2852696027" sldId="321"/>
            <ac:spMk id="74" creationId="{46166CEA-4FF1-476B-BDB8-34F97BC33AE0}"/>
          </ac:spMkLst>
        </pc:spChg>
        <pc:spChg chg="mod">
          <ac:chgData name="Zenos Zenica" userId="de3ee720dba36952" providerId="Windows Live" clId="Web-{55A21FA5-97E0-4259-99AD-8685CFC2E718}" dt="2020-11-23T16:05:35.032" v="262" actId="1076"/>
          <ac:spMkLst>
            <pc:docMk/>
            <pc:sldMk cId="2852696027" sldId="321"/>
            <ac:spMk id="75" creationId="{E9C58AC4-6639-4CB2-93ED-9C6C95BB922D}"/>
          </ac:spMkLst>
        </pc:spChg>
        <pc:spChg chg="mod">
          <ac:chgData name="Zenos Zenica" userId="de3ee720dba36952" providerId="Windows Live" clId="Web-{55A21FA5-97E0-4259-99AD-8685CFC2E718}" dt="2020-11-23T16:06:24.063" v="309" actId="1076"/>
          <ac:spMkLst>
            <pc:docMk/>
            <pc:sldMk cId="2852696027" sldId="321"/>
            <ac:spMk id="95" creationId="{80CD9C37-64A6-4D5D-8180-A277C0BF7767}"/>
          </ac:spMkLst>
        </pc:spChg>
        <pc:cxnChg chg="mod">
          <ac:chgData name="Zenos Zenica" userId="de3ee720dba36952" providerId="Windows Live" clId="Web-{55A21FA5-97E0-4259-99AD-8685CFC2E718}" dt="2020-11-23T16:03:38.733" v="192" actId="1076"/>
          <ac:cxnSpMkLst>
            <pc:docMk/>
            <pc:sldMk cId="2852696027" sldId="321"/>
            <ac:cxnSpMk id="66" creationId="{877C61E5-77B9-45A6-BAB7-11B7893E3D02}"/>
          </ac:cxnSpMkLst>
        </pc:cxnChg>
        <pc:cxnChg chg="mod">
          <ac:chgData name="Zenos Zenica" userId="de3ee720dba36952" providerId="Windows Live" clId="Web-{55A21FA5-97E0-4259-99AD-8685CFC2E718}" dt="2020-11-23T16:05:51.766" v="282" actId="14100"/>
          <ac:cxnSpMkLst>
            <pc:docMk/>
            <pc:sldMk cId="2852696027" sldId="321"/>
            <ac:cxnSpMk id="70" creationId="{075A11D6-7129-4E66-BF25-A4588AD23D20}"/>
          </ac:cxnSpMkLst>
        </pc:cxnChg>
      </pc:sldChg>
      <pc:sldChg chg="modSp add">
        <pc:chgData name="Zenos Zenica" userId="de3ee720dba36952" providerId="Windows Live" clId="Web-{55A21FA5-97E0-4259-99AD-8685CFC2E718}" dt="2020-11-23T16:08:49.612" v="356" actId="1076"/>
        <pc:sldMkLst>
          <pc:docMk/>
          <pc:sldMk cId="278656576" sldId="322"/>
        </pc:sldMkLst>
        <pc:spChg chg="mod">
          <ac:chgData name="Zenos Zenica" userId="de3ee720dba36952" providerId="Windows Live" clId="Web-{55A21FA5-97E0-4259-99AD-8685CFC2E718}" dt="2020-11-23T16:07:45.861" v="320" actId="1076"/>
          <ac:spMkLst>
            <pc:docMk/>
            <pc:sldMk cId="278656576" sldId="322"/>
            <ac:spMk id="3" creationId="{D4F782D4-83E6-47F6-B648-B730FE8AB97A}"/>
          </ac:spMkLst>
        </pc:spChg>
        <pc:spChg chg="mod">
          <ac:chgData name="Zenos Zenica" userId="de3ee720dba36952" providerId="Windows Live" clId="Web-{55A21FA5-97E0-4259-99AD-8685CFC2E718}" dt="2020-11-23T16:08:15.361" v="346" actId="1076"/>
          <ac:spMkLst>
            <pc:docMk/>
            <pc:sldMk cId="278656576" sldId="322"/>
            <ac:spMk id="5" creationId="{117282F0-5B6F-4970-83C3-4DDF486F9492}"/>
          </ac:spMkLst>
        </pc:spChg>
        <pc:spChg chg="mod">
          <ac:chgData name="Zenos Zenica" userId="de3ee720dba36952" providerId="Windows Live" clId="Web-{55A21FA5-97E0-4259-99AD-8685CFC2E718}" dt="2020-11-23T16:07:46.642" v="334" actId="1076"/>
          <ac:spMkLst>
            <pc:docMk/>
            <pc:sldMk cId="278656576" sldId="322"/>
            <ac:spMk id="23" creationId="{20DB5987-3161-47BF-847F-7D77C4F428A5}"/>
          </ac:spMkLst>
        </pc:spChg>
        <pc:spChg chg="mod">
          <ac:chgData name="Zenos Zenica" userId="de3ee720dba36952" providerId="Windows Live" clId="Web-{55A21FA5-97E0-4259-99AD-8685CFC2E718}" dt="2020-11-23T16:07:46.002" v="321" actId="1076"/>
          <ac:spMkLst>
            <pc:docMk/>
            <pc:sldMk cId="278656576" sldId="322"/>
            <ac:spMk id="25" creationId="{A52AC1FA-C6A3-4AFC-8C88-18110DCAD6A3}"/>
          </ac:spMkLst>
        </pc:spChg>
        <pc:spChg chg="mod">
          <ac:chgData name="Zenos Zenica" userId="de3ee720dba36952" providerId="Windows Live" clId="Web-{55A21FA5-97E0-4259-99AD-8685CFC2E718}" dt="2020-11-23T16:07:46.142" v="322" actId="1076"/>
          <ac:spMkLst>
            <pc:docMk/>
            <pc:sldMk cId="278656576" sldId="322"/>
            <ac:spMk id="28" creationId="{A8D7A17A-3276-4F6F-913E-925E356BB83A}"/>
          </ac:spMkLst>
        </pc:spChg>
        <pc:spChg chg="mod">
          <ac:chgData name="Zenos Zenica" userId="de3ee720dba36952" providerId="Windows Live" clId="Web-{55A21FA5-97E0-4259-99AD-8685CFC2E718}" dt="2020-11-23T16:07:46.267" v="323" actId="1076"/>
          <ac:spMkLst>
            <pc:docMk/>
            <pc:sldMk cId="278656576" sldId="322"/>
            <ac:spMk id="29" creationId="{B2CA2772-2102-4DAF-A2CE-90693F869DDD}"/>
          </ac:spMkLst>
        </pc:spChg>
        <pc:spChg chg="mod">
          <ac:chgData name="Zenos Zenica" userId="de3ee720dba36952" providerId="Windows Live" clId="Web-{55A21FA5-97E0-4259-99AD-8685CFC2E718}" dt="2020-11-23T16:08:19.674" v="347" actId="1076"/>
          <ac:spMkLst>
            <pc:docMk/>
            <pc:sldMk cId="278656576" sldId="322"/>
            <ac:spMk id="32" creationId="{2552AB53-DBB8-4752-832D-B037432D8ABD}"/>
          </ac:spMkLst>
        </pc:spChg>
        <pc:spChg chg="mod">
          <ac:chgData name="Zenos Zenica" userId="de3ee720dba36952" providerId="Windows Live" clId="Web-{55A21FA5-97E0-4259-99AD-8685CFC2E718}" dt="2020-11-23T16:07:46.330" v="324" actId="1076"/>
          <ac:spMkLst>
            <pc:docMk/>
            <pc:sldMk cId="278656576" sldId="322"/>
            <ac:spMk id="33" creationId="{3B43AF34-1934-4F61-A6A9-2540C7121A5C}"/>
          </ac:spMkLst>
        </pc:spChg>
        <pc:spChg chg="mod">
          <ac:chgData name="Zenos Zenica" userId="de3ee720dba36952" providerId="Windows Live" clId="Web-{55A21FA5-97E0-4259-99AD-8685CFC2E718}" dt="2020-11-23T16:07:46.689" v="335" actId="1076"/>
          <ac:spMkLst>
            <pc:docMk/>
            <pc:sldMk cId="278656576" sldId="322"/>
            <ac:spMk id="63" creationId="{713701D7-7EB1-447E-A9DB-C0C46A7E394B}"/>
          </ac:spMkLst>
        </pc:spChg>
        <pc:spChg chg="mod">
          <ac:chgData name="Zenos Zenica" userId="de3ee720dba36952" providerId="Windows Live" clId="Web-{55A21FA5-97E0-4259-99AD-8685CFC2E718}" dt="2020-11-23T16:08:24.299" v="348" actId="14100"/>
          <ac:spMkLst>
            <pc:docMk/>
            <pc:sldMk cId="278656576" sldId="322"/>
            <ac:spMk id="71" creationId="{3F2CB6CE-7869-49CE-97C4-C126DF6B03F9}"/>
          </ac:spMkLst>
        </pc:spChg>
        <pc:spChg chg="mod">
          <ac:chgData name="Zenos Zenica" userId="de3ee720dba36952" providerId="Windows Live" clId="Web-{55A21FA5-97E0-4259-99AD-8685CFC2E718}" dt="2020-11-23T16:08:44.205" v="355" actId="1076"/>
          <ac:spMkLst>
            <pc:docMk/>
            <pc:sldMk cId="278656576" sldId="322"/>
            <ac:spMk id="95" creationId="{80CD9C37-64A6-4D5D-8180-A277C0BF7767}"/>
          </ac:spMkLst>
        </pc:spChg>
        <pc:spChg chg="mod">
          <ac:chgData name="Zenos Zenica" userId="de3ee720dba36952" providerId="Windows Live" clId="Web-{55A21FA5-97E0-4259-99AD-8685CFC2E718}" dt="2020-11-23T16:07:46.908" v="343" actId="1076"/>
          <ac:spMkLst>
            <pc:docMk/>
            <pc:sldMk cId="278656576" sldId="322"/>
            <ac:spMk id="99" creationId="{C13D6C72-DBFC-40E6-B5BA-EBF6B0F2BC4E}"/>
          </ac:spMkLst>
        </pc:spChg>
        <pc:spChg chg="mod">
          <ac:chgData name="Zenos Zenica" userId="de3ee720dba36952" providerId="Windows Live" clId="Web-{55A21FA5-97E0-4259-99AD-8685CFC2E718}" dt="2020-11-23T16:07:46.939" v="344" actId="1076"/>
          <ac:spMkLst>
            <pc:docMk/>
            <pc:sldMk cId="278656576" sldId="322"/>
            <ac:spMk id="100" creationId="{23DC280A-5A0E-40BF-B5B1-60B82D744287}"/>
          </ac:spMkLst>
        </pc:spChg>
        <pc:spChg chg="mod">
          <ac:chgData name="Zenos Zenica" userId="de3ee720dba36952" providerId="Windows Live" clId="Web-{55A21FA5-97E0-4259-99AD-8685CFC2E718}" dt="2020-11-23T16:07:46.970" v="345" actId="1076"/>
          <ac:spMkLst>
            <pc:docMk/>
            <pc:sldMk cId="278656576" sldId="322"/>
            <ac:spMk id="101" creationId="{3B8312C7-619C-41BA-9D8D-C24828322A60}"/>
          </ac:spMkLst>
        </pc:spChg>
        <pc:spChg chg="mod">
          <ac:chgData name="Zenos Zenica" userId="de3ee720dba36952" providerId="Windows Live" clId="Web-{55A21FA5-97E0-4259-99AD-8685CFC2E718}" dt="2020-11-23T16:08:49.612" v="356" actId="1076"/>
          <ac:spMkLst>
            <pc:docMk/>
            <pc:sldMk cId="278656576" sldId="322"/>
            <ac:spMk id="102" creationId="{B5084934-B90A-441E-907C-263ACB7A623D}"/>
          </ac:spMkLst>
        </pc:spChg>
        <pc:cxnChg chg="mod">
          <ac:chgData name="Zenos Zenica" userId="de3ee720dba36952" providerId="Windows Live" clId="Web-{55A21FA5-97E0-4259-99AD-8685CFC2E718}" dt="2020-11-23T16:07:46.361" v="325" actId="1076"/>
          <ac:cxnSpMkLst>
            <pc:docMk/>
            <pc:sldMk cId="278656576" sldId="322"/>
            <ac:cxnSpMk id="8" creationId="{0A1DADB7-293D-4A69-A5A3-4AB3B1A32DF8}"/>
          </ac:cxnSpMkLst>
        </pc:cxnChg>
        <pc:cxnChg chg="mod">
          <ac:chgData name="Zenos Zenica" userId="de3ee720dba36952" providerId="Windows Live" clId="Web-{55A21FA5-97E0-4259-99AD-8685CFC2E718}" dt="2020-11-23T16:07:46.377" v="326" actId="1076"/>
          <ac:cxnSpMkLst>
            <pc:docMk/>
            <pc:sldMk cId="278656576" sldId="322"/>
            <ac:cxnSpMk id="11" creationId="{A69A6A17-265D-4D5F-9CEF-C0ED4724A32F}"/>
          </ac:cxnSpMkLst>
        </pc:cxnChg>
        <pc:cxnChg chg="mod">
          <ac:chgData name="Zenos Zenica" userId="de3ee720dba36952" providerId="Windows Live" clId="Web-{55A21FA5-97E0-4259-99AD-8685CFC2E718}" dt="2020-11-23T16:07:46.408" v="327" actId="1076"/>
          <ac:cxnSpMkLst>
            <pc:docMk/>
            <pc:sldMk cId="278656576" sldId="322"/>
            <ac:cxnSpMk id="41" creationId="{77C20A78-59CF-43AE-AA43-B113E70F929D}"/>
          </ac:cxnSpMkLst>
        </pc:cxnChg>
        <pc:cxnChg chg="mod">
          <ac:chgData name="Zenos Zenica" userId="de3ee720dba36952" providerId="Windows Live" clId="Web-{55A21FA5-97E0-4259-99AD-8685CFC2E718}" dt="2020-11-23T16:07:46.424" v="328" actId="1076"/>
          <ac:cxnSpMkLst>
            <pc:docMk/>
            <pc:sldMk cId="278656576" sldId="322"/>
            <ac:cxnSpMk id="44" creationId="{242B84BF-A7DD-4ACF-B1B5-115E6188F34F}"/>
          </ac:cxnSpMkLst>
        </pc:cxnChg>
        <pc:cxnChg chg="mod">
          <ac:chgData name="Zenos Zenica" userId="de3ee720dba36952" providerId="Windows Live" clId="Web-{55A21FA5-97E0-4259-99AD-8685CFC2E718}" dt="2020-11-23T16:07:46.455" v="329" actId="1076"/>
          <ac:cxnSpMkLst>
            <pc:docMk/>
            <pc:sldMk cId="278656576" sldId="322"/>
            <ac:cxnSpMk id="47" creationId="{26F99E2D-35C1-4AAF-A86D-CC8FF0AA9AFB}"/>
          </ac:cxnSpMkLst>
        </pc:cxnChg>
        <pc:cxnChg chg="mod">
          <ac:chgData name="Zenos Zenica" userId="de3ee720dba36952" providerId="Windows Live" clId="Web-{55A21FA5-97E0-4259-99AD-8685CFC2E718}" dt="2020-11-23T16:07:46.486" v="330" actId="1076"/>
          <ac:cxnSpMkLst>
            <pc:docMk/>
            <pc:sldMk cId="278656576" sldId="322"/>
            <ac:cxnSpMk id="50" creationId="{D1E18446-2DD8-49E4-A30D-5D2930234BAB}"/>
          </ac:cxnSpMkLst>
        </pc:cxnChg>
        <pc:cxnChg chg="mod">
          <ac:chgData name="Zenos Zenica" userId="de3ee720dba36952" providerId="Windows Live" clId="Web-{55A21FA5-97E0-4259-99AD-8685CFC2E718}" dt="2020-11-23T16:07:46.502" v="331" actId="1076"/>
          <ac:cxnSpMkLst>
            <pc:docMk/>
            <pc:sldMk cId="278656576" sldId="322"/>
            <ac:cxnSpMk id="57" creationId="{6A5E843C-7426-478D-8AE8-840C7E285146}"/>
          </ac:cxnSpMkLst>
        </pc:cxnChg>
        <pc:cxnChg chg="mod">
          <ac:chgData name="Zenos Zenica" userId="de3ee720dba36952" providerId="Windows Live" clId="Web-{55A21FA5-97E0-4259-99AD-8685CFC2E718}" dt="2020-11-23T16:07:46.533" v="332" actId="1076"/>
          <ac:cxnSpMkLst>
            <pc:docMk/>
            <pc:sldMk cId="278656576" sldId="322"/>
            <ac:cxnSpMk id="59" creationId="{9F05DBE8-CB7D-418B-9D96-011183EFA1FA}"/>
          </ac:cxnSpMkLst>
        </pc:cxnChg>
        <pc:cxnChg chg="mod">
          <ac:chgData name="Zenos Zenica" userId="de3ee720dba36952" providerId="Windows Live" clId="Web-{55A21FA5-97E0-4259-99AD-8685CFC2E718}" dt="2020-11-23T16:07:46.549" v="333" actId="1076"/>
          <ac:cxnSpMkLst>
            <pc:docMk/>
            <pc:sldMk cId="278656576" sldId="322"/>
            <ac:cxnSpMk id="61" creationId="{680416D8-F20F-47FA-A019-286037BD9F41}"/>
          </ac:cxnSpMkLst>
        </pc:cxnChg>
        <pc:cxnChg chg="mod">
          <ac:chgData name="Zenos Zenica" userId="de3ee720dba36952" providerId="Windows Live" clId="Web-{55A21FA5-97E0-4259-99AD-8685CFC2E718}" dt="2020-11-23T16:07:46.767" v="337" actId="1076"/>
          <ac:cxnSpMkLst>
            <pc:docMk/>
            <pc:sldMk cId="278656576" sldId="322"/>
            <ac:cxnSpMk id="72" creationId="{4422CCBA-8604-42CD-8B13-C083ED3CC3CB}"/>
          </ac:cxnSpMkLst>
        </pc:cxnChg>
        <pc:cxnChg chg="mod">
          <ac:chgData name="Zenos Zenica" userId="de3ee720dba36952" providerId="Windows Live" clId="Web-{55A21FA5-97E0-4259-99AD-8685CFC2E718}" dt="2020-11-23T16:07:46.799" v="338" actId="1076"/>
          <ac:cxnSpMkLst>
            <pc:docMk/>
            <pc:sldMk cId="278656576" sldId="322"/>
            <ac:cxnSpMk id="76" creationId="{95DF6E3F-9223-42CE-8178-0429C2C864F3}"/>
          </ac:cxnSpMkLst>
        </pc:cxnChg>
        <pc:cxnChg chg="mod">
          <ac:chgData name="Zenos Zenica" userId="de3ee720dba36952" providerId="Windows Live" clId="Web-{55A21FA5-97E0-4259-99AD-8685CFC2E718}" dt="2020-11-23T16:07:46.814" v="339" actId="1076"/>
          <ac:cxnSpMkLst>
            <pc:docMk/>
            <pc:sldMk cId="278656576" sldId="322"/>
            <ac:cxnSpMk id="77" creationId="{E8CA57DC-0442-4EB7-B169-397C97EB08F7}"/>
          </ac:cxnSpMkLst>
        </pc:cxnChg>
        <pc:cxnChg chg="mod">
          <ac:chgData name="Zenos Zenica" userId="de3ee720dba36952" providerId="Windows Live" clId="Web-{55A21FA5-97E0-4259-99AD-8685CFC2E718}" dt="2020-11-23T16:07:46.845" v="340" actId="1076"/>
          <ac:cxnSpMkLst>
            <pc:docMk/>
            <pc:sldMk cId="278656576" sldId="322"/>
            <ac:cxnSpMk id="78" creationId="{28AEC609-88AE-46D8-9B69-DDF663B2D71B}"/>
          </ac:cxnSpMkLst>
        </pc:cxnChg>
        <pc:cxnChg chg="mod">
          <ac:chgData name="Zenos Zenica" userId="de3ee720dba36952" providerId="Windows Live" clId="Web-{55A21FA5-97E0-4259-99AD-8685CFC2E718}" dt="2020-11-23T16:07:46.861" v="341" actId="1076"/>
          <ac:cxnSpMkLst>
            <pc:docMk/>
            <pc:sldMk cId="278656576" sldId="322"/>
            <ac:cxnSpMk id="79" creationId="{DDADAC26-8E27-46FE-80AB-4E28D7A5F8C9}"/>
          </ac:cxnSpMkLst>
        </pc:cxnChg>
        <pc:cxnChg chg="mod">
          <ac:chgData name="Zenos Zenica" userId="de3ee720dba36952" providerId="Windows Live" clId="Web-{55A21FA5-97E0-4259-99AD-8685CFC2E718}" dt="2020-11-23T16:07:46.892" v="342" actId="1076"/>
          <ac:cxnSpMkLst>
            <pc:docMk/>
            <pc:sldMk cId="278656576" sldId="322"/>
            <ac:cxnSpMk id="93" creationId="{9C1A634F-B90B-48E4-80D5-B5AA84494855}"/>
          </ac:cxnSpMkLst>
        </pc:cxnChg>
      </pc:sldChg>
      <pc:sldChg chg="modSp add">
        <pc:chgData name="Zenos Zenica" userId="de3ee720dba36952" providerId="Windows Live" clId="Web-{55A21FA5-97E0-4259-99AD-8685CFC2E718}" dt="2020-11-23T16:09:52.191" v="371" actId="20577"/>
        <pc:sldMkLst>
          <pc:docMk/>
          <pc:sldMk cId="663493214" sldId="323"/>
        </pc:sldMkLst>
        <pc:spChg chg="mod">
          <ac:chgData name="Zenos Zenica" userId="de3ee720dba36952" providerId="Windows Live" clId="Web-{55A21FA5-97E0-4259-99AD-8685CFC2E718}" dt="2020-11-23T16:09:02.034" v="357" actId="1076"/>
          <ac:spMkLst>
            <pc:docMk/>
            <pc:sldMk cId="663493214" sldId="323"/>
            <ac:spMk id="89" creationId="{937EF20E-989A-4A01-BF43-AD967F25466A}"/>
          </ac:spMkLst>
        </pc:spChg>
        <pc:spChg chg="mod">
          <ac:chgData name="Zenos Zenica" userId="de3ee720dba36952" providerId="Windows Live" clId="Web-{55A21FA5-97E0-4259-99AD-8685CFC2E718}" dt="2020-11-23T16:09:52.191" v="371" actId="20577"/>
          <ac:spMkLst>
            <pc:docMk/>
            <pc:sldMk cId="663493214" sldId="323"/>
            <ac:spMk id="95" creationId="{80CD9C37-64A6-4D5D-8180-A277C0BF7767}"/>
          </ac:spMkLst>
        </pc:spChg>
        <pc:cxnChg chg="mod">
          <ac:chgData name="Zenos Zenica" userId="de3ee720dba36952" providerId="Windows Live" clId="Web-{55A21FA5-97E0-4259-99AD-8685CFC2E718}" dt="2020-11-23T16:09:12.143" v="359" actId="1076"/>
          <ac:cxnSpMkLst>
            <pc:docMk/>
            <pc:sldMk cId="663493214" sldId="323"/>
            <ac:cxnSpMk id="4" creationId="{42B9690F-6500-4247-8297-A783C89891A1}"/>
          </ac:cxnSpMkLst>
        </pc:cxnChg>
      </pc:sldChg>
      <pc:sldChg chg="modSp add">
        <pc:chgData name="Zenos Zenica" userId="de3ee720dba36952" providerId="Windows Live" clId="Web-{55A21FA5-97E0-4259-99AD-8685CFC2E718}" dt="2020-11-23T16:10:32.410" v="386" actId="1076"/>
        <pc:sldMkLst>
          <pc:docMk/>
          <pc:sldMk cId="3613059055" sldId="324"/>
        </pc:sldMkLst>
        <pc:spChg chg="mod">
          <ac:chgData name="Zenos Zenica" userId="de3ee720dba36952" providerId="Windows Live" clId="Web-{55A21FA5-97E0-4259-99AD-8685CFC2E718}" dt="2020-11-23T16:10:32.410" v="386" actId="1076"/>
          <ac:spMkLst>
            <pc:docMk/>
            <pc:sldMk cId="3613059055" sldId="324"/>
            <ac:spMk id="95" creationId="{80CD9C37-64A6-4D5D-8180-A277C0BF7767}"/>
          </ac:spMkLst>
        </pc:spChg>
      </pc:sldChg>
      <pc:sldChg chg="modSp add">
        <pc:chgData name="Zenos Zenica" userId="de3ee720dba36952" providerId="Windows Live" clId="Web-{55A21FA5-97E0-4259-99AD-8685CFC2E718}" dt="2020-11-23T16:10:59.285" v="397" actId="20577"/>
        <pc:sldMkLst>
          <pc:docMk/>
          <pc:sldMk cId="1596174276" sldId="325"/>
        </pc:sldMkLst>
        <pc:spChg chg="mod">
          <ac:chgData name="Zenos Zenica" userId="de3ee720dba36952" providerId="Windows Live" clId="Web-{55A21FA5-97E0-4259-99AD-8685CFC2E718}" dt="2020-11-23T16:10:59.285" v="397" actId="20577"/>
          <ac:spMkLst>
            <pc:docMk/>
            <pc:sldMk cId="1596174276" sldId="325"/>
            <ac:spMk id="95" creationId="{80CD9C37-64A6-4D5D-8180-A277C0BF7767}"/>
          </ac:spMkLst>
        </pc:spChg>
      </pc:sldChg>
      <pc:sldChg chg="modSp add">
        <pc:chgData name="Zenos Zenica" userId="de3ee720dba36952" providerId="Windows Live" clId="Web-{55A21FA5-97E0-4259-99AD-8685CFC2E718}" dt="2020-11-23T16:11:18.129" v="408" actId="1076"/>
        <pc:sldMkLst>
          <pc:docMk/>
          <pc:sldMk cId="3303032422" sldId="326"/>
        </pc:sldMkLst>
        <pc:spChg chg="mod">
          <ac:chgData name="Zenos Zenica" userId="de3ee720dba36952" providerId="Windows Live" clId="Web-{55A21FA5-97E0-4259-99AD-8685CFC2E718}" dt="2020-11-23T16:11:18.129" v="408" actId="1076"/>
          <ac:spMkLst>
            <pc:docMk/>
            <pc:sldMk cId="3303032422" sldId="326"/>
            <ac:spMk id="16" creationId="{E83E83C3-E01A-44F1-95FF-6540BC8C3EAB}"/>
          </ac:spMkLst>
        </pc:spChg>
      </pc:sldChg>
      <pc:sldChg chg="modSp add">
        <pc:chgData name="Zenos Zenica" userId="de3ee720dba36952" providerId="Windows Live" clId="Web-{55A21FA5-97E0-4259-99AD-8685CFC2E718}" dt="2020-11-23T16:11:31.270" v="412" actId="20577"/>
        <pc:sldMkLst>
          <pc:docMk/>
          <pc:sldMk cId="3810773015" sldId="327"/>
        </pc:sldMkLst>
        <pc:spChg chg="mod">
          <ac:chgData name="Zenos Zenica" userId="de3ee720dba36952" providerId="Windows Live" clId="Web-{55A21FA5-97E0-4259-99AD-8685CFC2E718}" dt="2020-11-23T16:11:31.270" v="412" actId="20577"/>
          <ac:spMkLst>
            <pc:docMk/>
            <pc:sldMk cId="3810773015" sldId="327"/>
            <ac:spMk id="16" creationId="{E83E83C3-E01A-44F1-95FF-6540BC8C3EAB}"/>
          </ac:spMkLst>
        </pc:spChg>
      </pc:sldChg>
      <pc:sldChg chg="modSp add">
        <pc:chgData name="Zenos Zenica" userId="de3ee720dba36952" providerId="Windows Live" clId="Web-{55A21FA5-97E0-4259-99AD-8685CFC2E718}" dt="2020-11-23T16:11:51.004" v="428" actId="20577"/>
        <pc:sldMkLst>
          <pc:docMk/>
          <pc:sldMk cId="943536531" sldId="328"/>
        </pc:sldMkLst>
        <pc:spChg chg="mod">
          <ac:chgData name="Zenos Zenica" userId="de3ee720dba36952" providerId="Windows Live" clId="Web-{55A21FA5-97E0-4259-99AD-8685CFC2E718}" dt="2020-11-23T16:11:51.004" v="428" actId="20577"/>
          <ac:spMkLst>
            <pc:docMk/>
            <pc:sldMk cId="943536531" sldId="328"/>
            <ac:spMk id="16" creationId="{E83E83C3-E01A-44F1-95FF-6540BC8C3EAB}"/>
          </ac:spMkLst>
        </pc:spChg>
      </pc:sldChg>
      <pc:sldChg chg="modSp add">
        <pc:chgData name="Zenos Zenica" userId="de3ee720dba36952" providerId="Windows Live" clId="Web-{55A21FA5-97E0-4259-99AD-8685CFC2E718}" dt="2020-11-23T16:11:59.473" v="433" actId="20577"/>
        <pc:sldMkLst>
          <pc:docMk/>
          <pc:sldMk cId="764976843" sldId="329"/>
        </pc:sldMkLst>
        <pc:spChg chg="mod">
          <ac:chgData name="Zenos Zenica" userId="de3ee720dba36952" providerId="Windows Live" clId="Web-{55A21FA5-97E0-4259-99AD-8685CFC2E718}" dt="2020-11-23T16:11:59.473" v="433" actId="20577"/>
          <ac:spMkLst>
            <pc:docMk/>
            <pc:sldMk cId="764976843" sldId="329"/>
            <ac:spMk id="16" creationId="{E83E83C3-E01A-44F1-95FF-6540BC8C3EAB}"/>
          </ac:spMkLst>
        </pc:spChg>
      </pc:sldChg>
      <pc:sldChg chg="modSp add">
        <pc:chgData name="Zenos Zenica" userId="de3ee720dba36952" providerId="Windows Live" clId="Web-{55A21FA5-97E0-4259-99AD-8685CFC2E718}" dt="2020-11-23T16:12:17.442" v="438" actId="20577"/>
        <pc:sldMkLst>
          <pc:docMk/>
          <pc:sldMk cId="379594999" sldId="330"/>
        </pc:sldMkLst>
        <pc:spChg chg="mod">
          <ac:chgData name="Zenos Zenica" userId="de3ee720dba36952" providerId="Windows Live" clId="Web-{55A21FA5-97E0-4259-99AD-8685CFC2E718}" dt="2020-11-23T16:12:17.442" v="438" actId="20577"/>
          <ac:spMkLst>
            <pc:docMk/>
            <pc:sldMk cId="379594999" sldId="330"/>
            <ac:spMk id="16" creationId="{E83E83C3-E01A-44F1-95FF-6540BC8C3EAB}"/>
          </ac:spMkLst>
        </pc:spChg>
      </pc:sldChg>
      <pc:sldChg chg="modSp add">
        <pc:chgData name="Zenos Zenica" userId="de3ee720dba36952" providerId="Windows Live" clId="Web-{55A21FA5-97E0-4259-99AD-8685CFC2E718}" dt="2020-11-23T16:12:40.693" v="448" actId="20577"/>
        <pc:sldMkLst>
          <pc:docMk/>
          <pc:sldMk cId="3818466616" sldId="331"/>
        </pc:sldMkLst>
        <pc:spChg chg="mod">
          <ac:chgData name="Zenos Zenica" userId="de3ee720dba36952" providerId="Windows Live" clId="Web-{55A21FA5-97E0-4259-99AD-8685CFC2E718}" dt="2020-11-23T16:12:40.693" v="448" actId="20577"/>
          <ac:spMkLst>
            <pc:docMk/>
            <pc:sldMk cId="3818466616" sldId="331"/>
            <ac:spMk id="16" creationId="{E83E83C3-E01A-44F1-95FF-6540BC8C3EAB}"/>
          </ac:spMkLst>
        </pc:spChg>
      </pc:sldChg>
      <pc:sldChg chg="modSp add">
        <pc:chgData name="Zenos Zenica" userId="de3ee720dba36952" providerId="Windows Live" clId="Web-{55A21FA5-97E0-4259-99AD-8685CFC2E718}" dt="2020-11-23T16:13:32.068" v="488" actId="1076"/>
        <pc:sldMkLst>
          <pc:docMk/>
          <pc:sldMk cId="3825716199" sldId="332"/>
        </pc:sldMkLst>
        <pc:spChg chg="mod">
          <ac:chgData name="Zenos Zenica" userId="de3ee720dba36952" providerId="Windows Live" clId="Web-{55A21FA5-97E0-4259-99AD-8685CFC2E718}" dt="2020-11-23T16:13:17.959" v="463" actId="1076"/>
          <ac:spMkLst>
            <pc:docMk/>
            <pc:sldMk cId="3825716199" sldId="332"/>
            <ac:spMk id="6" creationId="{BBA9848B-032B-4EEC-9174-79BE01349E70}"/>
          </ac:spMkLst>
        </pc:spChg>
        <pc:spChg chg="mod">
          <ac:chgData name="Zenos Zenica" userId="de3ee720dba36952" providerId="Windows Live" clId="Web-{55A21FA5-97E0-4259-99AD-8685CFC2E718}" dt="2020-11-23T16:13:32.068" v="488" actId="1076"/>
          <ac:spMkLst>
            <pc:docMk/>
            <pc:sldMk cId="3825716199" sldId="332"/>
            <ac:spMk id="16" creationId="{E83E83C3-E01A-44F1-95FF-6540BC8C3EAB}"/>
          </ac:spMkLst>
        </pc:spChg>
        <pc:spChg chg="mod">
          <ac:chgData name="Zenos Zenica" userId="de3ee720dba36952" providerId="Windows Live" clId="Web-{55A21FA5-97E0-4259-99AD-8685CFC2E718}" dt="2020-11-23T16:13:21.834" v="486" actId="1076"/>
          <ac:spMkLst>
            <pc:docMk/>
            <pc:sldMk cId="3825716199" sldId="332"/>
            <ac:spMk id="22" creationId="{DF4A991F-96D6-4A69-9300-C89426EC4D70}"/>
          </ac:spMkLst>
        </pc:spChg>
        <pc:spChg chg="mod">
          <ac:chgData name="Zenos Zenica" userId="de3ee720dba36952" providerId="Windows Live" clId="Web-{55A21FA5-97E0-4259-99AD-8685CFC2E718}" dt="2020-11-23T16:13:17.974" v="464" actId="1076"/>
          <ac:spMkLst>
            <pc:docMk/>
            <pc:sldMk cId="3825716199" sldId="332"/>
            <ac:spMk id="313" creationId="{D3C96D78-034A-4AE1-997D-9641BDDBBEA0}"/>
          </ac:spMkLst>
        </pc:spChg>
        <pc:spChg chg="mod">
          <ac:chgData name="Zenos Zenica" userId="de3ee720dba36952" providerId="Windows Live" clId="Web-{55A21FA5-97E0-4259-99AD-8685CFC2E718}" dt="2020-11-23T16:13:18.005" v="465" actId="1076"/>
          <ac:spMkLst>
            <pc:docMk/>
            <pc:sldMk cId="3825716199" sldId="332"/>
            <ac:spMk id="314" creationId="{D68A5E81-DA1B-42FE-B43B-D14B61068E38}"/>
          </ac:spMkLst>
        </pc:spChg>
        <pc:spChg chg="mod">
          <ac:chgData name="Zenos Zenica" userId="de3ee720dba36952" providerId="Windows Live" clId="Web-{55A21FA5-97E0-4259-99AD-8685CFC2E718}" dt="2020-11-23T16:13:18.021" v="466" actId="1076"/>
          <ac:spMkLst>
            <pc:docMk/>
            <pc:sldMk cId="3825716199" sldId="332"/>
            <ac:spMk id="315" creationId="{E4B09A26-4CEF-4668-94D5-B8D066A9C381}"/>
          </ac:spMkLst>
        </pc:spChg>
        <pc:spChg chg="mod">
          <ac:chgData name="Zenos Zenica" userId="de3ee720dba36952" providerId="Windows Live" clId="Web-{55A21FA5-97E0-4259-99AD-8685CFC2E718}" dt="2020-11-23T16:13:18.052" v="467" actId="1076"/>
          <ac:spMkLst>
            <pc:docMk/>
            <pc:sldMk cId="3825716199" sldId="332"/>
            <ac:spMk id="316" creationId="{212944E4-8AD2-4A48-9960-92968A31B693}"/>
          </ac:spMkLst>
        </pc:spChg>
        <pc:spChg chg="mod">
          <ac:chgData name="Zenos Zenica" userId="de3ee720dba36952" providerId="Windows Live" clId="Web-{55A21FA5-97E0-4259-99AD-8685CFC2E718}" dt="2020-11-23T16:13:17.896" v="461" actId="1076"/>
          <ac:spMkLst>
            <pc:docMk/>
            <pc:sldMk cId="3825716199" sldId="332"/>
            <ac:spMk id="317" creationId="{72B9FF83-D6A9-4B21-8BB3-E2EA293DCBE6}"/>
          </ac:spMkLst>
        </pc:spChg>
        <pc:spChg chg="mod">
          <ac:chgData name="Zenos Zenica" userId="de3ee720dba36952" providerId="Windows Live" clId="Web-{55A21FA5-97E0-4259-99AD-8685CFC2E718}" dt="2020-11-23T16:13:17.865" v="460" actId="1076"/>
          <ac:spMkLst>
            <pc:docMk/>
            <pc:sldMk cId="3825716199" sldId="332"/>
            <ac:spMk id="318" creationId="{B3566BA1-1276-463A-BF3E-EF4315C89BCD}"/>
          </ac:spMkLst>
        </pc:spChg>
        <pc:spChg chg="mod">
          <ac:chgData name="Zenos Zenica" userId="de3ee720dba36952" providerId="Windows Live" clId="Web-{55A21FA5-97E0-4259-99AD-8685CFC2E718}" dt="2020-11-23T16:13:17.849" v="459" actId="1076"/>
          <ac:spMkLst>
            <pc:docMk/>
            <pc:sldMk cId="3825716199" sldId="332"/>
            <ac:spMk id="319" creationId="{7834DA7E-E721-4891-9C1D-BB8D841F1F38}"/>
          </ac:spMkLst>
        </pc:spChg>
        <pc:spChg chg="mod">
          <ac:chgData name="Zenos Zenica" userId="de3ee720dba36952" providerId="Windows Live" clId="Web-{55A21FA5-97E0-4259-99AD-8685CFC2E718}" dt="2020-11-23T16:13:17.818" v="458" actId="1076"/>
          <ac:spMkLst>
            <pc:docMk/>
            <pc:sldMk cId="3825716199" sldId="332"/>
            <ac:spMk id="320" creationId="{6022375E-ECD4-43C4-9AB0-FE8C50F6A9C3}"/>
          </ac:spMkLst>
        </pc:spChg>
        <pc:spChg chg="mod">
          <ac:chgData name="Zenos Zenica" userId="de3ee720dba36952" providerId="Windows Live" clId="Web-{55A21FA5-97E0-4259-99AD-8685CFC2E718}" dt="2020-11-23T16:13:17.787" v="457" actId="1076"/>
          <ac:spMkLst>
            <pc:docMk/>
            <pc:sldMk cId="3825716199" sldId="332"/>
            <ac:spMk id="321" creationId="{D6762457-5FC6-4F7C-919D-748B19B57DBC}"/>
          </ac:spMkLst>
        </pc:spChg>
        <pc:spChg chg="mod">
          <ac:chgData name="Zenos Zenica" userId="de3ee720dba36952" providerId="Windows Live" clId="Web-{55A21FA5-97E0-4259-99AD-8685CFC2E718}" dt="2020-11-23T16:13:18.068" v="468" actId="1076"/>
          <ac:spMkLst>
            <pc:docMk/>
            <pc:sldMk cId="3825716199" sldId="332"/>
            <ac:spMk id="322" creationId="{405EBF34-AAB8-4815-BBBD-7BB65CA0E7D2}"/>
          </ac:spMkLst>
        </pc:spChg>
        <pc:spChg chg="mod">
          <ac:chgData name="Zenos Zenica" userId="de3ee720dba36952" providerId="Windows Live" clId="Web-{55A21FA5-97E0-4259-99AD-8685CFC2E718}" dt="2020-11-23T16:13:18.099" v="469" actId="1076"/>
          <ac:spMkLst>
            <pc:docMk/>
            <pc:sldMk cId="3825716199" sldId="332"/>
            <ac:spMk id="323" creationId="{3036C30B-D9D5-43A0-AA62-2BA386B5ABB6}"/>
          </ac:spMkLst>
        </pc:spChg>
        <pc:spChg chg="mod">
          <ac:chgData name="Zenos Zenica" userId="de3ee720dba36952" providerId="Windows Live" clId="Web-{55A21FA5-97E0-4259-99AD-8685CFC2E718}" dt="2020-11-23T16:13:18.115" v="470" actId="1076"/>
          <ac:spMkLst>
            <pc:docMk/>
            <pc:sldMk cId="3825716199" sldId="332"/>
            <ac:spMk id="324" creationId="{792EC749-0C25-4BE2-88F5-30195DBF355A}"/>
          </ac:spMkLst>
        </pc:spChg>
        <pc:spChg chg="mod">
          <ac:chgData name="Zenos Zenica" userId="de3ee720dba36952" providerId="Windows Live" clId="Web-{55A21FA5-97E0-4259-99AD-8685CFC2E718}" dt="2020-11-23T16:13:18.146" v="471" actId="1076"/>
          <ac:spMkLst>
            <pc:docMk/>
            <pc:sldMk cId="3825716199" sldId="332"/>
            <ac:spMk id="325" creationId="{DB4B24A3-D136-4457-BAD5-6D252671AB65}"/>
          </ac:spMkLst>
        </pc:spChg>
        <pc:spChg chg="mod">
          <ac:chgData name="Zenos Zenica" userId="de3ee720dba36952" providerId="Windows Live" clId="Web-{55A21FA5-97E0-4259-99AD-8685CFC2E718}" dt="2020-11-23T16:13:18.162" v="472" actId="1076"/>
          <ac:spMkLst>
            <pc:docMk/>
            <pc:sldMk cId="3825716199" sldId="332"/>
            <ac:spMk id="326" creationId="{D011D404-DAE2-44FE-9D73-1FBA5914D269}"/>
          </ac:spMkLst>
        </pc:spChg>
        <pc:spChg chg="mod">
          <ac:chgData name="Zenos Zenica" userId="de3ee720dba36952" providerId="Windows Live" clId="Web-{55A21FA5-97E0-4259-99AD-8685CFC2E718}" dt="2020-11-23T16:13:18.193" v="473" actId="1076"/>
          <ac:spMkLst>
            <pc:docMk/>
            <pc:sldMk cId="3825716199" sldId="332"/>
            <ac:spMk id="327" creationId="{2EDA9C4D-9EE9-451A-8C60-EB4F101C759F}"/>
          </ac:spMkLst>
        </pc:spChg>
        <pc:spChg chg="mod">
          <ac:chgData name="Zenos Zenica" userId="de3ee720dba36952" providerId="Windows Live" clId="Web-{55A21FA5-97E0-4259-99AD-8685CFC2E718}" dt="2020-11-23T16:13:18.224" v="474" actId="1076"/>
          <ac:spMkLst>
            <pc:docMk/>
            <pc:sldMk cId="3825716199" sldId="332"/>
            <ac:spMk id="328" creationId="{D2F72392-6049-458D-8F95-A810DDF677B7}"/>
          </ac:spMkLst>
        </pc:spChg>
        <pc:spChg chg="mod">
          <ac:chgData name="Zenos Zenica" userId="de3ee720dba36952" providerId="Windows Live" clId="Web-{55A21FA5-97E0-4259-99AD-8685CFC2E718}" dt="2020-11-23T16:13:18.240" v="475" actId="1076"/>
          <ac:spMkLst>
            <pc:docMk/>
            <pc:sldMk cId="3825716199" sldId="332"/>
            <ac:spMk id="329" creationId="{98BE6618-6792-4FAC-BD18-914C2DFFA89E}"/>
          </ac:spMkLst>
        </pc:spChg>
        <pc:spChg chg="mod">
          <ac:chgData name="Zenos Zenica" userId="de3ee720dba36952" providerId="Windows Live" clId="Web-{55A21FA5-97E0-4259-99AD-8685CFC2E718}" dt="2020-11-23T16:13:18.271" v="476" actId="1076"/>
          <ac:spMkLst>
            <pc:docMk/>
            <pc:sldMk cId="3825716199" sldId="332"/>
            <ac:spMk id="330" creationId="{73178C06-3DC1-4C3C-A7D8-76ADEBC81685}"/>
          </ac:spMkLst>
        </pc:spChg>
        <pc:spChg chg="mod">
          <ac:chgData name="Zenos Zenica" userId="de3ee720dba36952" providerId="Windows Live" clId="Web-{55A21FA5-97E0-4259-99AD-8685CFC2E718}" dt="2020-11-23T16:13:18.287" v="477" actId="1076"/>
          <ac:spMkLst>
            <pc:docMk/>
            <pc:sldMk cId="3825716199" sldId="332"/>
            <ac:spMk id="331" creationId="{B3DB0BFF-6847-48FE-937B-4223CD90FC7E}"/>
          </ac:spMkLst>
        </pc:spChg>
        <pc:spChg chg="mod">
          <ac:chgData name="Zenos Zenica" userId="de3ee720dba36952" providerId="Windows Live" clId="Web-{55A21FA5-97E0-4259-99AD-8685CFC2E718}" dt="2020-11-23T16:13:18.318" v="478" actId="1076"/>
          <ac:spMkLst>
            <pc:docMk/>
            <pc:sldMk cId="3825716199" sldId="332"/>
            <ac:spMk id="332" creationId="{9D25CA16-057A-4DEE-A444-8B2D76F19D52}"/>
          </ac:spMkLst>
        </pc:spChg>
        <pc:spChg chg="mod">
          <ac:chgData name="Zenos Zenica" userId="de3ee720dba36952" providerId="Windows Live" clId="Web-{55A21FA5-97E0-4259-99AD-8685CFC2E718}" dt="2020-11-23T16:13:18.334" v="479" actId="1076"/>
          <ac:spMkLst>
            <pc:docMk/>
            <pc:sldMk cId="3825716199" sldId="332"/>
            <ac:spMk id="333" creationId="{FFD38BDD-8FBD-4F18-A58C-94200D67C3FE}"/>
          </ac:spMkLst>
        </pc:spChg>
        <pc:spChg chg="mod">
          <ac:chgData name="Zenos Zenica" userId="de3ee720dba36952" providerId="Windows Live" clId="Web-{55A21FA5-97E0-4259-99AD-8685CFC2E718}" dt="2020-11-23T16:13:18.365" v="480" actId="1076"/>
          <ac:spMkLst>
            <pc:docMk/>
            <pc:sldMk cId="3825716199" sldId="332"/>
            <ac:spMk id="334" creationId="{81F2C67B-6030-4CDE-9029-62E9FC87E443}"/>
          </ac:spMkLst>
        </pc:spChg>
        <pc:spChg chg="mod">
          <ac:chgData name="Zenos Zenica" userId="de3ee720dba36952" providerId="Windows Live" clId="Web-{55A21FA5-97E0-4259-99AD-8685CFC2E718}" dt="2020-11-23T16:13:18.380" v="481" actId="1076"/>
          <ac:spMkLst>
            <pc:docMk/>
            <pc:sldMk cId="3825716199" sldId="332"/>
            <ac:spMk id="335" creationId="{DAA0B68B-466C-4190-8E58-CF08293FE1A8}"/>
          </ac:spMkLst>
        </pc:spChg>
        <pc:spChg chg="mod">
          <ac:chgData name="Zenos Zenica" userId="de3ee720dba36952" providerId="Windows Live" clId="Web-{55A21FA5-97E0-4259-99AD-8685CFC2E718}" dt="2020-11-23T16:13:18.412" v="482" actId="1076"/>
          <ac:spMkLst>
            <pc:docMk/>
            <pc:sldMk cId="3825716199" sldId="332"/>
            <ac:spMk id="336" creationId="{577B148F-849C-4BF2-8981-D4F469501C00}"/>
          </ac:spMkLst>
        </pc:spChg>
        <pc:spChg chg="mod">
          <ac:chgData name="Zenos Zenica" userId="de3ee720dba36952" providerId="Windows Live" clId="Web-{55A21FA5-97E0-4259-99AD-8685CFC2E718}" dt="2020-11-23T16:13:18.427" v="483" actId="1076"/>
          <ac:spMkLst>
            <pc:docMk/>
            <pc:sldMk cId="3825716199" sldId="332"/>
            <ac:spMk id="337" creationId="{3E91C6DF-FE73-461F-9D96-56B13D7CFB9C}"/>
          </ac:spMkLst>
        </pc:spChg>
        <pc:spChg chg="mod">
          <ac:chgData name="Zenos Zenica" userId="de3ee720dba36952" providerId="Windows Live" clId="Web-{55A21FA5-97E0-4259-99AD-8685CFC2E718}" dt="2020-11-23T16:13:18.459" v="484" actId="1076"/>
          <ac:spMkLst>
            <pc:docMk/>
            <pc:sldMk cId="3825716199" sldId="332"/>
            <ac:spMk id="338" creationId="{947155E0-3C9B-4F5F-9E35-5861DE4DB4D8}"/>
          </ac:spMkLst>
        </pc:spChg>
        <pc:spChg chg="mod">
          <ac:chgData name="Zenos Zenica" userId="de3ee720dba36952" providerId="Windows Live" clId="Web-{55A21FA5-97E0-4259-99AD-8685CFC2E718}" dt="2020-11-23T16:13:18.490" v="485" actId="1076"/>
          <ac:spMkLst>
            <pc:docMk/>
            <pc:sldMk cId="3825716199" sldId="332"/>
            <ac:spMk id="340" creationId="{D67B6B15-862D-4272-A252-8484BFA541DC}"/>
          </ac:spMkLst>
        </pc:spChg>
        <pc:grpChg chg="mod">
          <ac:chgData name="Zenos Zenica" userId="de3ee720dba36952" providerId="Windows Live" clId="Web-{55A21FA5-97E0-4259-99AD-8685CFC2E718}" dt="2020-11-23T16:13:17.927" v="462" actId="1076"/>
          <ac:grpSpMkLst>
            <pc:docMk/>
            <pc:sldMk cId="3825716199" sldId="332"/>
            <ac:grpSpMk id="24" creationId="{272239DA-1B06-425C-A5B2-EC9059DF8DDC}"/>
          </ac:grpSpMkLst>
        </pc:grpChg>
      </pc:sldChg>
      <pc:sldChg chg="modSp add">
        <pc:chgData name="Zenos Zenica" userId="de3ee720dba36952" providerId="Windows Live" clId="Web-{55A21FA5-97E0-4259-99AD-8685CFC2E718}" dt="2020-11-23T16:15:10.272" v="501" actId="20577"/>
        <pc:sldMkLst>
          <pc:docMk/>
          <pc:sldMk cId="4166483979" sldId="333"/>
        </pc:sldMkLst>
        <pc:spChg chg="mod">
          <ac:chgData name="Zenos Zenica" userId="de3ee720dba36952" providerId="Windows Live" clId="Web-{55A21FA5-97E0-4259-99AD-8685CFC2E718}" dt="2020-11-23T16:13:54.568" v="494" actId="1076"/>
          <ac:spMkLst>
            <pc:docMk/>
            <pc:sldMk cId="4166483979" sldId="333"/>
            <ac:spMk id="16" creationId="{E83E83C3-E01A-44F1-95FF-6540BC8C3EAB}"/>
          </ac:spMkLst>
        </pc:spChg>
        <pc:spChg chg="mod">
          <ac:chgData name="Zenos Zenica" userId="de3ee720dba36952" providerId="Windows Live" clId="Web-{55A21FA5-97E0-4259-99AD-8685CFC2E718}" dt="2020-11-23T16:15:10.272" v="501" actId="20577"/>
          <ac:spMkLst>
            <pc:docMk/>
            <pc:sldMk cId="4166483979" sldId="333"/>
            <ac:spMk id="26" creationId="{F122EBBB-BE47-44F2-BDB0-D564B59A715E}"/>
          </ac:spMkLst>
        </pc:spChg>
        <pc:spChg chg="mod">
          <ac:chgData name="Zenos Zenica" userId="de3ee720dba36952" providerId="Windows Live" clId="Web-{55A21FA5-97E0-4259-99AD-8685CFC2E718}" dt="2020-11-23T16:15:02.725" v="498" actId="20577"/>
          <ac:spMkLst>
            <pc:docMk/>
            <pc:sldMk cId="4166483979" sldId="333"/>
            <ac:spMk id="28" creationId="{C3EB7AEC-8673-47A3-B23D-113D2232EF5D}"/>
          </ac:spMkLst>
        </pc:spChg>
        <pc:spChg chg="mod">
          <ac:chgData name="Zenos Zenica" userId="de3ee720dba36952" providerId="Windows Live" clId="Web-{55A21FA5-97E0-4259-99AD-8685CFC2E718}" dt="2020-11-23T16:14:56.695" v="496" actId="1076"/>
          <ac:spMkLst>
            <pc:docMk/>
            <pc:sldMk cId="4166483979" sldId="333"/>
            <ac:spMk id="30" creationId="{045778D2-140D-49F9-8CB8-190045EA7B0C}"/>
          </ac:spMkLst>
        </pc:spChg>
      </pc:sldChg>
      <pc:sldChg chg="modSp add">
        <pc:chgData name="Zenos Zenica" userId="de3ee720dba36952" providerId="Windows Live" clId="Web-{55A21FA5-97E0-4259-99AD-8685CFC2E718}" dt="2020-11-23T16:16:03.804" v="521" actId="20577"/>
        <pc:sldMkLst>
          <pc:docMk/>
          <pc:sldMk cId="1477302874" sldId="334"/>
        </pc:sldMkLst>
        <pc:spChg chg="mod">
          <ac:chgData name="Zenos Zenica" userId="de3ee720dba36952" providerId="Windows Live" clId="Web-{55A21FA5-97E0-4259-99AD-8685CFC2E718}" dt="2020-11-23T16:15:39.585" v="509" actId="1076"/>
          <ac:spMkLst>
            <pc:docMk/>
            <pc:sldMk cId="1477302874" sldId="334"/>
            <ac:spMk id="16" creationId="{E83E83C3-E01A-44F1-95FF-6540BC8C3EAB}"/>
          </ac:spMkLst>
        </pc:spChg>
        <pc:spChg chg="mod">
          <ac:chgData name="Zenos Zenica" userId="de3ee720dba36952" providerId="Windows Live" clId="Web-{55A21FA5-97E0-4259-99AD-8685CFC2E718}" dt="2020-11-23T16:16:03.804" v="521" actId="20577"/>
          <ac:spMkLst>
            <pc:docMk/>
            <pc:sldMk cId="1477302874" sldId="334"/>
            <ac:spMk id="26" creationId="{F122EBBB-BE47-44F2-BDB0-D564B59A715E}"/>
          </ac:spMkLst>
        </pc:spChg>
        <pc:spChg chg="mod">
          <ac:chgData name="Zenos Zenica" userId="de3ee720dba36952" providerId="Windows Live" clId="Web-{55A21FA5-97E0-4259-99AD-8685CFC2E718}" dt="2020-11-23T16:15:50.492" v="514" actId="20577"/>
          <ac:spMkLst>
            <pc:docMk/>
            <pc:sldMk cId="1477302874" sldId="334"/>
            <ac:spMk id="28" creationId="{C3EB7AEC-8673-47A3-B23D-113D2232EF5D}"/>
          </ac:spMkLst>
        </pc:spChg>
        <pc:spChg chg="mod">
          <ac:chgData name="Zenos Zenica" userId="de3ee720dba36952" providerId="Windows Live" clId="Web-{55A21FA5-97E0-4259-99AD-8685CFC2E718}" dt="2020-11-23T16:15:46.382" v="511" actId="20577"/>
          <ac:spMkLst>
            <pc:docMk/>
            <pc:sldMk cId="1477302874" sldId="334"/>
            <ac:spMk id="30" creationId="{045778D2-140D-49F9-8CB8-190045EA7B0C}"/>
          </ac:spMkLst>
        </pc:spChg>
      </pc:sldChg>
      <pc:sldChg chg="modSp add">
        <pc:chgData name="Zenos Zenica" userId="de3ee720dba36952" providerId="Windows Live" clId="Web-{55A21FA5-97E0-4259-99AD-8685CFC2E718}" dt="2020-11-23T16:17:02.227" v="557"/>
        <pc:sldMkLst>
          <pc:docMk/>
          <pc:sldMk cId="2306691619" sldId="335"/>
        </pc:sldMkLst>
        <pc:spChg chg="mod">
          <ac:chgData name="Zenos Zenica" userId="de3ee720dba36952" providerId="Windows Live" clId="Web-{55A21FA5-97E0-4259-99AD-8685CFC2E718}" dt="2020-11-23T16:16:10.914" v="523" actId="20577"/>
          <ac:spMkLst>
            <pc:docMk/>
            <pc:sldMk cId="2306691619" sldId="335"/>
            <ac:spMk id="16" creationId="{E83E83C3-E01A-44F1-95FF-6540BC8C3EAB}"/>
          </ac:spMkLst>
        </pc:spChg>
        <pc:spChg chg="mod">
          <ac:chgData name="Zenos Zenica" userId="de3ee720dba36952" providerId="Windows Live" clId="Web-{55A21FA5-97E0-4259-99AD-8685CFC2E718}" dt="2020-11-23T16:16:16.898" v="526"/>
          <ac:spMkLst>
            <pc:docMk/>
            <pc:sldMk cId="2306691619" sldId="335"/>
            <ac:spMk id="17" creationId="{3D995078-5C3A-434C-8044-59452370E8E7}"/>
          </ac:spMkLst>
        </pc:spChg>
        <pc:spChg chg="mod">
          <ac:chgData name="Zenos Zenica" userId="de3ee720dba36952" providerId="Windows Live" clId="Web-{55A21FA5-97E0-4259-99AD-8685CFC2E718}" dt="2020-11-23T16:17:02.102" v="550"/>
          <ac:spMkLst>
            <pc:docMk/>
            <pc:sldMk cId="2306691619" sldId="335"/>
            <ac:spMk id="18" creationId="{05964768-527E-4FE5-9060-988FA2DE2414}"/>
          </ac:spMkLst>
        </pc:spChg>
        <pc:spChg chg="mod">
          <ac:chgData name="Zenos Zenica" userId="de3ee720dba36952" providerId="Windows Live" clId="Web-{55A21FA5-97E0-4259-99AD-8685CFC2E718}" dt="2020-11-23T16:16:16.929" v="528"/>
          <ac:spMkLst>
            <pc:docMk/>
            <pc:sldMk cId="2306691619" sldId="335"/>
            <ac:spMk id="19" creationId="{99814CB9-1F95-4B6A-98EF-814657BAD560}"/>
          </ac:spMkLst>
        </pc:spChg>
        <pc:spChg chg="mod">
          <ac:chgData name="Zenos Zenica" userId="de3ee720dba36952" providerId="Windows Live" clId="Web-{55A21FA5-97E0-4259-99AD-8685CFC2E718}" dt="2020-11-23T16:17:02.117" v="551"/>
          <ac:spMkLst>
            <pc:docMk/>
            <pc:sldMk cId="2306691619" sldId="335"/>
            <ac:spMk id="20" creationId="{E2CFCDB4-07A4-4B96-8440-254994C4D1BC}"/>
          </ac:spMkLst>
        </pc:spChg>
        <pc:spChg chg="mod">
          <ac:chgData name="Zenos Zenica" userId="de3ee720dba36952" providerId="Windows Live" clId="Web-{55A21FA5-97E0-4259-99AD-8685CFC2E718}" dt="2020-11-23T16:16:16.976" v="530"/>
          <ac:spMkLst>
            <pc:docMk/>
            <pc:sldMk cId="2306691619" sldId="335"/>
            <ac:spMk id="21" creationId="{F4E711F3-7B30-463F-BE0F-9502EBE6CD8B}"/>
          </ac:spMkLst>
        </pc:spChg>
        <pc:spChg chg="mod">
          <ac:chgData name="Zenos Zenica" userId="de3ee720dba36952" providerId="Windows Live" clId="Web-{55A21FA5-97E0-4259-99AD-8685CFC2E718}" dt="2020-11-23T16:17:02.133" v="552"/>
          <ac:spMkLst>
            <pc:docMk/>
            <pc:sldMk cId="2306691619" sldId="335"/>
            <ac:spMk id="23" creationId="{7D3592B3-7658-4E2E-A8EE-67A2EF5A3D27}"/>
          </ac:spMkLst>
        </pc:spChg>
        <pc:spChg chg="mod">
          <ac:chgData name="Zenos Zenica" userId="de3ee720dba36952" providerId="Windows Live" clId="Web-{55A21FA5-97E0-4259-99AD-8685CFC2E718}" dt="2020-11-23T16:16:17.007" v="532"/>
          <ac:spMkLst>
            <pc:docMk/>
            <pc:sldMk cId="2306691619" sldId="335"/>
            <ac:spMk id="26" creationId="{F122EBBB-BE47-44F2-BDB0-D564B59A715E}"/>
          </ac:spMkLst>
        </pc:spChg>
        <pc:spChg chg="mod">
          <ac:chgData name="Zenos Zenica" userId="de3ee720dba36952" providerId="Windows Live" clId="Web-{55A21FA5-97E0-4259-99AD-8685CFC2E718}" dt="2020-11-23T16:16:17.039" v="533"/>
          <ac:spMkLst>
            <pc:docMk/>
            <pc:sldMk cId="2306691619" sldId="335"/>
            <ac:spMk id="28" creationId="{C3EB7AEC-8673-47A3-B23D-113D2232EF5D}"/>
          </ac:spMkLst>
        </pc:spChg>
        <pc:spChg chg="mod">
          <ac:chgData name="Zenos Zenica" userId="de3ee720dba36952" providerId="Windows Live" clId="Web-{55A21FA5-97E0-4259-99AD-8685CFC2E718}" dt="2020-11-23T16:16:17.054" v="534"/>
          <ac:spMkLst>
            <pc:docMk/>
            <pc:sldMk cId="2306691619" sldId="335"/>
            <ac:spMk id="30" creationId="{045778D2-140D-49F9-8CB8-190045EA7B0C}"/>
          </ac:spMkLst>
        </pc:spChg>
        <pc:spChg chg="mod">
          <ac:chgData name="Zenos Zenica" userId="de3ee720dba36952" providerId="Windows Live" clId="Web-{55A21FA5-97E0-4259-99AD-8685CFC2E718}" dt="2020-11-23T16:17:02.149" v="553"/>
          <ac:spMkLst>
            <pc:docMk/>
            <pc:sldMk cId="2306691619" sldId="335"/>
            <ac:spMk id="31" creationId="{D9CE3E7D-97C1-434F-A676-6D8A6A436A90}"/>
          </ac:spMkLst>
        </pc:spChg>
        <pc:spChg chg="mod">
          <ac:chgData name="Zenos Zenica" userId="de3ee720dba36952" providerId="Windows Live" clId="Web-{55A21FA5-97E0-4259-99AD-8685CFC2E718}" dt="2020-11-23T16:17:02.180" v="554"/>
          <ac:spMkLst>
            <pc:docMk/>
            <pc:sldMk cId="2306691619" sldId="335"/>
            <ac:spMk id="32" creationId="{B1EA253C-EEF4-4941-9456-E959421FF7BC}"/>
          </ac:spMkLst>
        </pc:spChg>
        <pc:spChg chg="mod">
          <ac:chgData name="Zenos Zenica" userId="de3ee720dba36952" providerId="Windows Live" clId="Web-{55A21FA5-97E0-4259-99AD-8685CFC2E718}" dt="2020-11-23T16:17:02.195" v="555"/>
          <ac:spMkLst>
            <pc:docMk/>
            <pc:sldMk cId="2306691619" sldId="335"/>
            <ac:spMk id="33" creationId="{8FEE6A9F-C610-4C96-9051-718A698EA8FA}"/>
          </ac:spMkLst>
        </pc:spChg>
        <pc:spChg chg="mod">
          <ac:chgData name="Zenos Zenica" userId="de3ee720dba36952" providerId="Windows Live" clId="Web-{55A21FA5-97E0-4259-99AD-8685CFC2E718}" dt="2020-11-23T16:17:02.211" v="556"/>
          <ac:spMkLst>
            <pc:docMk/>
            <pc:sldMk cId="2306691619" sldId="335"/>
            <ac:spMk id="34" creationId="{DB826488-6585-4BA3-BBCE-202A1FFF150F}"/>
          </ac:spMkLst>
        </pc:spChg>
        <pc:spChg chg="mod">
          <ac:chgData name="Zenos Zenica" userId="de3ee720dba36952" providerId="Windows Live" clId="Web-{55A21FA5-97E0-4259-99AD-8685CFC2E718}" dt="2020-11-23T16:17:02.227" v="557"/>
          <ac:spMkLst>
            <pc:docMk/>
            <pc:sldMk cId="2306691619" sldId="335"/>
            <ac:spMk id="35" creationId="{ED58E4BC-4409-4B4B-8B9C-3ADF5D94B693}"/>
          </ac:spMkLst>
        </pc:spChg>
      </pc:sldChg>
      <pc:sldChg chg="modSp add">
        <pc:chgData name="Zenos Zenica" userId="de3ee720dba36952" providerId="Windows Live" clId="Web-{55A21FA5-97E0-4259-99AD-8685CFC2E718}" dt="2020-11-23T16:17:45.258" v="567" actId="20577"/>
        <pc:sldMkLst>
          <pc:docMk/>
          <pc:sldMk cId="3805177695" sldId="336"/>
        </pc:sldMkLst>
        <pc:spChg chg="mod">
          <ac:chgData name="Zenos Zenica" userId="de3ee720dba36952" providerId="Windows Live" clId="Web-{55A21FA5-97E0-4259-99AD-8685CFC2E718}" dt="2020-11-23T16:17:30.680" v="563" actId="14100"/>
          <ac:spMkLst>
            <pc:docMk/>
            <pc:sldMk cId="3805177695" sldId="336"/>
            <ac:spMk id="16" creationId="{E83E83C3-E01A-44F1-95FF-6540BC8C3EAB}"/>
          </ac:spMkLst>
        </pc:spChg>
        <pc:spChg chg="mod">
          <ac:chgData name="Zenos Zenica" userId="de3ee720dba36952" providerId="Windows Live" clId="Web-{55A21FA5-97E0-4259-99AD-8685CFC2E718}" dt="2020-11-23T16:17:40.586" v="564"/>
          <ac:spMkLst>
            <pc:docMk/>
            <pc:sldMk cId="3805177695" sldId="336"/>
            <ac:spMk id="26" creationId="{F122EBBB-BE47-44F2-BDB0-D564B59A715E}"/>
          </ac:spMkLst>
        </pc:spChg>
        <pc:spChg chg="mod">
          <ac:chgData name="Zenos Zenica" userId="de3ee720dba36952" providerId="Windows Live" clId="Web-{55A21FA5-97E0-4259-99AD-8685CFC2E718}" dt="2020-11-23T16:17:40.602" v="565"/>
          <ac:spMkLst>
            <pc:docMk/>
            <pc:sldMk cId="3805177695" sldId="336"/>
            <ac:spMk id="28" creationId="{C3EB7AEC-8673-47A3-B23D-113D2232EF5D}"/>
          </ac:spMkLst>
        </pc:spChg>
        <pc:spChg chg="mod">
          <ac:chgData name="Zenos Zenica" userId="de3ee720dba36952" providerId="Windows Live" clId="Web-{55A21FA5-97E0-4259-99AD-8685CFC2E718}" dt="2020-11-23T16:17:45.258" v="567" actId="20577"/>
          <ac:spMkLst>
            <pc:docMk/>
            <pc:sldMk cId="3805177695" sldId="336"/>
            <ac:spMk id="30" creationId="{045778D2-140D-49F9-8CB8-190045EA7B0C}"/>
          </ac:spMkLst>
        </pc:spChg>
      </pc:sldChg>
      <pc:sldChg chg="modSp add">
        <pc:chgData name="Zenos Zenica" userId="de3ee720dba36952" providerId="Windows Live" clId="Web-{55A21FA5-97E0-4259-99AD-8685CFC2E718}" dt="2020-11-23T16:18:27.556" v="579" actId="20577"/>
        <pc:sldMkLst>
          <pc:docMk/>
          <pc:sldMk cId="994949291" sldId="337"/>
        </pc:sldMkLst>
        <pc:spChg chg="mod">
          <ac:chgData name="Zenos Zenica" userId="de3ee720dba36952" providerId="Windows Live" clId="Web-{55A21FA5-97E0-4259-99AD-8685CFC2E718}" dt="2020-11-23T16:18:08.852" v="575" actId="1076"/>
          <ac:spMkLst>
            <pc:docMk/>
            <pc:sldMk cId="994949291" sldId="337"/>
            <ac:spMk id="16" creationId="{E83E83C3-E01A-44F1-95FF-6540BC8C3EAB}"/>
          </ac:spMkLst>
        </pc:spChg>
        <pc:spChg chg="mod">
          <ac:chgData name="Zenos Zenica" userId="de3ee720dba36952" providerId="Windows Live" clId="Web-{55A21FA5-97E0-4259-99AD-8685CFC2E718}" dt="2020-11-23T16:18:22.259" v="576"/>
          <ac:spMkLst>
            <pc:docMk/>
            <pc:sldMk cId="994949291" sldId="337"/>
            <ac:spMk id="26" creationId="{F122EBBB-BE47-44F2-BDB0-D564B59A715E}"/>
          </ac:spMkLst>
        </pc:spChg>
        <pc:spChg chg="mod">
          <ac:chgData name="Zenos Zenica" userId="de3ee720dba36952" providerId="Windows Live" clId="Web-{55A21FA5-97E0-4259-99AD-8685CFC2E718}" dt="2020-11-23T16:18:22.274" v="577"/>
          <ac:spMkLst>
            <pc:docMk/>
            <pc:sldMk cId="994949291" sldId="337"/>
            <ac:spMk id="28" creationId="{C3EB7AEC-8673-47A3-B23D-113D2232EF5D}"/>
          </ac:spMkLst>
        </pc:spChg>
        <pc:spChg chg="mod">
          <ac:chgData name="Zenos Zenica" userId="de3ee720dba36952" providerId="Windows Live" clId="Web-{55A21FA5-97E0-4259-99AD-8685CFC2E718}" dt="2020-11-23T16:18:27.556" v="579" actId="20577"/>
          <ac:spMkLst>
            <pc:docMk/>
            <pc:sldMk cId="994949291" sldId="337"/>
            <ac:spMk id="30" creationId="{045778D2-140D-49F9-8CB8-190045EA7B0C}"/>
          </ac:spMkLst>
        </pc:spChg>
      </pc:sldChg>
      <pc:sldChg chg="modSp add">
        <pc:chgData name="Zenos Zenica" userId="de3ee720dba36952" providerId="Windows Live" clId="Web-{55A21FA5-97E0-4259-99AD-8685CFC2E718}" dt="2020-11-23T16:19:18.884" v="596" actId="20577"/>
        <pc:sldMkLst>
          <pc:docMk/>
          <pc:sldMk cId="2183662456" sldId="338"/>
        </pc:sldMkLst>
        <pc:spChg chg="mod">
          <ac:chgData name="Zenos Zenica" userId="de3ee720dba36952" providerId="Windows Live" clId="Web-{55A21FA5-97E0-4259-99AD-8685CFC2E718}" dt="2020-11-23T16:19:00.978" v="592" actId="1076"/>
          <ac:spMkLst>
            <pc:docMk/>
            <pc:sldMk cId="2183662456" sldId="338"/>
            <ac:spMk id="16" creationId="{E83E83C3-E01A-44F1-95FF-6540BC8C3EAB}"/>
          </ac:spMkLst>
        </pc:spChg>
        <pc:spChg chg="mod">
          <ac:chgData name="Zenos Zenica" userId="de3ee720dba36952" providerId="Windows Live" clId="Web-{55A21FA5-97E0-4259-99AD-8685CFC2E718}" dt="2020-11-23T16:19:08.869" v="593"/>
          <ac:spMkLst>
            <pc:docMk/>
            <pc:sldMk cId="2183662456" sldId="338"/>
            <ac:spMk id="26" creationId="{F122EBBB-BE47-44F2-BDB0-D564B59A715E}"/>
          </ac:spMkLst>
        </pc:spChg>
        <pc:spChg chg="mod">
          <ac:chgData name="Zenos Zenica" userId="de3ee720dba36952" providerId="Windows Live" clId="Web-{55A21FA5-97E0-4259-99AD-8685CFC2E718}" dt="2020-11-23T16:19:08.884" v="594"/>
          <ac:spMkLst>
            <pc:docMk/>
            <pc:sldMk cId="2183662456" sldId="338"/>
            <ac:spMk id="28" creationId="{C3EB7AEC-8673-47A3-B23D-113D2232EF5D}"/>
          </ac:spMkLst>
        </pc:spChg>
        <pc:spChg chg="mod">
          <ac:chgData name="Zenos Zenica" userId="de3ee720dba36952" providerId="Windows Live" clId="Web-{55A21FA5-97E0-4259-99AD-8685CFC2E718}" dt="2020-11-23T16:19:18.884" v="596" actId="20577"/>
          <ac:spMkLst>
            <pc:docMk/>
            <pc:sldMk cId="2183662456" sldId="338"/>
            <ac:spMk id="30" creationId="{045778D2-140D-49F9-8CB8-190045EA7B0C}"/>
          </ac:spMkLst>
        </pc:spChg>
      </pc:sldChg>
      <pc:sldMasterChg chg="add addSldLayout">
        <pc:chgData name="Zenos Zenica" userId="de3ee720dba36952" providerId="Windows Live" clId="Web-{55A21FA5-97E0-4259-99AD-8685CFC2E718}" dt="2020-11-23T15:59:33.340" v="0"/>
        <pc:sldMasterMkLst>
          <pc:docMk/>
          <pc:sldMasterMk cId="1233805520" sldId="2147483648"/>
        </pc:sldMasterMkLst>
        <pc:sldLayoutChg chg="add">
          <pc:chgData name="Zenos Zenica" userId="de3ee720dba36952" providerId="Windows Live" clId="Web-{55A21FA5-97E0-4259-99AD-8685CFC2E718}" dt="2020-11-23T15:59:33.340" v="0"/>
          <pc:sldLayoutMkLst>
            <pc:docMk/>
            <pc:sldMasterMk cId="1233805520" sldId="2147483648"/>
            <pc:sldLayoutMk cId="642951318" sldId="2147483687"/>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07"/>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10"/>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14"/>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22"/>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34"/>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42"/>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43"/>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44"/>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45"/>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46"/>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47"/>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48"/>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49"/>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50"/>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51"/>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52"/>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60"/>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62"/>
          </pc:sldLayoutMkLst>
        </pc:sldLayoutChg>
        <pc:sldLayoutChg chg="add">
          <pc:chgData name="Zenos Zenica" userId="de3ee720dba36952" providerId="Windows Live" clId="Web-{55A21FA5-97E0-4259-99AD-8685CFC2E718}" dt="2020-11-23T15:59:33.340" v="0"/>
          <pc:sldLayoutMkLst>
            <pc:docMk/>
            <pc:sldMasterMk cId="1233805520" sldId="2147483648"/>
            <pc:sldLayoutMk cId="676221190" sldId="2147483763"/>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64"/>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65"/>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66"/>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67"/>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68"/>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69"/>
          </pc:sldLayoutMkLst>
        </pc:sldLayoutChg>
        <pc:sldLayoutChg chg="add">
          <pc:chgData name="Zenos Zenica" userId="de3ee720dba36952" providerId="Windows Live" clId="Web-{55A21FA5-97E0-4259-99AD-8685CFC2E718}" dt="2020-11-23T15:59:33.340" v="0"/>
          <pc:sldLayoutMkLst>
            <pc:docMk/>
            <pc:sldMasterMk cId="1233805520" sldId="2147483648"/>
            <pc:sldLayoutMk cId="0" sldId="2147483770"/>
          </pc:sldLayoutMkLst>
        </pc:sldLayoutChg>
      </pc:sldMasterChg>
      <pc:sldMasterChg chg="replId">
        <pc:chgData name="Zenos Zenica" userId="de3ee720dba36952" providerId="Windows Live" clId="Web-{55A21FA5-97E0-4259-99AD-8685CFC2E718}" dt="2020-11-23T15:59:33.340" v="0"/>
        <pc:sldMasterMkLst>
          <pc:docMk/>
          <pc:sldMasterMk cId="2527814785" sldId="2147483771"/>
        </pc:sldMasterMkLst>
      </pc:sldMasterChg>
    </pc:docChg>
  </pc:docChgLst>
  <pc:docChgLst>
    <pc:chgData name="Zenos Zenica" userId="de3ee720dba36952" providerId="Windows Live" clId="Web-{48E4E262-EF5E-4DCC-8585-C7C293F726C4}"/>
    <pc:docChg chg="addSld delSld sldOrd">
      <pc:chgData name="Zenos Zenica" userId="de3ee720dba36952" providerId="Windows Live" clId="Web-{48E4E262-EF5E-4DCC-8585-C7C293F726C4}" dt="2020-11-23T07:52:01.668" v="56"/>
      <pc:docMkLst>
        <pc:docMk/>
      </pc:docMkLst>
      <pc:sldChg chg="del">
        <pc:chgData name="Zenos Zenica" userId="de3ee720dba36952" providerId="Windows Live" clId="Web-{48E4E262-EF5E-4DCC-8585-C7C293F726C4}" dt="2020-11-23T07:51:22.729" v="13"/>
        <pc:sldMkLst>
          <pc:docMk/>
          <pc:sldMk cId="2751410079" sldId="656"/>
        </pc:sldMkLst>
      </pc:sldChg>
      <pc:sldChg chg="del">
        <pc:chgData name="Zenos Zenica" userId="de3ee720dba36952" providerId="Windows Live" clId="Web-{48E4E262-EF5E-4DCC-8585-C7C293F726C4}" dt="2020-11-23T07:51:27.167" v="19"/>
        <pc:sldMkLst>
          <pc:docMk/>
          <pc:sldMk cId="636982651" sldId="3308"/>
        </pc:sldMkLst>
      </pc:sldChg>
      <pc:sldChg chg="del">
        <pc:chgData name="Zenos Zenica" userId="de3ee720dba36952" providerId="Windows Live" clId="Web-{48E4E262-EF5E-4DCC-8585-C7C293F726C4}" dt="2020-11-23T07:51:08.432" v="3"/>
        <pc:sldMkLst>
          <pc:docMk/>
          <pc:sldMk cId="1081143013" sldId="3322"/>
        </pc:sldMkLst>
      </pc:sldChg>
      <pc:sldChg chg="del">
        <pc:chgData name="Zenos Zenica" userId="de3ee720dba36952" providerId="Windows Live" clId="Web-{48E4E262-EF5E-4DCC-8585-C7C293F726C4}" dt="2020-11-23T07:51:40.089" v="38"/>
        <pc:sldMkLst>
          <pc:docMk/>
          <pc:sldMk cId="2314694749" sldId="3324"/>
        </pc:sldMkLst>
      </pc:sldChg>
      <pc:sldChg chg="del">
        <pc:chgData name="Zenos Zenica" userId="de3ee720dba36952" providerId="Windows Live" clId="Web-{48E4E262-EF5E-4DCC-8585-C7C293F726C4}" dt="2020-11-23T07:51:28.120" v="20"/>
        <pc:sldMkLst>
          <pc:docMk/>
          <pc:sldMk cId="1820136793" sldId="3325"/>
        </pc:sldMkLst>
      </pc:sldChg>
      <pc:sldChg chg="del">
        <pc:chgData name="Zenos Zenica" userId="de3ee720dba36952" providerId="Windows Live" clId="Web-{48E4E262-EF5E-4DCC-8585-C7C293F726C4}" dt="2020-11-23T07:51:25.932" v="17"/>
        <pc:sldMkLst>
          <pc:docMk/>
          <pc:sldMk cId="95585474" sldId="3336"/>
        </pc:sldMkLst>
      </pc:sldChg>
      <pc:sldChg chg="del">
        <pc:chgData name="Zenos Zenica" userId="de3ee720dba36952" providerId="Windows Live" clId="Web-{48E4E262-EF5E-4DCC-8585-C7C293F726C4}" dt="2020-11-23T07:51:20.916" v="9"/>
        <pc:sldMkLst>
          <pc:docMk/>
          <pc:sldMk cId="1747924527" sldId="3337"/>
        </pc:sldMkLst>
      </pc:sldChg>
      <pc:sldChg chg="del">
        <pc:chgData name="Zenos Zenica" userId="de3ee720dba36952" providerId="Windows Live" clId="Web-{48E4E262-EF5E-4DCC-8585-C7C293F726C4}" dt="2020-11-23T07:51:21.323" v="10"/>
        <pc:sldMkLst>
          <pc:docMk/>
          <pc:sldMk cId="896895879" sldId="3338"/>
        </pc:sldMkLst>
      </pc:sldChg>
      <pc:sldChg chg="del">
        <pc:chgData name="Zenos Zenica" userId="de3ee720dba36952" providerId="Windows Live" clId="Web-{48E4E262-EF5E-4DCC-8585-C7C293F726C4}" dt="2020-11-23T07:51:22.354" v="11"/>
        <pc:sldMkLst>
          <pc:docMk/>
          <pc:sldMk cId="1194611426" sldId="3339"/>
        </pc:sldMkLst>
      </pc:sldChg>
      <pc:sldChg chg="del">
        <pc:chgData name="Zenos Zenica" userId="de3ee720dba36952" providerId="Windows Live" clId="Web-{48E4E262-EF5E-4DCC-8585-C7C293F726C4}" dt="2020-11-23T07:51:22.370" v="12"/>
        <pc:sldMkLst>
          <pc:docMk/>
          <pc:sldMk cId="1744402656" sldId="3341"/>
        </pc:sldMkLst>
      </pc:sldChg>
      <pc:sldChg chg="del">
        <pc:chgData name="Zenos Zenica" userId="de3ee720dba36952" providerId="Windows Live" clId="Web-{48E4E262-EF5E-4DCC-8585-C7C293F726C4}" dt="2020-11-23T07:51:48.417" v="42"/>
        <pc:sldMkLst>
          <pc:docMk/>
          <pc:sldMk cId="3803869599" sldId="3342"/>
        </pc:sldMkLst>
      </pc:sldChg>
      <pc:sldChg chg="del">
        <pc:chgData name="Zenos Zenica" userId="de3ee720dba36952" providerId="Windows Live" clId="Web-{48E4E262-EF5E-4DCC-8585-C7C293F726C4}" dt="2020-11-23T07:51:48.699" v="43"/>
        <pc:sldMkLst>
          <pc:docMk/>
          <pc:sldMk cId="3185193610" sldId="3343"/>
        </pc:sldMkLst>
      </pc:sldChg>
      <pc:sldChg chg="del">
        <pc:chgData name="Zenos Zenica" userId="de3ee720dba36952" providerId="Windows Live" clId="Web-{48E4E262-EF5E-4DCC-8585-C7C293F726C4}" dt="2020-11-23T07:51:48.714" v="44"/>
        <pc:sldMkLst>
          <pc:docMk/>
          <pc:sldMk cId="1001458029" sldId="3344"/>
        </pc:sldMkLst>
      </pc:sldChg>
      <pc:sldChg chg="del">
        <pc:chgData name="Zenos Zenica" userId="de3ee720dba36952" providerId="Windows Live" clId="Web-{48E4E262-EF5E-4DCC-8585-C7C293F726C4}" dt="2020-11-23T07:51:49.292" v="45"/>
        <pc:sldMkLst>
          <pc:docMk/>
          <pc:sldMk cId="3522403463" sldId="3345"/>
        </pc:sldMkLst>
      </pc:sldChg>
      <pc:sldChg chg="del">
        <pc:chgData name="Zenos Zenica" userId="de3ee720dba36952" providerId="Windows Live" clId="Web-{48E4E262-EF5E-4DCC-8585-C7C293F726C4}" dt="2020-11-23T07:51:49.824" v="46"/>
        <pc:sldMkLst>
          <pc:docMk/>
          <pc:sldMk cId="1136903043" sldId="3346"/>
        </pc:sldMkLst>
      </pc:sldChg>
      <pc:sldChg chg="del">
        <pc:chgData name="Zenos Zenica" userId="de3ee720dba36952" providerId="Windows Live" clId="Web-{48E4E262-EF5E-4DCC-8585-C7C293F726C4}" dt="2020-11-23T07:51:50.355" v="47"/>
        <pc:sldMkLst>
          <pc:docMk/>
          <pc:sldMk cId="2346756623" sldId="3347"/>
        </pc:sldMkLst>
      </pc:sldChg>
      <pc:sldChg chg="del">
        <pc:chgData name="Zenos Zenica" userId="de3ee720dba36952" providerId="Windows Live" clId="Web-{48E4E262-EF5E-4DCC-8585-C7C293F726C4}" dt="2020-11-23T07:51:50.652" v="48"/>
        <pc:sldMkLst>
          <pc:docMk/>
          <pc:sldMk cId="618627144" sldId="3348"/>
        </pc:sldMkLst>
      </pc:sldChg>
      <pc:sldChg chg="del">
        <pc:chgData name="Zenos Zenica" userId="de3ee720dba36952" providerId="Windows Live" clId="Web-{48E4E262-EF5E-4DCC-8585-C7C293F726C4}" dt="2020-11-23T07:51:50.949" v="49"/>
        <pc:sldMkLst>
          <pc:docMk/>
          <pc:sldMk cId="3929150096" sldId="3349"/>
        </pc:sldMkLst>
      </pc:sldChg>
      <pc:sldChg chg="del">
        <pc:chgData name="Zenos Zenica" userId="de3ee720dba36952" providerId="Windows Live" clId="Web-{48E4E262-EF5E-4DCC-8585-C7C293F726C4}" dt="2020-11-23T07:51:51.527" v="50"/>
        <pc:sldMkLst>
          <pc:docMk/>
          <pc:sldMk cId="2226171858" sldId="3350"/>
        </pc:sldMkLst>
      </pc:sldChg>
      <pc:sldChg chg="del">
        <pc:chgData name="Zenos Zenica" userId="de3ee720dba36952" providerId="Windows Live" clId="Web-{48E4E262-EF5E-4DCC-8585-C7C293F726C4}" dt="2020-11-23T07:51:51.824" v="51"/>
        <pc:sldMkLst>
          <pc:docMk/>
          <pc:sldMk cId="1657241537" sldId="3351"/>
        </pc:sldMkLst>
      </pc:sldChg>
      <pc:sldChg chg="del">
        <pc:chgData name="Zenos Zenica" userId="de3ee720dba36952" providerId="Windows Live" clId="Web-{48E4E262-EF5E-4DCC-8585-C7C293F726C4}" dt="2020-11-23T07:51:52.574" v="52"/>
        <pc:sldMkLst>
          <pc:docMk/>
          <pc:sldMk cId="3913240375" sldId="3352"/>
        </pc:sldMkLst>
      </pc:sldChg>
      <pc:sldChg chg="del">
        <pc:chgData name="Zenos Zenica" userId="de3ee720dba36952" providerId="Windows Live" clId="Web-{48E4E262-EF5E-4DCC-8585-C7C293F726C4}" dt="2020-11-23T07:51:26.510" v="18"/>
        <pc:sldMkLst>
          <pc:docMk/>
          <pc:sldMk cId="441202695" sldId="3353"/>
        </pc:sldMkLst>
      </pc:sldChg>
      <pc:sldChg chg="del">
        <pc:chgData name="Zenos Zenica" userId="de3ee720dba36952" providerId="Windows Live" clId="Web-{48E4E262-EF5E-4DCC-8585-C7C293F726C4}" dt="2020-11-23T07:51:14.338" v="5"/>
        <pc:sldMkLst>
          <pc:docMk/>
          <pc:sldMk cId="1980646231" sldId="3355"/>
        </pc:sldMkLst>
      </pc:sldChg>
      <pc:sldChg chg="del ord">
        <pc:chgData name="Zenos Zenica" userId="de3ee720dba36952" providerId="Windows Live" clId="Web-{48E4E262-EF5E-4DCC-8585-C7C293F726C4}" dt="2020-11-23T07:51:19.119" v="7"/>
        <pc:sldMkLst>
          <pc:docMk/>
          <pc:sldMk cId="2893588497" sldId="3356"/>
        </pc:sldMkLst>
      </pc:sldChg>
      <pc:sldChg chg="del">
        <pc:chgData name="Zenos Zenica" userId="de3ee720dba36952" providerId="Windows Live" clId="Web-{48E4E262-EF5E-4DCC-8585-C7C293F726C4}" dt="2020-11-23T07:52:00.574" v="55"/>
        <pc:sldMkLst>
          <pc:docMk/>
          <pc:sldMk cId="3118804360" sldId="3357"/>
        </pc:sldMkLst>
      </pc:sldChg>
      <pc:sldChg chg="del">
        <pc:chgData name="Zenos Zenica" userId="de3ee720dba36952" providerId="Windows Live" clId="Web-{48E4E262-EF5E-4DCC-8585-C7C293F726C4}" dt="2020-11-23T07:51:23.182" v="14"/>
        <pc:sldMkLst>
          <pc:docMk/>
          <pc:sldMk cId="3151600471" sldId="3416"/>
        </pc:sldMkLst>
      </pc:sldChg>
      <pc:sldChg chg="del">
        <pc:chgData name="Zenos Zenica" userId="de3ee720dba36952" providerId="Windows Live" clId="Web-{48E4E262-EF5E-4DCC-8585-C7C293F726C4}" dt="2020-11-23T07:51:34.651" v="29"/>
        <pc:sldMkLst>
          <pc:docMk/>
          <pc:sldMk cId="2943454782" sldId="3417"/>
        </pc:sldMkLst>
      </pc:sldChg>
      <pc:sldChg chg="del">
        <pc:chgData name="Zenos Zenica" userId="de3ee720dba36952" providerId="Windows Live" clId="Web-{48E4E262-EF5E-4DCC-8585-C7C293F726C4}" dt="2020-11-23T07:52:01.668" v="56"/>
        <pc:sldMkLst>
          <pc:docMk/>
          <pc:sldMk cId="714886677" sldId="3420"/>
        </pc:sldMkLst>
      </pc:sldChg>
      <pc:sldChg chg="del">
        <pc:chgData name="Zenos Zenica" userId="de3ee720dba36952" providerId="Windows Live" clId="Web-{48E4E262-EF5E-4DCC-8585-C7C293F726C4}" dt="2020-11-23T07:51:36.073" v="31"/>
        <pc:sldMkLst>
          <pc:docMk/>
          <pc:sldMk cId="2431529789" sldId="3422"/>
        </pc:sldMkLst>
      </pc:sldChg>
      <pc:sldChg chg="del">
        <pc:chgData name="Zenos Zenica" userId="de3ee720dba36952" providerId="Windows Live" clId="Web-{48E4E262-EF5E-4DCC-8585-C7C293F726C4}" dt="2020-11-23T07:51:36.823" v="32"/>
        <pc:sldMkLst>
          <pc:docMk/>
          <pc:sldMk cId="2415010360" sldId="3423"/>
        </pc:sldMkLst>
      </pc:sldChg>
      <pc:sldChg chg="del">
        <pc:chgData name="Zenos Zenica" userId="de3ee720dba36952" providerId="Windows Live" clId="Web-{48E4E262-EF5E-4DCC-8585-C7C293F726C4}" dt="2020-11-23T07:51:37.198" v="33"/>
        <pc:sldMkLst>
          <pc:docMk/>
          <pc:sldMk cId="384604115" sldId="3424"/>
        </pc:sldMkLst>
      </pc:sldChg>
      <pc:sldChg chg="del">
        <pc:chgData name="Zenos Zenica" userId="de3ee720dba36952" providerId="Windows Live" clId="Web-{48E4E262-EF5E-4DCC-8585-C7C293F726C4}" dt="2020-11-23T07:51:37.870" v="34"/>
        <pc:sldMkLst>
          <pc:docMk/>
          <pc:sldMk cId="1922954209" sldId="3425"/>
        </pc:sldMkLst>
      </pc:sldChg>
      <pc:sldChg chg="del">
        <pc:chgData name="Zenos Zenica" userId="de3ee720dba36952" providerId="Windows Live" clId="Web-{48E4E262-EF5E-4DCC-8585-C7C293F726C4}" dt="2020-11-23T07:51:38.589" v="35"/>
        <pc:sldMkLst>
          <pc:docMk/>
          <pc:sldMk cId="4221683711" sldId="3426"/>
        </pc:sldMkLst>
      </pc:sldChg>
      <pc:sldChg chg="del">
        <pc:chgData name="Zenos Zenica" userId="de3ee720dba36952" providerId="Windows Live" clId="Web-{48E4E262-EF5E-4DCC-8585-C7C293F726C4}" dt="2020-11-23T07:51:38.886" v="36"/>
        <pc:sldMkLst>
          <pc:docMk/>
          <pc:sldMk cId="1914390035" sldId="3427"/>
        </pc:sldMkLst>
      </pc:sldChg>
      <pc:sldChg chg="del">
        <pc:chgData name="Zenos Zenica" userId="de3ee720dba36952" providerId="Windows Live" clId="Web-{48E4E262-EF5E-4DCC-8585-C7C293F726C4}" dt="2020-11-23T07:51:39.558" v="37"/>
        <pc:sldMkLst>
          <pc:docMk/>
          <pc:sldMk cId="2154140175" sldId="3428"/>
        </pc:sldMkLst>
      </pc:sldChg>
      <pc:sldChg chg="del">
        <pc:chgData name="Zenos Zenica" userId="de3ee720dba36952" providerId="Windows Live" clId="Web-{48E4E262-EF5E-4DCC-8585-C7C293F726C4}" dt="2020-11-23T07:51:47.511" v="41"/>
        <pc:sldMkLst>
          <pc:docMk/>
          <pc:sldMk cId="2156171954" sldId="3429"/>
        </pc:sldMkLst>
      </pc:sldChg>
      <pc:sldChg chg="del">
        <pc:chgData name="Zenos Zenica" userId="de3ee720dba36952" providerId="Windows Live" clId="Web-{48E4E262-EF5E-4DCC-8585-C7C293F726C4}" dt="2020-11-23T07:51:52.589" v="53"/>
        <pc:sldMkLst>
          <pc:docMk/>
          <pc:sldMk cId="3564596886" sldId="3430"/>
        </pc:sldMkLst>
      </pc:sldChg>
      <pc:sldChg chg="del">
        <pc:chgData name="Zenos Zenica" userId="de3ee720dba36952" providerId="Windows Live" clId="Web-{48E4E262-EF5E-4DCC-8585-C7C293F726C4}" dt="2020-11-23T07:51:54.027" v="54"/>
        <pc:sldMkLst>
          <pc:docMk/>
          <pc:sldMk cId="928267502" sldId="3431"/>
        </pc:sldMkLst>
      </pc:sldChg>
      <pc:sldChg chg="del">
        <pc:chgData name="Zenos Zenica" userId="de3ee720dba36952" providerId="Windows Live" clId="Web-{48E4E262-EF5E-4DCC-8585-C7C293F726C4}" dt="2020-11-23T07:51:40.120" v="39"/>
        <pc:sldMkLst>
          <pc:docMk/>
          <pc:sldMk cId="795621440" sldId="4414"/>
        </pc:sldMkLst>
      </pc:sldChg>
      <pc:sldChg chg="del">
        <pc:chgData name="Zenos Zenica" userId="de3ee720dba36952" providerId="Windows Live" clId="Web-{48E4E262-EF5E-4DCC-8585-C7C293F726C4}" dt="2020-11-23T07:51:46.464" v="40"/>
        <pc:sldMkLst>
          <pc:docMk/>
          <pc:sldMk cId="1853713524" sldId="4415"/>
        </pc:sldMkLst>
      </pc:sldChg>
      <pc:sldChg chg="del">
        <pc:chgData name="Zenos Zenica" userId="de3ee720dba36952" providerId="Windows Live" clId="Web-{48E4E262-EF5E-4DCC-8585-C7C293F726C4}" dt="2020-11-23T07:51:24.542" v="15"/>
        <pc:sldMkLst>
          <pc:docMk/>
          <pc:sldMk cId="2135269489" sldId="4453"/>
        </pc:sldMkLst>
      </pc:sldChg>
      <pc:sldChg chg="del">
        <pc:chgData name="Zenos Zenica" userId="de3ee720dba36952" providerId="Windows Live" clId="Web-{48E4E262-EF5E-4DCC-8585-C7C293F726C4}" dt="2020-11-23T07:51:25.292" v="16"/>
        <pc:sldMkLst>
          <pc:docMk/>
          <pc:sldMk cId="324974782" sldId="4454"/>
        </pc:sldMkLst>
      </pc:sldChg>
      <pc:sldChg chg="del">
        <pc:chgData name="Zenos Zenica" userId="de3ee720dba36952" providerId="Windows Live" clId="Web-{48E4E262-EF5E-4DCC-8585-C7C293F726C4}" dt="2020-11-23T07:51:20.213" v="8"/>
        <pc:sldMkLst>
          <pc:docMk/>
          <pc:sldMk cId="204089798" sldId="4508"/>
        </pc:sldMkLst>
      </pc:sldChg>
      <pc:sldChg chg="del">
        <pc:chgData name="Zenos Zenica" userId="de3ee720dba36952" providerId="Windows Live" clId="Web-{48E4E262-EF5E-4DCC-8585-C7C293F726C4}" dt="2020-11-23T07:51:29.448" v="21"/>
        <pc:sldMkLst>
          <pc:docMk/>
          <pc:sldMk cId="1145838049" sldId="4509"/>
        </pc:sldMkLst>
      </pc:sldChg>
      <pc:sldChg chg="del">
        <pc:chgData name="Zenos Zenica" userId="de3ee720dba36952" providerId="Windows Live" clId="Web-{48E4E262-EF5E-4DCC-8585-C7C293F726C4}" dt="2020-11-23T07:51:30.089" v="22"/>
        <pc:sldMkLst>
          <pc:docMk/>
          <pc:sldMk cId="139839723" sldId="4510"/>
        </pc:sldMkLst>
      </pc:sldChg>
      <pc:sldChg chg="del">
        <pc:chgData name="Zenos Zenica" userId="de3ee720dba36952" providerId="Windows Live" clId="Web-{48E4E262-EF5E-4DCC-8585-C7C293F726C4}" dt="2020-11-23T07:51:31.057" v="23"/>
        <pc:sldMkLst>
          <pc:docMk/>
          <pc:sldMk cId="1101745320" sldId="4511"/>
        </pc:sldMkLst>
      </pc:sldChg>
      <pc:sldChg chg="del">
        <pc:chgData name="Zenos Zenica" userId="de3ee720dba36952" providerId="Windows Live" clId="Web-{48E4E262-EF5E-4DCC-8585-C7C293F726C4}" dt="2020-11-23T07:51:31.636" v="24"/>
        <pc:sldMkLst>
          <pc:docMk/>
          <pc:sldMk cId="2635086758" sldId="4512"/>
        </pc:sldMkLst>
      </pc:sldChg>
      <pc:sldChg chg="del">
        <pc:chgData name="Zenos Zenica" userId="de3ee720dba36952" providerId="Windows Live" clId="Web-{48E4E262-EF5E-4DCC-8585-C7C293F726C4}" dt="2020-11-23T07:51:32.276" v="25"/>
        <pc:sldMkLst>
          <pc:docMk/>
          <pc:sldMk cId="1492426281" sldId="4513"/>
        </pc:sldMkLst>
      </pc:sldChg>
      <pc:sldChg chg="del">
        <pc:chgData name="Zenos Zenica" userId="de3ee720dba36952" providerId="Windows Live" clId="Web-{48E4E262-EF5E-4DCC-8585-C7C293F726C4}" dt="2020-11-23T07:51:33.089" v="26"/>
        <pc:sldMkLst>
          <pc:docMk/>
          <pc:sldMk cId="651822727" sldId="4514"/>
        </pc:sldMkLst>
      </pc:sldChg>
      <pc:sldChg chg="del">
        <pc:chgData name="Zenos Zenica" userId="de3ee720dba36952" providerId="Windows Live" clId="Web-{48E4E262-EF5E-4DCC-8585-C7C293F726C4}" dt="2020-11-23T07:51:33.870" v="27"/>
        <pc:sldMkLst>
          <pc:docMk/>
          <pc:sldMk cId="2816545536" sldId="4515"/>
        </pc:sldMkLst>
      </pc:sldChg>
      <pc:sldChg chg="del">
        <pc:chgData name="Zenos Zenica" userId="de3ee720dba36952" providerId="Windows Live" clId="Web-{48E4E262-EF5E-4DCC-8585-C7C293F726C4}" dt="2020-11-23T07:51:33.870" v="28"/>
        <pc:sldMkLst>
          <pc:docMk/>
          <pc:sldMk cId="3398099825" sldId="4516"/>
        </pc:sldMkLst>
      </pc:sldChg>
      <pc:sldChg chg="del">
        <pc:chgData name="Zenos Zenica" userId="de3ee720dba36952" providerId="Windows Live" clId="Web-{48E4E262-EF5E-4DCC-8585-C7C293F726C4}" dt="2020-11-23T07:51:34.995" v="30"/>
        <pc:sldMkLst>
          <pc:docMk/>
          <pc:sldMk cId="1078092694" sldId="4517"/>
        </pc:sldMkLst>
      </pc:sldChg>
      <pc:sldChg chg="new del">
        <pc:chgData name="Zenos Zenica" userId="de3ee720dba36952" providerId="Windows Live" clId="Web-{48E4E262-EF5E-4DCC-8585-C7C293F726C4}" dt="2020-11-23T07:51:11.057" v="4"/>
        <pc:sldMkLst>
          <pc:docMk/>
          <pc:sldMk cId="2096003915" sldId="4518"/>
        </pc:sldMkLst>
      </pc:sldChg>
      <pc:sldChg chg="add del">
        <pc:chgData name="Zenos Zenica" userId="de3ee720dba36952" providerId="Windows Live" clId="Web-{48E4E262-EF5E-4DCC-8585-C7C293F726C4}" dt="2020-11-23T07:51:05.838" v="2"/>
        <pc:sldMkLst>
          <pc:docMk/>
          <pc:sldMk cId="1306023396" sldId="4519"/>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x-non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A5D488-EE37-CC46-A31F-D42BB591ED34}" type="datetimeFigureOut">
              <a:rPr lang="x-none" smtClean="0"/>
              <a:t>21/04/2022</a:t>
            </a:fld>
            <a:endParaRPr lang="x-non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x-non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Haga clic para editar los estilos de texto maestro</a:t>
            </a:r>
          </a:p>
          <a:p>
            <a:pPr lvl="1"/>
            <a:r>
              <a:rPr lang="en-GB"/>
              <a:t>Segundo nivel</a:t>
            </a:r>
          </a:p>
          <a:p>
            <a:pPr lvl="2"/>
            <a:r>
              <a:rPr lang="en-GB"/>
              <a:t>Tercer nivel</a:t>
            </a:r>
          </a:p>
          <a:p>
            <a:pPr lvl="3"/>
            <a:r>
              <a:rPr lang="en-GB"/>
              <a:t>Cuarto nivel</a:t>
            </a:r>
          </a:p>
          <a:p>
            <a:pPr lvl="4"/>
            <a:r>
              <a:rPr lang="en-GB"/>
              <a:t>Quinto nivel </a:t>
            </a:r>
            <a:endParaRPr lang="x-non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x-non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E38DE7-A09D-934A-B951-FC1196F25BFE}" type="slidenum">
              <a:rPr lang="x-none" smtClean="0"/>
              <a:t>‹#›</a:t>
            </a:fld>
            <a:endParaRPr lang="x-none"/>
          </a:p>
        </p:txBody>
      </p:sp>
    </p:spTree>
    <p:extLst>
      <p:ext uri="{BB962C8B-B14F-4D97-AF65-F5344CB8AC3E}">
        <p14:creationId xmlns:p14="http://schemas.microsoft.com/office/powerpoint/2010/main" val="1604681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a:t>
            </a:fld>
            <a:endParaRPr lang="en-GB" dirty="0"/>
          </a:p>
        </p:txBody>
      </p:sp>
    </p:spTree>
    <p:extLst>
      <p:ext uri="{BB962C8B-B14F-4D97-AF65-F5344CB8AC3E}">
        <p14:creationId xmlns:p14="http://schemas.microsoft.com/office/powerpoint/2010/main" val="26564139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0</a:t>
            </a:fld>
            <a:endParaRPr lang="en-GB" dirty="0"/>
          </a:p>
        </p:txBody>
      </p:sp>
    </p:spTree>
    <p:extLst>
      <p:ext uri="{BB962C8B-B14F-4D97-AF65-F5344CB8AC3E}">
        <p14:creationId xmlns:p14="http://schemas.microsoft.com/office/powerpoint/2010/main" val="12974854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1</a:t>
            </a:fld>
            <a:endParaRPr lang="en-GB" dirty="0"/>
          </a:p>
        </p:txBody>
      </p:sp>
    </p:spTree>
    <p:extLst>
      <p:ext uri="{BB962C8B-B14F-4D97-AF65-F5344CB8AC3E}">
        <p14:creationId xmlns:p14="http://schemas.microsoft.com/office/powerpoint/2010/main" val="16809901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2</a:t>
            </a:fld>
            <a:endParaRPr lang="en-GB" dirty="0"/>
          </a:p>
        </p:txBody>
      </p:sp>
    </p:spTree>
    <p:extLst>
      <p:ext uri="{BB962C8B-B14F-4D97-AF65-F5344CB8AC3E}">
        <p14:creationId xmlns:p14="http://schemas.microsoft.com/office/powerpoint/2010/main" val="9106539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3</a:t>
            </a:fld>
            <a:endParaRPr lang="en-GB" dirty="0"/>
          </a:p>
        </p:txBody>
      </p:sp>
    </p:spTree>
    <p:extLst>
      <p:ext uri="{BB962C8B-B14F-4D97-AF65-F5344CB8AC3E}">
        <p14:creationId xmlns:p14="http://schemas.microsoft.com/office/powerpoint/2010/main" val="38884798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4</a:t>
            </a:fld>
            <a:endParaRPr lang="en-GB" dirty="0"/>
          </a:p>
        </p:txBody>
      </p:sp>
    </p:spTree>
    <p:extLst>
      <p:ext uri="{BB962C8B-B14F-4D97-AF65-F5344CB8AC3E}">
        <p14:creationId xmlns:p14="http://schemas.microsoft.com/office/powerpoint/2010/main" val="29310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5</a:t>
            </a:fld>
            <a:endParaRPr lang="en-GB" dirty="0"/>
          </a:p>
        </p:txBody>
      </p:sp>
    </p:spTree>
    <p:extLst>
      <p:ext uri="{BB962C8B-B14F-4D97-AF65-F5344CB8AC3E}">
        <p14:creationId xmlns:p14="http://schemas.microsoft.com/office/powerpoint/2010/main" val="28658027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6</a:t>
            </a:fld>
            <a:endParaRPr lang="en-GB" dirty="0"/>
          </a:p>
        </p:txBody>
      </p:sp>
    </p:spTree>
    <p:extLst>
      <p:ext uri="{BB962C8B-B14F-4D97-AF65-F5344CB8AC3E}">
        <p14:creationId xmlns:p14="http://schemas.microsoft.com/office/powerpoint/2010/main" val="21896198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7</a:t>
            </a:fld>
            <a:endParaRPr lang="en-GB" dirty="0"/>
          </a:p>
        </p:txBody>
      </p:sp>
    </p:spTree>
    <p:extLst>
      <p:ext uri="{BB962C8B-B14F-4D97-AF65-F5344CB8AC3E}">
        <p14:creationId xmlns:p14="http://schemas.microsoft.com/office/powerpoint/2010/main" val="28354868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8</a:t>
            </a:fld>
            <a:endParaRPr lang="en-GB" dirty="0"/>
          </a:p>
        </p:txBody>
      </p:sp>
    </p:spTree>
    <p:extLst>
      <p:ext uri="{BB962C8B-B14F-4D97-AF65-F5344CB8AC3E}">
        <p14:creationId xmlns:p14="http://schemas.microsoft.com/office/powerpoint/2010/main" val="16253354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9</a:t>
            </a:fld>
            <a:endParaRPr lang="en-GB" dirty="0"/>
          </a:p>
        </p:txBody>
      </p:sp>
    </p:spTree>
    <p:extLst>
      <p:ext uri="{BB962C8B-B14F-4D97-AF65-F5344CB8AC3E}">
        <p14:creationId xmlns:p14="http://schemas.microsoft.com/office/powerpoint/2010/main" val="29562334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a:t>
            </a:fld>
            <a:endParaRPr lang="en-GB" dirty="0"/>
          </a:p>
        </p:txBody>
      </p:sp>
    </p:spTree>
    <p:extLst>
      <p:ext uri="{BB962C8B-B14F-4D97-AF65-F5344CB8AC3E}">
        <p14:creationId xmlns:p14="http://schemas.microsoft.com/office/powerpoint/2010/main" val="30071057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0</a:t>
            </a:fld>
            <a:endParaRPr lang="en-GB" dirty="0"/>
          </a:p>
        </p:txBody>
      </p:sp>
    </p:spTree>
    <p:extLst>
      <p:ext uri="{BB962C8B-B14F-4D97-AF65-F5344CB8AC3E}">
        <p14:creationId xmlns:p14="http://schemas.microsoft.com/office/powerpoint/2010/main" val="22737220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1</a:t>
            </a:fld>
            <a:endParaRPr lang="en-GB" dirty="0"/>
          </a:p>
        </p:txBody>
      </p:sp>
    </p:spTree>
    <p:extLst>
      <p:ext uri="{BB962C8B-B14F-4D97-AF65-F5344CB8AC3E}">
        <p14:creationId xmlns:p14="http://schemas.microsoft.com/office/powerpoint/2010/main" val="24739406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2</a:t>
            </a:fld>
            <a:endParaRPr lang="en-GB" dirty="0"/>
          </a:p>
        </p:txBody>
      </p:sp>
    </p:spTree>
    <p:extLst>
      <p:ext uri="{BB962C8B-B14F-4D97-AF65-F5344CB8AC3E}">
        <p14:creationId xmlns:p14="http://schemas.microsoft.com/office/powerpoint/2010/main" val="3998801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3</a:t>
            </a:fld>
            <a:endParaRPr lang="en-GB" dirty="0"/>
          </a:p>
        </p:txBody>
      </p:sp>
    </p:spTree>
    <p:extLst>
      <p:ext uri="{BB962C8B-B14F-4D97-AF65-F5344CB8AC3E}">
        <p14:creationId xmlns:p14="http://schemas.microsoft.com/office/powerpoint/2010/main" val="26427491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4</a:t>
            </a:fld>
            <a:endParaRPr lang="en-GB" dirty="0"/>
          </a:p>
        </p:txBody>
      </p:sp>
    </p:spTree>
    <p:extLst>
      <p:ext uri="{BB962C8B-B14F-4D97-AF65-F5344CB8AC3E}">
        <p14:creationId xmlns:p14="http://schemas.microsoft.com/office/powerpoint/2010/main" val="25414370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5</a:t>
            </a:fld>
            <a:endParaRPr lang="en-GB" dirty="0"/>
          </a:p>
        </p:txBody>
      </p:sp>
    </p:spTree>
    <p:extLst>
      <p:ext uri="{BB962C8B-B14F-4D97-AF65-F5344CB8AC3E}">
        <p14:creationId xmlns:p14="http://schemas.microsoft.com/office/powerpoint/2010/main" val="3854145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a:t>
            </a:fld>
            <a:endParaRPr lang="en-GB" dirty="0"/>
          </a:p>
        </p:txBody>
      </p:sp>
    </p:spTree>
    <p:extLst>
      <p:ext uri="{BB962C8B-B14F-4D97-AF65-F5344CB8AC3E}">
        <p14:creationId xmlns:p14="http://schemas.microsoft.com/office/powerpoint/2010/main" val="32272387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a:t>
            </a:fld>
            <a:endParaRPr lang="en-GB" dirty="0"/>
          </a:p>
        </p:txBody>
      </p:sp>
    </p:spTree>
    <p:extLst>
      <p:ext uri="{BB962C8B-B14F-4D97-AF65-F5344CB8AC3E}">
        <p14:creationId xmlns:p14="http://schemas.microsoft.com/office/powerpoint/2010/main" val="26321958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a:t>
            </a:fld>
            <a:endParaRPr lang="en-GB" dirty="0"/>
          </a:p>
        </p:txBody>
      </p:sp>
    </p:spTree>
    <p:extLst>
      <p:ext uri="{BB962C8B-B14F-4D97-AF65-F5344CB8AC3E}">
        <p14:creationId xmlns:p14="http://schemas.microsoft.com/office/powerpoint/2010/main" val="24428925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a:t>
            </a:fld>
            <a:endParaRPr lang="en-GB" dirty="0"/>
          </a:p>
        </p:txBody>
      </p:sp>
    </p:spTree>
    <p:extLst>
      <p:ext uri="{BB962C8B-B14F-4D97-AF65-F5344CB8AC3E}">
        <p14:creationId xmlns:p14="http://schemas.microsoft.com/office/powerpoint/2010/main" val="7305152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a:t>
            </a:fld>
            <a:endParaRPr lang="en-GB" dirty="0"/>
          </a:p>
        </p:txBody>
      </p:sp>
    </p:spTree>
    <p:extLst>
      <p:ext uri="{BB962C8B-B14F-4D97-AF65-F5344CB8AC3E}">
        <p14:creationId xmlns:p14="http://schemas.microsoft.com/office/powerpoint/2010/main" val="782765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a:t>
            </a:fld>
            <a:endParaRPr lang="en-GB" dirty="0"/>
          </a:p>
        </p:txBody>
      </p:sp>
    </p:spTree>
    <p:extLst>
      <p:ext uri="{BB962C8B-B14F-4D97-AF65-F5344CB8AC3E}">
        <p14:creationId xmlns:p14="http://schemas.microsoft.com/office/powerpoint/2010/main" val="33225734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9</a:t>
            </a:fld>
            <a:endParaRPr lang="en-GB" dirty="0"/>
          </a:p>
        </p:txBody>
      </p:sp>
    </p:spTree>
    <p:extLst>
      <p:ext uri="{BB962C8B-B14F-4D97-AF65-F5344CB8AC3E}">
        <p14:creationId xmlns:p14="http://schemas.microsoft.com/office/powerpoint/2010/main" val="2631239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DDFC340-CFC0-6A4C-8739-7D4FA9DA005D}"/>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x-none"/>
          </a:p>
        </p:txBody>
      </p:sp>
      <p:sp>
        <p:nvSpPr>
          <p:cNvPr id="3" name="Subtitle 2">
            <a:extLst>
              <a:ext uri="{FF2B5EF4-FFF2-40B4-BE49-F238E27FC236}">
                <a16:creationId xmlns:a16="http://schemas.microsoft.com/office/drawing/2014/main" xmlns="" id="{D613CCAE-13AB-6842-B47D-76BE65EB51B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x-none"/>
          </a:p>
        </p:txBody>
      </p:sp>
      <p:sp>
        <p:nvSpPr>
          <p:cNvPr id="4" name="Date Placeholder 3">
            <a:extLst>
              <a:ext uri="{FF2B5EF4-FFF2-40B4-BE49-F238E27FC236}">
                <a16:creationId xmlns:a16="http://schemas.microsoft.com/office/drawing/2014/main" xmlns="" id="{2945ADC5-98F3-A642-A230-0718603F2124}"/>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72675CD4-30E5-CF49-8842-60F4A2315B83}"/>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186FCA30-F267-7349-9909-8F3428830F55}"/>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1198126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ACF8004-C643-3A40-A8B1-C6D441F12D94}"/>
              </a:ext>
            </a:extLst>
          </p:cNvPr>
          <p:cNvSpPr>
            <a:spLocks noGrp="1"/>
          </p:cNvSpPr>
          <p:nvPr>
            <p:ph type="title"/>
          </p:nvPr>
        </p:nvSpPr>
        <p:spPr/>
        <p:txBody>
          <a:bodyPr/>
          <a:lstStyle/>
          <a:p>
            <a:r>
              <a:rPr lang="en-GB"/>
              <a:t>Click to edit Master title style</a:t>
            </a:r>
            <a:endParaRPr lang="x-none"/>
          </a:p>
        </p:txBody>
      </p:sp>
      <p:sp>
        <p:nvSpPr>
          <p:cNvPr id="3" name="Vertical Text Placeholder 2">
            <a:extLst>
              <a:ext uri="{FF2B5EF4-FFF2-40B4-BE49-F238E27FC236}">
                <a16:creationId xmlns:a16="http://schemas.microsoft.com/office/drawing/2014/main" xmlns="" id="{4E01DB86-4DCD-3743-A4B8-28D6A99965B0}"/>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57AB98A4-B84D-9549-8075-546BC844B5E5}"/>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8CBAEBA6-D608-2F44-A1B9-691DDF8949B6}"/>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03E2669C-E0CE-464D-875E-B81DA2EC9DCE}"/>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502903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362D6791-6A1F-F44C-98EE-F93493AD35A2}"/>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x-none"/>
          </a:p>
        </p:txBody>
      </p:sp>
      <p:sp>
        <p:nvSpPr>
          <p:cNvPr id="3" name="Vertical Text Placeholder 2">
            <a:extLst>
              <a:ext uri="{FF2B5EF4-FFF2-40B4-BE49-F238E27FC236}">
                <a16:creationId xmlns:a16="http://schemas.microsoft.com/office/drawing/2014/main" xmlns="" id="{40667828-FC2D-B748-A402-E746C6543479}"/>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5A59B886-00D1-6646-99D8-673550CF4692}"/>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0D97CF24-47D4-6442-87A5-30A49C0EFB01}"/>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1A038CB8-F6E8-924B-BDE1-6DFEB84876CB}"/>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29331861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ver Design 2">
    <p:spTree>
      <p:nvGrpSpPr>
        <p:cNvPr id="1" name=""/>
        <p:cNvGrpSpPr/>
        <p:nvPr/>
      </p:nvGrpSpPr>
      <p:grpSpPr>
        <a:xfrm>
          <a:off x="0" y="0"/>
          <a:ext cx="0" cy="0"/>
          <a:chOff x="0" y="0"/>
          <a:chExt cx="0" cy="0"/>
        </a:xfrm>
      </p:grpSpPr>
      <p:sp>
        <p:nvSpPr>
          <p:cNvPr id="4" name="Rectangle 3"/>
          <p:cNvSpPr/>
          <p:nvPr userDrawn="1"/>
        </p:nvSpPr>
        <p:spPr>
          <a:xfrm>
            <a:off x="-6722" y="3278038"/>
            <a:ext cx="12198722" cy="3579962"/>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0882" y="780222"/>
            <a:ext cx="9157558" cy="1848523"/>
          </a:xfrm>
          <a:prstGeom prst="rect">
            <a:avLst/>
          </a:prstGeom>
        </p:spPr>
      </p:pic>
      <p:grpSp>
        <p:nvGrpSpPr>
          <p:cNvPr id="15" name="Group 14"/>
          <p:cNvGrpSpPr/>
          <p:nvPr userDrawn="1"/>
        </p:nvGrpSpPr>
        <p:grpSpPr>
          <a:xfrm>
            <a:off x="10325100" y="3460836"/>
            <a:ext cx="1866900" cy="463550"/>
            <a:chOff x="0" y="0"/>
            <a:chExt cx="2301694" cy="571500"/>
          </a:xfrm>
        </p:grpSpPr>
        <p:sp>
          <p:nvSpPr>
            <p:cNvPr id="16" name="Rectangle 1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17" name="Picture 16"/>
            <p:cNvPicPr>
              <a:picLocks noChangeAspect="1"/>
            </p:cNvPicPr>
            <p:nvPr/>
          </p:nvPicPr>
          <p:blipFill rotWithShape="1">
            <a:blip r:embed="rId3">
              <a:extLst>
                <a:ext uri="{28A0092B-C50C-407E-A947-70E740481C1C}">
                  <a14:useLocalDpi xmlns:a14="http://schemas.microsoft.com/office/drawing/2010/main" val="0"/>
                </a:ext>
              </a:extLst>
            </a:blip>
            <a:srcRect r="44449"/>
            <a:stretch/>
          </p:blipFill>
          <p:spPr bwMode="auto">
            <a:xfrm>
              <a:off x="125070" y="97860"/>
              <a:ext cx="1675765" cy="384810"/>
            </a:xfrm>
            <a:prstGeom prst="rect">
              <a:avLst/>
            </a:prstGeom>
            <a:ln>
              <a:noFill/>
            </a:ln>
            <a:extLst>
              <a:ext uri="{53640926-AAD7-44D8-BBD7-CCE9431645EC}">
                <a14:shadowObscured xmlns:a14="http://schemas.microsoft.com/office/drawing/2010/main"/>
              </a:ext>
            </a:extLst>
          </p:spPr>
        </p:pic>
      </p:grpSp>
      <p:cxnSp>
        <p:nvCxnSpPr>
          <p:cNvPr id="20" name="Straight Connector 19"/>
          <p:cNvCxnSpPr/>
          <p:nvPr userDrawn="1"/>
        </p:nvCxnSpPr>
        <p:spPr>
          <a:xfrm>
            <a:off x="600882" y="4859037"/>
            <a:ext cx="483609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b="32961"/>
          <a:stretch/>
        </p:blipFill>
        <p:spPr>
          <a:xfrm>
            <a:off x="10890786" y="6021708"/>
            <a:ext cx="1301214" cy="872318"/>
          </a:xfrm>
          <a:prstGeom prst="rect">
            <a:avLst/>
          </a:prstGeom>
        </p:spPr>
      </p:pic>
      <p:pic>
        <p:nvPicPr>
          <p:cNvPr id="3" name="Picture 2"/>
          <p:cNvPicPr>
            <a:picLocks noChangeAspect="1"/>
          </p:cNvPicPr>
          <p:nvPr userDrawn="1"/>
        </p:nvPicPr>
        <p:blipFill rotWithShape="1">
          <a:blip r:embed="rId5">
            <a:extLst>
              <a:ext uri="{28A0092B-C50C-407E-A947-70E740481C1C}">
                <a14:useLocalDpi xmlns:a14="http://schemas.microsoft.com/office/drawing/2010/main" val="0"/>
              </a:ext>
            </a:extLst>
          </a:blip>
          <a:srcRect l="31220" t="21060"/>
          <a:stretch/>
        </p:blipFill>
        <p:spPr>
          <a:xfrm>
            <a:off x="0" y="3218143"/>
            <a:ext cx="894968" cy="1027183"/>
          </a:xfrm>
          <a:prstGeom prst="rect">
            <a:avLst/>
          </a:prstGeom>
        </p:spPr>
      </p:pic>
      <p:sp>
        <p:nvSpPr>
          <p:cNvPr id="35" name="Text Placeholder 23"/>
          <p:cNvSpPr>
            <a:spLocks noGrp="1"/>
          </p:cNvSpPr>
          <p:nvPr>
            <p:ph type="body" sz="quarter" idx="15" hasCustomPrompt="1"/>
          </p:nvPr>
        </p:nvSpPr>
        <p:spPr>
          <a:xfrm>
            <a:off x="767012" y="4930199"/>
            <a:ext cx="4667468" cy="697353"/>
          </a:xfrm>
        </p:spPr>
        <p:txBody>
          <a:bodyPr>
            <a:noAutofit/>
          </a:bodyPr>
          <a:lstStyle>
            <a:lvl1pPr marL="0" indent="0" algn="l">
              <a:buNone/>
              <a:defRPr sz="5400" baseline="0">
                <a:solidFill>
                  <a:schemeClr val="bg1"/>
                </a:solidFill>
                <a:latin typeface="+mn-lt"/>
              </a:defRPr>
            </a:lvl1pPr>
          </a:lstStyle>
          <a:p>
            <a:pPr lvl="0"/>
            <a:r>
              <a:rPr lang="en-GB" dirty="0"/>
              <a:t>SMART UP</a:t>
            </a:r>
          </a:p>
        </p:txBody>
      </p:sp>
      <p:sp>
        <p:nvSpPr>
          <p:cNvPr id="36" name="Text Placeholder 23"/>
          <p:cNvSpPr>
            <a:spLocks noGrp="1"/>
          </p:cNvSpPr>
          <p:nvPr>
            <p:ph type="body" sz="quarter" idx="16" hasCustomPrompt="1"/>
          </p:nvPr>
        </p:nvSpPr>
        <p:spPr>
          <a:xfrm>
            <a:off x="826409" y="4280907"/>
            <a:ext cx="5278651" cy="697353"/>
          </a:xfrm>
        </p:spPr>
        <p:txBody>
          <a:bodyPr>
            <a:normAutofit/>
          </a:bodyPr>
          <a:lstStyle>
            <a:lvl1pPr marL="0" indent="0" algn="l">
              <a:buNone/>
              <a:defRPr sz="3600">
                <a:solidFill>
                  <a:schemeClr val="bg1"/>
                </a:solidFill>
                <a:latin typeface="+mn-lt"/>
              </a:defRPr>
            </a:lvl1pPr>
          </a:lstStyle>
          <a:p>
            <a:pPr lvl="0"/>
            <a:r>
              <a:rPr lang="en-GB" dirty="0"/>
              <a:t>Find out more about</a:t>
            </a:r>
          </a:p>
        </p:txBody>
      </p:sp>
      <p:sp>
        <p:nvSpPr>
          <p:cNvPr id="37" name="Rectangle 36"/>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18565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ivider - Orange">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5"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extLst>
      <p:ext uri="{BB962C8B-B14F-4D97-AF65-F5344CB8AC3E}">
        <p14:creationId xmlns:p14="http://schemas.microsoft.com/office/powerpoint/2010/main" val="39016982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ext only with 1 colum - RIGH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2734103" y="1982978"/>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2266122" y="1767276"/>
            <a:ext cx="9676865"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5" name="Picture 24">
            <a:extLst>
              <a:ext uri="{FF2B5EF4-FFF2-40B4-BE49-F238E27FC236}">
                <a16:creationId xmlns:a16="http://schemas.microsoft.com/office/drawing/2014/main" xmlns="" id="{5E239D8E-AA39-3D49-8E9D-3122689104D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26" name="Group 25">
            <a:extLst>
              <a:ext uri="{FF2B5EF4-FFF2-40B4-BE49-F238E27FC236}">
                <a16:creationId xmlns:a16="http://schemas.microsoft.com/office/drawing/2014/main" xmlns="" id="{9EDE9DB7-F96D-754A-8F32-88AA63F76613}"/>
              </a:ext>
            </a:extLst>
          </p:cNvPr>
          <p:cNvGrpSpPr/>
          <p:nvPr userDrawn="1"/>
        </p:nvGrpSpPr>
        <p:grpSpPr>
          <a:xfrm>
            <a:off x="3334007" y="6278877"/>
            <a:ext cx="8395542" cy="332623"/>
            <a:chOff x="7632699" y="6308250"/>
            <a:chExt cx="4040789" cy="572290"/>
          </a:xfrm>
        </p:grpSpPr>
        <p:sp>
          <p:nvSpPr>
            <p:cNvPr id="27" name="テキスト プレースホルダー 36">
              <a:extLst>
                <a:ext uri="{FF2B5EF4-FFF2-40B4-BE49-F238E27FC236}">
                  <a16:creationId xmlns:a16="http://schemas.microsoft.com/office/drawing/2014/main" xmlns="" id="{A0F6FB48-D5B8-8343-8082-14072FCB52D5}"/>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8" name="テキスト プレースホルダー 36">
              <a:extLst>
                <a:ext uri="{FF2B5EF4-FFF2-40B4-BE49-F238E27FC236}">
                  <a16:creationId xmlns:a16="http://schemas.microsoft.com/office/drawing/2014/main" xmlns="" id="{5BA4DF3F-4368-7246-B548-F2BF840A1B03}"/>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xmlns="" id="{D28415DF-AA54-5549-8A85-BBFC831E167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extLst>
      <p:ext uri="{BB962C8B-B14F-4D97-AF65-F5344CB8AC3E}">
        <p14:creationId xmlns:p14="http://schemas.microsoft.com/office/powerpoint/2010/main" val="3767657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hank you slide">
    <p:spTree>
      <p:nvGrpSpPr>
        <p:cNvPr id="1" name=""/>
        <p:cNvGrpSpPr/>
        <p:nvPr/>
      </p:nvGrpSpPr>
      <p:grpSpPr>
        <a:xfrm>
          <a:off x="0" y="0"/>
          <a:ext cx="0" cy="0"/>
          <a:chOff x="0" y="0"/>
          <a:chExt cx="0" cy="0"/>
        </a:xfrm>
      </p:grpSpPr>
      <p:sp>
        <p:nvSpPr>
          <p:cNvPr id="18" name="Rectangle 17"/>
          <p:cNvSpPr/>
          <p:nvPr userDrawn="1"/>
        </p:nvSpPr>
        <p:spPr>
          <a:xfrm>
            <a:off x="7244374" y="0"/>
            <a:ext cx="4947625" cy="6858000"/>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3" name="Picture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3988" y="5276862"/>
            <a:ext cx="5856904" cy="1182261"/>
          </a:xfrm>
          <a:prstGeom prst="rect">
            <a:avLst/>
          </a:prstGeom>
        </p:spPr>
      </p:pic>
      <p:grpSp>
        <p:nvGrpSpPr>
          <p:cNvPr id="24" name="Group 23"/>
          <p:cNvGrpSpPr/>
          <p:nvPr userDrawn="1"/>
        </p:nvGrpSpPr>
        <p:grpSpPr>
          <a:xfrm>
            <a:off x="7201834" y="5789933"/>
            <a:ext cx="1866900" cy="463550"/>
            <a:chOff x="0" y="0"/>
            <a:chExt cx="2301694" cy="571500"/>
          </a:xfrm>
        </p:grpSpPr>
        <p:sp>
          <p:nvSpPr>
            <p:cNvPr id="26" name="Rectangle 2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27" name="Picture 26"/>
            <p:cNvPicPr>
              <a:picLocks noChangeAspect="1"/>
            </p:cNvPicPr>
            <p:nvPr/>
          </p:nvPicPr>
          <p:blipFill rotWithShape="1">
            <a:blip r:embed="rId3">
              <a:extLst>
                <a:ext uri="{28A0092B-C50C-407E-A947-70E740481C1C}">
                  <a14:useLocalDpi xmlns:a14="http://schemas.microsoft.com/office/drawing/2010/main" val="0"/>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28" name="Picture 27"/>
          <p:cNvPicPr>
            <a:picLocks noChangeAspect="1"/>
          </p:cNvPicPr>
          <p:nvPr userDrawn="1"/>
        </p:nvPicPr>
        <p:blipFill rotWithShape="1">
          <a:blip r:embed="rId4">
            <a:extLst>
              <a:ext uri="{28A0092B-C50C-407E-A947-70E740481C1C}">
                <a14:useLocalDpi xmlns:a14="http://schemas.microsoft.com/office/drawing/2010/main" val="0"/>
              </a:ext>
            </a:extLst>
          </a:blip>
          <a:srcRect b="32961"/>
          <a:stretch/>
        </p:blipFill>
        <p:spPr>
          <a:xfrm>
            <a:off x="11017708" y="6021708"/>
            <a:ext cx="1301214" cy="872318"/>
          </a:xfrm>
          <a:prstGeom prst="rect">
            <a:avLst/>
          </a:prstGeom>
        </p:spPr>
      </p:pic>
      <p:pic>
        <p:nvPicPr>
          <p:cNvPr id="29" name="Picture 28"/>
          <p:cNvPicPr>
            <a:picLocks noChangeAspect="1"/>
          </p:cNvPicPr>
          <p:nvPr userDrawn="1"/>
        </p:nvPicPr>
        <p:blipFill rotWithShape="1">
          <a:blip r:embed="rId5">
            <a:extLst>
              <a:ext uri="{28A0092B-C50C-407E-A947-70E740481C1C}">
                <a14:useLocalDpi xmlns:a14="http://schemas.microsoft.com/office/drawing/2010/main" val="0"/>
              </a:ext>
            </a:extLst>
          </a:blip>
          <a:srcRect l="31220" t="21060"/>
          <a:stretch/>
        </p:blipFill>
        <p:spPr>
          <a:xfrm>
            <a:off x="7201834" y="-36026"/>
            <a:ext cx="1153890" cy="1324356"/>
          </a:xfrm>
          <a:prstGeom prst="rect">
            <a:avLst/>
          </a:prstGeom>
        </p:spPr>
      </p:pic>
      <p:sp>
        <p:nvSpPr>
          <p:cNvPr id="12" name="Text Placeholder 23"/>
          <p:cNvSpPr>
            <a:spLocks noGrp="1"/>
          </p:cNvSpPr>
          <p:nvPr userDrawn="1">
            <p:ph type="body" sz="quarter" idx="13" hasCustomPrompt="1"/>
          </p:nvPr>
        </p:nvSpPr>
        <p:spPr>
          <a:xfrm>
            <a:off x="427462" y="853210"/>
            <a:ext cx="3104978" cy="697353"/>
          </a:xfrm>
        </p:spPr>
        <p:txBody>
          <a:bodyPr anchor="ctr">
            <a:noAutofit/>
          </a:bodyPr>
          <a:lstStyle>
            <a:lvl1pPr marL="0" indent="0" algn="l">
              <a:buNone/>
              <a:defRPr sz="5400" baseline="0">
                <a:solidFill>
                  <a:srgbClr val="245473"/>
                </a:solidFill>
                <a:latin typeface="+mn-lt"/>
              </a:defRPr>
            </a:lvl1pPr>
          </a:lstStyle>
          <a:p>
            <a:pPr lvl="0"/>
            <a:r>
              <a:rPr lang="en-GB" dirty="0"/>
              <a:t>Thank You</a:t>
            </a:r>
          </a:p>
        </p:txBody>
      </p:sp>
      <p:sp>
        <p:nvSpPr>
          <p:cNvPr id="13" name="Text Placeholder 25"/>
          <p:cNvSpPr>
            <a:spLocks noGrp="1"/>
          </p:cNvSpPr>
          <p:nvPr userDrawn="1">
            <p:ph type="body" sz="quarter" idx="14" hasCustomPrompt="1"/>
          </p:nvPr>
        </p:nvSpPr>
        <p:spPr>
          <a:xfrm>
            <a:off x="3863577" y="858821"/>
            <a:ext cx="3854522" cy="697353"/>
          </a:xfrm>
        </p:spPr>
        <p:txBody>
          <a:bodyPr anchor="ctr">
            <a:noAutofit/>
          </a:bodyPr>
          <a:lstStyle>
            <a:lvl1pPr marL="0" indent="0" algn="l">
              <a:buNone/>
              <a:defRPr sz="2800" i="1"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Any Questions?</a:t>
            </a:r>
          </a:p>
        </p:txBody>
      </p:sp>
      <p:sp>
        <p:nvSpPr>
          <p:cNvPr id="10" name="Oval 9"/>
          <p:cNvSpPr/>
          <p:nvPr userDrawn="1"/>
        </p:nvSpPr>
        <p:spPr>
          <a:xfrm>
            <a:off x="6999455" y="2022663"/>
            <a:ext cx="591486" cy="591486"/>
          </a:xfrm>
          <a:prstGeom prst="ellipse">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cxnSp>
        <p:nvCxnSpPr>
          <p:cNvPr id="19" name="Straight Connector 18"/>
          <p:cNvCxnSpPr/>
          <p:nvPr userDrawn="1"/>
        </p:nvCxnSpPr>
        <p:spPr>
          <a:xfrm>
            <a:off x="3706758" y="846751"/>
            <a:ext cx="0" cy="696487"/>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userDrawn="1">
            <p:ph type="body" sz="quarter" idx="15" hasCustomPrompt="1"/>
          </p:nvPr>
        </p:nvSpPr>
        <p:spPr>
          <a:xfrm>
            <a:off x="7718099" y="220640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0" name="Oval 29"/>
          <p:cNvSpPr/>
          <p:nvPr userDrawn="1"/>
        </p:nvSpPr>
        <p:spPr>
          <a:xfrm>
            <a:off x="6999455" y="2980323"/>
            <a:ext cx="591486" cy="591486"/>
          </a:xfrm>
          <a:prstGeom prst="ellipse">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1" name="Text Placeholder 2"/>
          <p:cNvSpPr>
            <a:spLocks noGrp="1"/>
          </p:cNvSpPr>
          <p:nvPr>
            <p:ph type="body" sz="quarter" idx="16" hasCustomPrompt="1"/>
          </p:nvPr>
        </p:nvSpPr>
        <p:spPr>
          <a:xfrm>
            <a:off x="7718099" y="316406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2" name="Oval 31"/>
          <p:cNvSpPr/>
          <p:nvPr userDrawn="1"/>
        </p:nvSpPr>
        <p:spPr>
          <a:xfrm>
            <a:off x="6999455" y="3940765"/>
            <a:ext cx="591486" cy="591486"/>
          </a:xfrm>
          <a:prstGeom prst="ellipse">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3" name="Text Placeholder 2"/>
          <p:cNvSpPr>
            <a:spLocks noGrp="1"/>
          </p:cNvSpPr>
          <p:nvPr>
            <p:ph type="body" sz="quarter" idx="17" hasCustomPrompt="1"/>
          </p:nvPr>
        </p:nvSpPr>
        <p:spPr>
          <a:xfrm>
            <a:off x="7718099" y="4124508"/>
            <a:ext cx="2812464" cy="323455"/>
          </a:xfrm>
        </p:spPr>
        <p:txBody>
          <a:bodyPr anchor="t">
            <a:normAutofit/>
          </a:bodyPr>
          <a:lstStyle>
            <a:lvl1pPr marL="0" indent="0">
              <a:buNone/>
              <a:defRPr sz="1600">
                <a:solidFill>
                  <a:schemeClr val="bg1"/>
                </a:solidFill>
              </a:defRPr>
            </a:lvl1pPr>
          </a:lstStyle>
          <a:p>
            <a:pPr lvl="0"/>
            <a:r>
              <a:rPr lang="en-GB" dirty="0"/>
              <a:t>Text 1</a:t>
            </a:r>
          </a:p>
        </p:txBody>
      </p:sp>
    </p:spTree>
    <p:extLst>
      <p:ext uri="{BB962C8B-B14F-4D97-AF65-F5344CB8AC3E}">
        <p14:creationId xmlns:p14="http://schemas.microsoft.com/office/powerpoint/2010/main" val="22958043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to left - photo on right - NAVY">
    <p:spTree>
      <p:nvGrpSpPr>
        <p:cNvPr id="1" name=""/>
        <p:cNvGrpSpPr/>
        <p:nvPr/>
      </p:nvGrpSpPr>
      <p:grpSpPr>
        <a:xfrm>
          <a:off x="0" y="0"/>
          <a:ext cx="0" cy="0"/>
          <a:chOff x="0" y="0"/>
          <a:chExt cx="0" cy="0"/>
        </a:xfrm>
      </p:grpSpPr>
      <p:sp>
        <p:nvSpPr>
          <p:cNvPr id="13" name="Rectangle 12"/>
          <p:cNvSpPr/>
          <p:nvPr userDrawn="1"/>
        </p:nvSpPr>
        <p:spPr>
          <a:xfrm>
            <a:off x="0" y="-1"/>
            <a:ext cx="12192000" cy="6858001"/>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Rectangle 13"/>
          <p:cNvSpPr/>
          <p:nvPr userDrawn="1"/>
        </p:nvSpPr>
        <p:spPr>
          <a:xfrm>
            <a:off x="424669" y="412421"/>
            <a:ext cx="5666415" cy="2123658"/>
          </a:xfrm>
          <a:prstGeom prst="rect">
            <a:avLst/>
          </a:prstGeom>
        </p:spPr>
        <p:txBody>
          <a:bodyPr wrap="square">
            <a:spAutoFit/>
          </a:bodyPr>
          <a:lstStyle/>
          <a:p>
            <a:pPr fontAlgn="base"/>
            <a:r>
              <a:rPr lang="en-GB" sz="4400" b="0" i="0" u="none" strike="noStrike" kern="1200" dirty="0">
                <a:solidFill>
                  <a:schemeClr val="bg1"/>
                </a:solidFill>
                <a:effectLst/>
                <a:latin typeface="+mn-lt"/>
                <a:ea typeface="+mn-ea"/>
                <a:cs typeface="+mn-cs"/>
              </a:rPr>
              <a:t>WELCOME TO THE </a:t>
            </a:r>
            <a:r>
              <a:rPr lang="en-GB" sz="4400" b="1" i="0" u="none" strike="noStrike" kern="1200" dirty="0">
                <a:solidFill>
                  <a:schemeClr val="bg1"/>
                </a:solidFill>
                <a:effectLst/>
                <a:latin typeface="+mn-lt"/>
                <a:ea typeface="+mn-ea"/>
                <a:cs typeface="+mn-cs"/>
              </a:rPr>
              <a:t>SMART UP </a:t>
            </a:r>
            <a:r>
              <a:rPr lang="en-GB" sz="4400" b="0" i="0" u="none" strike="noStrike" kern="1200" dirty="0">
                <a:solidFill>
                  <a:schemeClr val="bg1"/>
                </a:solidFill>
                <a:effectLst/>
                <a:latin typeface="+mn-lt"/>
                <a:ea typeface="+mn-ea"/>
                <a:cs typeface="+mn-cs"/>
              </a:rPr>
              <a:t>POWERPOINT</a:t>
            </a:r>
            <a:endParaRPr lang="en-GB" sz="3600" baseline="0" dirty="0">
              <a:solidFill>
                <a:schemeClr val="bg1"/>
              </a:solidFill>
              <a:latin typeface="+mn-lt"/>
              <a:ea typeface="Quattrocento Sans"/>
              <a:cs typeface="Quattrocento Sans"/>
              <a:sym typeface="Quattrocento Sans"/>
            </a:endParaRPr>
          </a:p>
        </p:txBody>
      </p:sp>
      <p:sp>
        <p:nvSpPr>
          <p:cNvPr id="15" name="Rectangle 14"/>
          <p:cNvSpPr/>
          <p:nvPr userDrawn="1"/>
        </p:nvSpPr>
        <p:spPr>
          <a:xfrm>
            <a:off x="6680844" y="402213"/>
            <a:ext cx="5260610" cy="4708981"/>
          </a:xfrm>
          <a:prstGeom prst="rect">
            <a:avLst/>
          </a:prstGeom>
        </p:spPr>
        <p:txBody>
          <a:bodyPr wrap="square">
            <a:spAutoFit/>
          </a:bodyPr>
          <a:lstStyle/>
          <a:p>
            <a:pPr fontAlgn="base"/>
            <a:r>
              <a:rPr lang="en-GB" sz="3000" b="0" i="0" u="none" strike="noStrike" kern="1200" dirty="0">
                <a:solidFill>
                  <a:schemeClr val="bg1"/>
                </a:solidFill>
                <a:effectLst/>
                <a:latin typeface="+mn-lt"/>
                <a:ea typeface="+mn-ea"/>
                <a:cs typeface="+mn-cs"/>
              </a:rPr>
              <a:t>FEATURES OF THE</a:t>
            </a:r>
          </a:p>
          <a:p>
            <a:pPr fontAlgn="base"/>
            <a:r>
              <a:rPr lang="en-GB" sz="3000" b="1" i="0" u="none" strike="noStrike" kern="1200" dirty="0">
                <a:solidFill>
                  <a:schemeClr val="bg1"/>
                </a:solidFill>
                <a:effectLst/>
                <a:latin typeface="+mn-lt"/>
                <a:ea typeface="+mn-ea"/>
                <a:cs typeface="+mn-cs"/>
              </a:rPr>
              <a:t>SMART UP</a:t>
            </a:r>
          </a:p>
          <a:p>
            <a:pPr fontAlgn="base"/>
            <a:r>
              <a:rPr lang="en-GB" sz="3000" b="0" i="0" u="none" strike="noStrike" kern="1200" dirty="0">
                <a:solidFill>
                  <a:schemeClr val="bg1"/>
                </a:solidFill>
                <a:effectLst/>
                <a:latin typeface="+mn-lt"/>
                <a:ea typeface="+mn-ea"/>
                <a:cs typeface="+mn-cs"/>
              </a:rPr>
              <a:t>POWERPOINT:</a:t>
            </a:r>
          </a:p>
          <a:p>
            <a:pPr fontAlgn="base"/>
            <a:endParaRPr lang="en-GB" sz="3000" b="0" i="0" u="none" strike="noStrike" kern="1200" dirty="0">
              <a:solidFill>
                <a:schemeClr val="bg1"/>
              </a:solidFill>
              <a:effectLst/>
              <a:latin typeface="+mn-lt"/>
              <a:ea typeface="+mn-ea"/>
              <a:cs typeface="+mn-cs"/>
            </a:endParaRPr>
          </a:p>
          <a:p>
            <a:pPr marL="342900" indent="-342900" fontAlgn="base">
              <a:buFont typeface="Arial" charset="0"/>
              <a:buChar char="•"/>
            </a:pPr>
            <a:r>
              <a:rPr lang="en-GB" sz="2400" b="0" i="0" u="none" strike="noStrike" kern="1200" dirty="0">
                <a:solidFill>
                  <a:schemeClr val="bg1"/>
                </a:solidFill>
                <a:effectLst/>
                <a:latin typeface="+mn-lt"/>
                <a:ea typeface="+mn-ea"/>
                <a:cs typeface="+mn-cs"/>
              </a:rPr>
              <a:t>Set up in widescreen format. </a:t>
            </a:r>
          </a:p>
          <a:p>
            <a:pPr marL="342900" indent="-342900" fontAlgn="base">
              <a:buFont typeface="Arial" charset="0"/>
              <a:buChar char="•"/>
            </a:pPr>
            <a:r>
              <a:rPr lang="en-GB" sz="2400" b="0" i="0" u="none" strike="noStrike" kern="1200" dirty="0">
                <a:solidFill>
                  <a:schemeClr val="bg1"/>
                </a:solidFill>
                <a:effectLst/>
                <a:latin typeface="+mn-lt"/>
                <a:ea typeface="+mn-ea"/>
                <a:cs typeface="+mn-cs"/>
              </a:rPr>
              <a:t>using the </a:t>
            </a:r>
            <a:r>
              <a:rPr lang="en-GB" sz="2400" b="1" i="0" u="none" strike="noStrike" kern="1200" dirty="0">
                <a:solidFill>
                  <a:schemeClr val="bg1"/>
                </a:solidFill>
                <a:effectLst/>
                <a:latin typeface="+mn-lt"/>
                <a:ea typeface="+mn-ea"/>
                <a:cs typeface="+mn-cs"/>
              </a:rPr>
              <a:t>SMART UP </a:t>
            </a:r>
            <a:r>
              <a:rPr lang="en-GB" sz="2400" b="0" i="0" u="none" strike="noStrike" kern="1200" dirty="0">
                <a:solidFill>
                  <a:schemeClr val="bg1"/>
                </a:solidFill>
                <a:effectLst/>
                <a:latin typeface="+mn-lt"/>
                <a:ea typeface="+mn-ea"/>
                <a:cs typeface="+mn-cs"/>
              </a:rPr>
              <a:t>Brand Colours</a:t>
            </a:r>
          </a:p>
          <a:p>
            <a:pPr marL="342900" indent="-342900" fontAlgn="base">
              <a:buFont typeface="Arial" charset="0"/>
              <a:buChar char="•"/>
            </a:pPr>
            <a:r>
              <a:rPr lang="en-GB" sz="2400" b="0" i="0" u="none" strike="noStrike" kern="1200" dirty="0">
                <a:solidFill>
                  <a:schemeClr val="bg1"/>
                </a:solidFill>
                <a:effectLst/>
                <a:latin typeface="+mn-lt"/>
                <a:ea typeface="+mn-ea"/>
                <a:cs typeface="+mn-cs"/>
              </a:rPr>
              <a:t>Based on Master Slides design</a:t>
            </a:r>
          </a:p>
          <a:p>
            <a:pPr marL="342900" indent="-342900" fontAlgn="base">
              <a:buFont typeface="Arial" charset="0"/>
              <a:buChar char="•"/>
            </a:pPr>
            <a:r>
              <a:rPr lang="en-GB" sz="2400" b="0" i="0" u="none" strike="noStrike" kern="1200" dirty="0">
                <a:solidFill>
                  <a:schemeClr val="bg1"/>
                </a:solidFill>
                <a:effectLst/>
                <a:latin typeface="+mn-lt"/>
                <a:ea typeface="+mn-ea"/>
                <a:cs typeface="+mn-cs"/>
              </a:rPr>
              <a:t>Easy Drag and Drop to change picture</a:t>
            </a:r>
          </a:p>
          <a:p>
            <a:pPr marL="342900" indent="-342900" fontAlgn="base">
              <a:buFont typeface="Arial" charset="0"/>
              <a:buChar char="•"/>
            </a:pPr>
            <a:r>
              <a:rPr lang="en-GB" sz="2400" b="0" i="0" u="none" strike="noStrike" kern="1200" dirty="0">
                <a:solidFill>
                  <a:schemeClr val="bg1"/>
                </a:solidFill>
                <a:effectLst/>
                <a:latin typeface="+mn-lt"/>
                <a:ea typeface="+mn-ea"/>
                <a:cs typeface="+mn-cs"/>
              </a:rPr>
              <a:t>80 easy editable icons</a:t>
            </a:r>
          </a:p>
          <a:p>
            <a:pPr marL="342900" indent="-342900" fontAlgn="base">
              <a:buFont typeface="Arial" charset="0"/>
              <a:buChar char="•"/>
            </a:pPr>
            <a:r>
              <a:rPr lang="en-GB" sz="2400" b="0" i="0" u="none" strike="noStrike" kern="1200" dirty="0">
                <a:solidFill>
                  <a:schemeClr val="bg1"/>
                </a:solidFill>
                <a:effectLst/>
                <a:latin typeface="+mn-lt"/>
                <a:ea typeface="+mn-ea"/>
                <a:cs typeface="+mn-cs"/>
              </a:rPr>
              <a:t>Easy and Fully editable in PowerPoint</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GB" sz="3600" b="0" i="0" u="none" strike="noStrike" kern="1200" dirty="0">
                <a:solidFill>
                  <a:schemeClr val="bg1"/>
                </a:solidFill>
                <a:effectLst/>
                <a:latin typeface="+mn-lt"/>
                <a:ea typeface="+mn-ea"/>
                <a:cs typeface="+mn-cs"/>
              </a:rPr>
              <a:t>		</a:t>
            </a:r>
            <a:endParaRPr lang="en-GB" sz="3600" baseline="0" dirty="0">
              <a:solidFill>
                <a:schemeClr val="bg1"/>
              </a:solidFill>
              <a:latin typeface="+mn-lt"/>
              <a:ea typeface="Quattrocento Sans"/>
              <a:cs typeface="Quattrocento Sans"/>
              <a:sym typeface="Quattrocento Sans"/>
            </a:endParaRPr>
          </a:p>
        </p:txBody>
      </p:sp>
      <p:sp>
        <p:nvSpPr>
          <p:cNvPr id="16" name="Rectangle 15"/>
          <p:cNvSpPr/>
          <p:nvPr userDrawn="1"/>
        </p:nvSpPr>
        <p:spPr>
          <a:xfrm>
            <a:off x="424669" y="3027059"/>
            <a:ext cx="6005629" cy="2308324"/>
          </a:xfrm>
          <a:prstGeom prst="rect">
            <a:avLst/>
          </a:prstGeom>
        </p:spPr>
        <p:txBody>
          <a:bodyPr wrap="square">
            <a:spAutoFit/>
          </a:bodyPr>
          <a:lstStyle/>
          <a:p>
            <a:pPr fontAlgn="base"/>
            <a:r>
              <a:rPr lang="en-GB" sz="2400" b="0" i="0" u="none" strike="noStrike" kern="1200" dirty="0">
                <a:solidFill>
                  <a:schemeClr val="bg1"/>
                </a:solidFill>
                <a:effectLst/>
                <a:latin typeface="+mn-lt"/>
                <a:ea typeface="+mn-ea"/>
                <a:cs typeface="+mn-cs"/>
              </a:rPr>
              <a:t>Our aim is to have a consistent “look and feel” throughout our branding material including our PowerPoint.</a:t>
            </a:r>
            <a:r>
              <a:rPr lang="en-GB" sz="2400" b="0" i="0" u="none" strike="noStrike" kern="1200" baseline="0" dirty="0">
                <a:solidFill>
                  <a:schemeClr val="bg1"/>
                </a:solidFill>
                <a:effectLst/>
                <a:latin typeface="+mn-lt"/>
                <a:ea typeface="+mn-ea"/>
                <a:cs typeface="+mn-cs"/>
              </a:rPr>
              <a:t> </a:t>
            </a:r>
            <a:r>
              <a:rPr lang="en-GB" sz="2400" b="0" i="0" u="none" strike="noStrike" kern="1200" dirty="0">
                <a:solidFill>
                  <a:schemeClr val="bg1"/>
                </a:solidFill>
                <a:effectLst/>
                <a:latin typeface="+mn-lt"/>
                <a:ea typeface="+mn-ea"/>
                <a:cs typeface="+mn-cs"/>
              </a:rPr>
              <a:t>The slide layouts within this PowerPoint  will give you a great deal of creative </a:t>
            </a:r>
            <a:r>
              <a:rPr lang="en-GB" sz="2400" b="0" i="0" u="none" strike="noStrike" kern="1200" dirty="0" err="1">
                <a:solidFill>
                  <a:schemeClr val="bg1"/>
                </a:solidFill>
                <a:effectLst/>
                <a:latin typeface="+mn-lt"/>
                <a:ea typeface="+mn-ea"/>
                <a:cs typeface="+mn-cs"/>
              </a:rPr>
              <a:t>flexibily</a:t>
            </a:r>
            <a:r>
              <a:rPr lang="en-GB" sz="2400" b="0" i="0" u="none" strike="noStrike" kern="1200" dirty="0">
                <a:solidFill>
                  <a:schemeClr val="bg1"/>
                </a:solidFill>
                <a:effectLst/>
                <a:latin typeface="+mn-lt"/>
                <a:ea typeface="+mn-ea"/>
                <a:cs typeface="+mn-cs"/>
              </a:rPr>
              <a:t> when creating your Presentation.</a:t>
            </a:r>
            <a:endParaRPr lang="en-GB" sz="3600" baseline="0" dirty="0">
              <a:solidFill>
                <a:schemeClr val="bg1"/>
              </a:solidFill>
              <a:latin typeface="+mn-lt"/>
              <a:ea typeface="Quattrocento Sans"/>
              <a:cs typeface="Quattrocento Sans"/>
              <a:sym typeface="Quattrocento Sans"/>
            </a:endParaRPr>
          </a:p>
        </p:txBody>
      </p:sp>
      <p:cxnSp>
        <p:nvCxnSpPr>
          <p:cNvPr id="17" name="Straight Connector 16"/>
          <p:cNvCxnSpPr/>
          <p:nvPr userDrawn="1"/>
        </p:nvCxnSpPr>
        <p:spPr>
          <a:xfrm>
            <a:off x="6592529" y="-1"/>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0" y="2880991"/>
            <a:ext cx="65925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0" y="5968370"/>
            <a:ext cx="12192000" cy="461665"/>
          </a:xfrm>
          <a:prstGeom prst="rect">
            <a:avLst/>
          </a:prstGeom>
        </p:spPr>
        <p:txBody>
          <a:bodyPr wrap="square">
            <a:spAutoFit/>
          </a:bodyPr>
          <a:lstStyle/>
          <a:p>
            <a:pPr algn="ctr"/>
            <a:r>
              <a:rPr lang="en-GB" sz="2400" kern="1200" dirty="0">
                <a:solidFill>
                  <a:schemeClr val="bg1"/>
                </a:solidFill>
                <a:effectLst/>
                <a:latin typeface="+mn-lt"/>
                <a:ea typeface="+mn-ea"/>
                <a:cs typeface="+mn-cs"/>
              </a:rPr>
              <a:t>*** </a:t>
            </a:r>
            <a:r>
              <a:rPr lang="en-GB" sz="2400" b="1" kern="1200" dirty="0">
                <a:solidFill>
                  <a:schemeClr val="bg1"/>
                </a:solidFill>
                <a:effectLst/>
                <a:latin typeface="+mn-lt"/>
                <a:ea typeface="+mn-ea"/>
                <a:cs typeface="+mn-cs"/>
              </a:rPr>
              <a:t>PLEASE DELETE THIS INSTRUCTION SLIDE BEFORE PRESENTING FINAL PRESENTATION </a:t>
            </a:r>
            <a:r>
              <a:rPr lang="en-GB" sz="2400" kern="1200" dirty="0">
                <a:solidFill>
                  <a:schemeClr val="bg1"/>
                </a:solidFill>
                <a:effectLst/>
                <a:latin typeface="+mn-lt"/>
                <a:ea typeface="+mn-ea"/>
                <a:cs typeface="+mn-cs"/>
              </a:rPr>
              <a:t>*** </a:t>
            </a:r>
          </a:p>
        </p:txBody>
      </p:sp>
      <p:cxnSp>
        <p:nvCxnSpPr>
          <p:cNvPr id="9" name="Straight Connector 8"/>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nt Slide">
    <p:spTree>
      <p:nvGrpSpPr>
        <p:cNvPr id="1" name=""/>
        <p:cNvGrpSpPr/>
        <p:nvPr/>
      </p:nvGrpSpPr>
      <p:grpSpPr>
        <a:xfrm>
          <a:off x="0" y="0"/>
          <a:ext cx="0" cy="0"/>
          <a:chOff x="0" y="0"/>
          <a:chExt cx="0" cy="0"/>
        </a:xfrm>
      </p:grpSpPr>
      <p:sp>
        <p:nvSpPr>
          <p:cNvPr id="22" name="Rectangle 21"/>
          <p:cNvSpPr/>
          <p:nvPr userDrawn="1"/>
        </p:nvSpPr>
        <p:spPr>
          <a:xfrm>
            <a:off x="0" y="-1"/>
            <a:ext cx="12192000" cy="6858001"/>
          </a:xfrm>
          <a:prstGeom prst="rect">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Rectangle 1"/>
          <p:cNvSpPr/>
          <p:nvPr userDrawn="1"/>
        </p:nvSpPr>
        <p:spPr>
          <a:xfrm>
            <a:off x="424669" y="528535"/>
            <a:ext cx="5666415" cy="1446550"/>
          </a:xfrm>
          <a:prstGeom prst="rect">
            <a:avLst/>
          </a:prstGeom>
        </p:spPr>
        <p:txBody>
          <a:bodyPr wrap="square">
            <a:spAutoFit/>
          </a:bodyPr>
          <a:lstStyle/>
          <a:p>
            <a:pPr fontAlgn="base"/>
            <a:r>
              <a:rPr lang="en-GB" sz="4400" b="1" i="0" u="none" strike="noStrike" kern="1200" baseline="0" dirty="0">
                <a:solidFill>
                  <a:schemeClr val="bg1"/>
                </a:solidFill>
                <a:effectLst/>
                <a:latin typeface="+mn-lt"/>
                <a:ea typeface="+mn-ea"/>
                <a:cs typeface="+mn-cs"/>
                <a:sym typeface="Quattrocento Sans"/>
              </a:rPr>
              <a:t>SMART UP</a:t>
            </a:r>
          </a:p>
          <a:p>
            <a:pPr fontAlgn="base"/>
            <a:r>
              <a:rPr lang="en-GB" sz="4400" b="0" i="0" u="none" strike="noStrike" kern="1200" baseline="0" dirty="0">
                <a:solidFill>
                  <a:schemeClr val="bg1"/>
                </a:solidFill>
                <a:effectLst/>
                <a:latin typeface="+mn-lt"/>
                <a:ea typeface="+mn-ea"/>
                <a:cs typeface="+mn-cs"/>
                <a:sym typeface="Quattrocento Sans"/>
              </a:rPr>
              <a:t>FONT TYPEFACE &amp; SIZE</a:t>
            </a:r>
            <a:endParaRPr lang="en-GB" sz="3600" baseline="0" dirty="0">
              <a:solidFill>
                <a:schemeClr val="bg1"/>
              </a:solidFill>
              <a:latin typeface="+mn-lt"/>
              <a:ea typeface="Quattrocento Sans"/>
              <a:cs typeface="Quattrocento Sans"/>
              <a:sym typeface="Quattrocento Sans"/>
            </a:endParaRPr>
          </a:p>
        </p:txBody>
      </p:sp>
      <p:sp>
        <p:nvSpPr>
          <p:cNvPr id="11" name="Rectangle 10"/>
          <p:cNvSpPr/>
          <p:nvPr userDrawn="1"/>
        </p:nvSpPr>
        <p:spPr>
          <a:xfrm>
            <a:off x="7093974" y="817711"/>
            <a:ext cx="4589207" cy="4708981"/>
          </a:xfrm>
          <a:prstGeom prst="rect">
            <a:avLst/>
          </a:prstGeom>
        </p:spPr>
        <p:txBody>
          <a:bodyPr wrap="square">
            <a:spAutoFit/>
          </a:bodyPr>
          <a:lstStyle/>
          <a:p>
            <a:pPr fontAlgn="base"/>
            <a:r>
              <a:rPr lang="en-GB" sz="3000" b="0" i="0" u="none" strike="noStrike" kern="1200" dirty="0">
                <a:solidFill>
                  <a:schemeClr val="bg1"/>
                </a:solidFill>
                <a:effectLst/>
                <a:latin typeface="+mn-lt"/>
                <a:ea typeface="+mn-ea"/>
                <a:cs typeface="+mn-cs"/>
              </a:rPr>
              <a:t>PLEASE</a:t>
            </a:r>
            <a:r>
              <a:rPr lang="en-GB" sz="3000" b="0" i="0" u="none" strike="noStrike" kern="1200" baseline="0" dirty="0">
                <a:solidFill>
                  <a:schemeClr val="bg1"/>
                </a:solidFill>
                <a:effectLst/>
                <a:latin typeface="+mn-lt"/>
                <a:ea typeface="+mn-ea"/>
                <a:cs typeface="+mn-cs"/>
              </a:rPr>
              <a:t> ENSURE TO KEEP FONTS AS PER THE LAYOUT</a:t>
            </a:r>
            <a:endParaRPr lang="en-GB" sz="3000" b="0" i="0" u="none" strike="noStrike" kern="1200" dirty="0">
              <a:solidFill>
                <a:schemeClr val="bg1"/>
              </a:solidFill>
              <a:effectLst/>
              <a:latin typeface="+mn-lt"/>
              <a:ea typeface="+mn-ea"/>
              <a:cs typeface="+mn-cs"/>
            </a:endParaRPr>
          </a:p>
          <a:p>
            <a:pPr fontAlgn="base"/>
            <a:endParaRPr lang="en-GB" sz="3000" b="0" i="0" u="none" strike="noStrike" kern="1200" dirty="0">
              <a:solidFill>
                <a:schemeClr val="bg1"/>
              </a:solidFill>
              <a:effectLst/>
              <a:latin typeface="+mn-lt"/>
              <a:ea typeface="+mn-ea"/>
              <a:cs typeface="+mn-cs"/>
            </a:endParaRPr>
          </a:p>
          <a:p>
            <a:pPr marL="0" lvl="0" indent="0" algn="l" rtl="0">
              <a:spcBef>
                <a:spcPts val="0"/>
              </a:spcBef>
              <a:spcAft>
                <a:spcPts val="0"/>
              </a:spcAft>
              <a:buClr>
                <a:schemeClr val="dk1"/>
              </a:buClr>
              <a:buSzPts val="1100"/>
              <a:buFont typeface="Arial"/>
              <a:buNone/>
            </a:pPr>
            <a:r>
              <a:rPr lang="en-GB" sz="3000" b="0" i="0" u="none" strike="noStrike" kern="1200" dirty="0">
                <a:solidFill>
                  <a:schemeClr val="bg1"/>
                </a:solidFill>
                <a:effectLst/>
                <a:latin typeface="+mn-lt"/>
                <a:ea typeface="+mn-ea"/>
                <a:cs typeface="+mn-cs"/>
              </a:rPr>
              <a:t>48 point </a:t>
            </a:r>
            <a:r>
              <a:rPr lang="en-GB" sz="3000" b="0" i="0" u="none" strike="noStrike" kern="1200" baseline="0" dirty="0">
                <a:solidFill>
                  <a:schemeClr val="bg1"/>
                </a:solidFill>
                <a:effectLst/>
                <a:latin typeface="+mn-lt"/>
                <a:ea typeface="+mn-ea"/>
                <a:cs typeface="+mn-cs"/>
              </a:rPr>
              <a:t> -  </a:t>
            </a:r>
            <a:r>
              <a:rPr lang="en-GB" sz="3000" b="0" i="0" u="none" strike="noStrike" kern="1200" dirty="0">
                <a:solidFill>
                  <a:schemeClr val="bg1"/>
                </a:solidFill>
                <a:effectLst/>
                <a:latin typeface="+mn-lt"/>
                <a:ea typeface="+mn-ea"/>
                <a:cs typeface="+mn-cs"/>
              </a:rPr>
              <a:t>Divider</a:t>
            </a:r>
            <a:r>
              <a:rPr lang="en-GB" sz="3000" b="0" i="0" u="none" strike="noStrike" kern="1200" baseline="0" dirty="0">
                <a:solidFill>
                  <a:schemeClr val="bg1"/>
                </a:solidFill>
                <a:effectLst/>
                <a:latin typeface="+mn-lt"/>
                <a:ea typeface="+mn-ea"/>
                <a:cs typeface="+mn-cs"/>
              </a:rPr>
              <a:t> Slides</a:t>
            </a:r>
          </a:p>
          <a:p>
            <a:pPr marL="0" lvl="0" indent="0" algn="l" rtl="0">
              <a:spcBef>
                <a:spcPts val="0"/>
              </a:spcBef>
              <a:spcAft>
                <a:spcPts val="0"/>
              </a:spcAft>
              <a:buClr>
                <a:schemeClr val="dk1"/>
              </a:buClr>
              <a:buSzPts val="1100"/>
              <a:buFont typeface="Arial"/>
              <a:buNone/>
            </a:pPr>
            <a:endParaRPr lang="en-GB" sz="1000" b="1" baseline="0" dirty="0">
              <a:solidFill>
                <a:schemeClr val="bg1"/>
              </a:solidFill>
              <a:latin typeface="+mn-lt"/>
              <a:ea typeface="Quattrocento Sans"/>
              <a:cs typeface="Quattrocento Sans"/>
              <a:sym typeface="Quattrocento San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GB" sz="3000" b="0" i="0" u="none" strike="noStrike" kern="1200" dirty="0">
                <a:solidFill>
                  <a:schemeClr val="bg1"/>
                </a:solidFill>
                <a:effectLst/>
                <a:latin typeface="+mn-lt"/>
                <a:ea typeface="+mn-ea"/>
                <a:cs typeface="+mn-cs"/>
              </a:rPr>
              <a:t>36 point</a:t>
            </a:r>
            <a:r>
              <a:rPr lang="en-GB" sz="3000" b="0" i="0" u="none" strike="noStrike" kern="1200" baseline="0" dirty="0">
                <a:solidFill>
                  <a:schemeClr val="bg1"/>
                </a:solidFill>
                <a:effectLst/>
                <a:latin typeface="+mn-lt"/>
                <a:ea typeface="+mn-ea"/>
                <a:cs typeface="+mn-cs"/>
              </a:rPr>
              <a:t>  -  </a:t>
            </a:r>
            <a:r>
              <a:rPr lang="en-GB" sz="3000" b="0" i="0" u="none" strike="noStrike" kern="1200" dirty="0">
                <a:solidFill>
                  <a:schemeClr val="bg1"/>
                </a:solidFill>
                <a:effectLst/>
                <a:latin typeface="+mn-lt"/>
                <a:ea typeface="+mn-ea"/>
                <a:cs typeface="+mn-cs"/>
              </a:rPr>
              <a:t>Title Heading</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GB"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GB" sz="3000" b="0" i="0" u="none" strike="noStrike" kern="1200" dirty="0">
                <a:solidFill>
                  <a:schemeClr val="bg1"/>
                </a:solidFill>
                <a:effectLst/>
                <a:latin typeface="+mn-lt"/>
                <a:ea typeface="+mn-ea"/>
                <a:cs typeface="+mn-cs"/>
              </a:rPr>
              <a:t>30 point</a:t>
            </a:r>
            <a:r>
              <a:rPr lang="en-GB" sz="3000" b="0" i="0" u="none" strike="noStrike" kern="1200" baseline="0" dirty="0">
                <a:solidFill>
                  <a:schemeClr val="bg1"/>
                </a:solidFill>
                <a:effectLst/>
                <a:latin typeface="+mn-lt"/>
                <a:ea typeface="+mn-ea"/>
                <a:cs typeface="+mn-cs"/>
              </a:rPr>
              <a:t>  -  </a:t>
            </a:r>
            <a:r>
              <a:rPr lang="en-GB" sz="3000" b="0" i="0" u="none" strike="noStrike" kern="1200" dirty="0">
                <a:solidFill>
                  <a:schemeClr val="bg1"/>
                </a:solidFill>
                <a:effectLst/>
                <a:latin typeface="+mn-lt"/>
                <a:ea typeface="+mn-ea"/>
                <a:cs typeface="+mn-cs"/>
              </a:rPr>
              <a:t>Sub-Titles</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GB" sz="3000" b="0" i="0" u="none" strike="noStrike" kern="1200" dirty="0">
                <a:solidFill>
                  <a:schemeClr val="bg1"/>
                </a:solidFill>
                <a:effectLst/>
                <a:latin typeface="+mn-lt"/>
                <a:ea typeface="+mn-ea"/>
                <a:cs typeface="+mn-cs"/>
              </a:rPr>
              <a:t>	</a:t>
            </a:r>
            <a:r>
              <a:rPr lang="en-GB" sz="3000" b="0" i="0" u="none" strike="noStrike" kern="1200" baseline="0" dirty="0">
                <a:solidFill>
                  <a:schemeClr val="bg1"/>
                </a:solidFill>
                <a:effectLst/>
                <a:latin typeface="+mn-lt"/>
                <a:ea typeface="+mn-ea"/>
                <a:cs typeface="+mn-cs"/>
              </a:rPr>
              <a:t>       </a:t>
            </a:r>
            <a:r>
              <a:rPr lang="en-GB" sz="3000" b="0" i="0" u="none" strike="noStrike" kern="1200" dirty="0">
                <a:solidFill>
                  <a:schemeClr val="bg1"/>
                </a:solidFill>
                <a:effectLst/>
                <a:latin typeface="+mn-lt"/>
                <a:ea typeface="+mn-ea"/>
                <a:cs typeface="+mn-cs"/>
              </a:rPr>
              <a:t>- Quotes	</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GB"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GB" sz="3000" b="0" i="0" u="none" strike="noStrike" kern="1200" dirty="0">
                <a:solidFill>
                  <a:schemeClr val="bg1"/>
                </a:solidFill>
                <a:effectLst/>
                <a:latin typeface="+mn-lt"/>
                <a:ea typeface="+mn-ea"/>
                <a:cs typeface="+mn-cs"/>
              </a:rPr>
              <a:t>24 point</a:t>
            </a:r>
            <a:r>
              <a:rPr lang="en-GB" sz="3000" b="0" i="0" u="none" strike="noStrike" kern="1200" baseline="0" dirty="0">
                <a:solidFill>
                  <a:schemeClr val="bg1"/>
                </a:solidFill>
                <a:effectLst/>
                <a:latin typeface="+mn-lt"/>
                <a:ea typeface="+mn-ea"/>
                <a:cs typeface="+mn-cs"/>
              </a:rPr>
              <a:t>  -  </a:t>
            </a:r>
            <a:r>
              <a:rPr lang="en-GB" sz="3000" b="0" i="0" u="none" strike="noStrike" kern="1200" baseline="0" dirty="0">
                <a:solidFill>
                  <a:schemeClr val="bg1"/>
                </a:solidFill>
                <a:effectLst/>
                <a:latin typeface="+mn-lt"/>
                <a:ea typeface="Quattrocento Sans"/>
                <a:cs typeface="Quattrocento Sans"/>
                <a:sym typeface="Quattrocento Sans"/>
              </a:rPr>
              <a:t>Main </a:t>
            </a:r>
            <a:r>
              <a:rPr lang="en-GB" sz="3000" b="0" i="0" u="none" strike="noStrike" kern="1200" dirty="0">
                <a:solidFill>
                  <a:schemeClr val="bg1"/>
                </a:solidFill>
                <a:effectLst/>
                <a:latin typeface="+mn-lt"/>
                <a:ea typeface="+mn-ea"/>
                <a:cs typeface="+mn-cs"/>
              </a:rPr>
              <a:t>Text Body </a:t>
            </a:r>
            <a:endParaRPr lang="en-GB" sz="3000" dirty="0"/>
          </a:p>
          <a:p>
            <a:pPr fontAlgn="base"/>
            <a:endParaRPr lang="en-GB" sz="3000" b="0" i="0" u="none" strike="noStrike" kern="1200" dirty="0">
              <a:solidFill>
                <a:schemeClr val="bg1"/>
              </a:solidFill>
              <a:effectLst/>
              <a:latin typeface="+mn-lt"/>
              <a:ea typeface="+mn-ea"/>
              <a:cs typeface="+mn-cs"/>
            </a:endParaRPr>
          </a:p>
        </p:txBody>
      </p:sp>
      <p:sp>
        <p:nvSpPr>
          <p:cNvPr id="12" name="Rectangle 11"/>
          <p:cNvSpPr/>
          <p:nvPr userDrawn="1"/>
        </p:nvSpPr>
        <p:spPr>
          <a:xfrm>
            <a:off x="424669" y="3128660"/>
            <a:ext cx="6005160" cy="2123658"/>
          </a:xfrm>
          <a:prstGeom prst="rect">
            <a:avLst/>
          </a:prstGeom>
        </p:spPr>
        <p:txBody>
          <a:bodyPr wrap="square">
            <a:spAutoFit/>
          </a:bodyPr>
          <a:lstStyle/>
          <a:p>
            <a:pPr fontAlgn="base"/>
            <a:r>
              <a:rPr lang="en-GB" sz="2400" b="0" i="0" u="none" strike="noStrike" kern="1200" baseline="0" dirty="0">
                <a:solidFill>
                  <a:schemeClr val="bg1"/>
                </a:solidFill>
                <a:effectLst/>
                <a:latin typeface="+mn-lt"/>
                <a:ea typeface="+mn-ea"/>
                <a:cs typeface="+mn-cs"/>
                <a:sym typeface="Quattrocento Sans"/>
              </a:rPr>
              <a:t>Please ensure to keep the font sizes set as per the slide layouts. The font used throughout the </a:t>
            </a:r>
            <a:r>
              <a:rPr lang="en-GB" sz="2400" b="1" i="0" u="none" strike="noStrike" kern="1200" baseline="0" dirty="0">
                <a:solidFill>
                  <a:schemeClr val="bg1"/>
                </a:solidFill>
                <a:effectLst/>
                <a:latin typeface="+mn-lt"/>
                <a:ea typeface="+mn-ea"/>
                <a:cs typeface="+mn-cs"/>
                <a:sym typeface="Quattrocento Sans"/>
              </a:rPr>
              <a:t>SMART UP </a:t>
            </a:r>
            <a:r>
              <a:rPr lang="en-GB" sz="2400" b="0" i="0" u="none" strike="noStrike" kern="1200" baseline="0" dirty="0">
                <a:solidFill>
                  <a:schemeClr val="bg1"/>
                </a:solidFill>
                <a:effectLst/>
                <a:latin typeface="+mn-lt"/>
                <a:ea typeface="+mn-ea"/>
                <a:cs typeface="+mn-cs"/>
                <a:sym typeface="Quattrocento Sans"/>
              </a:rPr>
              <a:t>PowerPoint is….</a:t>
            </a:r>
          </a:p>
          <a:p>
            <a:pPr fontAlgn="base"/>
            <a:endParaRPr lang="en-GB" sz="2400" b="0" i="0" u="none" strike="noStrike" kern="1200" baseline="0" dirty="0">
              <a:solidFill>
                <a:schemeClr val="bg1"/>
              </a:solidFill>
              <a:effectLst/>
              <a:latin typeface="+mn-lt"/>
              <a:ea typeface="+mn-ea"/>
              <a:cs typeface="+mn-cs"/>
              <a:sym typeface="Quattrocento Sans"/>
            </a:endParaRPr>
          </a:p>
          <a:p>
            <a:pPr fontAlgn="base"/>
            <a:r>
              <a:rPr lang="en-GB" sz="3600" b="1" i="1" baseline="0" dirty="0">
                <a:solidFill>
                  <a:schemeClr val="bg1"/>
                </a:solidFill>
                <a:latin typeface="+mn-lt"/>
                <a:ea typeface="Quattrocento Sans"/>
                <a:cs typeface="Quattrocento Sans"/>
                <a:sym typeface="Quattrocento Sans"/>
              </a:rPr>
              <a:t>Calibri</a:t>
            </a:r>
            <a:endParaRPr lang="en-GB" sz="3600" baseline="0" dirty="0">
              <a:solidFill>
                <a:schemeClr val="bg1"/>
              </a:solidFill>
              <a:latin typeface="+mn-lt"/>
              <a:ea typeface="Quattrocento Sans"/>
              <a:cs typeface="Quattrocento Sans"/>
              <a:sym typeface="Quattrocento Sans"/>
            </a:endParaRPr>
          </a:p>
        </p:txBody>
      </p:sp>
      <p:cxnSp>
        <p:nvCxnSpPr>
          <p:cNvPr id="13" name="Straight Connector 12"/>
          <p:cNvCxnSpPr/>
          <p:nvPr userDrawn="1"/>
        </p:nvCxnSpPr>
        <p:spPr>
          <a:xfrm>
            <a:off x="6592529" y="-1"/>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0" y="2503620"/>
            <a:ext cx="65925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0" y="5968370"/>
            <a:ext cx="12192000" cy="461665"/>
          </a:xfrm>
          <a:prstGeom prst="rect">
            <a:avLst/>
          </a:prstGeom>
        </p:spPr>
        <p:txBody>
          <a:bodyPr wrap="square">
            <a:spAutoFit/>
          </a:bodyPr>
          <a:lstStyle/>
          <a:p>
            <a:pPr algn="ctr"/>
            <a:r>
              <a:rPr lang="en-GB" sz="2400" kern="1200" dirty="0">
                <a:solidFill>
                  <a:schemeClr val="bg1"/>
                </a:solidFill>
                <a:effectLst/>
                <a:latin typeface="+mn-lt"/>
                <a:ea typeface="+mn-ea"/>
                <a:cs typeface="+mn-cs"/>
              </a:rPr>
              <a:t>*** </a:t>
            </a:r>
            <a:r>
              <a:rPr lang="en-GB" sz="2400" b="1" kern="1200" dirty="0">
                <a:solidFill>
                  <a:schemeClr val="bg1"/>
                </a:solidFill>
                <a:effectLst/>
                <a:latin typeface="+mn-lt"/>
                <a:ea typeface="+mn-ea"/>
                <a:cs typeface="+mn-cs"/>
              </a:rPr>
              <a:t>PLEASE DELETE THIS INSTRUCTION SLIDE BEFORE PRESENTING FINAL PRESENTATION </a:t>
            </a:r>
            <a:r>
              <a:rPr lang="en-GB" sz="2400" kern="1200" dirty="0">
                <a:solidFill>
                  <a:schemeClr val="bg1"/>
                </a:solidFill>
                <a:effectLst/>
                <a:latin typeface="+mn-lt"/>
                <a:ea typeface="+mn-ea"/>
                <a:cs typeface="+mn-cs"/>
              </a:rPr>
              <a:t>*** </a:t>
            </a:r>
          </a:p>
        </p:txBody>
      </p:sp>
      <p:cxnSp>
        <p:nvCxnSpPr>
          <p:cNvPr id="9" name="Straight Connector 8"/>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con slide">
    <p:spTree>
      <p:nvGrpSpPr>
        <p:cNvPr id="1" name=""/>
        <p:cNvGrpSpPr/>
        <p:nvPr/>
      </p:nvGrpSpPr>
      <p:grpSpPr>
        <a:xfrm>
          <a:off x="0" y="0"/>
          <a:ext cx="0" cy="0"/>
          <a:chOff x="0" y="0"/>
          <a:chExt cx="0" cy="0"/>
        </a:xfrm>
      </p:grpSpPr>
      <p:sp>
        <p:nvSpPr>
          <p:cNvPr id="22" name="Rectangle 21"/>
          <p:cNvSpPr/>
          <p:nvPr userDrawn="1"/>
        </p:nvSpPr>
        <p:spPr>
          <a:xfrm>
            <a:off x="0" y="-1"/>
            <a:ext cx="12192000" cy="685800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Rectangle 3"/>
          <p:cNvSpPr/>
          <p:nvPr userDrawn="1"/>
        </p:nvSpPr>
        <p:spPr>
          <a:xfrm>
            <a:off x="0" y="5968370"/>
            <a:ext cx="12192000" cy="461665"/>
          </a:xfrm>
          <a:prstGeom prst="rect">
            <a:avLst/>
          </a:prstGeom>
        </p:spPr>
        <p:txBody>
          <a:bodyPr wrap="square">
            <a:spAutoFit/>
          </a:bodyPr>
          <a:lstStyle/>
          <a:p>
            <a:pPr algn="ctr"/>
            <a:r>
              <a:rPr lang="en-GB" sz="2400" kern="1200" dirty="0">
                <a:solidFill>
                  <a:schemeClr val="bg1"/>
                </a:solidFill>
                <a:effectLst/>
                <a:latin typeface="+mn-lt"/>
                <a:ea typeface="+mn-ea"/>
                <a:cs typeface="+mn-cs"/>
              </a:rPr>
              <a:t>*** </a:t>
            </a:r>
            <a:r>
              <a:rPr lang="en-GB" sz="2400" b="1" kern="1200" dirty="0">
                <a:solidFill>
                  <a:schemeClr val="bg1"/>
                </a:solidFill>
                <a:effectLst/>
                <a:latin typeface="+mn-lt"/>
                <a:ea typeface="+mn-ea"/>
                <a:cs typeface="+mn-cs"/>
              </a:rPr>
              <a:t>PLEASE DELETE THIS INSTRUCTION SLIDE BEFORE PRESENTING FINAL PRESENTATION </a:t>
            </a:r>
            <a:r>
              <a:rPr lang="en-GB" sz="2400" kern="1200" dirty="0">
                <a:solidFill>
                  <a:schemeClr val="bg1"/>
                </a:solidFill>
                <a:effectLst/>
                <a:latin typeface="+mn-lt"/>
                <a:ea typeface="+mn-ea"/>
                <a:cs typeface="+mn-cs"/>
              </a:rPr>
              <a:t>*** </a:t>
            </a:r>
          </a:p>
        </p:txBody>
      </p:sp>
      <p:cxnSp>
        <p:nvCxnSpPr>
          <p:cNvPr id="5" name="Straight Connector 4"/>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Rectangle 5"/>
          <p:cNvSpPr/>
          <p:nvPr userDrawn="1"/>
        </p:nvSpPr>
        <p:spPr>
          <a:xfrm>
            <a:off x="501175" y="505425"/>
            <a:ext cx="4644643" cy="4339650"/>
          </a:xfrm>
          <a:prstGeom prst="rect">
            <a:avLst/>
          </a:prstGeom>
        </p:spPr>
        <p:txBody>
          <a:bodyPr wrap="square">
            <a:spAutoFit/>
          </a:bodyPr>
          <a:lstStyle/>
          <a:p>
            <a:pPr marL="0" lvl="0" indent="0" algn="l" rtl="0">
              <a:spcBef>
                <a:spcPts val="0"/>
              </a:spcBef>
              <a:spcAft>
                <a:spcPts val="0"/>
              </a:spcAft>
              <a:buClr>
                <a:schemeClr val="dk1"/>
              </a:buClr>
              <a:buSzPts val="1100"/>
              <a:buFont typeface="Arial"/>
              <a:buNone/>
            </a:pPr>
            <a:r>
              <a:rPr lang="en-GB" sz="3600" dirty="0">
                <a:solidFill>
                  <a:schemeClr val="bg1"/>
                </a:solidFill>
                <a:latin typeface="+mn-lt"/>
                <a:ea typeface="Quattrocento Sans"/>
                <a:cs typeface="Quattrocento Sans"/>
                <a:sym typeface="Quattrocento Sans"/>
              </a:rPr>
              <a:t>ICONS</a:t>
            </a:r>
            <a:r>
              <a:rPr lang="en-GB" sz="3600" baseline="0" dirty="0">
                <a:solidFill>
                  <a:schemeClr val="bg1"/>
                </a:solidFill>
                <a:latin typeface="+mn-lt"/>
                <a:ea typeface="Quattrocento Sans"/>
                <a:cs typeface="Quattrocento Sans"/>
                <a:sym typeface="Quattrocento Sans"/>
              </a:rPr>
              <a:t> WHICH CAN BE USED WITHIN THE </a:t>
            </a:r>
            <a:r>
              <a:rPr lang="en-GB" sz="3600" b="1" baseline="0" dirty="0">
                <a:solidFill>
                  <a:schemeClr val="bg1"/>
                </a:solidFill>
                <a:latin typeface="+mn-lt"/>
                <a:ea typeface="Quattrocento Sans"/>
                <a:cs typeface="Quattrocento Sans"/>
                <a:sym typeface="Quattrocento Sans"/>
              </a:rPr>
              <a:t>SMART UP </a:t>
            </a:r>
            <a:r>
              <a:rPr lang="en-GB" sz="3600" baseline="0" dirty="0">
                <a:solidFill>
                  <a:schemeClr val="bg1"/>
                </a:solidFill>
                <a:latin typeface="+mn-lt"/>
                <a:ea typeface="Quattrocento Sans"/>
                <a:cs typeface="Quattrocento Sans"/>
                <a:sym typeface="Quattrocento Sans"/>
              </a:rPr>
              <a:t>POWERPOINT</a:t>
            </a:r>
          </a:p>
          <a:p>
            <a:pPr marL="0" lvl="0" indent="0" algn="l" rtl="0">
              <a:spcBef>
                <a:spcPts val="0"/>
              </a:spcBef>
              <a:spcAft>
                <a:spcPts val="0"/>
              </a:spcAft>
              <a:buClr>
                <a:schemeClr val="dk1"/>
              </a:buClr>
              <a:buSzPts val="1100"/>
              <a:buFont typeface="Arial"/>
              <a:buNone/>
            </a:pPr>
            <a:endParaRPr lang="en-GB" sz="3600" dirty="0">
              <a:solidFill>
                <a:schemeClr val="bg1"/>
              </a:solidFill>
              <a:latin typeface="+mn-lt"/>
              <a:ea typeface="Quattrocento Sans"/>
              <a:cs typeface="Quattrocento Sans"/>
              <a:sym typeface="Quattrocento Sans"/>
            </a:endParaRPr>
          </a:p>
          <a:p>
            <a:pPr marL="52388" lvl="0" indent="0" algn="l" rtl="0">
              <a:spcBef>
                <a:spcPts val="0"/>
              </a:spcBef>
              <a:spcAft>
                <a:spcPts val="0"/>
              </a:spcAft>
              <a:buClr>
                <a:schemeClr val="dk1"/>
              </a:buClr>
              <a:buSzPts val="900"/>
              <a:buFont typeface="Quattrocento Sans"/>
              <a:buNone/>
              <a:tabLst/>
            </a:pPr>
            <a:r>
              <a:rPr lang="en-GB" sz="2400" i="1" dirty="0">
                <a:solidFill>
                  <a:schemeClr val="bg1"/>
                </a:solidFill>
                <a:latin typeface="+mn-lt"/>
                <a:ea typeface="Quattrocento Sans"/>
                <a:cs typeface="Quattrocento Sans"/>
                <a:sym typeface="Quattrocento Sans"/>
              </a:rPr>
              <a:t>Resize them without losing quality.</a:t>
            </a:r>
            <a:r>
              <a:rPr lang="en-GB" sz="2400" i="1" baseline="0" dirty="0">
                <a:solidFill>
                  <a:schemeClr val="bg1"/>
                </a:solidFill>
                <a:latin typeface="+mn-lt"/>
                <a:ea typeface="Quattrocento Sans"/>
                <a:cs typeface="Quattrocento Sans"/>
                <a:sym typeface="Quattrocento Sans"/>
              </a:rPr>
              <a:t> </a:t>
            </a:r>
            <a:r>
              <a:rPr lang="en-GB" sz="2400" i="1" dirty="0">
                <a:solidFill>
                  <a:schemeClr val="bg1"/>
                </a:solidFill>
                <a:latin typeface="+mn-lt"/>
                <a:ea typeface="Quattrocento Sans"/>
                <a:cs typeface="Quattrocento Sans"/>
                <a:sym typeface="Quattrocento Sans"/>
              </a:rPr>
              <a:t> Change line colour, width and style.</a:t>
            </a:r>
            <a:r>
              <a:rPr lang="en-GB" sz="2400" i="1" baseline="0" dirty="0">
                <a:solidFill>
                  <a:schemeClr val="bg1"/>
                </a:solidFill>
                <a:latin typeface="+mn-lt"/>
                <a:ea typeface="Quattrocento Sans"/>
                <a:cs typeface="Quattrocento Sans"/>
                <a:sym typeface="Quattrocento Sans"/>
              </a:rPr>
              <a:t> </a:t>
            </a:r>
          </a:p>
          <a:p>
            <a:pPr marL="0" lvl="0" indent="0" algn="l" rtl="0">
              <a:spcBef>
                <a:spcPts val="0"/>
              </a:spcBef>
              <a:spcAft>
                <a:spcPts val="0"/>
              </a:spcAft>
              <a:buFont typeface="Arial" charset="0"/>
              <a:buNone/>
            </a:pPr>
            <a:endParaRPr lang="en-GB" sz="2400" dirty="0">
              <a:solidFill>
                <a:schemeClr val="bg1"/>
              </a:solidFill>
              <a:latin typeface="+mn-lt"/>
              <a:ea typeface="Quattrocento Sans"/>
              <a:cs typeface="Quattrocento Sans"/>
              <a:sym typeface="Quattrocento Sans"/>
            </a:endParaRPr>
          </a:p>
          <a:p>
            <a:pPr marL="0" lvl="0" indent="0" algn="l" rtl="0">
              <a:spcBef>
                <a:spcPts val="0"/>
              </a:spcBef>
              <a:spcAft>
                <a:spcPts val="0"/>
              </a:spcAft>
              <a:buFont typeface="Arial" charset="0"/>
              <a:buNone/>
            </a:pPr>
            <a:r>
              <a:rPr lang="en-GB" sz="2400" dirty="0">
                <a:solidFill>
                  <a:schemeClr val="bg1"/>
                </a:solidFill>
                <a:latin typeface="+mn-lt"/>
                <a:ea typeface="Quattrocento Sans"/>
                <a:cs typeface="Quattrocento Sans"/>
                <a:sym typeface="Quattrocento Sans"/>
              </a:rPr>
              <a:t>Isn’t that nice? :)</a:t>
            </a:r>
          </a:p>
        </p:txBody>
      </p:sp>
      <p:cxnSp>
        <p:nvCxnSpPr>
          <p:cNvPr id="7" name="Straight Connector 6"/>
          <p:cNvCxnSpPr/>
          <p:nvPr userDrawn="1"/>
        </p:nvCxnSpPr>
        <p:spPr>
          <a:xfrm>
            <a:off x="5145818" y="0"/>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ver Design 2">
    <p:spTree>
      <p:nvGrpSpPr>
        <p:cNvPr id="1" name=""/>
        <p:cNvGrpSpPr/>
        <p:nvPr/>
      </p:nvGrpSpPr>
      <p:grpSpPr>
        <a:xfrm>
          <a:off x="0" y="0"/>
          <a:ext cx="0" cy="0"/>
          <a:chOff x="0" y="0"/>
          <a:chExt cx="0" cy="0"/>
        </a:xfrm>
      </p:grpSpPr>
      <p:sp>
        <p:nvSpPr>
          <p:cNvPr id="4" name="Rectangle 3"/>
          <p:cNvSpPr/>
          <p:nvPr userDrawn="1"/>
        </p:nvSpPr>
        <p:spPr>
          <a:xfrm>
            <a:off x="-6722" y="3278038"/>
            <a:ext cx="12198722" cy="3579962"/>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0882" y="780222"/>
            <a:ext cx="9157558" cy="1848523"/>
          </a:xfrm>
          <a:prstGeom prst="rect">
            <a:avLst/>
          </a:prstGeom>
        </p:spPr>
      </p:pic>
      <p:grpSp>
        <p:nvGrpSpPr>
          <p:cNvPr id="15" name="Group 14"/>
          <p:cNvGrpSpPr/>
          <p:nvPr userDrawn="1"/>
        </p:nvGrpSpPr>
        <p:grpSpPr>
          <a:xfrm>
            <a:off x="10325100" y="3460836"/>
            <a:ext cx="1866900" cy="463550"/>
            <a:chOff x="0" y="0"/>
            <a:chExt cx="2301694" cy="571500"/>
          </a:xfrm>
        </p:grpSpPr>
        <p:sp>
          <p:nvSpPr>
            <p:cNvPr id="16" name="Rectangle 1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17" name="Picture 16"/>
            <p:cNvPicPr>
              <a:picLocks noChangeAspect="1"/>
            </p:cNvPicPr>
            <p:nvPr/>
          </p:nvPicPr>
          <p:blipFill rotWithShape="1">
            <a:blip r:embed="rId3">
              <a:extLst>
                <a:ext uri="{28A0092B-C50C-407E-A947-70E740481C1C}">
                  <a14:useLocalDpi xmlns:a14="http://schemas.microsoft.com/office/drawing/2010/main" val="0"/>
                </a:ext>
              </a:extLst>
            </a:blip>
            <a:srcRect r="44449"/>
            <a:stretch/>
          </p:blipFill>
          <p:spPr bwMode="auto">
            <a:xfrm>
              <a:off x="125070" y="97860"/>
              <a:ext cx="1675765" cy="384810"/>
            </a:xfrm>
            <a:prstGeom prst="rect">
              <a:avLst/>
            </a:prstGeom>
            <a:ln>
              <a:noFill/>
            </a:ln>
            <a:extLst>
              <a:ext uri="{53640926-AAD7-44D8-BBD7-CCE9431645EC}">
                <a14:shadowObscured xmlns:a14="http://schemas.microsoft.com/office/drawing/2010/main"/>
              </a:ext>
            </a:extLst>
          </p:spPr>
        </p:pic>
      </p:grpSp>
      <p:cxnSp>
        <p:nvCxnSpPr>
          <p:cNvPr id="20" name="Straight Connector 19"/>
          <p:cNvCxnSpPr/>
          <p:nvPr userDrawn="1"/>
        </p:nvCxnSpPr>
        <p:spPr>
          <a:xfrm>
            <a:off x="600882" y="4859037"/>
            <a:ext cx="483609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b="32961"/>
          <a:stretch/>
        </p:blipFill>
        <p:spPr>
          <a:xfrm>
            <a:off x="10890786" y="6021708"/>
            <a:ext cx="1301214" cy="872318"/>
          </a:xfrm>
          <a:prstGeom prst="rect">
            <a:avLst/>
          </a:prstGeom>
        </p:spPr>
      </p:pic>
      <p:pic>
        <p:nvPicPr>
          <p:cNvPr id="3" name="Picture 2"/>
          <p:cNvPicPr>
            <a:picLocks noChangeAspect="1"/>
          </p:cNvPicPr>
          <p:nvPr userDrawn="1"/>
        </p:nvPicPr>
        <p:blipFill rotWithShape="1">
          <a:blip r:embed="rId5">
            <a:extLst>
              <a:ext uri="{28A0092B-C50C-407E-A947-70E740481C1C}">
                <a14:useLocalDpi xmlns:a14="http://schemas.microsoft.com/office/drawing/2010/main" val="0"/>
              </a:ext>
            </a:extLst>
          </a:blip>
          <a:srcRect l="31220" t="21060"/>
          <a:stretch/>
        </p:blipFill>
        <p:spPr>
          <a:xfrm>
            <a:off x="0" y="3218143"/>
            <a:ext cx="894968" cy="1027183"/>
          </a:xfrm>
          <a:prstGeom prst="rect">
            <a:avLst/>
          </a:prstGeom>
        </p:spPr>
      </p:pic>
      <p:sp>
        <p:nvSpPr>
          <p:cNvPr id="35" name="Text Placeholder 23"/>
          <p:cNvSpPr>
            <a:spLocks noGrp="1"/>
          </p:cNvSpPr>
          <p:nvPr>
            <p:ph type="body" sz="quarter" idx="15" hasCustomPrompt="1"/>
          </p:nvPr>
        </p:nvSpPr>
        <p:spPr>
          <a:xfrm>
            <a:off x="767012" y="4930199"/>
            <a:ext cx="4667468" cy="697353"/>
          </a:xfrm>
        </p:spPr>
        <p:txBody>
          <a:bodyPr>
            <a:noAutofit/>
          </a:bodyPr>
          <a:lstStyle>
            <a:lvl1pPr marL="0" indent="0" algn="l">
              <a:buNone/>
              <a:defRPr sz="5400" baseline="0">
                <a:solidFill>
                  <a:schemeClr val="bg1"/>
                </a:solidFill>
                <a:latin typeface="+mn-lt"/>
              </a:defRPr>
            </a:lvl1pPr>
          </a:lstStyle>
          <a:p>
            <a:pPr lvl="0"/>
            <a:r>
              <a:rPr lang="en-GB" dirty="0"/>
              <a:t>SMART UP</a:t>
            </a:r>
          </a:p>
        </p:txBody>
      </p:sp>
      <p:sp>
        <p:nvSpPr>
          <p:cNvPr id="36" name="Text Placeholder 23"/>
          <p:cNvSpPr>
            <a:spLocks noGrp="1"/>
          </p:cNvSpPr>
          <p:nvPr>
            <p:ph type="body" sz="quarter" idx="16" hasCustomPrompt="1"/>
          </p:nvPr>
        </p:nvSpPr>
        <p:spPr>
          <a:xfrm>
            <a:off x="826409" y="4280907"/>
            <a:ext cx="5278651" cy="697353"/>
          </a:xfrm>
        </p:spPr>
        <p:txBody>
          <a:bodyPr>
            <a:normAutofit/>
          </a:bodyPr>
          <a:lstStyle>
            <a:lvl1pPr marL="0" indent="0" algn="l">
              <a:buNone/>
              <a:defRPr sz="3600">
                <a:solidFill>
                  <a:schemeClr val="bg1"/>
                </a:solidFill>
                <a:latin typeface="+mn-lt"/>
              </a:defRPr>
            </a:lvl1pPr>
          </a:lstStyle>
          <a:p>
            <a:pPr lvl="0"/>
            <a:r>
              <a:rPr lang="en-GB" dirty="0"/>
              <a:t>Find out more about</a:t>
            </a:r>
          </a:p>
        </p:txBody>
      </p:sp>
      <p:sp>
        <p:nvSpPr>
          <p:cNvPr id="37" name="Rectangle 36"/>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37CB813-EC21-CC46-9578-1B2717E47199}"/>
              </a:ext>
            </a:extLst>
          </p:cNvPr>
          <p:cNvSpPr>
            <a:spLocks noGrp="1"/>
          </p:cNvSpPr>
          <p:nvPr>
            <p:ph type="title"/>
          </p:nvPr>
        </p:nvSpPr>
        <p:spPr/>
        <p:txBody>
          <a:body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6CF911C0-7EE8-B549-BE1E-140FD4CC0C46}"/>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A04B3C92-F189-B64E-AF52-05C203FD5866}"/>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C6BD741C-3A0D-A94F-96EA-B994E7F19D80}"/>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83210EFD-0771-B942-93F2-3F6FD8A8F1E8}"/>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9919526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Page">
    <p:spTree>
      <p:nvGrpSpPr>
        <p:cNvPr id="1" name=""/>
        <p:cNvGrpSpPr/>
        <p:nvPr/>
      </p:nvGrpSpPr>
      <p:grpSpPr>
        <a:xfrm>
          <a:off x="0" y="0"/>
          <a:ext cx="0" cy="0"/>
          <a:chOff x="0" y="0"/>
          <a:chExt cx="0" cy="0"/>
        </a:xfrm>
      </p:grpSpPr>
      <p:sp>
        <p:nvSpPr>
          <p:cNvPr id="39" name="フッター プレースホルダー 1"/>
          <p:cNvSpPr txBox="1">
            <a:spLocks/>
          </p:cNvSpPr>
          <p:nvPr userDrawn="1"/>
        </p:nvSpPr>
        <p:spPr>
          <a:xfrm>
            <a:off x="13220963" y="10854933"/>
            <a:ext cx="5791200" cy="5476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lstStyle>
            <a:defPPr>
              <a:defRPr lang="en-US"/>
            </a:defPPr>
            <a:lvl1pPr marL="0" algn="ctr" defTabSz="914400" rtl="0" eaLnBrk="1" latinLnBrk="0" hangingPunct="1">
              <a:spcBef>
                <a:spcPct val="20000"/>
              </a:spcBef>
              <a:buChar char="•"/>
              <a:defRPr sz="3200" kern="1200">
                <a:solidFill>
                  <a:schemeClr val="tx1"/>
                </a:solidFill>
                <a:latin typeface="Lucida Grande" charset="0"/>
                <a:ea typeface="MS PGothic" charset="-128"/>
                <a:cs typeface="Geneva" charset="0"/>
              </a:defRPr>
            </a:lvl1pPr>
            <a:lvl2pPr marL="742950" indent="-285750" algn="l" defTabSz="914400" rtl="0" eaLnBrk="1" latinLnBrk="0" hangingPunct="1">
              <a:spcBef>
                <a:spcPct val="20000"/>
              </a:spcBef>
              <a:buChar char="–"/>
              <a:defRPr sz="2800" kern="1200">
                <a:solidFill>
                  <a:schemeClr val="tx1"/>
                </a:solidFill>
                <a:latin typeface="Lucida Grande" charset="0"/>
                <a:ea typeface="Geneva" charset="0"/>
                <a:cs typeface="Geneva" charset="0"/>
              </a:defRPr>
            </a:lvl2pPr>
            <a:lvl3pPr marL="1143000" indent="-228600" algn="l" defTabSz="914400" rtl="0" eaLnBrk="1" latinLnBrk="0" hangingPunct="1">
              <a:spcBef>
                <a:spcPct val="20000"/>
              </a:spcBef>
              <a:buChar char="•"/>
              <a:defRPr sz="2400" kern="1200">
                <a:solidFill>
                  <a:schemeClr val="tx1"/>
                </a:solidFill>
                <a:latin typeface="Lucida Grande" charset="0"/>
                <a:ea typeface="Geneva" charset="0"/>
                <a:cs typeface="Geneva" charset="0"/>
              </a:defRPr>
            </a:lvl3pPr>
            <a:lvl4pPr marL="1600200" indent="-228600" algn="l" defTabSz="914400" rtl="0" eaLnBrk="1" latinLnBrk="0" hangingPunct="1">
              <a:spcBef>
                <a:spcPct val="20000"/>
              </a:spcBef>
              <a:buChar char="–"/>
              <a:defRPr sz="2000" kern="1200">
                <a:solidFill>
                  <a:schemeClr val="tx1"/>
                </a:solidFill>
                <a:latin typeface="Lucida Grande" charset="0"/>
                <a:ea typeface="Geneva" charset="0"/>
                <a:cs typeface="Geneva" charset="0"/>
              </a:defRPr>
            </a:lvl4pPr>
            <a:lvl5pPr marL="2057400" indent="-228600" algn="l" defTabSz="914400" rtl="0" eaLnBrk="1" latinLnBrk="0" hangingPunct="1">
              <a:spcBef>
                <a:spcPct val="20000"/>
              </a:spcBef>
              <a:buChar char="»"/>
              <a:defRPr sz="2000" kern="1200">
                <a:solidFill>
                  <a:schemeClr val="tx1"/>
                </a:solidFill>
                <a:latin typeface="Lucida Grande" charset="0"/>
                <a:ea typeface="Geneva" charset="0"/>
                <a:cs typeface="Geneva" charset="0"/>
              </a:defRPr>
            </a:lvl5pPr>
            <a:lvl6pPr marL="25146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6pPr>
            <a:lvl7pPr marL="29718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7pPr>
            <a:lvl8pPr marL="34290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8pPr>
            <a:lvl9pPr marL="38862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9pPr>
          </a:lstStyle>
          <a:p>
            <a:pPr algn="l">
              <a:spcBef>
                <a:spcPct val="0"/>
              </a:spcBef>
              <a:buFontTx/>
              <a:buNone/>
            </a:pPr>
            <a:r>
              <a:rPr lang="en-GB" altLang="ja-JP" sz="1400" dirty="0">
                <a:ea typeface="ＭＳ Ｐゴシック" charset="-128"/>
                <a:cs typeface="ＭＳ Ｐゴシック" charset="-128"/>
              </a:rPr>
              <a:t>The Power of PowerPoint | thepopp.com</a:t>
            </a:r>
          </a:p>
        </p:txBody>
      </p:sp>
      <p:sp>
        <p:nvSpPr>
          <p:cNvPr id="49" name="フッター プレースホルダー 1"/>
          <p:cNvSpPr txBox="1">
            <a:spLocks/>
          </p:cNvSpPr>
          <p:nvPr userDrawn="1"/>
        </p:nvSpPr>
        <p:spPr>
          <a:xfrm>
            <a:off x="12681715" y="10880333"/>
            <a:ext cx="5791200" cy="5476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lstStyle>
            <a:defPPr>
              <a:defRPr lang="en-US"/>
            </a:defPPr>
            <a:lvl1pPr marL="0" algn="ctr" defTabSz="914400" rtl="0" eaLnBrk="1" latinLnBrk="0" hangingPunct="1">
              <a:spcBef>
                <a:spcPct val="20000"/>
              </a:spcBef>
              <a:buChar char="•"/>
              <a:defRPr sz="3200" kern="1200">
                <a:solidFill>
                  <a:schemeClr val="tx1"/>
                </a:solidFill>
                <a:latin typeface="Lucida Grande" charset="0"/>
                <a:ea typeface="MS PGothic" charset="-128"/>
                <a:cs typeface="Geneva" charset="0"/>
              </a:defRPr>
            </a:lvl1pPr>
            <a:lvl2pPr marL="742950" indent="-285750" algn="l" defTabSz="914400" rtl="0" eaLnBrk="1" latinLnBrk="0" hangingPunct="1">
              <a:spcBef>
                <a:spcPct val="20000"/>
              </a:spcBef>
              <a:buChar char="–"/>
              <a:defRPr sz="2800" kern="1200">
                <a:solidFill>
                  <a:schemeClr val="tx1"/>
                </a:solidFill>
                <a:latin typeface="Lucida Grande" charset="0"/>
                <a:ea typeface="Geneva" charset="0"/>
                <a:cs typeface="Geneva" charset="0"/>
              </a:defRPr>
            </a:lvl2pPr>
            <a:lvl3pPr marL="1143000" indent="-228600" algn="l" defTabSz="914400" rtl="0" eaLnBrk="1" latinLnBrk="0" hangingPunct="1">
              <a:spcBef>
                <a:spcPct val="20000"/>
              </a:spcBef>
              <a:buChar char="•"/>
              <a:defRPr sz="2400" kern="1200">
                <a:solidFill>
                  <a:schemeClr val="tx1"/>
                </a:solidFill>
                <a:latin typeface="Lucida Grande" charset="0"/>
                <a:ea typeface="Geneva" charset="0"/>
                <a:cs typeface="Geneva" charset="0"/>
              </a:defRPr>
            </a:lvl3pPr>
            <a:lvl4pPr marL="1600200" indent="-228600" algn="l" defTabSz="914400" rtl="0" eaLnBrk="1" latinLnBrk="0" hangingPunct="1">
              <a:spcBef>
                <a:spcPct val="20000"/>
              </a:spcBef>
              <a:buChar char="–"/>
              <a:defRPr sz="2000" kern="1200">
                <a:solidFill>
                  <a:schemeClr val="tx1"/>
                </a:solidFill>
                <a:latin typeface="Lucida Grande" charset="0"/>
                <a:ea typeface="Geneva" charset="0"/>
                <a:cs typeface="Geneva" charset="0"/>
              </a:defRPr>
            </a:lvl4pPr>
            <a:lvl5pPr marL="2057400" indent="-228600" algn="l" defTabSz="914400" rtl="0" eaLnBrk="1" latinLnBrk="0" hangingPunct="1">
              <a:spcBef>
                <a:spcPct val="20000"/>
              </a:spcBef>
              <a:buChar char="»"/>
              <a:defRPr sz="2000" kern="1200">
                <a:solidFill>
                  <a:schemeClr val="tx1"/>
                </a:solidFill>
                <a:latin typeface="Lucida Grande" charset="0"/>
                <a:ea typeface="Geneva" charset="0"/>
                <a:cs typeface="Geneva" charset="0"/>
              </a:defRPr>
            </a:lvl5pPr>
            <a:lvl6pPr marL="25146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6pPr>
            <a:lvl7pPr marL="29718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7pPr>
            <a:lvl8pPr marL="34290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8pPr>
            <a:lvl9pPr marL="38862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9pPr>
          </a:lstStyle>
          <a:p>
            <a:pPr algn="l">
              <a:spcBef>
                <a:spcPct val="0"/>
              </a:spcBef>
              <a:buFontTx/>
              <a:buNone/>
            </a:pPr>
            <a:r>
              <a:rPr lang="en-GB" altLang="ja-JP" sz="1400" dirty="0">
                <a:ea typeface="ＭＳ Ｐゴシック" charset="-128"/>
                <a:cs typeface="ＭＳ Ｐゴシック" charset="-128"/>
              </a:rPr>
              <a:t>The Power of PowerPoint | thepopp.com</a:t>
            </a:r>
          </a:p>
        </p:txBody>
      </p:sp>
      <p:sp>
        <p:nvSpPr>
          <p:cNvPr id="50" name="Oval 1"/>
          <p:cNvSpPr>
            <a:spLocks noChangeArrowheads="1"/>
          </p:cNvSpPr>
          <p:nvPr userDrawn="1"/>
        </p:nvSpPr>
        <p:spPr bwMode="auto">
          <a:xfrm>
            <a:off x="5370596" y="2052534"/>
            <a:ext cx="720000" cy="720000"/>
          </a:xfrm>
          <a:prstGeom prst="ellipse">
            <a:avLst/>
          </a:prstGeom>
          <a:solidFill>
            <a:srgbClr val="F05A2A"/>
          </a:solidFill>
          <a:ln>
            <a:noFill/>
          </a:ln>
        </p:spPr>
        <p:txBody>
          <a:bodyPr anchor="ct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ctr">
              <a:spcBef>
                <a:spcPct val="0"/>
              </a:spcBef>
              <a:buFontTx/>
              <a:buNone/>
            </a:pPr>
            <a:r>
              <a:rPr lang="en-GB" altLang="x-none" sz="3200" dirty="0">
                <a:solidFill>
                  <a:schemeClr val="bg1"/>
                </a:solidFill>
                <a:latin typeface="Calibri" charset="0"/>
              </a:rPr>
              <a:t>1</a:t>
            </a:r>
          </a:p>
        </p:txBody>
      </p:sp>
      <p:sp>
        <p:nvSpPr>
          <p:cNvPr id="58" name="Rectangle 57"/>
          <p:cNvSpPr/>
          <p:nvPr userDrawn="1"/>
        </p:nvSpPr>
        <p:spPr>
          <a:xfrm>
            <a:off x="448232" y="5065249"/>
            <a:ext cx="4269258" cy="461665"/>
          </a:xfrm>
          <a:prstGeom prst="rect">
            <a:avLst/>
          </a:prstGeom>
        </p:spPr>
        <p:txBody>
          <a:bodyPr wrap="square">
            <a:spAutoFit/>
          </a:bodyPr>
          <a:lstStyle/>
          <a:p>
            <a:pPr algn="just" fontAlgn="base"/>
            <a:r>
              <a:rPr lang="en-GB" sz="800" b="0" i="0" dirty="0">
                <a:solidFill>
                  <a:srgbClr val="245473"/>
                </a:solidFill>
                <a:effectLst/>
                <a:latin typeface="+mn-lt"/>
              </a:rPr>
              <a:t>This programme has been funded with support from the European Commission. The author is solely responsible for this publication (communication) and the Commission accepts no responsibility for any  use that may be made of the information contained therein.</a:t>
            </a:r>
          </a:p>
        </p:txBody>
      </p:sp>
      <p:sp>
        <p:nvSpPr>
          <p:cNvPr id="65" name="Text Placeholder 63"/>
          <p:cNvSpPr>
            <a:spLocks noGrp="1"/>
          </p:cNvSpPr>
          <p:nvPr>
            <p:ph type="body" sz="quarter" idx="22" hasCustomPrompt="1"/>
          </p:nvPr>
        </p:nvSpPr>
        <p:spPr>
          <a:xfrm>
            <a:off x="6232224" y="2061678"/>
            <a:ext cx="5615377" cy="469763"/>
          </a:xfrm>
        </p:spPr>
        <p:txBody>
          <a:bodyPr/>
          <a:lstStyle>
            <a:lvl1pPr marL="0" indent="0">
              <a:buNone/>
              <a:defRPr>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Title</a:t>
            </a:r>
          </a:p>
        </p:txBody>
      </p:sp>
      <p:sp>
        <p:nvSpPr>
          <p:cNvPr id="66" name="Text Placeholder 63"/>
          <p:cNvSpPr>
            <a:spLocks noGrp="1"/>
          </p:cNvSpPr>
          <p:nvPr>
            <p:ph type="body" sz="quarter" idx="23" hasCustomPrompt="1"/>
          </p:nvPr>
        </p:nvSpPr>
        <p:spPr>
          <a:xfrm>
            <a:off x="6232224" y="2582788"/>
            <a:ext cx="5642364" cy="319109"/>
          </a:xfrm>
        </p:spPr>
        <p:txBody>
          <a:bodyPr>
            <a:normAutofit/>
          </a:bodyPr>
          <a:lstStyle>
            <a:lvl1pPr marL="0" indent="0">
              <a:buNone/>
              <a:defRPr sz="1300" i="1" baseline="0">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Sub Title</a:t>
            </a:r>
          </a:p>
        </p:txBody>
      </p:sp>
      <p:sp>
        <p:nvSpPr>
          <p:cNvPr id="72" name="Text Placeholder 23"/>
          <p:cNvSpPr>
            <a:spLocks noGrp="1"/>
          </p:cNvSpPr>
          <p:nvPr>
            <p:ph type="body" sz="quarter" idx="13" hasCustomPrompt="1"/>
          </p:nvPr>
        </p:nvSpPr>
        <p:spPr>
          <a:xfrm>
            <a:off x="528265" y="2138185"/>
            <a:ext cx="4118429" cy="2548702"/>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73" name="Oval 72"/>
          <p:cNvSpPr>
            <a:spLocks noChangeArrowheads="1"/>
          </p:cNvSpPr>
          <p:nvPr userDrawn="1"/>
        </p:nvSpPr>
        <p:spPr bwMode="auto">
          <a:xfrm>
            <a:off x="5375141" y="3129586"/>
            <a:ext cx="720000" cy="720000"/>
          </a:xfrm>
          <a:prstGeom prst="ellipse">
            <a:avLst/>
          </a:prstGeom>
          <a:solidFill>
            <a:srgbClr val="BBC646"/>
          </a:solidFill>
          <a:ln>
            <a:noFill/>
          </a:ln>
        </p:spPr>
        <p:txBody>
          <a:bodyPr anchor="ct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ctr">
              <a:spcBef>
                <a:spcPct val="0"/>
              </a:spcBef>
              <a:buFontTx/>
              <a:buNone/>
            </a:pPr>
            <a:r>
              <a:rPr lang="en-GB" altLang="x-none" sz="3200" dirty="0">
                <a:solidFill>
                  <a:schemeClr val="bg1"/>
                </a:solidFill>
                <a:latin typeface="Calibri" charset="0"/>
              </a:rPr>
              <a:t>2</a:t>
            </a:r>
          </a:p>
        </p:txBody>
      </p:sp>
      <p:sp>
        <p:nvSpPr>
          <p:cNvPr id="74" name="Text Placeholder 63"/>
          <p:cNvSpPr>
            <a:spLocks noGrp="1"/>
          </p:cNvSpPr>
          <p:nvPr>
            <p:ph type="body" sz="quarter" idx="24" hasCustomPrompt="1"/>
          </p:nvPr>
        </p:nvSpPr>
        <p:spPr>
          <a:xfrm>
            <a:off x="6236769" y="3138730"/>
            <a:ext cx="5615377" cy="469763"/>
          </a:xfrm>
        </p:spPr>
        <p:txBody>
          <a:bodyPr/>
          <a:lstStyle>
            <a:lvl1pPr marL="0" indent="0">
              <a:buNone/>
              <a:defRPr>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Title</a:t>
            </a:r>
          </a:p>
        </p:txBody>
      </p:sp>
      <p:sp>
        <p:nvSpPr>
          <p:cNvPr id="75" name="Text Placeholder 63"/>
          <p:cNvSpPr>
            <a:spLocks noGrp="1"/>
          </p:cNvSpPr>
          <p:nvPr>
            <p:ph type="body" sz="quarter" idx="25" hasCustomPrompt="1"/>
          </p:nvPr>
        </p:nvSpPr>
        <p:spPr>
          <a:xfrm>
            <a:off x="6236769" y="3659840"/>
            <a:ext cx="5642364" cy="319109"/>
          </a:xfrm>
        </p:spPr>
        <p:txBody>
          <a:bodyPr>
            <a:normAutofit/>
          </a:bodyPr>
          <a:lstStyle>
            <a:lvl1pPr marL="0" indent="0">
              <a:buNone/>
              <a:defRPr sz="1300" i="1" baseline="0">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Sub Title</a:t>
            </a:r>
          </a:p>
        </p:txBody>
      </p:sp>
      <p:sp>
        <p:nvSpPr>
          <p:cNvPr id="76" name="Oval 75"/>
          <p:cNvSpPr>
            <a:spLocks noChangeArrowheads="1"/>
          </p:cNvSpPr>
          <p:nvPr userDrawn="1"/>
        </p:nvSpPr>
        <p:spPr bwMode="auto">
          <a:xfrm>
            <a:off x="5370596" y="4207979"/>
            <a:ext cx="720000" cy="720000"/>
          </a:xfrm>
          <a:prstGeom prst="ellipse">
            <a:avLst/>
          </a:prstGeom>
          <a:solidFill>
            <a:srgbClr val="29B3E8"/>
          </a:solidFill>
          <a:ln>
            <a:noFill/>
          </a:ln>
        </p:spPr>
        <p:txBody>
          <a:bodyPr anchor="ct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ctr">
              <a:spcBef>
                <a:spcPct val="0"/>
              </a:spcBef>
              <a:buFontTx/>
              <a:buNone/>
            </a:pPr>
            <a:r>
              <a:rPr lang="en-GB" altLang="x-none" sz="3200" dirty="0">
                <a:solidFill>
                  <a:schemeClr val="bg1"/>
                </a:solidFill>
                <a:latin typeface="Calibri" charset="0"/>
              </a:rPr>
              <a:t>3</a:t>
            </a:r>
          </a:p>
        </p:txBody>
      </p:sp>
      <p:sp>
        <p:nvSpPr>
          <p:cNvPr id="77" name="Text Placeholder 63"/>
          <p:cNvSpPr>
            <a:spLocks noGrp="1"/>
          </p:cNvSpPr>
          <p:nvPr>
            <p:ph type="body" sz="quarter" idx="26" hasCustomPrompt="1"/>
          </p:nvPr>
        </p:nvSpPr>
        <p:spPr>
          <a:xfrm>
            <a:off x="6232224" y="4217123"/>
            <a:ext cx="5615377" cy="469763"/>
          </a:xfrm>
        </p:spPr>
        <p:txBody>
          <a:bodyPr/>
          <a:lstStyle>
            <a:lvl1pPr marL="0" indent="0">
              <a:buNone/>
              <a:defRPr>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Title</a:t>
            </a:r>
          </a:p>
        </p:txBody>
      </p:sp>
      <p:sp>
        <p:nvSpPr>
          <p:cNvPr id="78" name="Text Placeholder 63"/>
          <p:cNvSpPr>
            <a:spLocks noGrp="1"/>
          </p:cNvSpPr>
          <p:nvPr>
            <p:ph type="body" sz="quarter" idx="27" hasCustomPrompt="1"/>
          </p:nvPr>
        </p:nvSpPr>
        <p:spPr>
          <a:xfrm>
            <a:off x="6232224" y="4738233"/>
            <a:ext cx="5642364" cy="319109"/>
          </a:xfrm>
        </p:spPr>
        <p:txBody>
          <a:bodyPr>
            <a:normAutofit/>
          </a:bodyPr>
          <a:lstStyle>
            <a:lvl1pPr marL="0" indent="0">
              <a:buNone/>
              <a:defRPr sz="1300" i="1" baseline="0">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Sub Title</a:t>
            </a:r>
          </a:p>
        </p:txBody>
      </p:sp>
      <p:sp>
        <p:nvSpPr>
          <p:cNvPr id="79" name="Oval 78"/>
          <p:cNvSpPr>
            <a:spLocks noChangeArrowheads="1"/>
          </p:cNvSpPr>
          <p:nvPr userDrawn="1"/>
        </p:nvSpPr>
        <p:spPr bwMode="auto">
          <a:xfrm>
            <a:off x="5393421" y="5302137"/>
            <a:ext cx="720000" cy="720000"/>
          </a:xfrm>
          <a:prstGeom prst="ellipse">
            <a:avLst/>
          </a:prstGeom>
          <a:solidFill>
            <a:srgbClr val="E53292"/>
          </a:solidFill>
          <a:ln>
            <a:noFill/>
          </a:ln>
        </p:spPr>
        <p:txBody>
          <a:bodyPr anchor="ct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ctr">
              <a:spcBef>
                <a:spcPct val="0"/>
              </a:spcBef>
              <a:buFontTx/>
              <a:buNone/>
            </a:pPr>
            <a:r>
              <a:rPr lang="en-GB" altLang="x-none" sz="3200" dirty="0">
                <a:solidFill>
                  <a:schemeClr val="bg1"/>
                </a:solidFill>
                <a:latin typeface="Calibri" charset="0"/>
              </a:rPr>
              <a:t>4</a:t>
            </a:r>
          </a:p>
        </p:txBody>
      </p:sp>
      <p:sp>
        <p:nvSpPr>
          <p:cNvPr id="80" name="Text Placeholder 63"/>
          <p:cNvSpPr>
            <a:spLocks noGrp="1"/>
          </p:cNvSpPr>
          <p:nvPr>
            <p:ph type="body" sz="quarter" idx="28" hasCustomPrompt="1"/>
          </p:nvPr>
        </p:nvSpPr>
        <p:spPr>
          <a:xfrm>
            <a:off x="6255049" y="5311281"/>
            <a:ext cx="5615377" cy="469763"/>
          </a:xfrm>
        </p:spPr>
        <p:txBody>
          <a:bodyPr/>
          <a:lstStyle>
            <a:lvl1pPr marL="0" indent="0">
              <a:buNone/>
              <a:defRPr>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Title</a:t>
            </a:r>
          </a:p>
        </p:txBody>
      </p:sp>
      <p:sp>
        <p:nvSpPr>
          <p:cNvPr id="81" name="Text Placeholder 63"/>
          <p:cNvSpPr>
            <a:spLocks noGrp="1"/>
          </p:cNvSpPr>
          <p:nvPr>
            <p:ph type="body" sz="quarter" idx="29" hasCustomPrompt="1"/>
          </p:nvPr>
        </p:nvSpPr>
        <p:spPr>
          <a:xfrm>
            <a:off x="6255049" y="5832391"/>
            <a:ext cx="5642364" cy="319109"/>
          </a:xfrm>
        </p:spPr>
        <p:txBody>
          <a:bodyPr>
            <a:normAutofit/>
          </a:bodyPr>
          <a:lstStyle>
            <a:lvl1pPr marL="0" indent="0">
              <a:buNone/>
              <a:defRPr sz="1300" i="1" baseline="0">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Sub Title</a:t>
            </a:r>
          </a:p>
        </p:txBody>
      </p:sp>
      <p:pic>
        <p:nvPicPr>
          <p:cNvPr id="22" name="Picture 21">
            <a:extLst>
              <a:ext uri="{FF2B5EF4-FFF2-40B4-BE49-F238E27FC236}">
                <a16:creationId xmlns:a16="http://schemas.microsoft.com/office/drawing/2014/main" xmlns="" id="{A3140CC1-D5A6-9C40-B677-969939A9FA7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6237" y="539983"/>
            <a:ext cx="4373248" cy="882773"/>
          </a:xfrm>
          <a:prstGeom prst="rect">
            <a:avLst/>
          </a:prstGeom>
        </p:spPr>
      </p:pic>
      <p:pic>
        <p:nvPicPr>
          <p:cNvPr id="23" name="Picture 22">
            <a:extLst>
              <a:ext uri="{FF2B5EF4-FFF2-40B4-BE49-F238E27FC236}">
                <a16:creationId xmlns:a16="http://schemas.microsoft.com/office/drawing/2014/main" xmlns="" id="{87A7B185-5702-EE47-9B1C-4786C90E393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5733" t="18650"/>
          <a:stretch/>
        </p:blipFill>
        <p:spPr>
          <a:xfrm rot="16200000">
            <a:off x="-39049" y="5532073"/>
            <a:ext cx="1364978" cy="1286877"/>
          </a:xfrm>
          <a:prstGeom prst="rect">
            <a:avLst/>
          </a:prstGeom>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only with 1 colum - RIGH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2734103" y="1982978"/>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2266122" y="1767276"/>
            <a:ext cx="9676865"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5" name="Picture 24">
            <a:extLst>
              <a:ext uri="{FF2B5EF4-FFF2-40B4-BE49-F238E27FC236}">
                <a16:creationId xmlns:a16="http://schemas.microsoft.com/office/drawing/2014/main" xmlns="" id="{5E239D8E-AA39-3D49-8E9D-3122689104D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26" name="Group 25">
            <a:extLst>
              <a:ext uri="{FF2B5EF4-FFF2-40B4-BE49-F238E27FC236}">
                <a16:creationId xmlns:a16="http://schemas.microsoft.com/office/drawing/2014/main" xmlns="" id="{9EDE9DB7-F96D-754A-8F32-88AA63F76613}"/>
              </a:ext>
            </a:extLst>
          </p:cNvPr>
          <p:cNvGrpSpPr/>
          <p:nvPr userDrawn="1"/>
        </p:nvGrpSpPr>
        <p:grpSpPr>
          <a:xfrm>
            <a:off x="3334007" y="6278877"/>
            <a:ext cx="8395542" cy="332623"/>
            <a:chOff x="7632699" y="6308250"/>
            <a:chExt cx="4040789" cy="572290"/>
          </a:xfrm>
        </p:grpSpPr>
        <p:sp>
          <p:nvSpPr>
            <p:cNvPr id="27" name="テキスト プレースホルダー 36">
              <a:extLst>
                <a:ext uri="{FF2B5EF4-FFF2-40B4-BE49-F238E27FC236}">
                  <a16:creationId xmlns:a16="http://schemas.microsoft.com/office/drawing/2014/main" xmlns="" id="{A0F6FB48-D5B8-8343-8082-14072FCB52D5}"/>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8" name="テキスト プレースホルダー 36">
              <a:extLst>
                <a:ext uri="{FF2B5EF4-FFF2-40B4-BE49-F238E27FC236}">
                  <a16:creationId xmlns:a16="http://schemas.microsoft.com/office/drawing/2014/main" xmlns="" id="{5BA4DF3F-4368-7246-B548-F2BF840A1B03}"/>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xmlns="" id="{D28415DF-AA54-5549-8A85-BBFC831E167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Slide Lef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4495027" y="873303"/>
            <a:ext cx="7074043"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4508938" y="1982978"/>
            <a:ext cx="7060133"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4189948" y="1767276"/>
            <a:ext cx="7753040"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5" name="Picture Placeholder 4"/>
          <p:cNvSpPr>
            <a:spLocks noGrp="1"/>
          </p:cNvSpPr>
          <p:nvPr>
            <p:ph type="pic" sz="quarter" idx="15"/>
          </p:nvPr>
        </p:nvSpPr>
        <p:spPr>
          <a:xfrm>
            <a:off x="1" y="0"/>
            <a:ext cx="3922000" cy="6826250"/>
          </a:xfrm>
        </p:spPr>
        <p:txBody>
          <a:bodyPr>
            <a:normAutofit/>
          </a:bodyPr>
          <a:lstStyle>
            <a:lvl1pPr algn="ctr">
              <a:defRPr sz="1800">
                <a:solidFill>
                  <a:srgbClr val="245473"/>
                </a:solidFill>
              </a:defRPr>
            </a:lvl1pPr>
          </a:lstStyle>
          <a:p>
            <a:endParaRPr lang="en-GB" dirty="0"/>
          </a:p>
          <a:p>
            <a:endParaRPr lang="en-GB" dirty="0"/>
          </a:p>
          <a:p>
            <a:endParaRPr lang="en-GB" dirty="0"/>
          </a:p>
          <a:p>
            <a:endParaRPr lang="en-GB" dirty="0"/>
          </a:p>
          <a:p>
            <a:endParaRPr lang="en-GB" dirty="0"/>
          </a:p>
          <a:p>
            <a:endParaRPr lang="en-GB" dirty="0"/>
          </a:p>
          <a:p>
            <a:endParaRPr lang="en-GB" dirty="0"/>
          </a:p>
          <a:p>
            <a:r>
              <a:rPr lang="en-GB" dirty="0"/>
              <a:t>Click to add photo</a:t>
            </a:r>
          </a:p>
        </p:txBody>
      </p:sp>
      <p:sp>
        <p:nvSpPr>
          <p:cNvPr id="13" name="Rectangle 12"/>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6" name="Group 15">
            <a:extLst>
              <a:ext uri="{FF2B5EF4-FFF2-40B4-BE49-F238E27FC236}">
                <a16:creationId xmlns:a16="http://schemas.microsoft.com/office/drawing/2014/main" xmlns="" id="{6D136BF9-5546-6940-8DE6-3CF000FEB318}"/>
              </a:ext>
            </a:extLst>
          </p:cNvPr>
          <p:cNvGrpSpPr/>
          <p:nvPr userDrawn="1"/>
        </p:nvGrpSpPr>
        <p:grpSpPr>
          <a:xfrm>
            <a:off x="3334007" y="6278877"/>
            <a:ext cx="8395542" cy="332623"/>
            <a:chOff x="7632699" y="6308250"/>
            <a:chExt cx="4040789" cy="572290"/>
          </a:xfrm>
        </p:grpSpPr>
        <p:sp>
          <p:nvSpPr>
            <p:cNvPr id="19" name="テキスト プレースホルダー 36">
              <a:extLst>
                <a:ext uri="{FF2B5EF4-FFF2-40B4-BE49-F238E27FC236}">
                  <a16:creationId xmlns:a16="http://schemas.microsoft.com/office/drawing/2014/main" xmlns="" id="{4BC86759-3B8E-0A4A-A22F-1A78E44114E1}"/>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0" name="テキスト プレースホルダー 36">
              <a:extLst>
                <a:ext uri="{FF2B5EF4-FFF2-40B4-BE49-F238E27FC236}">
                  <a16:creationId xmlns:a16="http://schemas.microsoft.com/office/drawing/2014/main" xmlns="" id="{1A9BF760-CB5C-5847-AA83-56DC745A41B2}"/>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1" name="Picture 20">
            <a:extLst>
              <a:ext uri="{FF2B5EF4-FFF2-40B4-BE49-F238E27FC236}">
                <a16:creationId xmlns:a16="http://schemas.microsoft.com/office/drawing/2014/main" xmlns="" id="{526F6654-02F5-A547-996D-5CEC647299B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hoto Slide Right">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8270000" y="0"/>
            <a:ext cx="3922000" cy="6826250"/>
          </a:xfrm>
        </p:spPr>
        <p:txBody>
          <a:bodyPr>
            <a:normAutofit/>
          </a:bodyPr>
          <a:lstStyle>
            <a:lvl1pPr algn="ctr">
              <a:defRPr sz="1800">
                <a:solidFill>
                  <a:srgbClr val="245473"/>
                </a:solidFill>
              </a:defRPr>
            </a:lvl1pPr>
          </a:lstStyle>
          <a:p>
            <a:endParaRPr lang="en-GB" dirty="0"/>
          </a:p>
          <a:p>
            <a:endParaRPr lang="en-GB" dirty="0"/>
          </a:p>
          <a:p>
            <a:endParaRPr lang="en-GB" dirty="0"/>
          </a:p>
          <a:p>
            <a:endParaRPr lang="en-GB" dirty="0"/>
          </a:p>
          <a:p>
            <a:endParaRPr lang="en-GB" dirty="0"/>
          </a:p>
          <a:p>
            <a:endParaRPr lang="en-GB" dirty="0"/>
          </a:p>
          <a:p>
            <a:endParaRPr lang="en-GB" dirty="0"/>
          </a:p>
          <a:p>
            <a:r>
              <a:rPr lang="en-GB" dirty="0"/>
              <a:t>Click to add photo</a:t>
            </a:r>
          </a:p>
        </p:txBody>
      </p:sp>
      <p:sp>
        <p:nvSpPr>
          <p:cNvPr id="23" name="Text Placeholder 23"/>
          <p:cNvSpPr>
            <a:spLocks noGrp="1"/>
          </p:cNvSpPr>
          <p:nvPr>
            <p:ph type="body" sz="quarter" idx="16" hasCustomPrompt="1"/>
          </p:nvPr>
        </p:nvSpPr>
        <p:spPr>
          <a:xfrm>
            <a:off x="718642" y="873067"/>
            <a:ext cx="7066011"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24" name="Text Placeholder 25"/>
          <p:cNvSpPr>
            <a:spLocks noGrp="1"/>
          </p:cNvSpPr>
          <p:nvPr>
            <p:ph type="body" sz="quarter" idx="17" hasCustomPrompt="1"/>
          </p:nvPr>
        </p:nvSpPr>
        <p:spPr>
          <a:xfrm>
            <a:off x="736049" y="1982742"/>
            <a:ext cx="7052117"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25" name="Straight Connector 24"/>
          <p:cNvCxnSpPr/>
          <p:nvPr userDrawn="1"/>
        </p:nvCxnSpPr>
        <p:spPr>
          <a:xfrm flipH="1">
            <a:off x="425728" y="1767040"/>
            <a:ext cx="7551624"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30" name="Rectangle 29"/>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1" name="Group 10">
            <a:extLst>
              <a:ext uri="{FF2B5EF4-FFF2-40B4-BE49-F238E27FC236}">
                <a16:creationId xmlns:a16="http://schemas.microsoft.com/office/drawing/2014/main" xmlns="" id="{A007B40A-3467-DB4C-89EA-97DB4AA7D7E3}"/>
              </a:ext>
            </a:extLst>
          </p:cNvPr>
          <p:cNvGrpSpPr/>
          <p:nvPr userDrawn="1"/>
        </p:nvGrpSpPr>
        <p:grpSpPr>
          <a:xfrm>
            <a:off x="1333695" y="6201410"/>
            <a:ext cx="2312384" cy="332623"/>
            <a:chOff x="10743787" y="6308250"/>
            <a:chExt cx="1112954" cy="572290"/>
          </a:xfrm>
        </p:grpSpPr>
        <p:sp>
          <p:nvSpPr>
            <p:cNvPr id="12" name="テキスト プレースホルダー 36">
              <a:extLst>
                <a:ext uri="{FF2B5EF4-FFF2-40B4-BE49-F238E27FC236}">
                  <a16:creationId xmlns:a16="http://schemas.microsoft.com/office/drawing/2014/main" xmlns="" id="{B084CC3A-DD02-A24D-AA62-027486FC2B8F}"/>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13" name="テキスト プレースホルダー 36">
              <a:extLst>
                <a:ext uri="{FF2B5EF4-FFF2-40B4-BE49-F238E27FC236}">
                  <a16:creationId xmlns:a16="http://schemas.microsoft.com/office/drawing/2014/main" xmlns="" id="{B9087191-E74F-314C-827A-09925C706A39}"/>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14" name="Picture 13">
            <a:extLst>
              <a:ext uri="{FF2B5EF4-FFF2-40B4-BE49-F238E27FC236}">
                <a16:creationId xmlns:a16="http://schemas.microsoft.com/office/drawing/2014/main" xmlns="" id="{65D933AB-2A14-6F4F-AD5A-CE21FA11958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only with 2 colums - RIGHT">
    <p:spTree>
      <p:nvGrpSpPr>
        <p:cNvPr id="1" name=""/>
        <p:cNvGrpSpPr/>
        <p:nvPr/>
      </p:nvGrpSpPr>
      <p:grpSpPr>
        <a:xfrm>
          <a:off x="0" y="0"/>
          <a:ext cx="0" cy="0"/>
          <a:chOff x="0" y="0"/>
          <a:chExt cx="0" cy="0"/>
        </a:xfrm>
      </p:grpSpPr>
      <p:sp>
        <p:nvSpPr>
          <p:cNvPr id="24" name="Text Placeholder 25"/>
          <p:cNvSpPr>
            <a:spLocks noGrp="1"/>
          </p:cNvSpPr>
          <p:nvPr>
            <p:ph type="body" sz="quarter" idx="15" hasCustomPrompt="1"/>
          </p:nvPr>
        </p:nvSpPr>
        <p:spPr>
          <a:xfrm>
            <a:off x="2734104" y="1998568"/>
            <a:ext cx="4340114"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25" name="Text Placeholder 25"/>
          <p:cNvSpPr>
            <a:spLocks noGrp="1"/>
          </p:cNvSpPr>
          <p:nvPr>
            <p:ph type="body" sz="quarter" idx="16" hasCustomPrompt="1"/>
          </p:nvPr>
        </p:nvSpPr>
        <p:spPr>
          <a:xfrm>
            <a:off x="7266140" y="1996914"/>
            <a:ext cx="4340114"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9"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cxnSp>
        <p:nvCxnSpPr>
          <p:cNvPr id="27" name="Straight Connector 26"/>
          <p:cNvCxnSpPr/>
          <p:nvPr userDrawn="1"/>
        </p:nvCxnSpPr>
        <p:spPr>
          <a:xfrm flipH="1">
            <a:off x="2266122" y="1767276"/>
            <a:ext cx="9676865"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15" name="Group 14"/>
          <p:cNvGrpSpPr/>
          <p:nvPr userDrawn="1"/>
        </p:nvGrpSpPr>
        <p:grpSpPr>
          <a:xfrm>
            <a:off x="3334007" y="6278877"/>
            <a:ext cx="8395542" cy="332623"/>
            <a:chOff x="7632699" y="6308250"/>
            <a:chExt cx="4040789" cy="572290"/>
          </a:xfrm>
        </p:grpSpPr>
        <p:sp>
          <p:nvSpPr>
            <p:cNvPr id="16" name="テキスト プレースホルダー 36"/>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17" name="テキスト プレースホルダー 36"/>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sp>
        <p:nvSpPr>
          <p:cNvPr id="19" name="Rectangle 18"/>
          <p:cNvSpPr/>
          <p:nvPr userDrawn="1"/>
        </p:nvSpPr>
        <p:spPr>
          <a:xfrm>
            <a:off x="-4240"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2" name="Picture 11">
            <a:extLst>
              <a:ext uri="{FF2B5EF4-FFF2-40B4-BE49-F238E27FC236}">
                <a16:creationId xmlns:a16="http://schemas.microsoft.com/office/drawing/2014/main" xmlns="" id="{C88269A5-701F-6949-B048-589F1BF7F78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only with 3 colums - RIGHT">
    <p:spTree>
      <p:nvGrpSpPr>
        <p:cNvPr id="1" name=""/>
        <p:cNvGrpSpPr/>
        <p:nvPr/>
      </p:nvGrpSpPr>
      <p:grpSpPr>
        <a:xfrm>
          <a:off x="0" y="0"/>
          <a:ext cx="0" cy="0"/>
          <a:chOff x="0" y="0"/>
          <a:chExt cx="0" cy="0"/>
        </a:xfrm>
      </p:grpSpPr>
      <p:sp>
        <p:nvSpPr>
          <p:cNvPr id="33" name="Text Placeholder 25"/>
          <p:cNvSpPr>
            <a:spLocks noGrp="1"/>
          </p:cNvSpPr>
          <p:nvPr>
            <p:ph type="body" sz="quarter" idx="15" hasCustomPrompt="1"/>
          </p:nvPr>
        </p:nvSpPr>
        <p:spPr>
          <a:xfrm>
            <a:off x="2716696" y="2024117"/>
            <a:ext cx="2871207"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34" name="Text Placeholder 25"/>
          <p:cNvSpPr>
            <a:spLocks noGrp="1"/>
          </p:cNvSpPr>
          <p:nvPr>
            <p:ph type="body" sz="quarter" idx="16" hasCustomPrompt="1"/>
          </p:nvPr>
        </p:nvSpPr>
        <p:spPr>
          <a:xfrm>
            <a:off x="8710202" y="2024117"/>
            <a:ext cx="2871207"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35" name="Text Placeholder 25"/>
          <p:cNvSpPr>
            <a:spLocks noGrp="1"/>
          </p:cNvSpPr>
          <p:nvPr>
            <p:ph type="body" sz="quarter" idx="17" hasCustomPrompt="1"/>
          </p:nvPr>
        </p:nvSpPr>
        <p:spPr>
          <a:xfrm>
            <a:off x="5714013" y="2024117"/>
            <a:ext cx="2871207"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13"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cxnSp>
        <p:nvCxnSpPr>
          <p:cNvPr id="23" name="Straight Connector 22"/>
          <p:cNvCxnSpPr/>
          <p:nvPr userDrawn="1"/>
        </p:nvCxnSpPr>
        <p:spPr>
          <a:xfrm flipH="1">
            <a:off x="2266122" y="1767276"/>
            <a:ext cx="9676865"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26" name="Rectangle 2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4" name="Picture 13">
            <a:extLst>
              <a:ext uri="{FF2B5EF4-FFF2-40B4-BE49-F238E27FC236}">
                <a16:creationId xmlns:a16="http://schemas.microsoft.com/office/drawing/2014/main" xmlns="" id="{70DA7FD3-E69A-1641-A2C7-D181592526E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15" name="Group 14">
            <a:extLst>
              <a:ext uri="{FF2B5EF4-FFF2-40B4-BE49-F238E27FC236}">
                <a16:creationId xmlns:a16="http://schemas.microsoft.com/office/drawing/2014/main" xmlns="" id="{46328970-35E4-CD43-AC6C-DBF187C5B1AF}"/>
              </a:ext>
            </a:extLst>
          </p:cNvPr>
          <p:cNvGrpSpPr/>
          <p:nvPr userDrawn="1"/>
        </p:nvGrpSpPr>
        <p:grpSpPr>
          <a:xfrm>
            <a:off x="3334007" y="6278877"/>
            <a:ext cx="8395542" cy="332623"/>
            <a:chOff x="7632699" y="6308250"/>
            <a:chExt cx="4040789" cy="572290"/>
          </a:xfrm>
        </p:grpSpPr>
        <p:sp>
          <p:nvSpPr>
            <p:cNvPr id="18" name="テキスト プレースホルダー 36">
              <a:extLst>
                <a:ext uri="{FF2B5EF4-FFF2-40B4-BE49-F238E27FC236}">
                  <a16:creationId xmlns:a16="http://schemas.microsoft.com/office/drawing/2014/main" xmlns="" id="{9A05FA7E-C217-DC48-95D7-8D38AE20CBE9}"/>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19" name="テキスト プレースホルダー 36">
              <a:extLst>
                <a:ext uri="{FF2B5EF4-FFF2-40B4-BE49-F238E27FC236}">
                  <a16:creationId xmlns:a16="http://schemas.microsoft.com/office/drawing/2014/main" xmlns="" id="{FF6BC695-5326-8B49-8F95-724E5B695B5F}"/>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0" name="Picture 19">
            <a:extLst>
              <a:ext uri="{FF2B5EF4-FFF2-40B4-BE49-F238E27FC236}">
                <a16:creationId xmlns:a16="http://schemas.microsoft.com/office/drawing/2014/main" xmlns="" id="{694CF00F-1854-2945-AD41-A475C572B9CA}"/>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only with 1 colum - LEFT">
    <p:spTree>
      <p:nvGrpSpPr>
        <p:cNvPr id="1" name=""/>
        <p:cNvGrpSpPr/>
        <p:nvPr/>
      </p:nvGrpSpPr>
      <p:grpSpPr>
        <a:xfrm>
          <a:off x="0" y="0"/>
          <a:ext cx="0" cy="0"/>
          <a:chOff x="0" y="0"/>
          <a:chExt cx="0" cy="0"/>
        </a:xfrm>
      </p:grpSpPr>
      <p:sp>
        <p:nvSpPr>
          <p:cNvPr id="22" name="Text Placeholder 23"/>
          <p:cNvSpPr>
            <a:spLocks noGrp="1"/>
          </p:cNvSpPr>
          <p:nvPr>
            <p:ph type="body" sz="quarter" idx="15" hasCustomPrompt="1"/>
          </p:nvPr>
        </p:nvSpPr>
        <p:spPr>
          <a:xfrm>
            <a:off x="718642" y="873067"/>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23" name="Text Placeholder 25"/>
          <p:cNvSpPr>
            <a:spLocks noGrp="1"/>
          </p:cNvSpPr>
          <p:nvPr>
            <p:ph type="body" sz="quarter" idx="16" hasCustomPrompt="1"/>
          </p:nvPr>
        </p:nvSpPr>
        <p:spPr>
          <a:xfrm>
            <a:off x="736049" y="1982742"/>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24" name="Straight Connector 23"/>
          <p:cNvCxnSpPr/>
          <p:nvPr userDrawn="1"/>
        </p:nvCxnSpPr>
        <p:spPr>
          <a:xfrm flipH="1">
            <a:off x="425727" y="1767040"/>
            <a:ext cx="9301597"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flipH="1">
            <a:off x="10842559" y="0"/>
            <a:ext cx="1364978" cy="1286877"/>
          </a:xfrm>
          <a:prstGeom prst="rect">
            <a:avLst/>
          </a:prstGeom>
        </p:spPr>
      </p:pic>
      <p:sp>
        <p:nvSpPr>
          <p:cNvPr id="19" name="Rectangle 18"/>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3" name="Group 12">
            <a:extLst>
              <a:ext uri="{FF2B5EF4-FFF2-40B4-BE49-F238E27FC236}">
                <a16:creationId xmlns:a16="http://schemas.microsoft.com/office/drawing/2014/main" xmlns="" id="{895BA794-76E1-C242-9A27-24CE7E2B4E3C}"/>
              </a:ext>
            </a:extLst>
          </p:cNvPr>
          <p:cNvGrpSpPr/>
          <p:nvPr userDrawn="1"/>
        </p:nvGrpSpPr>
        <p:grpSpPr>
          <a:xfrm>
            <a:off x="1333695" y="6201410"/>
            <a:ext cx="2312384" cy="332623"/>
            <a:chOff x="10743787" y="6308250"/>
            <a:chExt cx="1112954" cy="572290"/>
          </a:xfrm>
        </p:grpSpPr>
        <p:sp>
          <p:nvSpPr>
            <p:cNvPr id="14" name="テキスト プレースホルダー 36">
              <a:extLst>
                <a:ext uri="{FF2B5EF4-FFF2-40B4-BE49-F238E27FC236}">
                  <a16:creationId xmlns:a16="http://schemas.microsoft.com/office/drawing/2014/main" xmlns="" id="{701912EB-5F7B-824A-92EB-00EB0F388EB4}"/>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15" name="テキスト プレースホルダー 36">
              <a:extLst>
                <a:ext uri="{FF2B5EF4-FFF2-40B4-BE49-F238E27FC236}">
                  <a16:creationId xmlns:a16="http://schemas.microsoft.com/office/drawing/2014/main" xmlns="" id="{CB8F34CD-18E2-5C4C-8028-879A13939DB5}"/>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17" name="Picture 16">
            <a:extLst>
              <a:ext uri="{FF2B5EF4-FFF2-40B4-BE49-F238E27FC236}">
                <a16:creationId xmlns:a16="http://schemas.microsoft.com/office/drawing/2014/main" xmlns="" id="{6E5F8B4E-A0FA-9A4E-9CB3-073ED019B41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only with 2 colums - LEFT">
    <p:spTree>
      <p:nvGrpSpPr>
        <p:cNvPr id="1" name=""/>
        <p:cNvGrpSpPr/>
        <p:nvPr/>
      </p:nvGrpSpPr>
      <p:grpSpPr>
        <a:xfrm>
          <a:off x="0" y="0"/>
          <a:ext cx="0" cy="0"/>
          <a:chOff x="0" y="0"/>
          <a:chExt cx="0" cy="0"/>
        </a:xfrm>
      </p:grpSpPr>
      <p:sp>
        <p:nvSpPr>
          <p:cNvPr id="23" name="Text Placeholder 25"/>
          <p:cNvSpPr>
            <a:spLocks noGrp="1"/>
          </p:cNvSpPr>
          <p:nvPr>
            <p:ph type="body" sz="quarter" idx="16" hasCustomPrompt="1"/>
          </p:nvPr>
        </p:nvSpPr>
        <p:spPr>
          <a:xfrm>
            <a:off x="657223" y="2002626"/>
            <a:ext cx="4340114"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24" name="Text Placeholder 25"/>
          <p:cNvSpPr>
            <a:spLocks noGrp="1"/>
          </p:cNvSpPr>
          <p:nvPr>
            <p:ph type="body" sz="quarter" idx="17" hasCustomPrompt="1"/>
          </p:nvPr>
        </p:nvSpPr>
        <p:spPr>
          <a:xfrm>
            <a:off x="5189259" y="2000972"/>
            <a:ext cx="4340114"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26" name="Text Placeholder 23"/>
          <p:cNvSpPr>
            <a:spLocks noGrp="1"/>
          </p:cNvSpPr>
          <p:nvPr>
            <p:ph type="body" sz="quarter" idx="18" hasCustomPrompt="1"/>
          </p:nvPr>
        </p:nvSpPr>
        <p:spPr>
          <a:xfrm>
            <a:off x="639815" y="877361"/>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cxnSp>
        <p:nvCxnSpPr>
          <p:cNvPr id="32" name="Straight Connector 31"/>
          <p:cNvCxnSpPr/>
          <p:nvPr userDrawn="1"/>
        </p:nvCxnSpPr>
        <p:spPr>
          <a:xfrm flipH="1">
            <a:off x="425727" y="1767040"/>
            <a:ext cx="9254301"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20" name="Rectangle 19"/>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2" name="Picture 11">
            <a:extLst>
              <a:ext uri="{FF2B5EF4-FFF2-40B4-BE49-F238E27FC236}">
                <a16:creationId xmlns:a16="http://schemas.microsoft.com/office/drawing/2014/main" xmlns="" id="{6D7D5E2A-2B81-A148-9321-B307B24B86E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flipH="1">
            <a:off x="10842559" y="0"/>
            <a:ext cx="1364978" cy="1286877"/>
          </a:xfrm>
          <a:prstGeom prst="rect">
            <a:avLst/>
          </a:prstGeom>
        </p:spPr>
      </p:pic>
      <p:grpSp>
        <p:nvGrpSpPr>
          <p:cNvPr id="13" name="Group 12">
            <a:extLst>
              <a:ext uri="{FF2B5EF4-FFF2-40B4-BE49-F238E27FC236}">
                <a16:creationId xmlns:a16="http://schemas.microsoft.com/office/drawing/2014/main" xmlns="" id="{ADAB36EC-5DEF-9B45-8EDB-092DA7FDACA9}"/>
              </a:ext>
            </a:extLst>
          </p:cNvPr>
          <p:cNvGrpSpPr/>
          <p:nvPr userDrawn="1"/>
        </p:nvGrpSpPr>
        <p:grpSpPr>
          <a:xfrm>
            <a:off x="1333695" y="6201410"/>
            <a:ext cx="2312384" cy="332623"/>
            <a:chOff x="10743787" y="6308250"/>
            <a:chExt cx="1112954" cy="572290"/>
          </a:xfrm>
        </p:grpSpPr>
        <p:sp>
          <p:nvSpPr>
            <p:cNvPr id="19" name="テキスト プレースホルダー 36">
              <a:extLst>
                <a:ext uri="{FF2B5EF4-FFF2-40B4-BE49-F238E27FC236}">
                  <a16:creationId xmlns:a16="http://schemas.microsoft.com/office/drawing/2014/main" xmlns="" id="{532796E0-DEBC-F04D-B4AE-B3EE1ED82F71}"/>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1" name="テキスト プレースホルダー 36">
              <a:extLst>
                <a:ext uri="{FF2B5EF4-FFF2-40B4-BE49-F238E27FC236}">
                  <a16:creationId xmlns:a16="http://schemas.microsoft.com/office/drawing/2014/main" xmlns="" id="{CDA7F8D1-6FF9-4B4D-996A-76C35DA2948B}"/>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2" name="Picture 21">
            <a:extLst>
              <a:ext uri="{FF2B5EF4-FFF2-40B4-BE49-F238E27FC236}">
                <a16:creationId xmlns:a16="http://schemas.microsoft.com/office/drawing/2014/main" xmlns="" id="{E7B94B9B-271A-9A40-8864-E7E637033B5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only with 3 colums - LEFT">
    <p:spTree>
      <p:nvGrpSpPr>
        <p:cNvPr id="1" name=""/>
        <p:cNvGrpSpPr/>
        <p:nvPr/>
      </p:nvGrpSpPr>
      <p:grpSpPr>
        <a:xfrm>
          <a:off x="0" y="0"/>
          <a:ext cx="0" cy="0"/>
          <a:chOff x="0" y="0"/>
          <a:chExt cx="0" cy="0"/>
        </a:xfrm>
      </p:grpSpPr>
      <p:sp>
        <p:nvSpPr>
          <p:cNvPr id="14" name="テキスト プレースホルダー 36"/>
          <p:cNvSpPr txBox="1">
            <a:spLocks/>
          </p:cNvSpPr>
          <p:nvPr userDrawn="1"/>
        </p:nvSpPr>
        <p:spPr bwMode="auto">
          <a:xfrm>
            <a:off x="580570" y="6321603"/>
            <a:ext cx="877943"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r">
              <a:buFontTx/>
              <a:buNone/>
            </a:pPr>
            <a:endParaRPr kumimoji="1" lang="en-GB" altLang="ja-JP" sz="1100" dirty="0">
              <a:solidFill>
                <a:srgbClr val="003841"/>
              </a:solidFill>
              <a:latin typeface="Calibri" charset="0"/>
            </a:endParaRPr>
          </a:p>
        </p:txBody>
      </p:sp>
      <p:sp>
        <p:nvSpPr>
          <p:cNvPr id="22" name="Text Placeholder 25"/>
          <p:cNvSpPr>
            <a:spLocks noGrp="1"/>
          </p:cNvSpPr>
          <p:nvPr userDrawn="1">
            <p:ph type="body" sz="quarter" idx="15" hasCustomPrompt="1"/>
          </p:nvPr>
        </p:nvSpPr>
        <p:spPr>
          <a:xfrm>
            <a:off x="712878" y="2086945"/>
            <a:ext cx="2871207"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23" name="Text Placeholder 25"/>
          <p:cNvSpPr>
            <a:spLocks noGrp="1"/>
          </p:cNvSpPr>
          <p:nvPr userDrawn="1">
            <p:ph type="body" sz="quarter" idx="16" hasCustomPrompt="1"/>
          </p:nvPr>
        </p:nvSpPr>
        <p:spPr>
          <a:xfrm>
            <a:off x="6706384" y="2086945"/>
            <a:ext cx="2871207"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24" name="Text Placeholder 25"/>
          <p:cNvSpPr>
            <a:spLocks noGrp="1"/>
          </p:cNvSpPr>
          <p:nvPr userDrawn="1">
            <p:ph type="body" sz="quarter" idx="20" hasCustomPrompt="1"/>
          </p:nvPr>
        </p:nvSpPr>
        <p:spPr>
          <a:xfrm>
            <a:off x="3710195" y="2086945"/>
            <a:ext cx="2871207"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25" name="Text Placeholder 23"/>
          <p:cNvSpPr>
            <a:spLocks noGrp="1"/>
          </p:cNvSpPr>
          <p:nvPr userDrawn="1">
            <p:ph type="body" sz="quarter" idx="21" hasCustomPrompt="1"/>
          </p:nvPr>
        </p:nvSpPr>
        <p:spPr>
          <a:xfrm>
            <a:off x="712878" y="873067"/>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31" name="テキスト プレースホルダー 36"/>
          <p:cNvSpPr txBox="1">
            <a:spLocks/>
          </p:cNvSpPr>
          <p:nvPr userDrawn="1"/>
        </p:nvSpPr>
        <p:spPr bwMode="auto">
          <a:xfrm>
            <a:off x="3979193" y="5224665"/>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cxnSp>
        <p:nvCxnSpPr>
          <p:cNvPr id="32" name="Straight Connector 31"/>
          <p:cNvCxnSpPr/>
          <p:nvPr userDrawn="1"/>
        </p:nvCxnSpPr>
        <p:spPr>
          <a:xfrm flipH="1">
            <a:off x="425727" y="1767040"/>
            <a:ext cx="9411956"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9" name="Rectangle 18"/>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0" name="Picture 19">
            <a:extLst>
              <a:ext uri="{FF2B5EF4-FFF2-40B4-BE49-F238E27FC236}">
                <a16:creationId xmlns:a16="http://schemas.microsoft.com/office/drawing/2014/main" xmlns="" id="{F17E6557-D97C-E242-B6F9-6382EA595FC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flipH="1">
            <a:off x="10842559" y="0"/>
            <a:ext cx="1364978" cy="1286877"/>
          </a:xfrm>
          <a:prstGeom prst="rect">
            <a:avLst/>
          </a:prstGeom>
        </p:spPr>
      </p:pic>
      <p:grpSp>
        <p:nvGrpSpPr>
          <p:cNvPr id="21" name="Group 20">
            <a:extLst>
              <a:ext uri="{FF2B5EF4-FFF2-40B4-BE49-F238E27FC236}">
                <a16:creationId xmlns:a16="http://schemas.microsoft.com/office/drawing/2014/main" xmlns="" id="{D82BC0DB-5DE7-2447-83C8-23383567DECE}"/>
              </a:ext>
            </a:extLst>
          </p:cNvPr>
          <p:cNvGrpSpPr/>
          <p:nvPr userDrawn="1"/>
        </p:nvGrpSpPr>
        <p:grpSpPr>
          <a:xfrm>
            <a:off x="1333695" y="6201410"/>
            <a:ext cx="2312384" cy="332623"/>
            <a:chOff x="10743787" y="6308250"/>
            <a:chExt cx="1112954" cy="572290"/>
          </a:xfrm>
        </p:grpSpPr>
        <p:sp>
          <p:nvSpPr>
            <p:cNvPr id="26" name="テキスト プレースホルダー 36">
              <a:extLst>
                <a:ext uri="{FF2B5EF4-FFF2-40B4-BE49-F238E27FC236}">
                  <a16:creationId xmlns:a16="http://schemas.microsoft.com/office/drawing/2014/main" xmlns="" id="{2C5D5364-575D-D042-B367-4A2C62F98CF8}"/>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7" name="テキスト プレースホルダー 36">
              <a:extLst>
                <a:ext uri="{FF2B5EF4-FFF2-40B4-BE49-F238E27FC236}">
                  <a16:creationId xmlns:a16="http://schemas.microsoft.com/office/drawing/2014/main" xmlns="" id="{CB369F45-4993-CE41-9F64-43C9D8D15EE9}"/>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8" name="Picture 27">
            <a:extLst>
              <a:ext uri="{FF2B5EF4-FFF2-40B4-BE49-F238E27FC236}">
                <a16:creationId xmlns:a16="http://schemas.microsoft.com/office/drawing/2014/main" xmlns="" id="{AD59E0B3-62A5-5549-BAF8-ABCFE552912A}"/>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 - Orange">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5"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extLst>
      <p:ext uri="{BB962C8B-B14F-4D97-AF65-F5344CB8AC3E}">
        <p14:creationId xmlns:p14="http://schemas.microsoft.com/office/powerpoint/2010/main" val="6762211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F3E6101-8CDB-1E44-BCE5-139DFA9B83F8}"/>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7379D324-F97E-F04F-8BCE-2C3BEE45C20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xmlns="" id="{DCBE6176-868D-A64F-B6A0-5AFA337B28A2}"/>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65049F25-091C-1040-B4DB-DF7F2B1093F1}"/>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83657932-5FDE-8F4B-8640-B82598415175}"/>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401061501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 Lime">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5"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 Blue">
    <p:spTree>
      <p:nvGrpSpPr>
        <p:cNvPr id="1" name=""/>
        <p:cNvGrpSpPr/>
        <p:nvPr/>
      </p:nvGrpSpPr>
      <p:grpSpPr>
        <a:xfrm>
          <a:off x="0" y="0"/>
          <a:ext cx="0" cy="0"/>
          <a:chOff x="0" y="0"/>
          <a:chExt cx="0" cy="0"/>
        </a:xfrm>
      </p:grpSpPr>
      <p:sp>
        <p:nvSpPr>
          <p:cNvPr id="6" name="Rectangle 5"/>
          <p:cNvSpPr/>
          <p:nvPr userDrawn="1"/>
        </p:nvSpPr>
        <p:spPr>
          <a:xfrm>
            <a:off x="0" y="0"/>
            <a:ext cx="12192000" cy="6952129"/>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4"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 Pink">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9"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column with icons slide - layout 1">
    <p:spTree>
      <p:nvGrpSpPr>
        <p:cNvPr id="1" name=""/>
        <p:cNvGrpSpPr/>
        <p:nvPr/>
      </p:nvGrpSpPr>
      <p:grpSpPr>
        <a:xfrm>
          <a:off x="0" y="0"/>
          <a:ext cx="0" cy="0"/>
          <a:chOff x="0" y="0"/>
          <a:chExt cx="0" cy="0"/>
        </a:xfrm>
      </p:grpSpPr>
      <p:cxnSp>
        <p:nvCxnSpPr>
          <p:cNvPr id="21" name="Straight Connector 20"/>
          <p:cNvCxnSpPr/>
          <p:nvPr userDrawn="1"/>
        </p:nvCxnSpPr>
        <p:spPr>
          <a:xfrm>
            <a:off x="-36415" y="2997017"/>
            <a:ext cx="12192000" cy="0"/>
          </a:xfrm>
          <a:prstGeom prst="line">
            <a:avLst/>
          </a:prstGeom>
          <a:ln>
            <a:solidFill>
              <a:srgbClr val="245473"/>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sz="quarter" idx="10" hasCustomPrompt="1"/>
          </p:nvPr>
        </p:nvSpPr>
        <p:spPr>
          <a:xfrm>
            <a:off x="303467" y="3845754"/>
            <a:ext cx="2672815" cy="1878334"/>
          </a:xfrm>
        </p:spPr>
        <p:txBody>
          <a:bodyPr>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32" name="Text Placeholder 2"/>
          <p:cNvSpPr>
            <a:spLocks noGrp="1"/>
          </p:cNvSpPr>
          <p:nvPr>
            <p:ph type="body" sz="quarter" idx="11" hasCustomPrompt="1"/>
          </p:nvPr>
        </p:nvSpPr>
        <p:spPr>
          <a:xfrm>
            <a:off x="3243611" y="383458"/>
            <a:ext cx="2672815" cy="1779573"/>
          </a:xfrm>
        </p:spPr>
        <p:txBody>
          <a:bodyPr anchor="b">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34" name="Text Placeholder 2"/>
          <p:cNvSpPr>
            <a:spLocks noGrp="1"/>
          </p:cNvSpPr>
          <p:nvPr>
            <p:ph type="body" sz="quarter" idx="12" hasCustomPrompt="1"/>
          </p:nvPr>
        </p:nvSpPr>
        <p:spPr>
          <a:xfrm>
            <a:off x="6115112" y="3845754"/>
            <a:ext cx="2672815" cy="1922578"/>
          </a:xfrm>
        </p:spPr>
        <p:txBody>
          <a:bodyPr>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36" name="Text Placeholder 2"/>
          <p:cNvSpPr>
            <a:spLocks noGrp="1"/>
          </p:cNvSpPr>
          <p:nvPr>
            <p:ph type="body" sz="quarter" idx="13" hasCustomPrompt="1"/>
          </p:nvPr>
        </p:nvSpPr>
        <p:spPr>
          <a:xfrm>
            <a:off x="9068395" y="383458"/>
            <a:ext cx="2672815" cy="1779573"/>
          </a:xfrm>
        </p:spPr>
        <p:txBody>
          <a:bodyPr anchor="b">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2" name="Oval 1"/>
          <p:cNvSpPr/>
          <p:nvPr userDrawn="1"/>
        </p:nvSpPr>
        <p:spPr>
          <a:xfrm>
            <a:off x="985917" y="2341774"/>
            <a:ext cx="1327355" cy="1327355"/>
          </a:xfrm>
          <a:prstGeom prst="ellipse">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Oval 12"/>
          <p:cNvSpPr/>
          <p:nvPr userDrawn="1"/>
        </p:nvSpPr>
        <p:spPr>
          <a:xfrm>
            <a:off x="3936550" y="2357577"/>
            <a:ext cx="1327355" cy="1327355"/>
          </a:xfrm>
          <a:prstGeom prst="ellipse">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Oval 15"/>
          <p:cNvSpPr/>
          <p:nvPr userDrawn="1"/>
        </p:nvSpPr>
        <p:spPr>
          <a:xfrm>
            <a:off x="6751909" y="2313333"/>
            <a:ext cx="1327355" cy="1327355"/>
          </a:xfrm>
          <a:prstGeom prst="ellipse">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Oval 16"/>
          <p:cNvSpPr/>
          <p:nvPr userDrawn="1"/>
        </p:nvSpPr>
        <p:spPr>
          <a:xfrm>
            <a:off x="9765418" y="2342845"/>
            <a:ext cx="1327355" cy="1327355"/>
          </a:xfrm>
          <a:prstGeom prst="ellips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4" name="Group 23">
            <a:extLst>
              <a:ext uri="{FF2B5EF4-FFF2-40B4-BE49-F238E27FC236}">
                <a16:creationId xmlns:a16="http://schemas.microsoft.com/office/drawing/2014/main" xmlns="" id="{E931C879-0C42-5546-BAF2-B2AD85753C19}"/>
              </a:ext>
            </a:extLst>
          </p:cNvPr>
          <p:cNvGrpSpPr/>
          <p:nvPr userDrawn="1"/>
        </p:nvGrpSpPr>
        <p:grpSpPr>
          <a:xfrm>
            <a:off x="5518067" y="6300459"/>
            <a:ext cx="2312384" cy="332623"/>
            <a:chOff x="10743787" y="6308250"/>
            <a:chExt cx="1112954" cy="572290"/>
          </a:xfrm>
        </p:grpSpPr>
        <p:sp>
          <p:nvSpPr>
            <p:cNvPr id="25" name="テキスト プレースホルダー 36">
              <a:extLst>
                <a:ext uri="{FF2B5EF4-FFF2-40B4-BE49-F238E27FC236}">
                  <a16:creationId xmlns:a16="http://schemas.microsoft.com/office/drawing/2014/main" xmlns="" id="{CB4597BD-02B4-7E48-82FB-F43E4F1EA558}"/>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6" name="テキスト プレースホルダー 36">
              <a:extLst>
                <a:ext uri="{FF2B5EF4-FFF2-40B4-BE49-F238E27FC236}">
                  <a16:creationId xmlns:a16="http://schemas.microsoft.com/office/drawing/2014/main" xmlns="" id="{43713398-D2FD-D24F-945B-F9C48B21BA4D}"/>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7" name="Picture 26">
            <a:extLst>
              <a:ext uri="{FF2B5EF4-FFF2-40B4-BE49-F238E27FC236}">
                <a16:creationId xmlns:a16="http://schemas.microsoft.com/office/drawing/2014/main" xmlns="" id="{0811E7D2-998A-4B4A-BF79-BFC8238DE45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24514"/>
          <a:stretch/>
        </p:blipFill>
        <p:spPr>
          <a:xfrm>
            <a:off x="4656684" y="6397427"/>
            <a:ext cx="1257734" cy="191646"/>
          </a:xfrm>
          <a:prstGeom prst="rect">
            <a:avLst/>
          </a:prstGeom>
        </p:spPr>
      </p:pic>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 column with icons slide - layout 2">
    <p:spTree>
      <p:nvGrpSpPr>
        <p:cNvPr id="1" name=""/>
        <p:cNvGrpSpPr/>
        <p:nvPr/>
      </p:nvGrpSpPr>
      <p:grpSpPr>
        <a:xfrm>
          <a:off x="0" y="0"/>
          <a:ext cx="0" cy="0"/>
          <a:chOff x="0" y="0"/>
          <a:chExt cx="0" cy="0"/>
        </a:xfrm>
      </p:grpSpPr>
      <p:cxnSp>
        <p:nvCxnSpPr>
          <p:cNvPr id="18" name="Straight Connector 17"/>
          <p:cNvCxnSpPr/>
          <p:nvPr userDrawn="1"/>
        </p:nvCxnSpPr>
        <p:spPr>
          <a:xfrm>
            <a:off x="-6261" y="1227211"/>
            <a:ext cx="12192000" cy="0"/>
          </a:xfrm>
          <a:prstGeom prst="line">
            <a:avLst/>
          </a:prstGeom>
          <a:ln>
            <a:solidFill>
              <a:srgbClr val="245473"/>
            </a:solidFill>
          </a:ln>
        </p:spPr>
        <p:style>
          <a:lnRef idx="1">
            <a:schemeClr val="accent1"/>
          </a:lnRef>
          <a:fillRef idx="0">
            <a:schemeClr val="accent1"/>
          </a:fillRef>
          <a:effectRef idx="0">
            <a:schemeClr val="accent1"/>
          </a:effectRef>
          <a:fontRef idx="minor">
            <a:schemeClr val="tx1"/>
          </a:fontRef>
        </p:style>
      </p:cxnSp>
      <p:sp>
        <p:nvSpPr>
          <p:cNvPr id="19" name="Text Placeholder 2"/>
          <p:cNvSpPr>
            <a:spLocks noGrp="1"/>
          </p:cNvSpPr>
          <p:nvPr>
            <p:ph type="body" sz="quarter" idx="10" hasCustomPrompt="1"/>
          </p:nvPr>
        </p:nvSpPr>
        <p:spPr>
          <a:xfrm>
            <a:off x="333621" y="2090693"/>
            <a:ext cx="2672815" cy="3712088"/>
          </a:xfrm>
        </p:spPr>
        <p:txBody>
          <a:bodyPr>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20" name="Text Placeholder 2"/>
          <p:cNvSpPr>
            <a:spLocks noGrp="1"/>
          </p:cNvSpPr>
          <p:nvPr>
            <p:ph type="body" sz="quarter" idx="11" hasCustomPrompt="1"/>
          </p:nvPr>
        </p:nvSpPr>
        <p:spPr>
          <a:xfrm>
            <a:off x="3273765" y="2090693"/>
            <a:ext cx="2672815" cy="3712088"/>
          </a:xfrm>
        </p:spPr>
        <p:txBody>
          <a:bodyPr anchor="t">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21" name="Text Placeholder 2"/>
          <p:cNvSpPr>
            <a:spLocks noGrp="1"/>
          </p:cNvSpPr>
          <p:nvPr>
            <p:ph type="body" sz="quarter" idx="12" hasCustomPrompt="1"/>
          </p:nvPr>
        </p:nvSpPr>
        <p:spPr>
          <a:xfrm>
            <a:off x="6145266" y="2090693"/>
            <a:ext cx="2672815" cy="3712088"/>
          </a:xfrm>
        </p:spPr>
        <p:txBody>
          <a:bodyPr>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22" name="Text Placeholder 2"/>
          <p:cNvSpPr>
            <a:spLocks noGrp="1"/>
          </p:cNvSpPr>
          <p:nvPr>
            <p:ph type="body" sz="quarter" idx="13" hasCustomPrompt="1"/>
          </p:nvPr>
        </p:nvSpPr>
        <p:spPr>
          <a:xfrm>
            <a:off x="9098549" y="2090693"/>
            <a:ext cx="2672815" cy="3712088"/>
          </a:xfrm>
        </p:spPr>
        <p:txBody>
          <a:bodyPr anchor="t">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30" name="Oval 29"/>
          <p:cNvSpPr/>
          <p:nvPr userDrawn="1"/>
        </p:nvSpPr>
        <p:spPr>
          <a:xfrm>
            <a:off x="1016071" y="571968"/>
            <a:ext cx="1327355" cy="1327355"/>
          </a:xfrm>
          <a:prstGeom prst="ellipse">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Oval 30"/>
          <p:cNvSpPr/>
          <p:nvPr userDrawn="1"/>
        </p:nvSpPr>
        <p:spPr>
          <a:xfrm>
            <a:off x="3966704" y="587771"/>
            <a:ext cx="1327355" cy="1327355"/>
          </a:xfrm>
          <a:prstGeom prst="ellipse">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 name="Oval 31"/>
          <p:cNvSpPr/>
          <p:nvPr userDrawn="1"/>
        </p:nvSpPr>
        <p:spPr>
          <a:xfrm>
            <a:off x="6782063" y="543527"/>
            <a:ext cx="1327355" cy="1327355"/>
          </a:xfrm>
          <a:prstGeom prst="ellipse">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3" name="Oval 32"/>
          <p:cNvSpPr/>
          <p:nvPr userDrawn="1"/>
        </p:nvSpPr>
        <p:spPr>
          <a:xfrm>
            <a:off x="9795572" y="573039"/>
            <a:ext cx="1327355" cy="1327355"/>
          </a:xfrm>
          <a:prstGeom prst="ellips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3" name="Group 12">
            <a:extLst>
              <a:ext uri="{FF2B5EF4-FFF2-40B4-BE49-F238E27FC236}">
                <a16:creationId xmlns:a16="http://schemas.microsoft.com/office/drawing/2014/main" xmlns="" id="{5F027659-0F67-374E-9B5B-7757D16E8696}"/>
              </a:ext>
            </a:extLst>
          </p:cNvPr>
          <p:cNvGrpSpPr/>
          <p:nvPr userDrawn="1"/>
        </p:nvGrpSpPr>
        <p:grpSpPr>
          <a:xfrm>
            <a:off x="5518067" y="6320337"/>
            <a:ext cx="2312384" cy="332623"/>
            <a:chOff x="10743787" y="6308250"/>
            <a:chExt cx="1112954" cy="572290"/>
          </a:xfrm>
        </p:grpSpPr>
        <p:sp>
          <p:nvSpPr>
            <p:cNvPr id="14" name="テキスト プレースホルダー 36">
              <a:extLst>
                <a:ext uri="{FF2B5EF4-FFF2-40B4-BE49-F238E27FC236}">
                  <a16:creationId xmlns:a16="http://schemas.microsoft.com/office/drawing/2014/main" xmlns="" id="{535210E2-33C0-E547-812F-8F5B6534A584}"/>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17" name="テキスト プレースホルダー 36">
              <a:extLst>
                <a:ext uri="{FF2B5EF4-FFF2-40B4-BE49-F238E27FC236}">
                  <a16:creationId xmlns:a16="http://schemas.microsoft.com/office/drawing/2014/main" xmlns="" id="{042B36FA-511B-4140-9958-1328E9BFD5DE}"/>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3" name="Picture 22">
            <a:extLst>
              <a:ext uri="{FF2B5EF4-FFF2-40B4-BE49-F238E27FC236}">
                <a16:creationId xmlns:a16="http://schemas.microsoft.com/office/drawing/2014/main" xmlns="" id="{CBB772CA-66A6-4B48-A303-A5BA4C96060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24514"/>
          <a:stretch/>
        </p:blipFill>
        <p:spPr>
          <a:xfrm>
            <a:off x="4656684" y="6417305"/>
            <a:ext cx="1257734" cy="191646"/>
          </a:xfrm>
          <a:prstGeom prst="rect">
            <a:avLst/>
          </a:prstGeom>
        </p:spPr>
      </p:pic>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with icons slide">
    <p:spTree>
      <p:nvGrpSpPr>
        <p:cNvPr id="1" name=""/>
        <p:cNvGrpSpPr/>
        <p:nvPr/>
      </p:nvGrpSpPr>
      <p:grpSpPr>
        <a:xfrm>
          <a:off x="0" y="0"/>
          <a:ext cx="0" cy="0"/>
          <a:chOff x="0" y="0"/>
          <a:chExt cx="0" cy="0"/>
        </a:xfrm>
      </p:grpSpPr>
      <p:sp>
        <p:nvSpPr>
          <p:cNvPr id="12" name="Rectangle 11"/>
          <p:cNvSpPr/>
          <p:nvPr userDrawn="1"/>
        </p:nvSpPr>
        <p:spPr>
          <a:xfrm>
            <a:off x="0" y="0"/>
            <a:ext cx="12192000" cy="2728452"/>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8" name="Text Placeholder 23"/>
          <p:cNvSpPr>
            <a:spLocks noGrp="1"/>
          </p:cNvSpPr>
          <p:nvPr>
            <p:ph type="body" sz="quarter" idx="13" hasCustomPrompt="1"/>
          </p:nvPr>
        </p:nvSpPr>
        <p:spPr>
          <a:xfrm>
            <a:off x="0" y="826647"/>
            <a:ext cx="12192000" cy="697353"/>
          </a:xfrm>
        </p:spPr>
        <p:txBody>
          <a:bodyPr>
            <a:normAutofit/>
          </a:bodyPr>
          <a:lstStyle>
            <a:lvl1pPr marL="0" indent="0" algn="ctr">
              <a:buNone/>
              <a:defRPr sz="3600">
                <a:solidFill>
                  <a:schemeClr val="bg1"/>
                </a:solidFill>
                <a:latin typeface="+mn-lt"/>
              </a:defRPr>
            </a:lvl1pPr>
          </a:lstStyle>
          <a:p>
            <a:pPr lvl="0"/>
            <a:r>
              <a:rPr lang="en-GB" dirty="0"/>
              <a:t>TITLE</a:t>
            </a:r>
          </a:p>
        </p:txBody>
      </p:sp>
      <p:sp>
        <p:nvSpPr>
          <p:cNvPr id="22" name="Text Placeholder 23"/>
          <p:cNvSpPr>
            <a:spLocks noGrp="1"/>
          </p:cNvSpPr>
          <p:nvPr>
            <p:ph type="body" sz="quarter" idx="14" hasCustomPrompt="1"/>
          </p:nvPr>
        </p:nvSpPr>
        <p:spPr>
          <a:xfrm>
            <a:off x="684287" y="3236316"/>
            <a:ext cx="3408830" cy="1045795"/>
          </a:xfrm>
        </p:spPr>
        <p:txBody>
          <a:bodyPr anchor="ctr">
            <a:normAutofit/>
          </a:bodyPr>
          <a:lstStyle>
            <a:lvl1pPr marL="0" indent="0" algn="ctr">
              <a:buNone/>
              <a:defRPr sz="3000">
                <a:solidFill>
                  <a:srgbClr val="245473"/>
                </a:solidFill>
                <a:latin typeface="+mn-lt"/>
              </a:defRPr>
            </a:lvl1pPr>
          </a:lstStyle>
          <a:p>
            <a:pPr lvl="0"/>
            <a:r>
              <a:rPr lang="en-GB" dirty="0"/>
              <a:t>Sub Title</a:t>
            </a:r>
          </a:p>
        </p:txBody>
      </p:sp>
      <p:sp>
        <p:nvSpPr>
          <p:cNvPr id="23" name="Text Placeholder 23"/>
          <p:cNvSpPr>
            <a:spLocks noGrp="1"/>
          </p:cNvSpPr>
          <p:nvPr>
            <p:ph type="body" sz="quarter" idx="15" hasCustomPrompt="1"/>
          </p:nvPr>
        </p:nvSpPr>
        <p:spPr>
          <a:xfrm>
            <a:off x="684287" y="4432247"/>
            <a:ext cx="3408830" cy="1412740"/>
          </a:xfrm>
        </p:spPr>
        <p:txBody>
          <a:bodyPr>
            <a:normAutofit/>
          </a:bodyPr>
          <a:lstStyle>
            <a:lvl1pPr marL="0" indent="0" algn="ctr">
              <a:buNone/>
              <a:defRPr sz="2400">
                <a:solidFill>
                  <a:srgbClr val="245473"/>
                </a:solidFill>
                <a:latin typeface="+mn-lt"/>
              </a:defRPr>
            </a:lvl1pPr>
          </a:lstStyle>
          <a:p>
            <a:pPr lvl="0"/>
            <a:r>
              <a:rPr lang="en-GB" dirty="0"/>
              <a:t>Main Body Text</a:t>
            </a:r>
          </a:p>
        </p:txBody>
      </p:sp>
      <p:cxnSp>
        <p:nvCxnSpPr>
          <p:cNvPr id="4" name="Straight Connector 3"/>
          <p:cNvCxnSpPr/>
          <p:nvPr userDrawn="1"/>
        </p:nvCxnSpPr>
        <p:spPr>
          <a:xfrm flipH="1">
            <a:off x="555813" y="4342602"/>
            <a:ext cx="3591091"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26" name="Text Placeholder 23"/>
          <p:cNvSpPr>
            <a:spLocks noGrp="1"/>
          </p:cNvSpPr>
          <p:nvPr>
            <p:ph type="body" sz="quarter" idx="16" hasCustomPrompt="1"/>
          </p:nvPr>
        </p:nvSpPr>
        <p:spPr>
          <a:xfrm>
            <a:off x="4512216" y="3236316"/>
            <a:ext cx="3408830" cy="1045795"/>
          </a:xfrm>
        </p:spPr>
        <p:txBody>
          <a:bodyPr anchor="ctr">
            <a:normAutofit/>
          </a:bodyPr>
          <a:lstStyle>
            <a:lvl1pPr marL="0" indent="0" algn="ctr">
              <a:buNone/>
              <a:defRPr sz="3000">
                <a:solidFill>
                  <a:srgbClr val="245473"/>
                </a:solidFill>
                <a:latin typeface="+mn-lt"/>
              </a:defRPr>
            </a:lvl1pPr>
          </a:lstStyle>
          <a:p>
            <a:pPr lvl="0"/>
            <a:r>
              <a:rPr lang="en-GB" dirty="0"/>
              <a:t>Sub Title</a:t>
            </a:r>
          </a:p>
        </p:txBody>
      </p:sp>
      <p:sp>
        <p:nvSpPr>
          <p:cNvPr id="27" name="Text Placeholder 23"/>
          <p:cNvSpPr>
            <a:spLocks noGrp="1"/>
          </p:cNvSpPr>
          <p:nvPr>
            <p:ph type="body" sz="quarter" idx="17" hasCustomPrompt="1"/>
          </p:nvPr>
        </p:nvSpPr>
        <p:spPr>
          <a:xfrm>
            <a:off x="4512216" y="4432247"/>
            <a:ext cx="3408830" cy="1412740"/>
          </a:xfrm>
        </p:spPr>
        <p:txBody>
          <a:bodyPr>
            <a:normAutofit/>
          </a:bodyPr>
          <a:lstStyle>
            <a:lvl1pPr marL="0" indent="0" algn="ctr">
              <a:buNone/>
              <a:defRPr sz="2400">
                <a:solidFill>
                  <a:srgbClr val="245473"/>
                </a:solidFill>
                <a:latin typeface="+mn-lt"/>
              </a:defRPr>
            </a:lvl1pPr>
          </a:lstStyle>
          <a:p>
            <a:pPr lvl="0"/>
            <a:r>
              <a:rPr lang="en-GB" dirty="0"/>
              <a:t>Main Body Text</a:t>
            </a:r>
          </a:p>
        </p:txBody>
      </p:sp>
      <p:cxnSp>
        <p:nvCxnSpPr>
          <p:cNvPr id="28" name="Straight Connector 27"/>
          <p:cNvCxnSpPr/>
          <p:nvPr userDrawn="1"/>
        </p:nvCxnSpPr>
        <p:spPr>
          <a:xfrm flipH="1">
            <a:off x="4383742" y="4342602"/>
            <a:ext cx="3591091"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30" name="Text Placeholder 23"/>
          <p:cNvSpPr>
            <a:spLocks noGrp="1"/>
          </p:cNvSpPr>
          <p:nvPr>
            <p:ph type="body" sz="quarter" idx="18" hasCustomPrompt="1"/>
          </p:nvPr>
        </p:nvSpPr>
        <p:spPr>
          <a:xfrm>
            <a:off x="8228086" y="3236316"/>
            <a:ext cx="3408830" cy="1045795"/>
          </a:xfrm>
        </p:spPr>
        <p:txBody>
          <a:bodyPr anchor="ctr">
            <a:normAutofit/>
          </a:bodyPr>
          <a:lstStyle>
            <a:lvl1pPr marL="0" indent="0" algn="ctr">
              <a:buNone/>
              <a:defRPr sz="3000">
                <a:solidFill>
                  <a:srgbClr val="245473"/>
                </a:solidFill>
                <a:latin typeface="+mn-lt"/>
              </a:defRPr>
            </a:lvl1pPr>
          </a:lstStyle>
          <a:p>
            <a:pPr lvl="0"/>
            <a:r>
              <a:rPr lang="en-GB" dirty="0"/>
              <a:t>Sub Title</a:t>
            </a:r>
          </a:p>
        </p:txBody>
      </p:sp>
      <p:sp>
        <p:nvSpPr>
          <p:cNvPr id="31" name="Text Placeholder 23"/>
          <p:cNvSpPr>
            <a:spLocks noGrp="1"/>
          </p:cNvSpPr>
          <p:nvPr>
            <p:ph type="body" sz="quarter" idx="19" hasCustomPrompt="1"/>
          </p:nvPr>
        </p:nvSpPr>
        <p:spPr>
          <a:xfrm>
            <a:off x="8228086" y="4432247"/>
            <a:ext cx="3408830" cy="1412740"/>
          </a:xfrm>
        </p:spPr>
        <p:txBody>
          <a:bodyPr>
            <a:normAutofit/>
          </a:bodyPr>
          <a:lstStyle>
            <a:lvl1pPr marL="0" indent="0" algn="ctr">
              <a:buNone/>
              <a:defRPr sz="2400">
                <a:solidFill>
                  <a:srgbClr val="245473"/>
                </a:solidFill>
                <a:latin typeface="+mn-lt"/>
              </a:defRPr>
            </a:lvl1pPr>
          </a:lstStyle>
          <a:p>
            <a:pPr lvl="0"/>
            <a:r>
              <a:rPr lang="en-GB" dirty="0"/>
              <a:t>Main Body Text</a:t>
            </a:r>
          </a:p>
        </p:txBody>
      </p:sp>
      <p:cxnSp>
        <p:nvCxnSpPr>
          <p:cNvPr id="35" name="Straight Connector 34"/>
          <p:cNvCxnSpPr/>
          <p:nvPr userDrawn="1"/>
        </p:nvCxnSpPr>
        <p:spPr>
          <a:xfrm flipH="1">
            <a:off x="8099612" y="4342602"/>
            <a:ext cx="3591091"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34" name="Oval 33"/>
          <p:cNvSpPr/>
          <p:nvPr userDrawn="1"/>
        </p:nvSpPr>
        <p:spPr>
          <a:xfrm>
            <a:off x="1838368" y="2017629"/>
            <a:ext cx="1075289" cy="1075289"/>
          </a:xfrm>
          <a:prstGeom prst="ellipse">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6" name="Oval 35"/>
          <p:cNvSpPr/>
          <p:nvPr userDrawn="1"/>
        </p:nvSpPr>
        <p:spPr>
          <a:xfrm>
            <a:off x="5641642" y="2017629"/>
            <a:ext cx="1075289" cy="1075289"/>
          </a:xfrm>
          <a:prstGeom prst="ellipse">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Oval 36"/>
          <p:cNvSpPr/>
          <p:nvPr userDrawn="1"/>
        </p:nvSpPr>
        <p:spPr>
          <a:xfrm>
            <a:off x="9394856" y="2017628"/>
            <a:ext cx="1075289" cy="1075289"/>
          </a:xfrm>
          <a:prstGeom prst="ellipse">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1" name="Group 20">
            <a:extLst>
              <a:ext uri="{FF2B5EF4-FFF2-40B4-BE49-F238E27FC236}">
                <a16:creationId xmlns:a16="http://schemas.microsoft.com/office/drawing/2014/main" xmlns="" id="{6A1ACCDE-2F4A-624D-AD12-41160F8A718A}"/>
              </a:ext>
            </a:extLst>
          </p:cNvPr>
          <p:cNvGrpSpPr/>
          <p:nvPr userDrawn="1"/>
        </p:nvGrpSpPr>
        <p:grpSpPr>
          <a:xfrm>
            <a:off x="5518067" y="6320337"/>
            <a:ext cx="2312384" cy="332623"/>
            <a:chOff x="10743787" y="6308250"/>
            <a:chExt cx="1112954" cy="572290"/>
          </a:xfrm>
        </p:grpSpPr>
        <p:sp>
          <p:nvSpPr>
            <p:cNvPr id="24" name="テキスト プレースホルダー 36">
              <a:extLst>
                <a:ext uri="{FF2B5EF4-FFF2-40B4-BE49-F238E27FC236}">
                  <a16:creationId xmlns:a16="http://schemas.microsoft.com/office/drawing/2014/main" xmlns="" id="{D6526A23-8572-5F42-9B8E-C5D6473D2803}"/>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5" name="テキスト プレースホルダー 36">
              <a:extLst>
                <a:ext uri="{FF2B5EF4-FFF2-40B4-BE49-F238E27FC236}">
                  <a16:creationId xmlns:a16="http://schemas.microsoft.com/office/drawing/2014/main" xmlns="" id="{B7D8282B-898E-0B47-BF0F-CFC46DE69B6B}"/>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xmlns="" id="{B8479BF6-3A9A-2F42-84AD-58F514B47D3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24514"/>
          <a:stretch/>
        </p:blipFill>
        <p:spPr>
          <a:xfrm>
            <a:off x="4656684" y="6417305"/>
            <a:ext cx="1257734" cy="191646"/>
          </a:xfrm>
          <a:prstGeom prst="rect">
            <a:avLst/>
          </a:prstGeom>
        </p:spPr>
      </p:pic>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bullets slide">
    <p:spTree>
      <p:nvGrpSpPr>
        <p:cNvPr id="1" name=""/>
        <p:cNvGrpSpPr/>
        <p:nvPr/>
      </p:nvGrpSpPr>
      <p:grpSpPr>
        <a:xfrm>
          <a:off x="0" y="0"/>
          <a:ext cx="0" cy="0"/>
          <a:chOff x="0" y="0"/>
          <a:chExt cx="0" cy="0"/>
        </a:xfrm>
      </p:grpSpPr>
      <p:sp>
        <p:nvSpPr>
          <p:cNvPr id="34" name="Rectangle 33"/>
          <p:cNvSpPr/>
          <p:nvPr userDrawn="1"/>
        </p:nvSpPr>
        <p:spPr>
          <a:xfrm>
            <a:off x="4903304" y="1126433"/>
            <a:ext cx="7288696" cy="1302295"/>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6" name="Rectangle 35"/>
          <p:cNvSpPr/>
          <p:nvPr userDrawn="1"/>
        </p:nvSpPr>
        <p:spPr>
          <a:xfrm>
            <a:off x="4903304" y="2749824"/>
            <a:ext cx="7288696" cy="1302295"/>
          </a:xfrm>
          <a:prstGeom prst="rect">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Rectangle 36"/>
          <p:cNvSpPr/>
          <p:nvPr userDrawn="1"/>
        </p:nvSpPr>
        <p:spPr>
          <a:xfrm>
            <a:off x="4903304" y="4373215"/>
            <a:ext cx="7288696" cy="1302295"/>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38" name="Straight Connector 37"/>
          <p:cNvCxnSpPr/>
          <p:nvPr userDrawn="1"/>
        </p:nvCxnSpPr>
        <p:spPr>
          <a:xfrm>
            <a:off x="6175512" y="1223543"/>
            <a:ext cx="0" cy="1042579"/>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a:xfrm>
            <a:off x="6175512" y="2852059"/>
            <a:ext cx="0" cy="1042579"/>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userDrawn="1"/>
        </p:nvCxnSpPr>
        <p:spPr>
          <a:xfrm>
            <a:off x="6175512" y="4496389"/>
            <a:ext cx="0" cy="1042579"/>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pic>
        <p:nvPicPr>
          <p:cNvPr id="41" name="Picture 40"/>
          <p:cNvPicPr>
            <a:picLocks noChangeAspect="1"/>
          </p:cNvPicPr>
          <p:nvPr userDrawn="1"/>
        </p:nvPicPr>
        <p:blipFill rotWithShape="1">
          <a:blip r:embed="rId2">
            <a:extLst>
              <a:ext uri="{28A0092B-C50C-407E-A947-70E740481C1C}">
                <a14:useLocalDpi xmlns:a14="http://schemas.microsoft.com/office/drawing/2010/main" val="0"/>
              </a:ext>
            </a:extLst>
          </a:blip>
          <a:srcRect l="29694" t="6763" r="13475" b="6473"/>
          <a:stretch/>
        </p:blipFill>
        <p:spPr>
          <a:xfrm>
            <a:off x="3954456" y="677649"/>
            <a:ext cx="1176669" cy="5446643"/>
          </a:xfrm>
          <a:prstGeom prst="rect">
            <a:avLst/>
          </a:prstGeom>
        </p:spPr>
      </p:pic>
      <p:sp>
        <p:nvSpPr>
          <p:cNvPr id="42" name="Text Placeholder 23"/>
          <p:cNvSpPr>
            <a:spLocks noGrp="1"/>
          </p:cNvSpPr>
          <p:nvPr>
            <p:ph type="body" sz="quarter" idx="13" hasCustomPrompt="1"/>
          </p:nvPr>
        </p:nvSpPr>
        <p:spPr>
          <a:xfrm>
            <a:off x="643223" y="1079254"/>
            <a:ext cx="3821205" cy="697353"/>
          </a:xfrm>
        </p:spPr>
        <p:txBody>
          <a:bodyPr>
            <a:normAutofit/>
          </a:bodyPr>
          <a:lstStyle>
            <a:lvl1pPr marL="0" indent="0" algn="l">
              <a:buNone/>
              <a:defRPr sz="3600">
                <a:solidFill>
                  <a:srgbClr val="003841"/>
                </a:solidFill>
                <a:latin typeface="+mn-lt"/>
              </a:defRPr>
            </a:lvl1pPr>
          </a:lstStyle>
          <a:p>
            <a:pPr lvl="0"/>
            <a:r>
              <a:rPr lang="en-GB" dirty="0"/>
              <a:t>TITLE</a:t>
            </a:r>
          </a:p>
        </p:txBody>
      </p:sp>
      <p:sp>
        <p:nvSpPr>
          <p:cNvPr id="43" name="Text Placeholder 25"/>
          <p:cNvSpPr>
            <a:spLocks noGrp="1"/>
          </p:cNvSpPr>
          <p:nvPr>
            <p:ph type="body" sz="quarter" idx="14" hasCustomPrompt="1"/>
          </p:nvPr>
        </p:nvSpPr>
        <p:spPr>
          <a:xfrm>
            <a:off x="643223" y="2087287"/>
            <a:ext cx="3821205" cy="3642009"/>
          </a:xfrm>
        </p:spPr>
        <p:txBody>
          <a:bodyPr>
            <a:noAutofit/>
          </a:bodyPr>
          <a:lstStyle>
            <a:lvl1pPr marL="0" indent="0" algn="l">
              <a:buNone/>
              <a:defRPr sz="3000">
                <a:solidFill>
                  <a:srgbClr val="00384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Sub Title</a:t>
            </a:r>
          </a:p>
        </p:txBody>
      </p:sp>
      <p:sp>
        <p:nvSpPr>
          <p:cNvPr id="44" name="Text Placeholder 23"/>
          <p:cNvSpPr>
            <a:spLocks noGrp="1"/>
          </p:cNvSpPr>
          <p:nvPr>
            <p:ph type="body" sz="quarter" idx="15" hasCustomPrompt="1"/>
          </p:nvPr>
        </p:nvSpPr>
        <p:spPr>
          <a:xfrm>
            <a:off x="4975024" y="1126433"/>
            <a:ext cx="1176670" cy="1292995"/>
          </a:xfrm>
        </p:spPr>
        <p:txBody>
          <a:bodyPr anchor="ctr">
            <a:normAutofit/>
          </a:bodyPr>
          <a:lstStyle>
            <a:lvl1pPr marL="0" indent="0" algn="ctr">
              <a:buNone/>
              <a:defRPr sz="4800">
                <a:solidFill>
                  <a:schemeClr val="bg1"/>
                </a:solidFill>
                <a:latin typeface="+mn-lt"/>
              </a:defRPr>
            </a:lvl1pPr>
          </a:lstStyle>
          <a:p>
            <a:pPr lvl="0"/>
            <a:r>
              <a:rPr lang="en-GB" dirty="0"/>
              <a:t>01</a:t>
            </a:r>
          </a:p>
        </p:txBody>
      </p:sp>
      <p:sp>
        <p:nvSpPr>
          <p:cNvPr id="45" name="Text Placeholder 2"/>
          <p:cNvSpPr>
            <a:spLocks noGrp="1"/>
          </p:cNvSpPr>
          <p:nvPr>
            <p:ph type="body" sz="quarter" idx="12" hasCustomPrompt="1"/>
          </p:nvPr>
        </p:nvSpPr>
        <p:spPr>
          <a:xfrm>
            <a:off x="6271051" y="1126433"/>
            <a:ext cx="5353929" cy="1292995"/>
          </a:xfrm>
        </p:spPr>
        <p:txBody>
          <a:bodyPr anchor="ctr">
            <a:normAutofit/>
          </a:bodyPr>
          <a:lstStyle>
            <a:lvl1pPr marL="0" indent="0" algn="l">
              <a:buNone/>
              <a:defRPr sz="2400" baseline="0">
                <a:solidFill>
                  <a:schemeClr val="bg1"/>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cxnSp>
        <p:nvCxnSpPr>
          <p:cNvPr id="51" name="Straight Connector 50"/>
          <p:cNvCxnSpPr/>
          <p:nvPr userDrawn="1"/>
        </p:nvCxnSpPr>
        <p:spPr>
          <a:xfrm>
            <a:off x="417209" y="1920386"/>
            <a:ext cx="4287526"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52" name="Text Placeholder 23"/>
          <p:cNvSpPr>
            <a:spLocks noGrp="1"/>
          </p:cNvSpPr>
          <p:nvPr>
            <p:ph type="body" sz="quarter" idx="16" hasCustomPrompt="1"/>
          </p:nvPr>
        </p:nvSpPr>
        <p:spPr>
          <a:xfrm>
            <a:off x="4998842" y="2740524"/>
            <a:ext cx="1176670" cy="1292995"/>
          </a:xfrm>
        </p:spPr>
        <p:txBody>
          <a:bodyPr anchor="ctr">
            <a:normAutofit/>
          </a:bodyPr>
          <a:lstStyle>
            <a:lvl1pPr marL="0" indent="0" algn="ctr">
              <a:buNone/>
              <a:defRPr sz="4800">
                <a:solidFill>
                  <a:schemeClr val="bg1"/>
                </a:solidFill>
                <a:latin typeface="+mn-lt"/>
              </a:defRPr>
            </a:lvl1pPr>
          </a:lstStyle>
          <a:p>
            <a:pPr lvl="0"/>
            <a:r>
              <a:rPr lang="en-GB" dirty="0"/>
              <a:t>02</a:t>
            </a:r>
          </a:p>
        </p:txBody>
      </p:sp>
      <p:sp>
        <p:nvSpPr>
          <p:cNvPr id="53" name="Text Placeholder 2"/>
          <p:cNvSpPr>
            <a:spLocks noGrp="1"/>
          </p:cNvSpPr>
          <p:nvPr>
            <p:ph type="body" sz="quarter" idx="17" hasCustomPrompt="1"/>
          </p:nvPr>
        </p:nvSpPr>
        <p:spPr>
          <a:xfrm>
            <a:off x="6294869" y="2740524"/>
            <a:ext cx="5353929" cy="1292995"/>
          </a:xfrm>
        </p:spPr>
        <p:txBody>
          <a:bodyPr anchor="ctr">
            <a:normAutofit/>
          </a:bodyPr>
          <a:lstStyle>
            <a:lvl1pPr marL="0" indent="0" algn="l">
              <a:buNone/>
              <a:defRPr sz="2400" baseline="0">
                <a:solidFill>
                  <a:schemeClr val="bg1"/>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54" name="Text Placeholder 23"/>
          <p:cNvSpPr>
            <a:spLocks noGrp="1"/>
          </p:cNvSpPr>
          <p:nvPr>
            <p:ph type="body" sz="quarter" idx="18" hasCustomPrompt="1"/>
          </p:nvPr>
        </p:nvSpPr>
        <p:spPr>
          <a:xfrm>
            <a:off x="4968894" y="4387646"/>
            <a:ext cx="1176670" cy="1292995"/>
          </a:xfrm>
        </p:spPr>
        <p:txBody>
          <a:bodyPr anchor="ctr">
            <a:normAutofit/>
          </a:bodyPr>
          <a:lstStyle>
            <a:lvl1pPr marL="0" indent="0" algn="ctr">
              <a:buNone/>
              <a:defRPr sz="4800">
                <a:solidFill>
                  <a:schemeClr val="bg1"/>
                </a:solidFill>
                <a:latin typeface="+mn-lt"/>
              </a:defRPr>
            </a:lvl1pPr>
          </a:lstStyle>
          <a:p>
            <a:pPr lvl="0"/>
            <a:r>
              <a:rPr lang="en-GB" dirty="0"/>
              <a:t>03</a:t>
            </a:r>
          </a:p>
        </p:txBody>
      </p:sp>
      <p:sp>
        <p:nvSpPr>
          <p:cNvPr id="55" name="Text Placeholder 2"/>
          <p:cNvSpPr>
            <a:spLocks noGrp="1"/>
          </p:cNvSpPr>
          <p:nvPr>
            <p:ph type="body" sz="quarter" idx="19" hasCustomPrompt="1"/>
          </p:nvPr>
        </p:nvSpPr>
        <p:spPr>
          <a:xfrm>
            <a:off x="6264921" y="4387646"/>
            <a:ext cx="5353929" cy="1292995"/>
          </a:xfrm>
        </p:spPr>
        <p:txBody>
          <a:bodyPr anchor="ctr">
            <a:normAutofit/>
          </a:bodyPr>
          <a:lstStyle>
            <a:lvl1pPr marL="0" indent="0" algn="l">
              <a:buNone/>
              <a:defRPr sz="2400" baseline="0">
                <a:solidFill>
                  <a:schemeClr val="bg1"/>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grpSp>
        <p:nvGrpSpPr>
          <p:cNvPr id="25" name="Group 24">
            <a:extLst>
              <a:ext uri="{FF2B5EF4-FFF2-40B4-BE49-F238E27FC236}">
                <a16:creationId xmlns:a16="http://schemas.microsoft.com/office/drawing/2014/main" xmlns="" id="{989948AA-CBBD-C14B-92BE-5E35489505DE}"/>
              </a:ext>
            </a:extLst>
          </p:cNvPr>
          <p:cNvGrpSpPr/>
          <p:nvPr userDrawn="1"/>
        </p:nvGrpSpPr>
        <p:grpSpPr>
          <a:xfrm>
            <a:off x="1333695" y="6201410"/>
            <a:ext cx="2312384" cy="332623"/>
            <a:chOff x="10743787" y="6308250"/>
            <a:chExt cx="1112954" cy="572290"/>
          </a:xfrm>
        </p:grpSpPr>
        <p:sp>
          <p:nvSpPr>
            <p:cNvPr id="26" name="テキスト プレースホルダー 36">
              <a:extLst>
                <a:ext uri="{FF2B5EF4-FFF2-40B4-BE49-F238E27FC236}">
                  <a16:creationId xmlns:a16="http://schemas.microsoft.com/office/drawing/2014/main" xmlns="" id="{4462787E-418A-9941-9477-9D876104E4E0}"/>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7" name="テキスト プレースホルダー 36">
              <a:extLst>
                <a:ext uri="{FF2B5EF4-FFF2-40B4-BE49-F238E27FC236}">
                  <a16:creationId xmlns:a16="http://schemas.microsoft.com/office/drawing/2014/main" xmlns="" id="{E9375A0E-E034-AE4E-8CEA-0882FAE0CF15}"/>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8" name="Picture 27">
            <a:extLst>
              <a:ext uri="{FF2B5EF4-FFF2-40B4-BE49-F238E27FC236}">
                <a16:creationId xmlns:a16="http://schemas.microsoft.com/office/drawing/2014/main" xmlns="" id="{75FF4D26-5450-AF43-B106-5549C62527F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aptop slide 1">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8387" t="10823" r="9307" b="5574"/>
          <a:stretch/>
        </p:blipFill>
        <p:spPr>
          <a:xfrm>
            <a:off x="2000190" y="1447737"/>
            <a:ext cx="7941283" cy="4839954"/>
          </a:xfrm>
          <a:prstGeom prst="rect">
            <a:avLst/>
          </a:prstGeom>
        </p:spPr>
      </p:pic>
      <p:sp>
        <p:nvSpPr>
          <p:cNvPr id="25" name="Text Placeholder 23"/>
          <p:cNvSpPr>
            <a:spLocks noGrp="1"/>
          </p:cNvSpPr>
          <p:nvPr>
            <p:ph type="body" sz="quarter" idx="13" hasCustomPrompt="1"/>
          </p:nvPr>
        </p:nvSpPr>
        <p:spPr>
          <a:xfrm>
            <a:off x="0" y="213464"/>
            <a:ext cx="12192000" cy="704485"/>
          </a:xfrm>
        </p:spPr>
        <p:txBody>
          <a:bodyPr>
            <a:normAutofit/>
          </a:bodyPr>
          <a:lstStyle>
            <a:lvl1pPr marL="0" indent="0" algn="ctr">
              <a:buNone/>
              <a:defRPr sz="3600">
                <a:solidFill>
                  <a:srgbClr val="245473"/>
                </a:solidFill>
                <a:latin typeface="+mn-lt"/>
              </a:defRPr>
            </a:lvl1pPr>
          </a:lstStyle>
          <a:p>
            <a:pPr lvl="0"/>
            <a:r>
              <a:rPr lang="en-GB" dirty="0"/>
              <a:t>TITLE</a:t>
            </a:r>
          </a:p>
        </p:txBody>
      </p:sp>
      <p:sp>
        <p:nvSpPr>
          <p:cNvPr id="26" name="Text Placeholder 25"/>
          <p:cNvSpPr>
            <a:spLocks noGrp="1"/>
          </p:cNvSpPr>
          <p:nvPr>
            <p:ph type="body" sz="quarter" idx="14" hasCustomPrompt="1"/>
          </p:nvPr>
        </p:nvSpPr>
        <p:spPr>
          <a:xfrm>
            <a:off x="0" y="1045042"/>
            <a:ext cx="12192000" cy="590599"/>
          </a:xfrm>
        </p:spPr>
        <p:txBody>
          <a:bodyPr>
            <a:noAutofit/>
          </a:bodyPr>
          <a:lstStyle>
            <a:lvl1pPr marL="0" indent="0" algn="ctr">
              <a:buNone/>
              <a:defRPr sz="300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Sub Title</a:t>
            </a:r>
          </a:p>
        </p:txBody>
      </p:sp>
      <p:cxnSp>
        <p:nvCxnSpPr>
          <p:cNvPr id="27" name="Straight Connector 26"/>
          <p:cNvCxnSpPr/>
          <p:nvPr userDrawn="1"/>
        </p:nvCxnSpPr>
        <p:spPr>
          <a:xfrm flipH="1">
            <a:off x="280404" y="945173"/>
            <a:ext cx="11623126"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8" name="Picture Placeholder 7"/>
          <p:cNvSpPr>
            <a:spLocks noGrp="1"/>
          </p:cNvSpPr>
          <p:nvPr>
            <p:ph type="pic" sz="quarter" idx="15" hasCustomPrompt="1"/>
          </p:nvPr>
        </p:nvSpPr>
        <p:spPr>
          <a:xfrm>
            <a:off x="3184071" y="1893434"/>
            <a:ext cx="5665788" cy="3478212"/>
          </a:xfrm>
          <a:prstGeom prst="rect">
            <a:avLst/>
          </a:prstGeom>
        </p:spPr>
        <p:txBody>
          <a:bodyPr anchor="t"/>
          <a:lstStyle>
            <a:lvl1pPr marL="228600" marR="0" indent="-228600" algn="ctr" defTabSz="914400" rtl="0" eaLnBrk="1" fontAlgn="auto" latinLnBrk="0" hangingPunct="1">
              <a:lnSpc>
                <a:spcPct val="90000"/>
              </a:lnSpc>
              <a:spcBef>
                <a:spcPts val="1000"/>
              </a:spcBef>
              <a:spcAft>
                <a:spcPts val="0"/>
              </a:spcAft>
              <a:buClrTx/>
              <a:buSzTx/>
              <a:buFont typeface="Arial"/>
              <a:buNone/>
              <a:tabLst/>
              <a:defRPr baseline="0">
                <a:solidFill>
                  <a:schemeClr val="bg1">
                    <a:lumMod val="50000"/>
                  </a:schemeClr>
                </a:solidFill>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GB" dirty="0"/>
              <a:t>        </a:t>
            </a:r>
          </a:p>
          <a:p>
            <a:pPr marL="228600" marR="0" lvl="0" indent="-228600" algn="l" defTabSz="914400" rtl="0" eaLnBrk="1" fontAlgn="auto" latinLnBrk="0" hangingPunct="1">
              <a:lnSpc>
                <a:spcPct val="90000"/>
              </a:lnSpc>
              <a:spcBef>
                <a:spcPts val="1000"/>
              </a:spcBef>
              <a:spcAft>
                <a:spcPts val="0"/>
              </a:spcAft>
              <a:buClrTx/>
              <a:buSzTx/>
              <a:buFont typeface="Arial"/>
              <a:buNone/>
              <a:tabLst/>
              <a:defRPr/>
            </a:pPr>
            <a:endParaRPr lang="en-GB" dirty="0"/>
          </a:p>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GB" dirty="0"/>
              <a:t>            Click here  to add photo</a:t>
            </a:r>
          </a:p>
        </p:txBody>
      </p:sp>
      <p:grpSp>
        <p:nvGrpSpPr>
          <p:cNvPr id="11" name="Group 10">
            <a:extLst>
              <a:ext uri="{FF2B5EF4-FFF2-40B4-BE49-F238E27FC236}">
                <a16:creationId xmlns:a16="http://schemas.microsoft.com/office/drawing/2014/main" xmlns="" id="{E0A6F1FA-0C26-DC41-8655-91FA123EECE6}"/>
              </a:ext>
            </a:extLst>
          </p:cNvPr>
          <p:cNvGrpSpPr/>
          <p:nvPr userDrawn="1"/>
        </p:nvGrpSpPr>
        <p:grpSpPr>
          <a:xfrm>
            <a:off x="5518067" y="6320337"/>
            <a:ext cx="2312384" cy="332623"/>
            <a:chOff x="10743787" y="6308250"/>
            <a:chExt cx="1112954" cy="572290"/>
          </a:xfrm>
        </p:grpSpPr>
        <p:sp>
          <p:nvSpPr>
            <p:cNvPr id="12" name="テキスト プレースホルダー 36">
              <a:extLst>
                <a:ext uri="{FF2B5EF4-FFF2-40B4-BE49-F238E27FC236}">
                  <a16:creationId xmlns:a16="http://schemas.microsoft.com/office/drawing/2014/main" xmlns="" id="{57D96B86-6B0A-6C48-9117-F9878D3E8229}"/>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13" name="テキスト プレースホルダー 36">
              <a:extLst>
                <a:ext uri="{FF2B5EF4-FFF2-40B4-BE49-F238E27FC236}">
                  <a16:creationId xmlns:a16="http://schemas.microsoft.com/office/drawing/2014/main" xmlns="" id="{C342E5B8-E967-FE44-A3B4-8715184E25C1}"/>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14" name="Picture 13">
            <a:extLst>
              <a:ext uri="{FF2B5EF4-FFF2-40B4-BE49-F238E27FC236}">
                <a16:creationId xmlns:a16="http://schemas.microsoft.com/office/drawing/2014/main" xmlns="" id="{63E8915E-46EB-7448-8184-ECBF4290DFB2}"/>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656684" y="6417305"/>
            <a:ext cx="1257734" cy="191646"/>
          </a:xfrm>
          <a:prstGeom prst="rect">
            <a:avLst/>
          </a:prstGeom>
        </p:spPr>
      </p:pic>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aptop slide 2">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8387" t="10823" r="49050" b="5574"/>
          <a:stretch/>
        </p:blipFill>
        <p:spPr>
          <a:xfrm>
            <a:off x="7429500" y="740153"/>
            <a:ext cx="4762500" cy="5612853"/>
          </a:xfrm>
          <a:prstGeom prst="rect">
            <a:avLst/>
          </a:prstGeom>
        </p:spPr>
      </p:pic>
      <p:cxnSp>
        <p:nvCxnSpPr>
          <p:cNvPr id="27" name="Straight Connector 26"/>
          <p:cNvCxnSpPr/>
          <p:nvPr userDrawn="1"/>
        </p:nvCxnSpPr>
        <p:spPr>
          <a:xfrm flipH="1">
            <a:off x="378379" y="1908558"/>
            <a:ext cx="6789867"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8" name="Picture Placeholder 7"/>
          <p:cNvSpPr>
            <a:spLocks noGrp="1"/>
          </p:cNvSpPr>
          <p:nvPr>
            <p:ph type="pic" sz="quarter" idx="15" hasCustomPrompt="1"/>
          </p:nvPr>
        </p:nvSpPr>
        <p:spPr>
          <a:xfrm>
            <a:off x="8802435" y="1223694"/>
            <a:ext cx="3389565" cy="4033653"/>
          </a:xfrm>
          <a:prstGeom prst="rect">
            <a:avLst/>
          </a:prstGeom>
        </p:spPr>
        <p:txBody>
          <a:bodyPr anchor="ctr">
            <a:normAutofit/>
          </a:bodyPr>
          <a:lstStyle>
            <a:lvl1pPr marL="0" marR="0" indent="0" algn="ctr" defTabSz="914400" rtl="0" eaLnBrk="1" fontAlgn="auto" latinLnBrk="0" hangingPunct="1">
              <a:lnSpc>
                <a:spcPct val="90000"/>
              </a:lnSpc>
              <a:spcBef>
                <a:spcPts val="1000"/>
              </a:spcBef>
              <a:spcAft>
                <a:spcPts val="0"/>
              </a:spcAft>
              <a:buClrTx/>
              <a:buSzTx/>
              <a:buFont typeface="Arial" charset="0"/>
              <a:buNone/>
              <a:tabLst/>
              <a:defRPr sz="2400" baseline="0">
                <a:solidFill>
                  <a:schemeClr val="bg1">
                    <a:lumMod val="50000"/>
                  </a:schemeClr>
                </a:solidFill>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GB" dirty="0"/>
              <a:t>Click here to add photo</a:t>
            </a:r>
          </a:p>
        </p:txBody>
      </p:sp>
      <p:sp>
        <p:nvSpPr>
          <p:cNvPr id="9" name="Text Placeholder 23"/>
          <p:cNvSpPr>
            <a:spLocks noGrp="1"/>
          </p:cNvSpPr>
          <p:nvPr>
            <p:ph type="body" sz="quarter" idx="16" hasCustomPrompt="1"/>
          </p:nvPr>
        </p:nvSpPr>
        <p:spPr>
          <a:xfrm>
            <a:off x="643223" y="1079254"/>
            <a:ext cx="6361734"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0" name="Text Placeholder 25"/>
          <p:cNvSpPr>
            <a:spLocks noGrp="1"/>
          </p:cNvSpPr>
          <p:nvPr>
            <p:ph type="body" sz="quarter" idx="17" hasCustomPrompt="1"/>
          </p:nvPr>
        </p:nvSpPr>
        <p:spPr>
          <a:xfrm>
            <a:off x="643223" y="2087287"/>
            <a:ext cx="6361734" cy="3642009"/>
          </a:xfrm>
        </p:spPr>
        <p:txBody>
          <a:bodyPr>
            <a:noAutofit/>
          </a:bodyPr>
          <a:lstStyle>
            <a:lvl1pPr marL="0" indent="0" algn="l">
              <a:buNone/>
              <a:defRPr sz="300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Sub Title</a:t>
            </a:r>
          </a:p>
        </p:txBody>
      </p:sp>
      <p:grpSp>
        <p:nvGrpSpPr>
          <p:cNvPr id="15" name="Group 14">
            <a:extLst>
              <a:ext uri="{FF2B5EF4-FFF2-40B4-BE49-F238E27FC236}">
                <a16:creationId xmlns:a16="http://schemas.microsoft.com/office/drawing/2014/main" xmlns="" id="{DD0BC517-456F-7141-A924-632CB3E2CFCF}"/>
              </a:ext>
            </a:extLst>
          </p:cNvPr>
          <p:cNvGrpSpPr/>
          <p:nvPr userDrawn="1"/>
        </p:nvGrpSpPr>
        <p:grpSpPr>
          <a:xfrm>
            <a:off x="1333695" y="6201410"/>
            <a:ext cx="2312384" cy="332623"/>
            <a:chOff x="10743787" y="6308250"/>
            <a:chExt cx="1112954" cy="572290"/>
          </a:xfrm>
        </p:grpSpPr>
        <p:sp>
          <p:nvSpPr>
            <p:cNvPr id="16" name="テキスト プレースホルダー 36">
              <a:extLst>
                <a:ext uri="{FF2B5EF4-FFF2-40B4-BE49-F238E27FC236}">
                  <a16:creationId xmlns:a16="http://schemas.microsoft.com/office/drawing/2014/main" xmlns="" id="{0320CDBB-83D1-8448-943D-2ABED1F37747}"/>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17" name="テキスト プレースホルダー 36">
              <a:extLst>
                <a:ext uri="{FF2B5EF4-FFF2-40B4-BE49-F238E27FC236}">
                  <a16:creationId xmlns:a16="http://schemas.microsoft.com/office/drawing/2014/main" xmlns="" id="{17899FB0-757D-A14A-93A5-73888B0D1B0F}"/>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18" name="Picture 17">
            <a:extLst>
              <a:ext uri="{FF2B5EF4-FFF2-40B4-BE49-F238E27FC236}">
                <a16:creationId xmlns:a16="http://schemas.microsoft.com/office/drawing/2014/main" xmlns="" id="{F57E134D-C955-264C-925F-9CA3130C061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hone Slide 1">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3425" t="-1173" r="6562" b="12394"/>
          <a:stretch/>
        </p:blipFill>
        <p:spPr>
          <a:xfrm>
            <a:off x="2449287" y="1355271"/>
            <a:ext cx="9742714" cy="5502729"/>
          </a:xfrm>
          <a:prstGeom prst="rect">
            <a:avLst/>
          </a:prstGeom>
        </p:spPr>
      </p:pic>
      <p:sp>
        <p:nvSpPr>
          <p:cNvPr id="6" name="Picture Placeholder 5"/>
          <p:cNvSpPr>
            <a:spLocks noGrp="1"/>
          </p:cNvSpPr>
          <p:nvPr>
            <p:ph type="pic" sz="quarter" idx="18" hasCustomPrompt="1"/>
          </p:nvPr>
        </p:nvSpPr>
        <p:spPr>
          <a:xfrm>
            <a:off x="3731480" y="2335213"/>
            <a:ext cx="4098925" cy="2628900"/>
          </a:xfrm>
        </p:spPr>
        <p:txBody>
          <a:bodyPr anchor="ctr">
            <a:normAutofit/>
          </a:bodyPr>
          <a:lstStyle>
            <a:lvl1pPr marL="0" marR="0" indent="0" algn="ctr" defTabSz="914400" rtl="0" eaLnBrk="1" fontAlgn="auto" latinLnBrk="0" hangingPunct="1">
              <a:lnSpc>
                <a:spcPct val="90000"/>
              </a:lnSpc>
              <a:spcBef>
                <a:spcPts val="1000"/>
              </a:spcBef>
              <a:spcAft>
                <a:spcPts val="0"/>
              </a:spcAft>
              <a:buClrTx/>
              <a:buSzTx/>
              <a:buFont typeface="Arial" charset="0"/>
              <a:buNone/>
              <a:tabLst/>
              <a:defRPr sz="2400" baseline="0">
                <a:solidFill>
                  <a:schemeClr val="bg1">
                    <a:lumMod val="50000"/>
                  </a:schemeClr>
                </a:solidFill>
              </a:defRPr>
            </a:lvl1pPr>
          </a:lstStyle>
          <a:p>
            <a:r>
              <a:rPr lang="en-GB" dirty="0"/>
              <a:t>Click here to add photo</a:t>
            </a:r>
          </a:p>
        </p:txBody>
      </p:sp>
      <p:sp>
        <p:nvSpPr>
          <p:cNvPr id="14" name="Text Placeholder 23"/>
          <p:cNvSpPr>
            <a:spLocks noGrp="1"/>
          </p:cNvSpPr>
          <p:nvPr>
            <p:ph type="body" sz="quarter" idx="13" hasCustomPrompt="1"/>
          </p:nvPr>
        </p:nvSpPr>
        <p:spPr>
          <a:xfrm>
            <a:off x="0" y="213464"/>
            <a:ext cx="12192000" cy="612789"/>
          </a:xfrm>
        </p:spPr>
        <p:txBody>
          <a:bodyPr>
            <a:normAutofit/>
          </a:bodyPr>
          <a:lstStyle>
            <a:lvl1pPr marL="0" indent="0" algn="ctr">
              <a:buNone/>
              <a:defRPr sz="3600">
                <a:solidFill>
                  <a:srgbClr val="245473"/>
                </a:solidFill>
                <a:latin typeface="+mn-lt"/>
              </a:defRPr>
            </a:lvl1pPr>
          </a:lstStyle>
          <a:p>
            <a:pPr lvl="0"/>
            <a:r>
              <a:rPr lang="en-GB" dirty="0"/>
              <a:t>TITLE</a:t>
            </a:r>
          </a:p>
        </p:txBody>
      </p:sp>
      <p:cxnSp>
        <p:nvCxnSpPr>
          <p:cNvPr id="15" name="Straight Connector 14"/>
          <p:cNvCxnSpPr/>
          <p:nvPr userDrawn="1"/>
        </p:nvCxnSpPr>
        <p:spPr>
          <a:xfrm flipH="1">
            <a:off x="280404" y="945173"/>
            <a:ext cx="11623126"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xmlns="" id="{D50C09CE-150B-1545-834E-9F744082CCBD}"/>
              </a:ext>
            </a:extLst>
          </p:cNvPr>
          <p:cNvGrpSpPr/>
          <p:nvPr userDrawn="1"/>
        </p:nvGrpSpPr>
        <p:grpSpPr>
          <a:xfrm>
            <a:off x="1333695" y="6201410"/>
            <a:ext cx="2312384" cy="332623"/>
            <a:chOff x="10743787" y="6308250"/>
            <a:chExt cx="1112954" cy="572290"/>
          </a:xfrm>
        </p:grpSpPr>
        <p:sp>
          <p:nvSpPr>
            <p:cNvPr id="20" name="テキスト プレースホルダー 36">
              <a:extLst>
                <a:ext uri="{FF2B5EF4-FFF2-40B4-BE49-F238E27FC236}">
                  <a16:creationId xmlns:a16="http://schemas.microsoft.com/office/drawing/2014/main" xmlns="" id="{54145B1F-2E18-004B-95E2-AA351E7F2683}"/>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1" name="テキスト プレースホルダー 36">
              <a:extLst>
                <a:ext uri="{FF2B5EF4-FFF2-40B4-BE49-F238E27FC236}">
                  <a16:creationId xmlns:a16="http://schemas.microsoft.com/office/drawing/2014/main" xmlns="" id="{E7BCCF47-B227-444D-8FAF-446A6A1B2A31}"/>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2" name="Picture 21">
            <a:extLst>
              <a:ext uri="{FF2B5EF4-FFF2-40B4-BE49-F238E27FC236}">
                <a16:creationId xmlns:a16="http://schemas.microsoft.com/office/drawing/2014/main" xmlns="" id="{9ADB7EDC-1B77-1944-9C10-35326A685AB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1BA5763-D411-1145-83E7-118049EC73A5}"/>
              </a:ext>
            </a:extLst>
          </p:cNvPr>
          <p:cNvSpPr>
            <a:spLocks noGrp="1"/>
          </p:cNvSpPr>
          <p:nvPr>
            <p:ph type="title"/>
          </p:nvPr>
        </p:nvSpPr>
        <p:spPr/>
        <p:txBody>
          <a:body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BC15A9DB-984B-944F-9C8E-0BF708D040D5}"/>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Content Placeholder 3">
            <a:extLst>
              <a:ext uri="{FF2B5EF4-FFF2-40B4-BE49-F238E27FC236}">
                <a16:creationId xmlns:a16="http://schemas.microsoft.com/office/drawing/2014/main" xmlns="" id="{ADE6CBE0-5135-9F44-B9A4-9CA7133CE8F7}"/>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5" name="Date Placeholder 4">
            <a:extLst>
              <a:ext uri="{FF2B5EF4-FFF2-40B4-BE49-F238E27FC236}">
                <a16:creationId xmlns:a16="http://schemas.microsoft.com/office/drawing/2014/main" xmlns="" id="{C74CC2FB-80EB-0E4D-84DC-81673FFD6828}"/>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6" name="Footer Placeholder 5">
            <a:extLst>
              <a:ext uri="{FF2B5EF4-FFF2-40B4-BE49-F238E27FC236}">
                <a16:creationId xmlns:a16="http://schemas.microsoft.com/office/drawing/2014/main" xmlns="" id="{CD584732-EEC8-9045-AD29-507893496DCD}"/>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1F44045B-7DFA-C04A-87DF-48873AEFC44B}"/>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283548849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hone Slide 2">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r="3454" b="8248"/>
          <a:stretch/>
        </p:blipFill>
        <p:spPr>
          <a:xfrm>
            <a:off x="6890657" y="550299"/>
            <a:ext cx="5479143" cy="6292294"/>
          </a:xfrm>
          <a:prstGeom prst="rect">
            <a:avLst/>
          </a:prstGeom>
        </p:spPr>
      </p:pic>
      <p:sp>
        <p:nvSpPr>
          <p:cNvPr id="7" name="Picture Placeholder 6"/>
          <p:cNvSpPr>
            <a:spLocks noGrp="1"/>
          </p:cNvSpPr>
          <p:nvPr>
            <p:ph type="pic" sz="quarter" idx="14" hasCustomPrompt="1"/>
          </p:nvPr>
        </p:nvSpPr>
        <p:spPr>
          <a:xfrm>
            <a:off x="7754938" y="1192681"/>
            <a:ext cx="2187575" cy="3886200"/>
          </a:xfrm>
        </p:spPr>
        <p:txBody>
          <a:bodyPr/>
          <a:lstStyle>
            <a:lvl1pPr marL="228600" marR="0" indent="-228600" algn="l" defTabSz="914400" rtl="0" eaLnBrk="1" fontAlgn="auto" latinLnBrk="0" hangingPunct="1">
              <a:lnSpc>
                <a:spcPct val="90000"/>
              </a:lnSpc>
              <a:spcBef>
                <a:spcPts val="1000"/>
              </a:spcBef>
              <a:spcAft>
                <a:spcPts val="0"/>
              </a:spcAft>
              <a:buClrTx/>
              <a:buSzTx/>
              <a:buFont typeface="Arial"/>
              <a:buNone/>
              <a:tabLst/>
              <a:defRPr>
                <a:solidFill>
                  <a:schemeClr val="bg1">
                    <a:lumMod val="50000"/>
                  </a:schemeClr>
                </a:solidFill>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GB" dirty="0"/>
              <a:t>  </a:t>
            </a:r>
          </a:p>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GB" dirty="0"/>
              <a:t> Click here to add photo</a:t>
            </a:r>
          </a:p>
        </p:txBody>
      </p:sp>
      <p:cxnSp>
        <p:nvCxnSpPr>
          <p:cNvPr id="11" name="Straight Connector 10"/>
          <p:cNvCxnSpPr/>
          <p:nvPr userDrawn="1"/>
        </p:nvCxnSpPr>
        <p:spPr>
          <a:xfrm flipH="1">
            <a:off x="378380" y="1908558"/>
            <a:ext cx="6348991"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12" name="Text Placeholder 23"/>
          <p:cNvSpPr>
            <a:spLocks noGrp="1"/>
          </p:cNvSpPr>
          <p:nvPr>
            <p:ph type="body" sz="quarter" idx="16" hasCustomPrompt="1"/>
          </p:nvPr>
        </p:nvSpPr>
        <p:spPr>
          <a:xfrm>
            <a:off x="643223" y="1079254"/>
            <a:ext cx="5839220"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3" name="Text Placeholder 25"/>
          <p:cNvSpPr>
            <a:spLocks noGrp="1"/>
          </p:cNvSpPr>
          <p:nvPr>
            <p:ph type="body" sz="quarter" idx="17" hasCustomPrompt="1"/>
          </p:nvPr>
        </p:nvSpPr>
        <p:spPr>
          <a:xfrm>
            <a:off x="643223" y="2087287"/>
            <a:ext cx="5839220" cy="3642009"/>
          </a:xfrm>
        </p:spPr>
        <p:txBody>
          <a:bodyPr>
            <a:noAutofit/>
          </a:bodyPr>
          <a:lstStyle>
            <a:lvl1pPr marL="0" indent="0" algn="l">
              <a:buNone/>
              <a:defRPr sz="300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Sub Title</a:t>
            </a:r>
          </a:p>
        </p:txBody>
      </p:sp>
      <p:grpSp>
        <p:nvGrpSpPr>
          <p:cNvPr id="22" name="Group 21">
            <a:extLst>
              <a:ext uri="{FF2B5EF4-FFF2-40B4-BE49-F238E27FC236}">
                <a16:creationId xmlns:a16="http://schemas.microsoft.com/office/drawing/2014/main" xmlns="" id="{D7E0608D-7566-AA4E-B01B-F061E8FF1E95}"/>
              </a:ext>
            </a:extLst>
          </p:cNvPr>
          <p:cNvGrpSpPr/>
          <p:nvPr userDrawn="1"/>
        </p:nvGrpSpPr>
        <p:grpSpPr>
          <a:xfrm>
            <a:off x="1333695" y="6201410"/>
            <a:ext cx="2312384" cy="332623"/>
            <a:chOff x="10743787" y="6308250"/>
            <a:chExt cx="1112954" cy="572290"/>
          </a:xfrm>
        </p:grpSpPr>
        <p:sp>
          <p:nvSpPr>
            <p:cNvPr id="23" name="テキスト プレースホルダー 36">
              <a:extLst>
                <a:ext uri="{FF2B5EF4-FFF2-40B4-BE49-F238E27FC236}">
                  <a16:creationId xmlns:a16="http://schemas.microsoft.com/office/drawing/2014/main" xmlns="" id="{574E3CAE-CAD4-194A-A3A8-6091ABEC82DD}"/>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4" name="テキスト プレースホルダー 36">
              <a:extLst>
                <a:ext uri="{FF2B5EF4-FFF2-40B4-BE49-F238E27FC236}">
                  <a16:creationId xmlns:a16="http://schemas.microsoft.com/office/drawing/2014/main" xmlns="" id="{284FE727-10B8-7A43-869F-02CC45E0FBBF}"/>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5" name="Picture 24">
            <a:extLst>
              <a:ext uri="{FF2B5EF4-FFF2-40B4-BE49-F238E27FC236}">
                <a16:creationId xmlns:a16="http://schemas.microsoft.com/office/drawing/2014/main" xmlns="" id="{C3936FA9-2599-7640-9592-1C00528DD49A}"/>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sp>
        <p:nvSpPr>
          <p:cNvPr id="18" name="Rectangle 17"/>
          <p:cNvSpPr/>
          <p:nvPr userDrawn="1"/>
        </p:nvSpPr>
        <p:spPr>
          <a:xfrm>
            <a:off x="7244374" y="0"/>
            <a:ext cx="4947625" cy="6858000"/>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3" name="Picture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3988" y="5276862"/>
            <a:ext cx="5856904" cy="1182261"/>
          </a:xfrm>
          <a:prstGeom prst="rect">
            <a:avLst/>
          </a:prstGeom>
        </p:spPr>
      </p:pic>
      <p:grpSp>
        <p:nvGrpSpPr>
          <p:cNvPr id="24" name="Group 23"/>
          <p:cNvGrpSpPr/>
          <p:nvPr userDrawn="1"/>
        </p:nvGrpSpPr>
        <p:grpSpPr>
          <a:xfrm>
            <a:off x="7201834" y="5789933"/>
            <a:ext cx="1866900" cy="463550"/>
            <a:chOff x="0" y="0"/>
            <a:chExt cx="2301694" cy="571500"/>
          </a:xfrm>
        </p:grpSpPr>
        <p:sp>
          <p:nvSpPr>
            <p:cNvPr id="26" name="Rectangle 2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27" name="Picture 26"/>
            <p:cNvPicPr>
              <a:picLocks noChangeAspect="1"/>
            </p:cNvPicPr>
            <p:nvPr/>
          </p:nvPicPr>
          <p:blipFill rotWithShape="1">
            <a:blip r:embed="rId3">
              <a:extLst>
                <a:ext uri="{28A0092B-C50C-407E-A947-70E740481C1C}">
                  <a14:useLocalDpi xmlns:a14="http://schemas.microsoft.com/office/drawing/2010/main" val="0"/>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28" name="Picture 27"/>
          <p:cNvPicPr>
            <a:picLocks noChangeAspect="1"/>
          </p:cNvPicPr>
          <p:nvPr userDrawn="1"/>
        </p:nvPicPr>
        <p:blipFill rotWithShape="1">
          <a:blip r:embed="rId4">
            <a:extLst>
              <a:ext uri="{28A0092B-C50C-407E-A947-70E740481C1C}">
                <a14:useLocalDpi xmlns:a14="http://schemas.microsoft.com/office/drawing/2010/main" val="0"/>
              </a:ext>
            </a:extLst>
          </a:blip>
          <a:srcRect b="32961"/>
          <a:stretch/>
        </p:blipFill>
        <p:spPr>
          <a:xfrm>
            <a:off x="11017708" y="6021708"/>
            <a:ext cx="1301214" cy="872318"/>
          </a:xfrm>
          <a:prstGeom prst="rect">
            <a:avLst/>
          </a:prstGeom>
        </p:spPr>
      </p:pic>
      <p:pic>
        <p:nvPicPr>
          <p:cNvPr id="29" name="Picture 28"/>
          <p:cNvPicPr>
            <a:picLocks noChangeAspect="1"/>
          </p:cNvPicPr>
          <p:nvPr userDrawn="1"/>
        </p:nvPicPr>
        <p:blipFill rotWithShape="1">
          <a:blip r:embed="rId5">
            <a:extLst>
              <a:ext uri="{28A0092B-C50C-407E-A947-70E740481C1C}">
                <a14:useLocalDpi xmlns:a14="http://schemas.microsoft.com/office/drawing/2010/main" val="0"/>
              </a:ext>
            </a:extLst>
          </a:blip>
          <a:srcRect l="31220" t="21060"/>
          <a:stretch/>
        </p:blipFill>
        <p:spPr>
          <a:xfrm>
            <a:off x="7201834" y="-36026"/>
            <a:ext cx="1153890" cy="1324356"/>
          </a:xfrm>
          <a:prstGeom prst="rect">
            <a:avLst/>
          </a:prstGeom>
        </p:spPr>
      </p:pic>
      <p:sp>
        <p:nvSpPr>
          <p:cNvPr id="12" name="Text Placeholder 23"/>
          <p:cNvSpPr>
            <a:spLocks noGrp="1"/>
          </p:cNvSpPr>
          <p:nvPr userDrawn="1">
            <p:ph type="body" sz="quarter" idx="13" hasCustomPrompt="1"/>
          </p:nvPr>
        </p:nvSpPr>
        <p:spPr>
          <a:xfrm>
            <a:off x="427462" y="853210"/>
            <a:ext cx="3104978" cy="697353"/>
          </a:xfrm>
        </p:spPr>
        <p:txBody>
          <a:bodyPr anchor="ctr">
            <a:noAutofit/>
          </a:bodyPr>
          <a:lstStyle>
            <a:lvl1pPr marL="0" indent="0" algn="l">
              <a:buNone/>
              <a:defRPr sz="5400" baseline="0">
                <a:solidFill>
                  <a:srgbClr val="245473"/>
                </a:solidFill>
                <a:latin typeface="+mn-lt"/>
              </a:defRPr>
            </a:lvl1pPr>
          </a:lstStyle>
          <a:p>
            <a:pPr lvl="0"/>
            <a:r>
              <a:rPr lang="en-GB" dirty="0"/>
              <a:t>Thank You</a:t>
            </a:r>
          </a:p>
        </p:txBody>
      </p:sp>
      <p:sp>
        <p:nvSpPr>
          <p:cNvPr id="13" name="Text Placeholder 25"/>
          <p:cNvSpPr>
            <a:spLocks noGrp="1"/>
          </p:cNvSpPr>
          <p:nvPr userDrawn="1">
            <p:ph type="body" sz="quarter" idx="14" hasCustomPrompt="1"/>
          </p:nvPr>
        </p:nvSpPr>
        <p:spPr>
          <a:xfrm>
            <a:off x="3863577" y="858821"/>
            <a:ext cx="3854522" cy="697353"/>
          </a:xfrm>
        </p:spPr>
        <p:txBody>
          <a:bodyPr anchor="ctr">
            <a:noAutofit/>
          </a:bodyPr>
          <a:lstStyle>
            <a:lvl1pPr marL="0" indent="0" algn="l">
              <a:buNone/>
              <a:defRPr sz="2800" i="1"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Any Questions?</a:t>
            </a:r>
          </a:p>
        </p:txBody>
      </p:sp>
      <p:sp>
        <p:nvSpPr>
          <p:cNvPr id="10" name="Oval 9"/>
          <p:cNvSpPr/>
          <p:nvPr userDrawn="1"/>
        </p:nvSpPr>
        <p:spPr>
          <a:xfrm>
            <a:off x="6999455" y="2022663"/>
            <a:ext cx="591486" cy="591486"/>
          </a:xfrm>
          <a:prstGeom prst="ellipse">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cxnSp>
        <p:nvCxnSpPr>
          <p:cNvPr id="19" name="Straight Connector 18"/>
          <p:cNvCxnSpPr/>
          <p:nvPr userDrawn="1"/>
        </p:nvCxnSpPr>
        <p:spPr>
          <a:xfrm>
            <a:off x="3706758" y="846751"/>
            <a:ext cx="0" cy="696487"/>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userDrawn="1">
            <p:ph type="body" sz="quarter" idx="15" hasCustomPrompt="1"/>
          </p:nvPr>
        </p:nvSpPr>
        <p:spPr>
          <a:xfrm>
            <a:off x="7718099" y="220640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0" name="Oval 29"/>
          <p:cNvSpPr/>
          <p:nvPr userDrawn="1"/>
        </p:nvSpPr>
        <p:spPr>
          <a:xfrm>
            <a:off x="6999455" y="2980323"/>
            <a:ext cx="591486" cy="591486"/>
          </a:xfrm>
          <a:prstGeom prst="ellipse">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1" name="Text Placeholder 2"/>
          <p:cNvSpPr>
            <a:spLocks noGrp="1"/>
          </p:cNvSpPr>
          <p:nvPr>
            <p:ph type="body" sz="quarter" idx="16" hasCustomPrompt="1"/>
          </p:nvPr>
        </p:nvSpPr>
        <p:spPr>
          <a:xfrm>
            <a:off x="7718099" y="316406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2" name="Oval 31"/>
          <p:cNvSpPr/>
          <p:nvPr userDrawn="1"/>
        </p:nvSpPr>
        <p:spPr>
          <a:xfrm>
            <a:off x="6999455" y="3940765"/>
            <a:ext cx="591486" cy="591486"/>
          </a:xfrm>
          <a:prstGeom prst="ellipse">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3" name="Text Placeholder 2"/>
          <p:cNvSpPr>
            <a:spLocks noGrp="1"/>
          </p:cNvSpPr>
          <p:nvPr>
            <p:ph type="body" sz="quarter" idx="17" hasCustomPrompt="1"/>
          </p:nvPr>
        </p:nvSpPr>
        <p:spPr>
          <a:xfrm>
            <a:off x="7718099" y="4124508"/>
            <a:ext cx="2812464" cy="323455"/>
          </a:xfrm>
        </p:spPr>
        <p:txBody>
          <a:bodyPr anchor="t">
            <a:normAutofit/>
          </a:bodyPr>
          <a:lstStyle>
            <a:lvl1pPr marL="0" indent="0">
              <a:buNone/>
              <a:defRPr sz="1600">
                <a:solidFill>
                  <a:schemeClr val="bg1"/>
                </a:solidFill>
              </a:defRPr>
            </a:lvl1pPr>
          </a:lstStyle>
          <a:p>
            <a:pPr lvl="0"/>
            <a:r>
              <a:rPr lang="en-GB" dirty="0"/>
              <a:t>Text 1</a:t>
            </a:r>
          </a:p>
        </p:txBody>
      </p:sp>
    </p:spTree>
    <p:extLst>
      <p:ext uri="{BB962C8B-B14F-4D97-AF65-F5344CB8AC3E}">
        <p14:creationId xmlns:p14="http://schemas.microsoft.com/office/powerpoint/2010/main" val="64295131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hank you slide">
    <p:spTree>
      <p:nvGrpSpPr>
        <p:cNvPr id="1" name=""/>
        <p:cNvGrpSpPr/>
        <p:nvPr/>
      </p:nvGrpSpPr>
      <p:grpSpPr>
        <a:xfrm>
          <a:off x="0" y="0"/>
          <a:ext cx="0" cy="0"/>
          <a:chOff x="0" y="0"/>
          <a:chExt cx="0" cy="0"/>
        </a:xfrm>
      </p:grpSpPr>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F2CE88D-FD8E-6A43-95C5-FEEDDAD4CFC0}"/>
              </a:ext>
            </a:extLst>
          </p:cNvPr>
          <p:cNvSpPr>
            <a:spLocks noGrp="1"/>
          </p:cNvSpPr>
          <p:nvPr>
            <p:ph type="title"/>
          </p:nvPr>
        </p:nvSpPr>
        <p:spPr>
          <a:xfrm>
            <a:off x="839788" y="365125"/>
            <a:ext cx="10515600" cy="1325563"/>
          </a:xfrm>
        </p:spPr>
        <p:txBody>
          <a:body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EC270107-D714-984A-B78D-6D5D8E92608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xmlns="" id="{1BA035E1-930E-4242-8453-44C7EF1C7713}"/>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5" name="Text Placeholder 4">
            <a:extLst>
              <a:ext uri="{FF2B5EF4-FFF2-40B4-BE49-F238E27FC236}">
                <a16:creationId xmlns:a16="http://schemas.microsoft.com/office/drawing/2014/main" xmlns="" id="{819B6A00-DCF0-F548-AED6-00858E37152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xmlns="" id="{BA6B56B6-C64B-C841-8A86-0EA87AB6B4C0}"/>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7" name="Date Placeholder 6">
            <a:extLst>
              <a:ext uri="{FF2B5EF4-FFF2-40B4-BE49-F238E27FC236}">
                <a16:creationId xmlns:a16="http://schemas.microsoft.com/office/drawing/2014/main" xmlns="" id="{D4B7F4EA-A8AA-9641-A0AC-C8108331480B}"/>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8" name="Footer Placeholder 7">
            <a:extLst>
              <a:ext uri="{FF2B5EF4-FFF2-40B4-BE49-F238E27FC236}">
                <a16:creationId xmlns:a16="http://schemas.microsoft.com/office/drawing/2014/main" xmlns="" id="{489B1396-BEB8-5F44-B4B7-95B03C91CA25}"/>
              </a:ext>
            </a:extLst>
          </p:cNvPr>
          <p:cNvSpPr>
            <a:spLocks noGrp="1"/>
          </p:cNvSpPr>
          <p:nvPr>
            <p:ph type="ftr" sz="quarter" idx="11"/>
          </p:nvPr>
        </p:nvSpPr>
        <p:spPr/>
        <p:txBody>
          <a:bodyPr/>
          <a:lstStyle/>
          <a:p>
            <a:endParaRPr lang="x-none"/>
          </a:p>
        </p:txBody>
      </p:sp>
      <p:sp>
        <p:nvSpPr>
          <p:cNvPr id="9" name="Slide Number Placeholder 8">
            <a:extLst>
              <a:ext uri="{FF2B5EF4-FFF2-40B4-BE49-F238E27FC236}">
                <a16:creationId xmlns:a16="http://schemas.microsoft.com/office/drawing/2014/main" xmlns="" id="{95E22D31-4E0D-4544-BFB1-B9457C13E1D1}"/>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7015767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A3FE544-4C80-7B44-96E9-4ADB9BE10C3B}"/>
              </a:ext>
            </a:extLst>
          </p:cNvPr>
          <p:cNvSpPr>
            <a:spLocks noGrp="1"/>
          </p:cNvSpPr>
          <p:nvPr>
            <p:ph type="title"/>
          </p:nvPr>
        </p:nvSpPr>
        <p:spPr/>
        <p:txBody>
          <a:bodyPr/>
          <a:lstStyle/>
          <a:p>
            <a:r>
              <a:rPr lang="en-GB"/>
              <a:t>Click to edit Master title style</a:t>
            </a:r>
            <a:endParaRPr lang="x-none"/>
          </a:p>
        </p:txBody>
      </p:sp>
      <p:sp>
        <p:nvSpPr>
          <p:cNvPr id="3" name="Date Placeholder 2">
            <a:extLst>
              <a:ext uri="{FF2B5EF4-FFF2-40B4-BE49-F238E27FC236}">
                <a16:creationId xmlns:a16="http://schemas.microsoft.com/office/drawing/2014/main" xmlns="" id="{9B7D2C4E-7D50-B34A-9033-7A898ABB4763}"/>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4" name="Footer Placeholder 3">
            <a:extLst>
              <a:ext uri="{FF2B5EF4-FFF2-40B4-BE49-F238E27FC236}">
                <a16:creationId xmlns:a16="http://schemas.microsoft.com/office/drawing/2014/main" xmlns="" id="{BC377F53-16B2-CE48-A39D-79B117A7BB72}"/>
              </a:ext>
            </a:extLst>
          </p:cNvPr>
          <p:cNvSpPr>
            <a:spLocks noGrp="1"/>
          </p:cNvSpPr>
          <p:nvPr>
            <p:ph type="ftr" sz="quarter" idx="11"/>
          </p:nvPr>
        </p:nvSpPr>
        <p:spPr/>
        <p:txBody>
          <a:bodyPr/>
          <a:lstStyle/>
          <a:p>
            <a:endParaRPr lang="x-none"/>
          </a:p>
        </p:txBody>
      </p:sp>
      <p:sp>
        <p:nvSpPr>
          <p:cNvPr id="5" name="Slide Number Placeholder 4">
            <a:extLst>
              <a:ext uri="{FF2B5EF4-FFF2-40B4-BE49-F238E27FC236}">
                <a16:creationId xmlns:a16="http://schemas.microsoft.com/office/drawing/2014/main" xmlns="" id="{6165EC0B-266D-C84C-9EFA-E1E36EE0A06B}"/>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2412959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EEDF764B-30BD-084A-89C4-3B43AFA7F530}"/>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3" name="Footer Placeholder 2">
            <a:extLst>
              <a:ext uri="{FF2B5EF4-FFF2-40B4-BE49-F238E27FC236}">
                <a16:creationId xmlns:a16="http://schemas.microsoft.com/office/drawing/2014/main" xmlns="" id="{D5DA6DF6-0191-7842-A418-E47CF59A33B9}"/>
              </a:ext>
            </a:extLst>
          </p:cNvPr>
          <p:cNvSpPr>
            <a:spLocks noGrp="1"/>
          </p:cNvSpPr>
          <p:nvPr>
            <p:ph type="ftr" sz="quarter" idx="11"/>
          </p:nvPr>
        </p:nvSpPr>
        <p:spPr/>
        <p:txBody>
          <a:bodyPr/>
          <a:lstStyle/>
          <a:p>
            <a:endParaRPr lang="x-none"/>
          </a:p>
        </p:txBody>
      </p:sp>
      <p:sp>
        <p:nvSpPr>
          <p:cNvPr id="4" name="Slide Number Placeholder 3">
            <a:extLst>
              <a:ext uri="{FF2B5EF4-FFF2-40B4-BE49-F238E27FC236}">
                <a16:creationId xmlns:a16="http://schemas.microsoft.com/office/drawing/2014/main" xmlns="" id="{3B0CF6D1-242D-D24F-88DD-B2CB24605E0E}"/>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4988269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47D433-00C0-794C-829D-4BF1BCEB4E72}"/>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8A553621-5B3A-334E-9717-BAED571A3C4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Text Placeholder 3">
            <a:extLst>
              <a:ext uri="{FF2B5EF4-FFF2-40B4-BE49-F238E27FC236}">
                <a16:creationId xmlns:a16="http://schemas.microsoft.com/office/drawing/2014/main" xmlns="" id="{D1C969BB-7551-0E4D-8A9B-70A9D8D8D00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xmlns="" id="{6A6CD111-CA57-7F4C-AB0B-2297A99C5422}"/>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6" name="Footer Placeholder 5">
            <a:extLst>
              <a:ext uri="{FF2B5EF4-FFF2-40B4-BE49-F238E27FC236}">
                <a16:creationId xmlns:a16="http://schemas.microsoft.com/office/drawing/2014/main" xmlns="" id="{BAC3393A-EAA3-E44E-9344-0E66A475ED0D}"/>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B389B510-D5C0-C843-9BD0-3580990891B0}"/>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42506752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7BBD99B-AFF8-A147-AD02-7F9DC677F042}"/>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x-none"/>
          </a:p>
        </p:txBody>
      </p:sp>
      <p:sp>
        <p:nvSpPr>
          <p:cNvPr id="3" name="Picture Placeholder 2">
            <a:extLst>
              <a:ext uri="{FF2B5EF4-FFF2-40B4-BE49-F238E27FC236}">
                <a16:creationId xmlns:a16="http://schemas.microsoft.com/office/drawing/2014/main" xmlns="" id="{0E7204DC-031B-C745-B04F-3A21C014F62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x-none"/>
          </a:p>
        </p:txBody>
      </p:sp>
      <p:sp>
        <p:nvSpPr>
          <p:cNvPr id="4" name="Text Placeholder 3">
            <a:extLst>
              <a:ext uri="{FF2B5EF4-FFF2-40B4-BE49-F238E27FC236}">
                <a16:creationId xmlns:a16="http://schemas.microsoft.com/office/drawing/2014/main" xmlns="" id="{A037012B-CA4D-1445-8A99-71C4D5D4E62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xmlns="" id="{41AF228C-2122-DA47-9A74-6C165B879241}"/>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6" name="Footer Placeholder 5">
            <a:extLst>
              <a:ext uri="{FF2B5EF4-FFF2-40B4-BE49-F238E27FC236}">
                <a16:creationId xmlns:a16="http://schemas.microsoft.com/office/drawing/2014/main" xmlns="" id="{8CE4A2CC-5263-6344-9807-0D85DC2A57B3}"/>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0FF4292E-7269-CD47-A7A3-FC88A776F949}"/>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42810519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image" Target="../media/image6.emf"/><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vmlDrawing" Target="../drawings/vmlDrawing1.v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oleObject" Target="../embeddings/oleObject1.bin"/><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theme" Target="../theme/theme2.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tags" Target="../tags/tag2.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86BFC35E-78B8-9C46-80E3-F47CA7B2B77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Haga clic para editar el estilo del título principal </a:t>
            </a:r>
            <a:endParaRPr lang="x-none"/>
          </a:p>
        </p:txBody>
      </p:sp>
      <p:sp>
        <p:nvSpPr>
          <p:cNvPr id="3" name="Text Placeholder 2">
            <a:extLst>
              <a:ext uri="{FF2B5EF4-FFF2-40B4-BE49-F238E27FC236}">
                <a16:creationId xmlns:a16="http://schemas.microsoft.com/office/drawing/2014/main" xmlns="" id="{8684BE66-7EA5-9048-997D-AC374C945A0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Haga clic para editar los estilos de texto maestro</a:t>
            </a:r>
          </a:p>
          <a:p>
            <a:pPr lvl="1"/>
            <a:r>
              <a:rPr lang="en-GB"/>
              <a:t>Segundo nivel</a:t>
            </a:r>
          </a:p>
          <a:p>
            <a:pPr lvl="2"/>
            <a:r>
              <a:rPr lang="en-GB"/>
              <a:t>Tercer nivel</a:t>
            </a:r>
          </a:p>
          <a:p>
            <a:pPr lvl="3"/>
            <a:r>
              <a:rPr lang="en-GB"/>
              <a:t>Cuarto nivel</a:t>
            </a:r>
          </a:p>
          <a:p>
            <a:pPr lvl="4"/>
            <a:r>
              <a:rPr lang="en-GB"/>
              <a:t>Quinto nivel </a:t>
            </a:r>
            <a:endParaRPr lang="x-none"/>
          </a:p>
        </p:txBody>
      </p:sp>
      <p:sp>
        <p:nvSpPr>
          <p:cNvPr id="4" name="Date Placeholder 3">
            <a:extLst>
              <a:ext uri="{FF2B5EF4-FFF2-40B4-BE49-F238E27FC236}">
                <a16:creationId xmlns:a16="http://schemas.microsoft.com/office/drawing/2014/main" xmlns="" id="{A9E5B078-C760-144B-90CC-21CAE57DD1C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C535C08C-A10F-2E43-BC19-CD16158AD1D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x-none"/>
          </a:p>
        </p:txBody>
      </p:sp>
      <p:sp>
        <p:nvSpPr>
          <p:cNvPr id="6" name="Slide Number Placeholder 5">
            <a:extLst>
              <a:ext uri="{FF2B5EF4-FFF2-40B4-BE49-F238E27FC236}">
                <a16:creationId xmlns:a16="http://schemas.microsoft.com/office/drawing/2014/main" xmlns="" id="{1D527526-E52E-774F-AB2C-ED0128825D5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405E084-90C3-BD4F-804B-4590A0A4DA41}" type="slidenum">
              <a:rPr lang="x-none" smtClean="0"/>
              <a:t>‹#›</a:t>
            </a:fld>
            <a:endParaRPr lang="x-none"/>
          </a:p>
        </p:txBody>
      </p:sp>
    </p:spTree>
    <p:extLst>
      <p:ext uri="{BB962C8B-B14F-4D97-AF65-F5344CB8AC3E}">
        <p14:creationId xmlns:p14="http://schemas.microsoft.com/office/powerpoint/2010/main" val="252781478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xmlns="" id="{D1C3AD27-03AF-4F32-9FA6-4F6362CEADD8}"/>
              </a:ext>
            </a:extLst>
          </p:cNvPr>
          <p:cNvGraphicFramePr>
            <a:graphicFrameLocks noChangeAspect="1"/>
          </p:cNvGraphicFramePr>
          <p:nvPr userDrawn="1">
            <p:custDataLst>
              <p:tags r:id="rId30"/>
            </p:custDataLst>
            <p:extLst>
              <p:ext uri="{D42A27DB-BD31-4B8C-83A1-F6EECF244321}">
                <p14:modId xmlns:p14="http://schemas.microsoft.com/office/powerpoint/2010/main" val="2922986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Folie" r:id="rId32" imgW="592" imgH="595" progId="TCLayout.ActiveDocument.1">
                  <p:embed/>
                </p:oleObj>
              </mc:Choice>
              <mc:Fallback>
                <p:oleObj name="think-cell Folie" r:id="rId32" imgW="592" imgH="595" progId="TCLayout.ActiveDocument.1">
                  <p:embed/>
                  <p:pic>
                    <p:nvPicPr>
                      <p:cNvPr id="8" name="Objekt 7" hidden="1">
                        <a:extLst>
                          <a:ext uri="{FF2B5EF4-FFF2-40B4-BE49-F238E27FC236}">
                            <a16:creationId xmlns:a16="http://schemas.microsoft.com/office/drawing/2014/main" xmlns="" id="{D1C3AD27-03AF-4F32-9FA6-4F6362CEADD8}"/>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xmlns="" id="{7F3C3D9B-4C94-4F53-AFA7-4E8D66EBA981}"/>
              </a:ext>
            </a:extLst>
          </p:cNvPr>
          <p:cNvSpPr/>
          <p:nvPr userDrawn="1">
            <p:custDataLst>
              <p:tags r:id="rId3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Haga clic para editar el estilo del título principa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Haga clic para editar los estilos de texto maestro</a:t>
            </a:r>
          </a:p>
          <a:p>
            <a:pPr lvl="1"/>
            <a:r>
              <a:rPr lang="en-US" dirty="0"/>
              <a:t>Segundo nivel</a:t>
            </a:r>
          </a:p>
          <a:p>
            <a:pPr lvl="2"/>
            <a:r>
              <a:rPr lang="en-US" dirty="0"/>
              <a:t>Tercer nivel</a:t>
            </a:r>
          </a:p>
          <a:p>
            <a:pPr lvl="3"/>
            <a:r>
              <a:rPr lang="en-US" dirty="0"/>
              <a:t>Cuarto nivel</a:t>
            </a:r>
          </a:p>
          <a:p>
            <a:pPr lvl="4"/>
            <a:r>
              <a:rPr lang="en-US" dirty="0"/>
              <a:t>Quinto ni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B587680-F485-A944-B74B-98B26E054E49}" type="datetimeFigureOut">
              <a:rPr lang="en-US" smtClean="0"/>
              <a:t>4/21/2022</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E004C27-DD68-9D4F-8D80-21602C2A289B}" type="slidenum">
              <a:rPr lang="en-US" smtClean="0"/>
              <a:t>‹#›</a:t>
            </a:fld>
            <a:endParaRPr lang="en-US" dirty="0"/>
          </a:p>
        </p:txBody>
      </p:sp>
    </p:spTree>
    <p:extLst>
      <p:ext uri="{BB962C8B-B14F-4D97-AF65-F5344CB8AC3E}">
        <p14:creationId xmlns:p14="http://schemas.microsoft.com/office/powerpoint/2010/main" val="1233805520"/>
      </p:ext>
    </p:extLst>
  </p:cSld>
  <p:clrMap bg1="lt1" tx1="dk1" bg2="lt2" tx2="dk2" accent1="accent1" accent2="accent2" accent3="accent3" accent4="accent4" accent5="accent5" accent6="accent6" hlink="hlink" folHlink="folHlink"/>
  <p:sldLayoutIdLst>
    <p:sldLayoutId id="2147483722" r:id="rId1"/>
    <p:sldLayoutId id="2147483760" r:id="rId2"/>
    <p:sldLayoutId id="2147483714" r:id="rId3"/>
    <p:sldLayoutId id="2147483762" r:id="rId4"/>
    <p:sldLayoutId id="2147483767" r:id="rId5"/>
    <p:sldLayoutId id="2147483742" r:id="rId6"/>
    <p:sldLayoutId id="2147483769" r:id="rId7"/>
    <p:sldLayoutId id="2147483770" r:id="rId8"/>
    <p:sldLayoutId id="2147483743" r:id="rId9"/>
    <p:sldLayoutId id="2147483710" r:id="rId10"/>
    <p:sldLayoutId id="2147483745" r:id="rId11"/>
    <p:sldLayoutId id="2147483707" r:id="rId12"/>
    <p:sldLayoutId id="2147483744" r:id="rId13"/>
    <p:sldLayoutId id="2147483763" r:id="rId14"/>
    <p:sldLayoutId id="2147483768" r:id="rId15"/>
    <p:sldLayoutId id="2147483765" r:id="rId16"/>
    <p:sldLayoutId id="2147483766" r:id="rId17"/>
    <p:sldLayoutId id="2147483746" r:id="rId18"/>
    <p:sldLayoutId id="2147483734" r:id="rId19"/>
    <p:sldLayoutId id="2147483747" r:id="rId20"/>
    <p:sldLayoutId id="2147483748" r:id="rId21"/>
    <p:sldLayoutId id="2147483749" r:id="rId22"/>
    <p:sldLayoutId id="2147483750" r:id="rId23"/>
    <p:sldLayoutId id="2147483751" r:id="rId24"/>
    <p:sldLayoutId id="2147483752" r:id="rId25"/>
    <p:sldLayoutId id="2147483687" r:id="rId26"/>
    <p:sldLayoutId id="2147483764" r:id="rId27"/>
  </p:sldLayoutIdLst>
  <p:txStyles>
    <p:titleStyle>
      <a:lvl1pPr algn="l" defTabSz="914400" rtl="0" eaLnBrk="1" latinLnBrk="0" hangingPunct="1">
        <a:lnSpc>
          <a:spcPct val="90000"/>
        </a:lnSpc>
        <a:spcBef>
          <a:spcPct val="0"/>
        </a:spcBef>
        <a:buNone/>
        <a:defRPr sz="48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6.emf"/><Relationship Id="rId5" Type="http://schemas.openxmlformats.org/officeDocument/2006/relationships/oleObject" Target="../embeddings/oleObject8.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6.emf"/><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1.xml"/><Relationship Id="rId4"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6.emf"/><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2.xml"/><Relationship Id="rId4"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6.emf"/><Relationship Id="rId2" Type="http://schemas.openxmlformats.org/officeDocument/2006/relationships/tags" Target="../tags/tag14.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3.xml"/><Relationship Id="rId4"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6.emf"/><Relationship Id="rId2" Type="http://schemas.openxmlformats.org/officeDocument/2006/relationships/tags" Target="../tags/tag16.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14.xml"/><Relationship Id="rId4"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6.emf"/><Relationship Id="rId2" Type="http://schemas.openxmlformats.org/officeDocument/2006/relationships/tags" Target="../tags/tag18.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5.xml"/><Relationship Id="rId4"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6.emf"/><Relationship Id="rId2" Type="http://schemas.openxmlformats.org/officeDocument/2006/relationships/tags" Target="../tags/tag20.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16.xml"/><Relationship Id="rId4"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6.emf"/><Relationship Id="rId2" Type="http://schemas.openxmlformats.org/officeDocument/2006/relationships/tags" Target="../tags/tag22.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8.xml"/><Relationship Id="rId4"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6.emf"/><Relationship Id="rId2" Type="http://schemas.openxmlformats.org/officeDocument/2006/relationships/tags" Target="../tags/tag24.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19.xml"/><Relationship Id="rId4"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6.emf"/><Relationship Id="rId2" Type="http://schemas.openxmlformats.org/officeDocument/2006/relationships/tags" Target="../tags/tag26.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20.xml"/><Relationship Id="rId4"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6.emf"/><Relationship Id="rId2" Type="http://schemas.openxmlformats.org/officeDocument/2006/relationships/tags" Target="../tags/tag28.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21.xml"/><Relationship Id="rId4" Type="http://schemas.openxmlformats.org/officeDocument/2006/relationships/slideLayout" Target="../slideLayouts/slideLayout21.xml"/></Relationships>
</file>

<file path=ppt/slides/_rels/slide22.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6.emf"/><Relationship Id="rId2" Type="http://schemas.openxmlformats.org/officeDocument/2006/relationships/tags" Target="../tags/tag30.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22.xml"/><Relationship Id="rId4"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6.emf"/><Relationship Id="rId2" Type="http://schemas.openxmlformats.org/officeDocument/2006/relationships/tags" Target="../tags/tag32.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23.xml"/><Relationship Id="rId4" Type="http://schemas.openxmlformats.org/officeDocument/2006/relationships/slideLayout" Target="../slideLayouts/slideLayout21.xml"/></Relationships>
</file>

<file path=ppt/slides/_rels/slide24.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6.emf"/><Relationship Id="rId2" Type="http://schemas.openxmlformats.org/officeDocument/2006/relationships/tags" Target="../tags/tag34.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24.xml"/><Relationship Id="rId4"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1.xml"/><Relationship Id="rId7" Type="http://schemas.openxmlformats.org/officeDocument/2006/relationships/image" Target="../media/image11.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6.emf"/><Relationship Id="rId5" Type="http://schemas.openxmlformats.org/officeDocument/2006/relationships/oleObject" Target="../embeddings/oleObject6.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6.emf"/><Relationship Id="rId5" Type="http://schemas.openxmlformats.org/officeDocument/2006/relationships/oleObject" Target="../embeddings/oleObject7.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5A5763AB-2313-1B44-A17A-FDC337682D63}"/>
              </a:ext>
            </a:extLst>
          </p:cNvPr>
          <p:cNvSpPr>
            <a:spLocks noGrp="1"/>
          </p:cNvSpPr>
          <p:nvPr>
            <p:ph type="body" sz="quarter" idx="15"/>
          </p:nvPr>
        </p:nvSpPr>
        <p:spPr>
          <a:xfrm>
            <a:off x="767012" y="4930199"/>
            <a:ext cx="10499702" cy="697353"/>
          </a:xfrm>
        </p:spPr>
        <p:txBody>
          <a:bodyPr/>
          <a:lstStyle/>
          <a:p>
            <a:r>
              <a:rPr lang="en-GB" sz="4400" dirty="0"/>
              <a:t>Resistencia a las crisis - Continuidad de las actividades </a:t>
            </a:r>
          </a:p>
          <a:p>
            <a:endParaRPr lang="en-GB" dirty="0"/>
          </a:p>
        </p:txBody>
      </p:sp>
      <p:sp>
        <p:nvSpPr>
          <p:cNvPr id="4" name="Text Placeholder 3">
            <a:extLst>
              <a:ext uri="{FF2B5EF4-FFF2-40B4-BE49-F238E27FC236}">
                <a16:creationId xmlns:a16="http://schemas.microsoft.com/office/drawing/2014/main" xmlns="" id="{16F6ABEB-6FAC-8242-884E-4381DCA7C090}"/>
              </a:ext>
            </a:extLst>
          </p:cNvPr>
          <p:cNvSpPr>
            <a:spLocks noGrp="1"/>
          </p:cNvSpPr>
          <p:nvPr>
            <p:ph type="body" sz="quarter" idx="16"/>
          </p:nvPr>
        </p:nvSpPr>
        <p:spPr>
          <a:xfrm>
            <a:off x="826409" y="4280907"/>
            <a:ext cx="7795077" cy="697353"/>
          </a:xfrm>
        </p:spPr>
        <p:txBody>
          <a:bodyPr>
            <a:normAutofit/>
          </a:bodyPr>
          <a:lstStyle/>
          <a:p>
            <a:r>
              <a:rPr lang="en-GB" dirty="0"/>
              <a:t>Módulo 8 </a:t>
            </a:r>
          </a:p>
        </p:txBody>
      </p:sp>
      <p:sp>
        <p:nvSpPr>
          <p:cNvPr id="5" name="TextBox 4">
            <a:extLst>
              <a:ext uri="{FF2B5EF4-FFF2-40B4-BE49-F238E27FC236}">
                <a16:creationId xmlns:a16="http://schemas.microsoft.com/office/drawing/2014/main" xmlns="" id="{CBA64CAA-3AF4-4118-BD42-AD596C3A9F08}"/>
              </a:ext>
            </a:extLst>
          </p:cNvPr>
          <p:cNvSpPr txBox="1"/>
          <p:nvPr/>
        </p:nvSpPr>
        <p:spPr>
          <a:xfrm>
            <a:off x="826409" y="5950608"/>
            <a:ext cx="10342334" cy="1077218"/>
          </a:xfrm>
          <a:prstGeom prst="rect">
            <a:avLst/>
          </a:prstGeom>
          <a:noFill/>
        </p:spPr>
        <p:txBody>
          <a:bodyPr wrap="square">
            <a:spAutoFit/>
          </a:bodyPr>
          <a:lstStyle/>
          <a:p>
            <a:r>
              <a:rPr lang="en-GB" sz="1600" dirty="0"/>
              <a:t>El </a:t>
            </a:r>
            <a:r>
              <a:rPr lang="en-GB" sz="1600" dirty="0" err="1"/>
              <a:t>apoyo</a:t>
            </a:r>
            <a:r>
              <a:rPr lang="en-GB" sz="1600" dirty="0"/>
              <a:t> de la </a:t>
            </a:r>
            <a:r>
              <a:rPr lang="en-GB" sz="1600" dirty="0" err="1"/>
              <a:t>Comisión</a:t>
            </a:r>
            <a:r>
              <a:rPr lang="en-GB" sz="1600" dirty="0"/>
              <a:t> </a:t>
            </a:r>
            <a:r>
              <a:rPr lang="en-GB" sz="1600" dirty="0" err="1"/>
              <a:t>Europea</a:t>
            </a:r>
            <a:r>
              <a:rPr lang="en-GB" sz="1600" dirty="0"/>
              <a:t> a la </a:t>
            </a:r>
            <a:r>
              <a:rPr lang="en-GB" sz="1600" dirty="0" err="1"/>
              <a:t>producción</a:t>
            </a:r>
            <a:r>
              <a:rPr lang="en-GB" sz="1600" dirty="0"/>
              <a:t> de </a:t>
            </a:r>
            <a:r>
              <a:rPr lang="en-GB" sz="1600" dirty="0" err="1"/>
              <a:t>esta</a:t>
            </a:r>
            <a:r>
              <a:rPr lang="en-GB" sz="1600" dirty="0"/>
              <a:t> </a:t>
            </a:r>
            <a:r>
              <a:rPr lang="en-GB" sz="1600" dirty="0" err="1"/>
              <a:t>publicación</a:t>
            </a:r>
            <a:r>
              <a:rPr lang="en-GB" sz="1600" dirty="0"/>
              <a:t> no </a:t>
            </a:r>
            <a:r>
              <a:rPr lang="en-GB" sz="1600" dirty="0" err="1"/>
              <a:t>constituye</a:t>
            </a:r>
            <a:r>
              <a:rPr lang="en-GB" sz="1600" dirty="0"/>
              <a:t> </a:t>
            </a:r>
            <a:r>
              <a:rPr lang="en-GB" sz="1600" dirty="0" err="1"/>
              <a:t>su</a:t>
            </a:r>
            <a:r>
              <a:rPr lang="en-GB" sz="1600" dirty="0"/>
              <a:t> </a:t>
            </a:r>
            <a:r>
              <a:rPr lang="en-GB" sz="1600" dirty="0" err="1"/>
              <a:t>conformidad</a:t>
            </a:r>
            <a:r>
              <a:rPr lang="en-GB" sz="1600" dirty="0"/>
              <a:t> con el </a:t>
            </a:r>
            <a:r>
              <a:rPr lang="en-GB" sz="1600" dirty="0" err="1"/>
              <a:t>contenido</a:t>
            </a:r>
            <a:r>
              <a:rPr lang="en-GB" sz="1600" dirty="0"/>
              <a:t> que </a:t>
            </a:r>
            <a:r>
              <a:rPr lang="en-GB" sz="1600" dirty="0" err="1"/>
              <a:t>refleja</a:t>
            </a:r>
            <a:r>
              <a:rPr lang="en-GB" sz="1600" dirty="0"/>
              <a:t> </a:t>
            </a:r>
            <a:r>
              <a:rPr lang="en-GB" sz="1600" dirty="0" err="1"/>
              <a:t>únicamente</a:t>
            </a:r>
            <a:r>
              <a:rPr lang="en-GB" sz="1600" dirty="0"/>
              <a:t> las </a:t>
            </a:r>
            <a:r>
              <a:rPr lang="en-GB" sz="1600" dirty="0" err="1"/>
              <a:t>opiniones</a:t>
            </a:r>
            <a:r>
              <a:rPr lang="en-GB" sz="1600" dirty="0"/>
              <a:t> de </a:t>
            </a:r>
            <a:r>
              <a:rPr lang="en-GB" sz="1600" dirty="0" err="1"/>
              <a:t>los</a:t>
            </a:r>
            <a:r>
              <a:rPr lang="en-GB" sz="1600" dirty="0"/>
              <a:t> </a:t>
            </a:r>
            <a:r>
              <a:rPr lang="en-GB" sz="1600" dirty="0" err="1"/>
              <a:t>autores</a:t>
            </a:r>
            <a:r>
              <a:rPr lang="en-GB" sz="1600" dirty="0"/>
              <a:t>, y la </a:t>
            </a:r>
            <a:r>
              <a:rPr lang="en-GB" sz="1600" dirty="0" err="1"/>
              <a:t>Comisión</a:t>
            </a:r>
            <a:r>
              <a:rPr lang="en-GB" sz="1600" dirty="0"/>
              <a:t> no se </a:t>
            </a:r>
            <a:r>
              <a:rPr lang="en-GB" sz="1600" dirty="0" err="1"/>
              <a:t>hace</a:t>
            </a:r>
            <a:r>
              <a:rPr lang="en-GB" sz="1600" dirty="0"/>
              <a:t> </a:t>
            </a:r>
            <a:r>
              <a:rPr lang="en-GB" sz="1600" dirty="0" err="1"/>
              <a:t>responsable</a:t>
            </a:r>
            <a:r>
              <a:rPr lang="en-GB" sz="1600" dirty="0"/>
              <a:t> del </a:t>
            </a:r>
            <a:r>
              <a:rPr lang="en-GB" sz="1600" dirty="0" err="1"/>
              <a:t>uso</a:t>
            </a:r>
            <a:r>
              <a:rPr lang="en-GB" sz="1600" dirty="0"/>
              <a:t> que </a:t>
            </a:r>
            <a:r>
              <a:rPr lang="en-GB" sz="1600" dirty="0" err="1"/>
              <a:t>pueda</a:t>
            </a:r>
            <a:r>
              <a:rPr lang="en-GB" sz="1600" dirty="0"/>
              <a:t> </a:t>
            </a:r>
            <a:r>
              <a:rPr lang="en-GB" sz="1600" dirty="0" err="1"/>
              <a:t>hacerse</a:t>
            </a:r>
            <a:r>
              <a:rPr lang="en-GB" sz="1600" dirty="0"/>
              <a:t> de la </a:t>
            </a:r>
            <a:r>
              <a:rPr lang="en-GB" sz="1600" dirty="0" err="1"/>
              <a:t>información</a:t>
            </a:r>
            <a:r>
              <a:rPr lang="en-GB" sz="1600" dirty="0"/>
              <a:t> </a:t>
            </a:r>
            <a:r>
              <a:rPr lang="en-GB" sz="1600" dirty="0" err="1"/>
              <a:t>contenida</a:t>
            </a:r>
            <a:r>
              <a:rPr lang="en-GB" sz="1600" dirty="0"/>
              <a:t> </a:t>
            </a:r>
            <a:r>
              <a:rPr lang="en-GB" sz="1600" dirty="0" err="1"/>
              <a:t>en</a:t>
            </a:r>
            <a:r>
              <a:rPr lang="en-GB" sz="1600" dirty="0"/>
              <a:t> </a:t>
            </a:r>
            <a:r>
              <a:rPr lang="en-GB" sz="1600" dirty="0" err="1"/>
              <a:t>ella</a:t>
            </a:r>
            <a:r>
              <a:rPr lang="en-GB" sz="1600" dirty="0"/>
              <a:t>.</a:t>
            </a:r>
          </a:p>
          <a:p>
            <a:endParaRPr lang="en-IE" sz="1600" dirty="0">
              <a:solidFill>
                <a:schemeClr val="bg1"/>
              </a:solidFill>
            </a:endParaRPr>
          </a:p>
        </p:txBody>
      </p:sp>
    </p:spTree>
    <p:extLst>
      <p:ext uri="{BB962C8B-B14F-4D97-AF65-F5344CB8AC3E}">
        <p14:creationId xmlns:p14="http://schemas.microsoft.com/office/powerpoint/2010/main" val="578721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D826129A-702D-4A96-87C5-ABC7105668F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8194"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a16="http://schemas.microsoft.com/office/drawing/2014/main" xmlns=""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77627" y="460801"/>
            <a:ext cx="8852375" cy="697353"/>
          </a:xfrm>
        </p:spPr>
        <p:txBody>
          <a:bodyPr>
            <a:normAutofit/>
          </a:bodyPr>
          <a:lstStyle/>
          <a:p>
            <a:r>
              <a:rPr lang="en-GB" dirty="0"/>
              <a:t>Aprender de lo que sale bien</a:t>
            </a:r>
          </a:p>
        </p:txBody>
      </p:sp>
      <p:sp>
        <p:nvSpPr>
          <p:cNvPr id="44" name="Isosceles Triangle 26">
            <a:extLst>
              <a:ext uri="{FF2B5EF4-FFF2-40B4-BE49-F238E27FC236}">
                <a16:creationId xmlns:a16="http://schemas.microsoft.com/office/drawing/2014/main" xmlns="" id="{C9790993-EB1E-4160-95CE-0ED96E4808C9}"/>
              </a:ext>
            </a:extLst>
          </p:cNvPr>
          <p:cNvSpPr/>
          <p:nvPr/>
        </p:nvSpPr>
        <p:spPr bwMode="auto">
          <a:xfrm flipV="1">
            <a:off x="6589804" y="4046798"/>
            <a:ext cx="1341217" cy="1504335"/>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4">
              <a:alpha val="8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endParaRPr lang="en-GB" sz="750" dirty="0">
              <a:solidFill>
                <a:schemeClr val="bg1">
                  <a:lumMod val="65000"/>
                </a:schemeClr>
              </a:solidFill>
              <a:latin typeface="Lato Light"/>
            </a:endParaRPr>
          </a:p>
        </p:txBody>
      </p:sp>
      <p:sp>
        <p:nvSpPr>
          <p:cNvPr id="45" name="Isosceles Triangle 26">
            <a:extLst>
              <a:ext uri="{FF2B5EF4-FFF2-40B4-BE49-F238E27FC236}">
                <a16:creationId xmlns:a16="http://schemas.microsoft.com/office/drawing/2014/main" xmlns="" id="{581C5FE3-A757-4922-943D-49D2C6EC8630}"/>
              </a:ext>
            </a:extLst>
          </p:cNvPr>
          <p:cNvSpPr/>
          <p:nvPr/>
        </p:nvSpPr>
        <p:spPr bwMode="auto">
          <a:xfrm>
            <a:off x="3524354" y="3833870"/>
            <a:ext cx="1341218" cy="229662"/>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6" name="Isosceles Triangle 26">
            <a:extLst>
              <a:ext uri="{FF2B5EF4-FFF2-40B4-BE49-F238E27FC236}">
                <a16:creationId xmlns:a16="http://schemas.microsoft.com/office/drawing/2014/main" xmlns="" id="{D11806CD-6B44-4EF6-A6B0-19CDF8165765}"/>
              </a:ext>
            </a:extLst>
          </p:cNvPr>
          <p:cNvSpPr/>
          <p:nvPr/>
        </p:nvSpPr>
        <p:spPr bwMode="auto">
          <a:xfrm flipV="1">
            <a:off x="4077589" y="4055164"/>
            <a:ext cx="1341217" cy="1605843"/>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2">
              <a:alpha val="8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7" name="Isosceles Triangle 26">
            <a:extLst>
              <a:ext uri="{FF2B5EF4-FFF2-40B4-BE49-F238E27FC236}">
                <a16:creationId xmlns:a16="http://schemas.microsoft.com/office/drawing/2014/main" xmlns="" id="{37E831E7-81A5-4DDC-BA44-58A20F3A6150}"/>
              </a:ext>
            </a:extLst>
          </p:cNvPr>
          <p:cNvSpPr/>
          <p:nvPr/>
        </p:nvSpPr>
        <p:spPr bwMode="auto">
          <a:xfrm>
            <a:off x="4649813" y="3462367"/>
            <a:ext cx="1341217" cy="601656"/>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3">
              <a:alpha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8" name="Isosceles Triangle 26">
            <a:extLst>
              <a:ext uri="{FF2B5EF4-FFF2-40B4-BE49-F238E27FC236}">
                <a16:creationId xmlns:a16="http://schemas.microsoft.com/office/drawing/2014/main" xmlns="" id="{834A4F1D-C186-45E6-AD42-EA921528F45B}"/>
              </a:ext>
            </a:extLst>
          </p:cNvPr>
          <p:cNvSpPr/>
          <p:nvPr/>
        </p:nvSpPr>
        <p:spPr bwMode="auto">
          <a:xfrm flipV="1">
            <a:off x="5320421" y="4064023"/>
            <a:ext cx="1341217" cy="1440209"/>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4">
              <a:alpha val="8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9" name="Isosceles Triangle 26">
            <a:extLst>
              <a:ext uri="{FF2B5EF4-FFF2-40B4-BE49-F238E27FC236}">
                <a16:creationId xmlns:a16="http://schemas.microsoft.com/office/drawing/2014/main" xmlns="" id="{2F028AF4-65E7-4929-A57B-A6353CAE1EBB}"/>
              </a:ext>
            </a:extLst>
          </p:cNvPr>
          <p:cNvSpPr/>
          <p:nvPr/>
        </p:nvSpPr>
        <p:spPr bwMode="auto">
          <a:xfrm flipV="1">
            <a:off x="5991030" y="4064024"/>
            <a:ext cx="1341217" cy="23707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5">
              <a:alpha val="8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68" name="Isosceles Triangle 26">
            <a:extLst>
              <a:ext uri="{FF2B5EF4-FFF2-40B4-BE49-F238E27FC236}">
                <a16:creationId xmlns:a16="http://schemas.microsoft.com/office/drawing/2014/main" xmlns="" id="{6C965A10-1353-4808-8429-0DAA2BE72A3E}"/>
              </a:ext>
            </a:extLst>
          </p:cNvPr>
          <p:cNvSpPr/>
          <p:nvPr/>
        </p:nvSpPr>
        <p:spPr bwMode="auto">
          <a:xfrm>
            <a:off x="7189133" y="3657599"/>
            <a:ext cx="1341218" cy="406425"/>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71" name="Isosceles Triangle 26">
            <a:extLst>
              <a:ext uri="{FF2B5EF4-FFF2-40B4-BE49-F238E27FC236}">
                <a16:creationId xmlns:a16="http://schemas.microsoft.com/office/drawing/2014/main" xmlns="" id="{246991EA-E3DE-4DE6-948B-2C8ACCBB51C4}"/>
              </a:ext>
            </a:extLst>
          </p:cNvPr>
          <p:cNvSpPr/>
          <p:nvPr/>
        </p:nvSpPr>
        <p:spPr bwMode="auto">
          <a:xfrm flipV="1">
            <a:off x="7762638" y="4063530"/>
            <a:ext cx="1341218" cy="205082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2">
              <a:alpha val="8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72" name="Isosceles Triangle 26">
            <a:extLst>
              <a:ext uri="{FF2B5EF4-FFF2-40B4-BE49-F238E27FC236}">
                <a16:creationId xmlns:a16="http://schemas.microsoft.com/office/drawing/2014/main" xmlns="" id="{9F27CB69-BBFD-494C-859F-7703A83817F5}"/>
              </a:ext>
            </a:extLst>
          </p:cNvPr>
          <p:cNvSpPr/>
          <p:nvPr/>
        </p:nvSpPr>
        <p:spPr bwMode="auto">
          <a:xfrm>
            <a:off x="8334863" y="3429001"/>
            <a:ext cx="1341218" cy="63502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3">
              <a:alpha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73" name="Isosceles Triangle 26">
            <a:extLst>
              <a:ext uri="{FF2B5EF4-FFF2-40B4-BE49-F238E27FC236}">
                <a16:creationId xmlns:a16="http://schemas.microsoft.com/office/drawing/2014/main" xmlns="" id="{63CC026D-8F51-47EF-8691-3329FD5EE4D4}"/>
              </a:ext>
            </a:extLst>
          </p:cNvPr>
          <p:cNvSpPr/>
          <p:nvPr/>
        </p:nvSpPr>
        <p:spPr bwMode="auto">
          <a:xfrm>
            <a:off x="9005471" y="3826950"/>
            <a:ext cx="1341218" cy="23707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4">
              <a:alpha val="8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74" name="Isosceles Triangle 26">
            <a:extLst>
              <a:ext uri="{FF2B5EF4-FFF2-40B4-BE49-F238E27FC236}">
                <a16:creationId xmlns:a16="http://schemas.microsoft.com/office/drawing/2014/main" xmlns="" id="{B1D13FA2-9545-47E2-B664-6E391972E510}"/>
              </a:ext>
            </a:extLst>
          </p:cNvPr>
          <p:cNvSpPr/>
          <p:nvPr/>
        </p:nvSpPr>
        <p:spPr bwMode="auto">
          <a:xfrm flipV="1">
            <a:off x="9676079" y="4064022"/>
            <a:ext cx="1341218" cy="209857"/>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5">
              <a:alpha val="8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83" name="Isosceles Triangle 26">
            <a:extLst>
              <a:ext uri="{FF2B5EF4-FFF2-40B4-BE49-F238E27FC236}">
                <a16:creationId xmlns:a16="http://schemas.microsoft.com/office/drawing/2014/main" xmlns="" id="{D0CF9356-5E75-481A-8BA9-6CAA19788753}"/>
              </a:ext>
            </a:extLst>
          </p:cNvPr>
          <p:cNvSpPr/>
          <p:nvPr/>
        </p:nvSpPr>
        <p:spPr bwMode="auto">
          <a:xfrm>
            <a:off x="10274852" y="3676910"/>
            <a:ext cx="1341218" cy="386620"/>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6">
              <a:alpha val="8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cxnSp>
        <p:nvCxnSpPr>
          <p:cNvPr id="4" name="Gerader Verbinder 3">
            <a:extLst>
              <a:ext uri="{FF2B5EF4-FFF2-40B4-BE49-F238E27FC236}">
                <a16:creationId xmlns:a16="http://schemas.microsoft.com/office/drawing/2014/main" xmlns="" id="{42B9690F-6500-4247-8297-A783C89891A1}"/>
              </a:ext>
            </a:extLst>
          </p:cNvPr>
          <p:cNvCxnSpPr>
            <a:cxnSpLocks/>
            <a:stCxn id="45" idx="0"/>
          </p:cNvCxnSpPr>
          <p:nvPr/>
        </p:nvCxnSpPr>
        <p:spPr>
          <a:xfrm flipV="1">
            <a:off x="3524354" y="4044220"/>
            <a:ext cx="8517082" cy="19312"/>
          </a:xfrm>
          <a:prstGeom prst="line">
            <a:avLst/>
          </a:prstGeom>
          <a:ln w="79375">
            <a:solidFill>
              <a:schemeClr val="tx1">
                <a:lumMod val="50000"/>
                <a:lumOff val="50000"/>
              </a:schemeClr>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8" name="Gerade Verbindung mit Pfeil 7">
            <a:extLst>
              <a:ext uri="{FF2B5EF4-FFF2-40B4-BE49-F238E27FC236}">
                <a16:creationId xmlns:a16="http://schemas.microsoft.com/office/drawing/2014/main" xmlns="" id="{1043B69F-1ACF-4A50-9375-ACBC4DB1022E}"/>
              </a:ext>
            </a:extLst>
          </p:cNvPr>
          <p:cNvCxnSpPr/>
          <p:nvPr/>
        </p:nvCxnSpPr>
        <p:spPr>
          <a:xfrm>
            <a:off x="3524354" y="1981836"/>
            <a:ext cx="0" cy="4164376"/>
          </a:xfrm>
          <a:prstGeom prst="straightConnector1">
            <a:avLst/>
          </a:prstGeom>
          <a:ln w="793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7" name="TextBox 63">
            <a:extLst>
              <a:ext uri="{FF2B5EF4-FFF2-40B4-BE49-F238E27FC236}">
                <a16:creationId xmlns:a16="http://schemas.microsoft.com/office/drawing/2014/main" xmlns="" id="{F68B30ED-1CFE-4218-B4F0-D6A7C104A822}"/>
              </a:ext>
            </a:extLst>
          </p:cNvPr>
          <p:cNvSpPr txBox="1"/>
          <p:nvPr/>
        </p:nvSpPr>
        <p:spPr>
          <a:xfrm rot="16200000">
            <a:off x="2482496" y="3903549"/>
            <a:ext cx="1695397" cy="369332"/>
          </a:xfrm>
          <a:prstGeom prst="rect">
            <a:avLst/>
          </a:prstGeom>
          <a:noFill/>
        </p:spPr>
        <p:txBody>
          <a:bodyPr wrap="square" rtlCol="0" anchor="b" anchorCtr="0">
            <a:noAutofit/>
          </a:bodyPr>
          <a:lstStyle/>
          <a:p>
            <a:pPr algn="ctr"/>
            <a:r>
              <a:rPr lang="en-GB" b="1" dirty="0">
                <a:solidFill>
                  <a:schemeClr val="tx2"/>
                </a:solidFill>
                <a:ea typeface="League Spartan" charset="0"/>
                <a:cs typeface="Poppins" pitchFamily="2" charset="77"/>
              </a:rPr>
              <a:t>Valor del resultado</a:t>
            </a:r>
          </a:p>
        </p:txBody>
      </p:sp>
      <p:sp>
        <p:nvSpPr>
          <p:cNvPr id="88" name="TextBox 63">
            <a:extLst>
              <a:ext uri="{FF2B5EF4-FFF2-40B4-BE49-F238E27FC236}">
                <a16:creationId xmlns:a16="http://schemas.microsoft.com/office/drawing/2014/main" xmlns="" id="{ADCE4B97-E2F5-40C8-8C4F-D8FE93EA712D}"/>
              </a:ext>
            </a:extLst>
          </p:cNvPr>
          <p:cNvSpPr txBox="1"/>
          <p:nvPr/>
        </p:nvSpPr>
        <p:spPr>
          <a:xfrm>
            <a:off x="10913250" y="4142375"/>
            <a:ext cx="1695397" cy="369332"/>
          </a:xfrm>
          <a:prstGeom prst="rect">
            <a:avLst/>
          </a:prstGeom>
          <a:noFill/>
        </p:spPr>
        <p:txBody>
          <a:bodyPr wrap="square" rtlCol="0" anchor="b" anchorCtr="0">
            <a:noAutofit/>
          </a:bodyPr>
          <a:lstStyle/>
          <a:p>
            <a:pPr algn="ctr"/>
            <a:r>
              <a:rPr lang="en-GB" b="1" dirty="0">
                <a:solidFill>
                  <a:schemeClr val="tx2"/>
                </a:solidFill>
                <a:ea typeface="League Spartan" charset="0"/>
                <a:cs typeface="Poppins" pitchFamily="2" charset="77"/>
              </a:rPr>
              <a:t>Tiempo</a:t>
            </a:r>
          </a:p>
        </p:txBody>
      </p:sp>
      <p:sp>
        <p:nvSpPr>
          <p:cNvPr id="89" name="TextBox 63">
            <a:extLst>
              <a:ext uri="{FF2B5EF4-FFF2-40B4-BE49-F238E27FC236}">
                <a16:creationId xmlns:a16="http://schemas.microsoft.com/office/drawing/2014/main" xmlns="" id="{937EF20E-989A-4A01-BF43-AD967F25466A}"/>
              </a:ext>
            </a:extLst>
          </p:cNvPr>
          <p:cNvSpPr txBox="1"/>
          <p:nvPr/>
        </p:nvSpPr>
        <p:spPr>
          <a:xfrm rot="16200000">
            <a:off x="2474439" y="2172837"/>
            <a:ext cx="1695397" cy="369332"/>
          </a:xfrm>
          <a:prstGeom prst="rect">
            <a:avLst/>
          </a:prstGeom>
          <a:noFill/>
        </p:spPr>
        <p:txBody>
          <a:bodyPr wrap="square" rtlCol="0" anchor="b" anchorCtr="0">
            <a:noAutofit/>
          </a:bodyPr>
          <a:lstStyle/>
          <a:p>
            <a:pPr algn="ctr"/>
            <a:r>
              <a:rPr lang="en-GB" dirty="0">
                <a:solidFill>
                  <a:schemeClr val="tx2"/>
                </a:solidFill>
                <a:ea typeface="League Spartan" charset="0"/>
                <a:cs typeface="Poppins" pitchFamily="2" charset="77"/>
              </a:rPr>
              <a:t>Positivo</a:t>
            </a:r>
          </a:p>
        </p:txBody>
      </p:sp>
      <p:sp>
        <p:nvSpPr>
          <p:cNvPr id="90" name="TextBox 63">
            <a:extLst>
              <a:ext uri="{FF2B5EF4-FFF2-40B4-BE49-F238E27FC236}">
                <a16:creationId xmlns:a16="http://schemas.microsoft.com/office/drawing/2014/main" xmlns="" id="{E02BEA56-CEE7-40ED-9122-DA774E14B0F2}"/>
              </a:ext>
            </a:extLst>
          </p:cNvPr>
          <p:cNvSpPr txBox="1"/>
          <p:nvPr/>
        </p:nvSpPr>
        <p:spPr>
          <a:xfrm rot="16200000">
            <a:off x="2474439" y="5580049"/>
            <a:ext cx="1695397" cy="369332"/>
          </a:xfrm>
          <a:prstGeom prst="rect">
            <a:avLst/>
          </a:prstGeom>
          <a:noFill/>
        </p:spPr>
        <p:txBody>
          <a:bodyPr wrap="square" rtlCol="0" anchor="b" anchorCtr="0">
            <a:noAutofit/>
          </a:bodyPr>
          <a:lstStyle/>
          <a:p>
            <a:pPr algn="ctr"/>
            <a:r>
              <a:rPr lang="en-GB" dirty="0">
                <a:solidFill>
                  <a:schemeClr val="tx2"/>
                </a:solidFill>
                <a:ea typeface="League Spartan" charset="0"/>
                <a:cs typeface="Poppins" pitchFamily="2" charset="77"/>
              </a:rPr>
              <a:t>Negativo</a:t>
            </a:r>
          </a:p>
        </p:txBody>
      </p:sp>
      <p:sp>
        <p:nvSpPr>
          <p:cNvPr id="91" name="TextBox 63">
            <a:extLst>
              <a:ext uri="{FF2B5EF4-FFF2-40B4-BE49-F238E27FC236}">
                <a16:creationId xmlns:a16="http://schemas.microsoft.com/office/drawing/2014/main" xmlns="" id="{DE0CEEB5-B8B1-4679-8D00-7451A8701724}"/>
              </a:ext>
            </a:extLst>
          </p:cNvPr>
          <p:cNvSpPr txBox="1"/>
          <p:nvPr/>
        </p:nvSpPr>
        <p:spPr>
          <a:xfrm>
            <a:off x="4519671" y="5915566"/>
            <a:ext cx="3411350" cy="369332"/>
          </a:xfrm>
          <a:prstGeom prst="rect">
            <a:avLst/>
          </a:prstGeom>
          <a:noFill/>
        </p:spPr>
        <p:txBody>
          <a:bodyPr wrap="square" rtlCol="0" anchor="t" anchorCtr="0">
            <a:noAutofit/>
          </a:bodyPr>
          <a:lstStyle/>
          <a:p>
            <a:pPr algn="ctr"/>
            <a:r>
              <a:rPr lang="en-GB" sz="2000" dirty="0">
                <a:solidFill>
                  <a:srgbClr val="E53292"/>
                </a:solidFill>
                <a:ea typeface="League Spartan" charset="0"/>
                <a:cs typeface="Poppins" pitchFamily="2" charset="77"/>
              </a:rPr>
              <a:t>Analizamos y sabemos lo que</a:t>
            </a:r>
            <a:br>
              <a:rPr lang="en-GB" sz="2000" dirty="0">
                <a:solidFill>
                  <a:srgbClr val="E53292"/>
                </a:solidFill>
                <a:ea typeface="League Spartan" charset="0"/>
                <a:cs typeface="Poppins" pitchFamily="2" charset="77"/>
              </a:rPr>
            </a:br>
            <a:r>
              <a:rPr lang="en-GB" sz="2000" dirty="0">
                <a:solidFill>
                  <a:srgbClr val="E53292"/>
                </a:solidFill>
                <a:ea typeface="League Spartan" charset="0"/>
                <a:cs typeface="Poppins" pitchFamily="2" charset="77"/>
              </a:rPr>
              <a:t>ocurrió aquí</a:t>
            </a:r>
          </a:p>
        </p:txBody>
      </p:sp>
      <p:sp>
        <p:nvSpPr>
          <p:cNvPr id="9" name="Ellipse 8">
            <a:extLst>
              <a:ext uri="{FF2B5EF4-FFF2-40B4-BE49-F238E27FC236}">
                <a16:creationId xmlns:a16="http://schemas.microsoft.com/office/drawing/2014/main" xmlns="" id="{FC652B44-B493-45D4-BA08-F17433B2ACBE}"/>
              </a:ext>
            </a:extLst>
          </p:cNvPr>
          <p:cNvSpPr/>
          <p:nvPr/>
        </p:nvSpPr>
        <p:spPr>
          <a:xfrm>
            <a:off x="3604280" y="3130571"/>
            <a:ext cx="7883528" cy="1878258"/>
          </a:xfrm>
          <a:prstGeom prst="ellipse">
            <a:avLst/>
          </a:prstGeom>
          <a:solidFill>
            <a:schemeClr val="bg1">
              <a:lumMod val="65000"/>
              <a:alpha val="70000"/>
            </a:schemeClr>
          </a:solidFill>
          <a:ln w="476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2" name="TextBox 63">
            <a:extLst>
              <a:ext uri="{FF2B5EF4-FFF2-40B4-BE49-F238E27FC236}">
                <a16:creationId xmlns:a16="http://schemas.microsoft.com/office/drawing/2014/main" xmlns="" id="{2CD6140B-1498-490B-A95F-4B2EB193FA7B}"/>
              </a:ext>
            </a:extLst>
          </p:cNvPr>
          <p:cNvSpPr txBox="1"/>
          <p:nvPr/>
        </p:nvSpPr>
        <p:spPr>
          <a:xfrm>
            <a:off x="5281030" y="2733518"/>
            <a:ext cx="4530027" cy="369332"/>
          </a:xfrm>
          <a:prstGeom prst="rect">
            <a:avLst/>
          </a:prstGeom>
          <a:noFill/>
        </p:spPr>
        <p:txBody>
          <a:bodyPr wrap="square" rtlCol="0" anchor="b" anchorCtr="0">
            <a:noAutofit/>
          </a:bodyPr>
          <a:lstStyle/>
          <a:p>
            <a:pPr algn="ctr"/>
            <a:r>
              <a:rPr lang="en-GB" b="1" dirty="0">
                <a:solidFill>
                  <a:srgbClr val="A6A6A6"/>
                </a:solidFill>
                <a:ea typeface="League Spartan" charset="0"/>
                <a:cs typeface="Poppins" pitchFamily="2" charset="77"/>
              </a:rPr>
              <a:t>En realidad no sabemos lo que pasa aquí</a:t>
            </a:r>
          </a:p>
        </p:txBody>
      </p:sp>
      <p:cxnSp>
        <p:nvCxnSpPr>
          <p:cNvPr id="5" name="Gerade Verbindung mit Pfeil 4">
            <a:extLst>
              <a:ext uri="{FF2B5EF4-FFF2-40B4-BE49-F238E27FC236}">
                <a16:creationId xmlns:a16="http://schemas.microsoft.com/office/drawing/2014/main" xmlns="" id="{01D14652-DFAC-4F1B-A7AD-A684833D510B}"/>
              </a:ext>
            </a:extLst>
          </p:cNvPr>
          <p:cNvCxnSpPr>
            <a:stCxn id="91" idx="0"/>
          </p:cNvCxnSpPr>
          <p:nvPr/>
        </p:nvCxnSpPr>
        <p:spPr>
          <a:xfrm flipH="1" flipV="1">
            <a:off x="4939862" y="5661007"/>
            <a:ext cx="1285484" cy="254559"/>
          </a:xfrm>
          <a:prstGeom prst="straightConnector1">
            <a:avLst/>
          </a:prstGeom>
          <a:ln>
            <a:solidFill>
              <a:srgbClr val="E94EA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Gerade Verbindung mit Pfeil 31">
            <a:extLst>
              <a:ext uri="{FF2B5EF4-FFF2-40B4-BE49-F238E27FC236}">
                <a16:creationId xmlns:a16="http://schemas.microsoft.com/office/drawing/2014/main" xmlns="" id="{A947EEF5-C4E4-484F-89F7-843FC47EA6B3}"/>
              </a:ext>
            </a:extLst>
          </p:cNvPr>
          <p:cNvCxnSpPr>
            <a:cxnSpLocks/>
            <a:stCxn id="91" idx="0"/>
          </p:cNvCxnSpPr>
          <p:nvPr/>
        </p:nvCxnSpPr>
        <p:spPr>
          <a:xfrm flipH="1" flipV="1">
            <a:off x="6096000" y="5609929"/>
            <a:ext cx="129346" cy="305637"/>
          </a:xfrm>
          <a:prstGeom prst="straightConnector1">
            <a:avLst/>
          </a:prstGeom>
          <a:ln>
            <a:solidFill>
              <a:srgbClr val="E94EA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Gerade Verbindung mit Pfeil 34">
            <a:extLst>
              <a:ext uri="{FF2B5EF4-FFF2-40B4-BE49-F238E27FC236}">
                <a16:creationId xmlns:a16="http://schemas.microsoft.com/office/drawing/2014/main" xmlns="" id="{348FC8CC-6E5A-4585-994A-F22B3405FEBB}"/>
              </a:ext>
            </a:extLst>
          </p:cNvPr>
          <p:cNvCxnSpPr>
            <a:cxnSpLocks/>
            <a:stCxn id="91" idx="0"/>
          </p:cNvCxnSpPr>
          <p:nvPr/>
        </p:nvCxnSpPr>
        <p:spPr>
          <a:xfrm flipV="1">
            <a:off x="6225346" y="5661007"/>
            <a:ext cx="893170" cy="254559"/>
          </a:xfrm>
          <a:prstGeom prst="straightConnector1">
            <a:avLst/>
          </a:prstGeom>
          <a:ln>
            <a:solidFill>
              <a:srgbClr val="E94EA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Gerade Verbindung mit Pfeil 37">
            <a:extLst>
              <a:ext uri="{FF2B5EF4-FFF2-40B4-BE49-F238E27FC236}">
                <a16:creationId xmlns:a16="http://schemas.microsoft.com/office/drawing/2014/main" xmlns="" id="{6A5CB9CC-3EBF-4589-A3FC-68692B926099}"/>
              </a:ext>
            </a:extLst>
          </p:cNvPr>
          <p:cNvCxnSpPr>
            <a:cxnSpLocks/>
            <a:stCxn id="91" idx="0"/>
          </p:cNvCxnSpPr>
          <p:nvPr/>
        </p:nvCxnSpPr>
        <p:spPr>
          <a:xfrm flipV="1">
            <a:off x="6225346" y="5762747"/>
            <a:ext cx="1857109" cy="152819"/>
          </a:xfrm>
          <a:prstGeom prst="straightConnector1">
            <a:avLst/>
          </a:prstGeom>
          <a:ln>
            <a:solidFill>
              <a:srgbClr val="E94EA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61742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11642" y="517803"/>
            <a:ext cx="8852375" cy="697353"/>
          </a:xfrm>
        </p:spPr>
        <p:txBody>
          <a:bodyPr>
            <a:normAutofit/>
          </a:bodyPr>
          <a:lstStyle/>
          <a:p>
            <a:r>
              <a:rPr lang="en-GB" dirty="0"/>
              <a:t>Aprender de lo que </a:t>
            </a:r>
            <a:r>
              <a:rPr lang="en-GB"/>
              <a:t>sale bien </a:t>
            </a: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304315" y="2195542"/>
            <a:ext cx="2473735" cy="1775148"/>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altLang="de-DE" sz="2200" dirty="0">
                <a:latin typeface="+mj-lt"/>
              </a:rPr>
              <a:t>La mayoría de las actividades en las empresas tienen más o menos los resultados que </a:t>
            </a:r>
            <a:br>
              <a:rPr lang="en-US" altLang="de-DE" sz="2200" dirty="0">
                <a:latin typeface="+mj-lt"/>
              </a:rPr>
            </a:br>
            <a:r>
              <a:rPr lang="en-US" altLang="de-DE" sz="2200" dirty="0">
                <a:latin typeface="+mj-lt"/>
              </a:rPr>
              <a:t>se esperan.</a:t>
            </a:r>
            <a:endParaRPr lang="en-GB" altLang="de-DE" sz="2200" dirty="0">
              <a:latin typeface="+mj-lt"/>
            </a:endParaRPr>
          </a:p>
        </p:txBody>
      </p:sp>
      <p:sp>
        <p:nvSpPr>
          <p:cNvPr id="22" name="Freihandform: Form 21">
            <a:extLst>
              <a:ext uri="{FF2B5EF4-FFF2-40B4-BE49-F238E27FC236}">
                <a16:creationId xmlns:a16="http://schemas.microsoft.com/office/drawing/2014/main" xmlns="" id="{1A00B92D-8AA4-46F6-8DF2-F2D17354FE42}"/>
              </a:ext>
            </a:extLst>
          </p:cNvPr>
          <p:cNvSpPr/>
          <p:nvPr/>
        </p:nvSpPr>
        <p:spPr>
          <a:xfrm>
            <a:off x="3163614" y="2564524"/>
            <a:ext cx="8240110" cy="2974428"/>
          </a:xfrm>
          <a:custGeom>
            <a:avLst/>
            <a:gdLst>
              <a:gd name="connsiteX0" fmla="*/ 0 w 8240110"/>
              <a:gd name="connsiteY0" fmla="*/ 3405351 h 3415862"/>
              <a:gd name="connsiteX1" fmla="*/ 2816772 w 8240110"/>
              <a:gd name="connsiteY1" fmla="*/ 2585544 h 3415862"/>
              <a:gd name="connsiteX2" fmla="*/ 3216165 w 8240110"/>
              <a:gd name="connsiteY2" fmla="*/ 515007 h 3415862"/>
              <a:gd name="connsiteX3" fmla="*/ 4130565 w 8240110"/>
              <a:gd name="connsiteY3" fmla="*/ 0 h 3415862"/>
              <a:gd name="connsiteX4" fmla="*/ 5002924 w 8240110"/>
              <a:gd name="connsiteY4" fmla="*/ 515007 h 3415862"/>
              <a:gd name="connsiteX5" fmla="*/ 5402317 w 8240110"/>
              <a:gd name="connsiteY5" fmla="*/ 2606565 h 3415862"/>
              <a:gd name="connsiteX6" fmla="*/ 8240110 w 8240110"/>
              <a:gd name="connsiteY6" fmla="*/ 3415862 h 341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40110" h="3415862">
                <a:moveTo>
                  <a:pt x="0" y="3405351"/>
                </a:moveTo>
                <a:cubicBezTo>
                  <a:pt x="1140372" y="3236309"/>
                  <a:pt x="2280745" y="3067268"/>
                  <a:pt x="2816772" y="2585544"/>
                </a:cubicBezTo>
                <a:cubicBezTo>
                  <a:pt x="3352799" y="2103820"/>
                  <a:pt x="2997200" y="945931"/>
                  <a:pt x="3216165" y="515007"/>
                </a:cubicBezTo>
                <a:cubicBezTo>
                  <a:pt x="3435130" y="84083"/>
                  <a:pt x="3832772" y="0"/>
                  <a:pt x="4130565" y="0"/>
                </a:cubicBezTo>
                <a:cubicBezTo>
                  <a:pt x="4428358" y="0"/>
                  <a:pt x="4790965" y="80579"/>
                  <a:pt x="5002924" y="515007"/>
                </a:cubicBezTo>
                <a:cubicBezTo>
                  <a:pt x="5214883" y="949434"/>
                  <a:pt x="4862786" y="2123089"/>
                  <a:pt x="5402317" y="2606565"/>
                </a:cubicBezTo>
                <a:cubicBezTo>
                  <a:pt x="5941848" y="3090041"/>
                  <a:pt x="7090979" y="3252951"/>
                  <a:pt x="8240110" y="3415862"/>
                </a:cubicBezTo>
              </a:path>
            </a:pathLst>
          </a:custGeom>
          <a:gradFill flip="none" rotWithShape="1">
            <a:gsLst>
              <a:gs pos="13000">
                <a:srgbClr val="C00000"/>
              </a:gs>
              <a:gs pos="53000">
                <a:schemeClr val="accent4"/>
              </a:gs>
              <a:gs pos="92000">
                <a:schemeClr val="accent6"/>
              </a:gs>
            </a:gsLst>
            <a:path path="circle">
              <a:fillToRect t="100000" r="100000"/>
            </a:path>
            <a:tileRect l="-100000" b="-100000"/>
          </a:gradFill>
          <a:ln w="285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24" name="Gerade Verbindung mit Pfeil 23">
            <a:extLst>
              <a:ext uri="{FF2B5EF4-FFF2-40B4-BE49-F238E27FC236}">
                <a16:creationId xmlns:a16="http://schemas.microsoft.com/office/drawing/2014/main" xmlns="" id="{4F6544A4-0711-43F0-BB9D-0A157EA79259}"/>
              </a:ext>
            </a:extLst>
          </p:cNvPr>
          <p:cNvCxnSpPr>
            <a:cxnSpLocks/>
          </p:cNvCxnSpPr>
          <p:nvPr/>
        </p:nvCxnSpPr>
        <p:spPr>
          <a:xfrm flipV="1">
            <a:off x="7294179" y="1933904"/>
            <a:ext cx="0" cy="3605048"/>
          </a:xfrm>
          <a:prstGeom prst="straightConnector1">
            <a:avLst/>
          </a:prstGeom>
          <a:ln w="28575">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 name="Gerade Verbindung mit Pfeil 40">
            <a:extLst>
              <a:ext uri="{FF2B5EF4-FFF2-40B4-BE49-F238E27FC236}">
                <a16:creationId xmlns:a16="http://schemas.microsoft.com/office/drawing/2014/main" xmlns="" id="{B37CDFEA-1F50-4DAD-A5AA-6C709DE7D09E}"/>
              </a:ext>
            </a:extLst>
          </p:cNvPr>
          <p:cNvCxnSpPr>
            <a:cxnSpLocks/>
          </p:cNvCxnSpPr>
          <p:nvPr/>
        </p:nvCxnSpPr>
        <p:spPr>
          <a:xfrm>
            <a:off x="3163614" y="5540309"/>
            <a:ext cx="8586952" cy="9153"/>
          </a:xfrm>
          <a:prstGeom prst="straightConnector1">
            <a:avLst/>
          </a:prstGeom>
          <a:ln w="19050">
            <a:solidFill>
              <a:srgbClr val="7F7F7F"/>
            </a:solidFill>
            <a:tailEnd type="triangle"/>
          </a:ln>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xmlns="" id="{699798A5-BF51-479B-A5D9-5BA45EBD086D}"/>
              </a:ext>
            </a:extLst>
          </p:cNvPr>
          <p:cNvSpPr txBox="1"/>
          <p:nvPr/>
        </p:nvSpPr>
        <p:spPr>
          <a:xfrm>
            <a:off x="7294179" y="1879142"/>
            <a:ext cx="1739643" cy="369332"/>
          </a:xfrm>
          <a:prstGeom prst="rect">
            <a:avLst/>
          </a:prstGeom>
          <a:noFill/>
        </p:spPr>
        <p:txBody>
          <a:bodyPr wrap="none" rtlCol="0">
            <a:spAutoFit/>
          </a:bodyPr>
          <a:lstStyle/>
          <a:p>
            <a:r>
              <a:rPr lang="en-GB"/>
              <a:t>Frecuencia de los eventos </a:t>
            </a:r>
            <a:endParaRPr lang="en-GB" dirty="0"/>
          </a:p>
        </p:txBody>
      </p:sp>
      <p:sp>
        <p:nvSpPr>
          <p:cNvPr id="46" name="Textfeld 45">
            <a:extLst>
              <a:ext uri="{FF2B5EF4-FFF2-40B4-BE49-F238E27FC236}">
                <a16:creationId xmlns:a16="http://schemas.microsoft.com/office/drawing/2014/main" xmlns="" id="{497AF788-D1DE-4566-A5EF-C1D09DCF7B64}"/>
              </a:ext>
            </a:extLst>
          </p:cNvPr>
          <p:cNvSpPr txBox="1"/>
          <p:nvPr/>
        </p:nvSpPr>
        <p:spPr>
          <a:xfrm>
            <a:off x="3163614" y="5538952"/>
            <a:ext cx="1156920" cy="646331"/>
          </a:xfrm>
          <a:prstGeom prst="rect">
            <a:avLst/>
          </a:prstGeom>
          <a:noFill/>
        </p:spPr>
        <p:txBody>
          <a:bodyPr wrap="none" rtlCol="0">
            <a:spAutoFit/>
          </a:bodyPr>
          <a:lstStyle/>
          <a:p>
            <a:r>
              <a:rPr lang="en-GB"/>
              <a:t>No deseado</a:t>
            </a:r>
            <a:br>
              <a:rPr lang="en-GB"/>
            </a:br>
            <a:r>
              <a:rPr lang="en-GB"/>
              <a:t>Resultados </a:t>
            </a:r>
            <a:endParaRPr lang="en-GB" dirty="0"/>
          </a:p>
        </p:txBody>
      </p:sp>
      <p:sp>
        <p:nvSpPr>
          <p:cNvPr id="47" name="Textfeld 46">
            <a:extLst>
              <a:ext uri="{FF2B5EF4-FFF2-40B4-BE49-F238E27FC236}">
                <a16:creationId xmlns:a16="http://schemas.microsoft.com/office/drawing/2014/main" xmlns="" id="{1EEBDF29-B306-4EBD-BCB7-3CF901E4BDE3}"/>
              </a:ext>
            </a:extLst>
          </p:cNvPr>
          <p:cNvSpPr txBox="1"/>
          <p:nvPr/>
        </p:nvSpPr>
        <p:spPr>
          <a:xfrm>
            <a:off x="10593646" y="5531836"/>
            <a:ext cx="1042273" cy="646331"/>
          </a:xfrm>
          <a:prstGeom prst="rect">
            <a:avLst/>
          </a:prstGeom>
          <a:noFill/>
          <a:ln w="28575">
            <a:noFill/>
          </a:ln>
        </p:spPr>
        <p:txBody>
          <a:bodyPr wrap="none" rtlCol="0">
            <a:spAutoFit/>
          </a:bodyPr>
          <a:lstStyle/>
          <a:p>
            <a:pPr algn="r"/>
            <a:r>
              <a:rPr lang="en-GB"/>
              <a:t>Positivo</a:t>
            </a:r>
            <a:br>
              <a:rPr lang="en-GB"/>
            </a:br>
            <a:r>
              <a:rPr lang="en-GB"/>
              <a:t>Sorpresas </a:t>
            </a:r>
            <a:endParaRPr lang="en-GB" dirty="0"/>
          </a:p>
        </p:txBody>
      </p:sp>
      <p:sp>
        <p:nvSpPr>
          <p:cNvPr id="48" name="Textfeld 47">
            <a:extLst>
              <a:ext uri="{FF2B5EF4-FFF2-40B4-BE49-F238E27FC236}">
                <a16:creationId xmlns:a16="http://schemas.microsoft.com/office/drawing/2014/main" xmlns="" id="{F5800D0A-7CEE-4C04-BA78-9860FDED78B1}"/>
              </a:ext>
            </a:extLst>
          </p:cNvPr>
          <p:cNvSpPr txBox="1"/>
          <p:nvPr/>
        </p:nvSpPr>
        <p:spPr>
          <a:xfrm>
            <a:off x="6724120" y="5529799"/>
            <a:ext cx="1140120" cy="646331"/>
          </a:xfrm>
          <a:prstGeom prst="rect">
            <a:avLst/>
          </a:prstGeom>
          <a:noFill/>
        </p:spPr>
        <p:txBody>
          <a:bodyPr wrap="none" rtlCol="0">
            <a:spAutoFit/>
          </a:bodyPr>
          <a:lstStyle/>
          <a:p>
            <a:pPr algn="ctr"/>
            <a:r>
              <a:rPr lang="en-GB"/>
              <a:t>Esperado</a:t>
            </a:r>
            <a:br>
              <a:rPr lang="en-GB"/>
            </a:br>
            <a:r>
              <a:rPr lang="en-GB"/>
              <a:t>Resultados esperados </a:t>
            </a:r>
            <a:endParaRPr lang="en-GB" dirty="0"/>
          </a:p>
        </p:txBody>
      </p:sp>
    </p:spTree>
    <p:extLst>
      <p:ext uri="{BB962C8B-B14F-4D97-AF65-F5344CB8AC3E}">
        <p14:creationId xmlns:p14="http://schemas.microsoft.com/office/powerpoint/2010/main" val="33030324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041690" y="558049"/>
            <a:ext cx="8852375" cy="697353"/>
          </a:xfrm>
        </p:spPr>
        <p:txBody>
          <a:bodyPr>
            <a:normAutofit/>
          </a:bodyPr>
          <a:lstStyle/>
          <a:p>
            <a:r>
              <a:rPr lang="en-GB" dirty="0"/>
              <a:t>Aprender de lo que </a:t>
            </a:r>
            <a:r>
              <a:rPr lang="en-GB"/>
              <a:t>sale bien </a:t>
            </a: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50277" y="2142491"/>
            <a:ext cx="2719697" cy="1436594"/>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altLang="de-DE" sz="2200" dirty="0">
                <a:latin typeface="+mj-lt"/>
              </a:rPr>
              <a:t>Intentamos aprender sobre todo cuando algo ha ido especialmente mal.</a:t>
            </a:r>
            <a:endParaRPr lang="en-GB" altLang="de-DE" sz="2200">
              <a:latin typeface="+mj-lt"/>
            </a:endParaRPr>
          </a:p>
        </p:txBody>
      </p:sp>
      <p:sp>
        <p:nvSpPr>
          <p:cNvPr id="22" name="Freihandform: Form 21">
            <a:extLst>
              <a:ext uri="{FF2B5EF4-FFF2-40B4-BE49-F238E27FC236}">
                <a16:creationId xmlns:a16="http://schemas.microsoft.com/office/drawing/2014/main" xmlns="" id="{1A00B92D-8AA4-46F6-8DF2-F2D17354FE42}"/>
              </a:ext>
            </a:extLst>
          </p:cNvPr>
          <p:cNvSpPr/>
          <p:nvPr/>
        </p:nvSpPr>
        <p:spPr>
          <a:xfrm>
            <a:off x="3163614" y="2564524"/>
            <a:ext cx="8240110" cy="2974428"/>
          </a:xfrm>
          <a:custGeom>
            <a:avLst/>
            <a:gdLst>
              <a:gd name="connsiteX0" fmla="*/ 0 w 8240110"/>
              <a:gd name="connsiteY0" fmla="*/ 3405351 h 3415862"/>
              <a:gd name="connsiteX1" fmla="*/ 2816772 w 8240110"/>
              <a:gd name="connsiteY1" fmla="*/ 2585544 h 3415862"/>
              <a:gd name="connsiteX2" fmla="*/ 3216165 w 8240110"/>
              <a:gd name="connsiteY2" fmla="*/ 515007 h 3415862"/>
              <a:gd name="connsiteX3" fmla="*/ 4130565 w 8240110"/>
              <a:gd name="connsiteY3" fmla="*/ 0 h 3415862"/>
              <a:gd name="connsiteX4" fmla="*/ 5002924 w 8240110"/>
              <a:gd name="connsiteY4" fmla="*/ 515007 h 3415862"/>
              <a:gd name="connsiteX5" fmla="*/ 5402317 w 8240110"/>
              <a:gd name="connsiteY5" fmla="*/ 2606565 h 3415862"/>
              <a:gd name="connsiteX6" fmla="*/ 8240110 w 8240110"/>
              <a:gd name="connsiteY6" fmla="*/ 3415862 h 341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40110" h="3415862">
                <a:moveTo>
                  <a:pt x="0" y="3405351"/>
                </a:moveTo>
                <a:cubicBezTo>
                  <a:pt x="1140372" y="3236309"/>
                  <a:pt x="2280745" y="3067268"/>
                  <a:pt x="2816772" y="2585544"/>
                </a:cubicBezTo>
                <a:cubicBezTo>
                  <a:pt x="3352799" y="2103820"/>
                  <a:pt x="2997200" y="945931"/>
                  <a:pt x="3216165" y="515007"/>
                </a:cubicBezTo>
                <a:cubicBezTo>
                  <a:pt x="3435130" y="84083"/>
                  <a:pt x="3832772" y="0"/>
                  <a:pt x="4130565" y="0"/>
                </a:cubicBezTo>
                <a:cubicBezTo>
                  <a:pt x="4428358" y="0"/>
                  <a:pt x="4790965" y="80579"/>
                  <a:pt x="5002924" y="515007"/>
                </a:cubicBezTo>
                <a:cubicBezTo>
                  <a:pt x="5214883" y="949434"/>
                  <a:pt x="4862786" y="2123089"/>
                  <a:pt x="5402317" y="2606565"/>
                </a:cubicBezTo>
                <a:cubicBezTo>
                  <a:pt x="5941848" y="3090041"/>
                  <a:pt x="7090979" y="3252951"/>
                  <a:pt x="8240110" y="3415862"/>
                </a:cubicBezTo>
              </a:path>
            </a:pathLst>
          </a:custGeom>
          <a:gradFill flip="none" rotWithShape="1">
            <a:gsLst>
              <a:gs pos="13000">
                <a:srgbClr val="C00000"/>
              </a:gs>
              <a:gs pos="53000">
                <a:schemeClr val="accent4"/>
              </a:gs>
              <a:gs pos="92000">
                <a:schemeClr val="accent6"/>
              </a:gs>
            </a:gsLst>
            <a:path path="circle">
              <a:fillToRect t="100000" r="100000"/>
            </a:path>
            <a:tileRect l="-100000" b="-10000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24" name="Gerade Verbindung mit Pfeil 23">
            <a:extLst>
              <a:ext uri="{FF2B5EF4-FFF2-40B4-BE49-F238E27FC236}">
                <a16:creationId xmlns:a16="http://schemas.microsoft.com/office/drawing/2014/main" xmlns="" id="{4F6544A4-0711-43F0-BB9D-0A157EA79259}"/>
              </a:ext>
            </a:extLst>
          </p:cNvPr>
          <p:cNvCxnSpPr>
            <a:cxnSpLocks/>
          </p:cNvCxnSpPr>
          <p:nvPr/>
        </p:nvCxnSpPr>
        <p:spPr>
          <a:xfrm flipV="1">
            <a:off x="7294179" y="1933904"/>
            <a:ext cx="0" cy="3605048"/>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1" name="Gerade Verbindung mit Pfeil 40">
            <a:extLst>
              <a:ext uri="{FF2B5EF4-FFF2-40B4-BE49-F238E27FC236}">
                <a16:creationId xmlns:a16="http://schemas.microsoft.com/office/drawing/2014/main" xmlns="" id="{B37CDFEA-1F50-4DAD-A5AA-6C709DE7D09E}"/>
              </a:ext>
            </a:extLst>
          </p:cNvPr>
          <p:cNvCxnSpPr>
            <a:cxnSpLocks/>
            <a:stCxn id="22" idx="0"/>
          </p:cNvCxnSpPr>
          <p:nvPr/>
        </p:nvCxnSpPr>
        <p:spPr>
          <a:xfrm>
            <a:off x="3163614" y="5529799"/>
            <a:ext cx="8586952" cy="9153"/>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xmlns="" id="{699798A5-BF51-479B-A5D9-5BA45EBD086D}"/>
              </a:ext>
            </a:extLst>
          </p:cNvPr>
          <p:cNvSpPr txBox="1"/>
          <p:nvPr/>
        </p:nvSpPr>
        <p:spPr>
          <a:xfrm>
            <a:off x="7294179" y="1879142"/>
            <a:ext cx="1739643" cy="369332"/>
          </a:xfrm>
          <a:prstGeom prst="rect">
            <a:avLst/>
          </a:prstGeom>
          <a:noFill/>
        </p:spPr>
        <p:txBody>
          <a:bodyPr wrap="none" rtlCol="0">
            <a:spAutoFit/>
          </a:bodyPr>
          <a:lstStyle/>
          <a:p>
            <a:r>
              <a:rPr lang="en-GB"/>
              <a:t>Frecuencia de los eventos </a:t>
            </a:r>
            <a:endParaRPr lang="en-GB" dirty="0"/>
          </a:p>
        </p:txBody>
      </p:sp>
      <p:sp>
        <p:nvSpPr>
          <p:cNvPr id="46" name="Textfeld 45">
            <a:extLst>
              <a:ext uri="{FF2B5EF4-FFF2-40B4-BE49-F238E27FC236}">
                <a16:creationId xmlns:a16="http://schemas.microsoft.com/office/drawing/2014/main" xmlns="" id="{497AF788-D1DE-4566-A5EF-C1D09DCF7B64}"/>
              </a:ext>
            </a:extLst>
          </p:cNvPr>
          <p:cNvSpPr txBox="1"/>
          <p:nvPr/>
        </p:nvSpPr>
        <p:spPr>
          <a:xfrm>
            <a:off x="3163614" y="5538952"/>
            <a:ext cx="1156920" cy="646331"/>
          </a:xfrm>
          <a:prstGeom prst="rect">
            <a:avLst/>
          </a:prstGeom>
          <a:noFill/>
        </p:spPr>
        <p:txBody>
          <a:bodyPr wrap="none" rtlCol="0">
            <a:spAutoFit/>
          </a:bodyPr>
          <a:lstStyle/>
          <a:p>
            <a:r>
              <a:rPr lang="en-GB"/>
              <a:t>No deseado</a:t>
            </a:r>
            <a:br>
              <a:rPr lang="en-GB"/>
            </a:br>
            <a:r>
              <a:rPr lang="en-GB"/>
              <a:t>Resultados </a:t>
            </a:r>
            <a:endParaRPr lang="en-GB" dirty="0"/>
          </a:p>
        </p:txBody>
      </p:sp>
      <p:sp>
        <p:nvSpPr>
          <p:cNvPr id="47" name="Textfeld 46">
            <a:extLst>
              <a:ext uri="{FF2B5EF4-FFF2-40B4-BE49-F238E27FC236}">
                <a16:creationId xmlns:a16="http://schemas.microsoft.com/office/drawing/2014/main" xmlns="" id="{1EEBDF29-B306-4EBD-BCB7-3CF901E4BDE3}"/>
              </a:ext>
            </a:extLst>
          </p:cNvPr>
          <p:cNvSpPr txBox="1"/>
          <p:nvPr/>
        </p:nvSpPr>
        <p:spPr>
          <a:xfrm>
            <a:off x="10593646" y="5531836"/>
            <a:ext cx="1042273" cy="646331"/>
          </a:xfrm>
          <a:prstGeom prst="rect">
            <a:avLst/>
          </a:prstGeom>
          <a:noFill/>
        </p:spPr>
        <p:txBody>
          <a:bodyPr wrap="none" rtlCol="0">
            <a:spAutoFit/>
          </a:bodyPr>
          <a:lstStyle/>
          <a:p>
            <a:pPr algn="r"/>
            <a:r>
              <a:rPr lang="en-GB"/>
              <a:t>Positivo</a:t>
            </a:r>
            <a:br>
              <a:rPr lang="en-GB"/>
            </a:br>
            <a:r>
              <a:rPr lang="en-GB"/>
              <a:t>Sorpresas </a:t>
            </a:r>
            <a:endParaRPr lang="en-GB" dirty="0"/>
          </a:p>
        </p:txBody>
      </p:sp>
      <p:sp>
        <p:nvSpPr>
          <p:cNvPr id="48" name="Textfeld 47">
            <a:extLst>
              <a:ext uri="{FF2B5EF4-FFF2-40B4-BE49-F238E27FC236}">
                <a16:creationId xmlns:a16="http://schemas.microsoft.com/office/drawing/2014/main" xmlns="" id="{F5800D0A-7CEE-4C04-BA78-9860FDED78B1}"/>
              </a:ext>
            </a:extLst>
          </p:cNvPr>
          <p:cNvSpPr txBox="1"/>
          <p:nvPr/>
        </p:nvSpPr>
        <p:spPr>
          <a:xfrm>
            <a:off x="6724120" y="5529799"/>
            <a:ext cx="1140120" cy="646331"/>
          </a:xfrm>
          <a:prstGeom prst="rect">
            <a:avLst/>
          </a:prstGeom>
          <a:noFill/>
        </p:spPr>
        <p:txBody>
          <a:bodyPr wrap="none" rtlCol="0">
            <a:spAutoFit/>
          </a:bodyPr>
          <a:lstStyle/>
          <a:p>
            <a:pPr algn="ctr"/>
            <a:r>
              <a:rPr lang="en-GB"/>
              <a:t>Esperado</a:t>
            </a:r>
            <a:br>
              <a:rPr lang="en-GB"/>
            </a:br>
            <a:r>
              <a:rPr lang="en-GB"/>
              <a:t>Resultados esperados </a:t>
            </a:r>
            <a:endParaRPr lang="en-GB" dirty="0"/>
          </a:p>
        </p:txBody>
      </p:sp>
      <p:sp>
        <p:nvSpPr>
          <p:cNvPr id="49" name="Ellipse 48">
            <a:extLst>
              <a:ext uri="{FF2B5EF4-FFF2-40B4-BE49-F238E27FC236}">
                <a16:creationId xmlns:a16="http://schemas.microsoft.com/office/drawing/2014/main" xmlns="" id="{D72C5122-0192-4659-9E08-1658B452DC80}"/>
              </a:ext>
            </a:extLst>
          </p:cNvPr>
          <p:cNvSpPr/>
          <p:nvPr/>
        </p:nvSpPr>
        <p:spPr>
          <a:xfrm>
            <a:off x="3163613" y="4831508"/>
            <a:ext cx="2304265" cy="1331184"/>
          </a:xfrm>
          <a:prstGeom prst="ellipse">
            <a:avLst/>
          </a:prstGeom>
          <a:solidFill>
            <a:srgbClr val="C00000">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chemeClr val="bg1"/>
                </a:solidFill>
              </a:rPr>
              <a:t>Alcance de las actividades de aprendizaje</a:t>
            </a:r>
            <a:endParaRPr lang="en-GB" b="1" dirty="0">
              <a:solidFill>
                <a:schemeClr val="bg1"/>
              </a:solidFill>
            </a:endParaRPr>
          </a:p>
        </p:txBody>
      </p:sp>
    </p:spTree>
    <p:extLst>
      <p:ext uri="{BB962C8B-B14F-4D97-AF65-F5344CB8AC3E}">
        <p14:creationId xmlns:p14="http://schemas.microsoft.com/office/powerpoint/2010/main" val="38107730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741271" y="554284"/>
            <a:ext cx="8852375" cy="697353"/>
          </a:xfrm>
        </p:spPr>
        <p:txBody>
          <a:bodyPr>
            <a:normAutofit/>
          </a:bodyPr>
          <a:lstStyle/>
          <a:p>
            <a:r>
              <a:rPr lang="en-GB" dirty="0"/>
              <a:t>Aprender de lo que sale bien</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37898" y="2109870"/>
            <a:ext cx="2497849" cy="4637470"/>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dirty="0">
                <a:latin typeface="+mj-lt"/>
              </a:rPr>
              <a:t>El trabajo cotidiano es </a:t>
            </a:r>
            <a:br>
              <a:rPr lang="en-GB" altLang="de-DE" dirty="0">
                <a:latin typeface="+mj-lt"/>
              </a:rPr>
            </a:br>
            <a:r>
              <a:rPr lang="en-GB" altLang="de-DE" dirty="0">
                <a:latin typeface="+mj-lt"/>
              </a:rPr>
              <a:t>una fuente rica y a menudo desaprovechada </a:t>
            </a:r>
            <a:br>
              <a:rPr lang="en-GB" altLang="de-DE" dirty="0">
                <a:latin typeface="+mj-lt"/>
              </a:rPr>
            </a:br>
            <a:r>
              <a:rPr lang="en-GB" altLang="de-DE" dirty="0">
                <a:latin typeface="+mj-lt"/>
              </a:rPr>
              <a:t>de aprendizaje. </a:t>
            </a:r>
            <a:endParaRPr lang="en-US" sz="2800" dirty="0"/>
          </a:p>
          <a:p>
            <a:pPr algn="l">
              <a:lnSpc>
                <a:spcPct val="100000"/>
              </a:lnSpc>
              <a:spcBef>
                <a:spcPts val="600"/>
              </a:spcBef>
            </a:pPr>
            <a:r>
              <a:rPr lang="en-US" altLang="de-DE" dirty="0">
                <a:latin typeface="+mj-lt"/>
              </a:rPr>
              <a:t>Es una riqueza increíble de conocimientos para </a:t>
            </a:r>
            <a:br>
              <a:rPr lang="en-US" altLang="de-DE" dirty="0">
                <a:latin typeface="+mj-lt"/>
              </a:rPr>
            </a:br>
            <a:r>
              <a:rPr lang="en-US" altLang="de-DE" dirty="0">
                <a:latin typeface="+mj-lt"/>
              </a:rPr>
              <a:t>aprender de él por qué algo funcionó exactamente de la manera </a:t>
            </a:r>
            <a:br>
              <a:rPr lang="en-US" altLang="de-DE" dirty="0">
                <a:latin typeface="+mj-lt"/>
              </a:rPr>
            </a:br>
            <a:r>
              <a:rPr lang="en-US" altLang="de-DE" dirty="0">
                <a:latin typeface="+mj-lt"/>
              </a:rPr>
              <a:t>funcionó. </a:t>
            </a:r>
            <a:endParaRPr lang="en-GB" altLang="de-DE" dirty="0">
              <a:latin typeface="+mj-lt"/>
            </a:endParaRPr>
          </a:p>
          <a:p>
            <a:pPr algn="l">
              <a:lnSpc>
                <a:spcPct val="100000"/>
              </a:lnSpc>
              <a:spcBef>
                <a:spcPts val="600"/>
              </a:spcBef>
            </a:pPr>
            <a:endParaRPr lang="en-GB" altLang="de-DE" sz="2200" dirty="0">
              <a:latin typeface="+mj-lt"/>
            </a:endParaRPr>
          </a:p>
        </p:txBody>
      </p:sp>
      <p:sp>
        <p:nvSpPr>
          <p:cNvPr id="22" name="Freihandform: Form 21">
            <a:extLst>
              <a:ext uri="{FF2B5EF4-FFF2-40B4-BE49-F238E27FC236}">
                <a16:creationId xmlns:a16="http://schemas.microsoft.com/office/drawing/2014/main" xmlns="" id="{1A00B92D-8AA4-46F6-8DF2-F2D17354FE42}"/>
              </a:ext>
            </a:extLst>
          </p:cNvPr>
          <p:cNvSpPr/>
          <p:nvPr/>
        </p:nvSpPr>
        <p:spPr>
          <a:xfrm>
            <a:off x="3163614" y="2564524"/>
            <a:ext cx="8240110" cy="2974428"/>
          </a:xfrm>
          <a:custGeom>
            <a:avLst/>
            <a:gdLst>
              <a:gd name="connsiteX0" fmla="*/ 0 w 8240110"/>
              <a:gd name="connsiteY0" fmla="*/ 3405351 h 3415862"/>
              <a:gd name="connsiteX1" fmla="*/ 2816772 w 8240110"/>
              <a:gd name="connsiteY1" fmla="*/ 2585544 h 3415862"/>
              <a:gd name="connsiteX2" fmla="*/ 3216165 w 8240110"/>
              <a:gd name="connsiteY2" fmla="*/ 515007 h 3415862"/>
              <a:gd name="connsiteX3" fmla="*/ 4130565 w 8240110"/>
              <a:gd name="connsiteY3" fmla="*/ 0 h 3415862"/>
              <a:gd name="connsiteX4" fmla="*/ 5002924 w 8240110"/>
              <a:gd name="connsiteY4" fmla="*/ 515007 h 3415862"/>
              <a:gd name="connsiteX5" fmla="*/ 5402317 w 8240110"/>
              <a:gd name="connsiteY5" fmla="*/ 2606565 h 3415862"/>
              <a:gd name="connsiteX6" fmla="*/ 8240110 w 8240110"/>
              <a:gd name="connsiteY6" fmla="*/ 3415862 h 341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40110" h="3415862">
                <a:moveTo>
                  <a:pt x="0" y="3405351"/>
                </a:moveTo>
                <a:cubicBezTo>
                  <a:pt x="1140372" y="3236309"/>
                  <a:pt x="2280745" y="3067268"/>
                  <a:pt x="2816772" y="2585544"/>
                </a:cubicBezTo>
                <a:cubicBezTo>
                  <a:pt x="3352799" y="2103820"/>
                  <a:pt x="2997200" y="945931"/>
                  <a:pt x="3216165" y="515007"/>
                </a:cubicBezTo>
                <a:cubicBezTo>
                  <a:pt x="3435130" y="84083"/>
                  <a:pt x="3832772" y="0"/>
                  <a:pt x="4130565" y="0"/>
                </a:cubicBezTo>
                <a:cubicBezTo>
                  <a:pt x="4428358" y="0"/>
                  <a:pt x="4790965" y="80579"/>
                  <a:pt x="5002924" y="515007"/>
                </a:cubicBezTo>
                <a:cubicBezTo>
                  <a:pt x="5214883" y="949434"/>
                  <a:pt x="4862786" y="2123089"/>
                  <a:pt x="5402317" y="2606565"/>
                </a:cubicBezTo>
                <a:cubicBezTo>
                  <a:pt x="5941848" y="3090041"/>
                  <a:pt x="7090979" y="3252951"/>
                  <a:pt x="8240110" y="3415862"/>
                </a:cubicBezTo>
              </a:path>
            </a:pathLst>
          </a:custGeom>
          <a:gradFill flip="none" rotWithShape="1">
            <a:gsLst>
              <a:gs pos="13000">
                <a:srgbClr val="C00000"/>
              </a:gs>
              <a:gs pos="53000">
                <a:schemeClr val="accent4"/>
              </a:gs>
              <a:gs pos="92000">
                <a:schemeClr val="accent6"/>
              </a:gs>
            </a:gsLst>
            <a:path path="circle">
              <a:fillToRect t="100000" r="100000"/>
            </a:path>
            <a:tileRect l="-100000" b="-10000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24" name="Gerade Verbindung mit Pfeil 23">
            <a:extLst>
              <a:ext uri="{FF2B5EF4-FFF2-40B4-BE49-F238E27FC236}">
                <a16:creationId xmlns:a16="http://schemas.microsoft.com/office/drawing/2014/main" xmlns="" id="{4F6544A4-0711-43F0-BB9D-0A157EA79259}"/>
              </a:ext>
            </a:extLst>
          </p:cNvPr>
          <p:cNvCxnSpPr>
            <a:cxnSpLocks/>
          </p:cNvCxnSpPr>
          <p:nvPr/>
        </p:nvCxnSpPr>
        <p:spPr>
          <a:xfrm flipV="1">
            <a:off x="7294179" y="1933904"/>
            <a:ext cx="0" cy="3605048"/>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1" name="Gerade Verbindung mit Pfeil 40">
            <a:extLst>
              <a:ext uri="{FF2B5EF4-FFF2-40B4-BE49-F238E27FC236}">
                <a16:creationId xmlns:a16="http://schemas.microsoft.com/office/drawing/2014/main" xmlns="" id="{B37CDFEA-1F50-4DAD-A5AA-6C709DE7D09E}"/>
              </a:ext>
            </a:extLst>
          </p:cNvPr>
          <p:cNvCxnSpPr>
            <a:cxnSpLocks/>
            <a:stCxn id="22" idx="0"/>
          </p:cNvCxnSpPr>
          <p:nvPr/>
        </p:nvCxnSpPr>
        <p:spPr>
          <a:xfrm>
            <a:off x="3163614" y="5529799"/>
            <a:ext cx="8586952" cy="9153"/>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xmlns="" id="{699798A5-BF51-479B-A5D9-5BA45EBD086D}"/>
              </a:ext>
            </a:extLst>
          </p:cNvPr>
          <p:cNvSpPr txBox="1"/>
          <p:nvPr/>
        </p:nvSpPr>
        <p:spPr>
          <a:xfrm>
            <a:off x="7294179" y="1879142"/>
            <a:ext cx="1739643" cy="369332"/>
          </a:xfrm>
          <a:prstGeom prst="rect">
            <a:avLst/>
          </a:prstGeom>
          <a:noFill/>
        </p:spPr>
        <p:txBody>
          <a:bodyPr wrap="none" rtlCol="0">
            <a:spAutoFit/>
          </a:bodyPr>
          <a:lstStyle/>
          <a:p>
            <a:r>
              <a:rPr lang="en-GB"/>
              <a:t>Frecuencia de los eventos </a:t>
            </a:r>
            <a:endParaRPr lang="en-GB" dirty="0"/>
          </a:p>
        </p:txBody>
      </p:sp>
      <p:sp>
        <p:nvSpPr>
          <p:cNvPr id="46" name="Textfeld 45">
            <a:extLst>
              <a:ext uri="{FF2B5EF4-FFF2-40B4-BE49-F238E27FC236}">
                <a16:creationId xmlns:a16="http://schemas.microsoft.com/office/drawing/2014/main" xmlns="" id="{497AF788-D1DE-4566-A5EF-C1D09DCF7B64}"/>
              </a:ext>
            </a:extLst>
          </p:cNvPr>
          <p:cNvSpPr txBox="1"/>
          <p:nvPr/>
        </p:nvSpPr>
        <p:spPr>
          <a:xfrm>
            <a:off x="3163614" y="5538952"/>
            <a:ext cx="1156920" cy="646331"/>
          </a:xfrm>
          <a:prstGeom prst="rect">
            <a:avLst/>
          </a:prstGeom>
          <a:noFill/>
        </p:spPr>
        <p:txBody>
          <a:bodyPr wrap="none" rtlCol="0">
            <a:spAutoFit/>
          </a:bodyPr>
          <a:lstStyle/>
          <a:p>
            <a:r>
              <a:rPr lang="en-GB"/>
              <a:t>No deseado</a:t>
            </a:r>
            <a:br>
              <a:rPr lang="en-GB"/>
            </a:br>
            <a:r>
              <a:rPr lang="en-GB"/>
              <a:t>Resultados </a:t>
            </a:r>
            <a:endParaRPr lang="en-GB" dirty="0"/>
          </a:p>
        </p:txBody>
      </p:sp>
      <p:sp>
        <p:nvSpPr>
          <p:cNvPr id="47" name="Textfeld 46">
            <a:extLst>
              <a:ext uri="{FF2B5EF4-FFF2-40B4-BE49-F238E27FC236}">
                <a16:creationId xmlns:a16="http://schemas.microsoft.com/office/drawing/2014/main" xmlns="" id="{1EEBDF29-B306-4EBD-BCB7-3CF901E4BDE3}"/>
              </a:ext>
            </a:extLst>
          </p:cNvPr>
          <p:cNvSpPr txBox="1"/>
          <p:nvPr/>
        </p:nvSpPr>
        <p:spPr>
          <a:xfrm>
            <a:off x="10593646" y="5531836"/>
            <a:ext cx="1042273" cy="646331"/>
          </a:xfrm>
          <a:prstGeom prst="rect">
            <a:avLst/>
          </a:prstGeom>
          <a:noFill/>
        </p:spPr>
        <p:txBody>
          <a:bodyPr wrap="none" rtlCol="0">
            <a:spAutoFit/>
          </a:bodyPr>
          <a:lstStyle/>
          <a:p>
            <a:pPr algn="r"/>
            <a:r>
              <a:rPr lang="en-GB"/>
              <a:t>Positivo</a:t>
            </a:r>
            <a:br>
              <a:rPr lang="en-GB"/>
            </a:br>
            <a:r>
              <a:rPr lang="en-GB"/>
              <a:t>Sorpresas </a:t>
            </a:r>
            <a:endParaRPr lang="en-GB" dirty="0"/>
          </a:p>
        </p:txBody>
      </p:sp>
      <p:sp>
        <p:nvSpPr>
          <p:cNvPr id="48" name="Textfeld 47">
            <a:extLst>
              <a:ext uri="{FF2B5EF4-FFF2-40B4-BE49-F238E27FC236}">
                <a16:creationId xmlns:a16="http://schemas.microsoft.com/office/drawing/2014/main" xmlns="" id="{F5800D0A-7CEE-4C04-BA78-9860FDED78B1}"/>
              </a:ext>
            </a:extLst>
          </p:cNvPr>
          <p:cNvSpPr txBox="1"/>
          <p:nvPr/>
        </p:nvSpPr>
        <p:spPr>
          <a:xfrm>
            <a:off x="6724120" y="5529799"/>
            <a:ext cx="1140120" cy="646331"/>
          </a:xfrm>
          <a:prstGeom prst="rect">
            <a:avLst/>
          </a:prstGeom>
          <a:noFill/>
        </p:spPr>
        <p:txBody>
          <a:bodyPr wrap="none" rtlCol="0">
            <a:spAutoFit/>
          </a:bodyPr>
          <a:lstStyle/>
          <a:p>
            <a:pPr algn="ctr"/>
            <a:r>
              <a:rPr lang="en-GB"/>
              <a:t>Esperado</a:t>
            </a:r>
            <a:br>
              <a:rPr lang="en-GB"/>
            </a:br>
            <a:r>
              <a:rPr lang="en-GB"/>
              <a:t>Resultados esperados </a:t>
            </a:r>
            <a:endParaRPr lang="en-GB" dirty="0"/>
          </a:p>
        </p:txBody>
      </p:sp>
      <p:sp>
        <p:nvSpPr>
          <p:cNvPr id="49" name="Ellipse 48">
            <a:extLst>
              <a:ext uri="{FF2B5EF4-FFF2-40B4-BE49-F238E27FC236}">
                <a16:creationId xmlns:a16="http://schemas.microsoft.com/office/drawing/2014/main" xmlns="" id="{D72C5122-0192-4659-9E08-1658B452DC80}"/>
              </a:ext>
            </a:extLst>
          </p:cNvPr>
          <p:cNvSpPr/>
          <p:nvPr/>
        </p:nvSpPr>
        <p:spPr>
          <a:xfrm>
            <a:off x="3163613" y="4831508"/>
            <a:ext cx="2304265" cy="1331184"/>
          </a:xfrm>
          <a:prstGeom prst="ellipse">
            <a:avLst/>
          </a:prstGeom>
          <a:solidFill>
            <a:srgbClr val="C00000">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chemeClr val="bg1"/>
                </a:solidFill>
              </a:rPr>
              <a:t>Alcance de las actividades de aprendizaje</a:t>
            </a:r>
            <a:endParaRPr lang="en-GB" b="1" dirty="0">
              <a:solidFill>
                <a:schemeClr val="bg1"/>
              </a:solidFill>
            </a:endParaRPr>
          </a:p>
        </p:txBody>
      </p:sp>
      <p:sp>
        <p:nvSpPr>
          <p:cNvPr id="50" name="Ellipse 49">
            <a:extLst>
              <a:ext uri="{FF2B5EF4-FFF2-40B4-BE49-F238E27FC236}">
                <a16:creationId xmlns:a16="http://schemas.microsoft.com/office/drawing/2014/main" xmlns="" id="{45408BB8-8012-4346-AFF8-47D180ABFA9E}"/>
              </a:ext>
            </a:extLst>
          </p:cNvPr>
          <p:cNvSpPr/>
          <p:nvPr/>
        </p:nvSpPr>
        <p:spPr>
          <a:xfrm>
            <a:off x="4897822" y="2426381"/>
            <a:ext cx="6852744" cy="3736311"/>
          </a:xfrm>
          <a:prstGeom prst="ellipse">
            <a:avLst/>
          </a:prstGeom>
          <a:solidFill>
            <a:schemeClr val="accent1">
              <a:lumMod val="40000"/>
              <a:lumOff val="60000"/>
              <a:alpha val="7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chemeClr val="bg1"/>
                </a:solidFill>
              </a:rPr>
              <a:t>Oportunidades de aprendizaje perdidas que aportan ideas para la resiliencia ante las crisis</a:t>
            </a:r>
            <a:endParaRPr lang="en-GB" b="1" dirty="0">
              <a:solidFill>
                <a:schemeClr val="bg1"/>
              </a:solidFill>
            </a:endParaRPr>
          </a:p>
        </p:txBody>
      </p:sp>
    </p:spTree>
    <p:extLst>
      <p:ext uri="{BB962C8B-B14F-4D97-AF65-F5344CB8AC3E}">
        <p14:creationId xmlns:p14="http://schemas.microsoft.com/office/powerpoint/2010/main" val="9435365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89339" y="656295"/>
            <a:ext cx="8852375" cy="697353"/>
          </a:xfrm>
        </p:spPr>
        <p:txBody>
          <a:bodyPr>
            <a:normAutofit/>
          </a:bodyPr>
          <a:lstStyle/>
          <a:p>
            <a:r>
              <a:rPr lang="en-GB" dirty="0"/>
              <a:t>Aprender de lo que sale bien</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98312" y="2142491"/>
            <a:ext cx="2719697" cy="4268138"/>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dirty="0">
                <a:latin typeface="+mj-lt"/>
              </a:rPr>
              <a:t>El trabajo cotidiano es una fuente rica y a menudo desaprovechada de aprendizaje. </a:t>
            </a:r>
            <a:endParaRPr lang="en-US" sz="2800" dirty="0"/>
          </a:p>
          <a:p>
            <a:pPr algn="l">
              <a:lnSpc>
                <a:spcPct val="100000"/>
              </a:lnSpc>
              <a:spcBef>
                <a:spcPts val="600"/>
              </a:spcBef>
            </a:pPr>
            <a:r>
              <a:rPr lang="en-US" altLang="de-DE" dirty="0">
                <a:latin typeface="+mj-lt"/>
              </a:rPr>
              <a:t>Es una riqueza increíble aprender de ella por qué algo funcionó exactamente de la manera en que lo hizo. </a:t>
            </a:r>
            <a:endParaRPr lang="en-GB" altLang="de-DE" dirty="0">
              <a:latin typeface="+mj-lt"/>
            </a:endParaRPr>
          </a:p>
          <a:p>
            <a:pPr algn="l">
              <a:lnSpc>
                <a:spcPct val="100000"/>
              </a:lnSpc>
              <a:spcBef>
                <a:spcPts val="600"/>
              </a:spcBef>
            </a:pPr>
            <a:endParaRPr lang="en-GB" altLang="de-DE" sz="2200" dirty="0">
              <a:latin typeface="+mj-lt"/>
            </a:endParaRPr>
          </a:p>
        </p:txBody>
      </p:sp>
      <p:sp>
        <p:nvSpPr>
          <p:cNvPr id="22" name="Freihandform: Form 21">
            <a:extLst>
              <a:ext uri="{FF2B5EF4-FFF2-40B4-BE49-F238E27FC236}">
                <a16:creationId xmlns:a16="http://schemas.microsoft.com/office/drawing/2014/main" xmlns="" id="{1A00B92D-8AA4-46F6-8DF2-F2D17354FE42}"/>
              </a:ext>
            </a:extLst>
          </p:cNvPr>
          <p:cNvSpPr/>
          <p:nvPr/>
        </p:nvSpPr>
        <p:spPr>
          <a:xfrm>
            <a:off x="3163614" y="2564524"/>
            <a:ext cx="8240110" cy="2974428"/>
          </a:xfrm>
          <a:custGeom>
            <a:avLst/>
            <a:gdLst>
              <a:gd name="connsiteX0" fmla="*/ 0 w 8240110"/>
              <a:gd name="connsiteY0" fmla="*/ 3405351 h 3415862"/>
              <a:gd name="connsiteX1" fmla="*/ 2816772 w 8240110"/>
              <a:gd name="connsiteY1" fmla="*/ 2585544 h 3415862"/>
              <a:gd name="connsiteX2" fmla="*/ 3216165 w 8240110"/>
              <a:gd name="connsiteY2" fmla="*/ 515007 h 3415862"/>
              <a:gd name="connsiteX3" fmla="*/ 4130565 w 8240110"/>
              <a:gd name="connsiteY3" fmla="*/ 0 h 3415862"/>
              <a:gd name="connsiteX4" fmla="*/ 5002924 w 8240110"/>
              <a:gd name="connsiteY4" fmla="*/ 515007 h 3415862"/>
              <a:gd name="connsiteX5" fmla="*/ 5402317 w 8240110"/>
              <a:gd name="connsiteY5" fmla="*/ 2606565 h 3415862"/>
              <a:gd name="connsiteX6" fmla="*/ 8240110 w 8240110"/>
              <a:gd name="connsiteY6" fmla="*/ 3415862 h 341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40110" h="3415862">
                <a:moveTo>
                  <a:pt x="0" y="3405351"/>
                </a:moveTo>
                <a:cubicBezTo>
                  <a:pt x="1140372" y="3236309"/>
                  <a:pt x="2280745" y="3067268"/>
                  <a:pt x="2816772" y="2585544"/>
                </a:cubicBezTo>
                <a:cubicBezTo>
                  <a:pt x="3352799" y="2103820"/>
                  <a:pt x="2997200" y="945931"/>
                  <a:pt x="3216165" y="515007"/>
                </a:cubicBezTo>
                <a:cubicBezTo>
                  <a:pt x="3435130" y="84083"/>
                  <a:pt x="3832772" y="0"/>
                  <a:pt x="4130565" y="0"/>
                </a:cubicBezTo>
                <a:cubicBezTo>
                  <a:pt x="4428358" y="0"/>
                  <a:pt x="4790965" y="80579"/>
                  <a:pt x="5002924" y="515007"/>
                </a:cubicBezTo>
                <a:cubicBezTo>
                  <a:pt x="5214883" y="949434"/>
                  <a:pt x="4862786" y="2123089"/>
                  <a:pt x="5402317" y="2606565"/>
                </a:cubicBezTo>
                <a:cubicBezTo>
                  <a:pt x="5941848" y="3090041"/>
                  <a:pt x="7090979" y="3252951"/>
                  <a:pt x="8240110" y="3415862"/>
                </a:cubicBezTo>
              </a:path>
            </a:pathLst>
          </a:custGeom>
          <a:gradFill flip="none" rotWithShape="1">
            <a:gsLst>
              <a:gs pos="13000">
                <a:srgbClr val="C00000"/>
              </a:gs>
              <a:gs pos="53000">
                <a:schemeClr val="accent4"/>
              </a:gs>
              <a:gs pos="92000">
                <a:schemeClr val="accent6"/>
              </a:gs>
            </a:gsLst>
            <a:path path="circle">
              <a:fillToRect t="100000" r="100000"/>
            </a:path>
            <a:tileRect l="-100000" b="-10000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24" name="Gerade Verbindung mit Pfeil 23">
            <a:extLst>
              <a:ext uri="{FF2B5EF4-FFF2-40B4-BE49-F238E27FC236}">
                <a16:creationId xmlns:a16="http://schemas.microsoft.com/office/drawing/2014/main" xmlns="" id="{4F6544A4-0711-43F0-BB9D-0A157EA79259}"/>
              </a:ext>
            </a:extLst>
          </p:cNvPr>
          <p:cNvCxnSpPr>
            <a:cxnSpLocks/>
          </p:cNvCxnSpPr>
          <p:nvPr/>
        </p:nvCxnSpPr>
        <p:spPr>
          <a:xfrm flipV="1">
            <a:off x="7294179" y="1933904"/>
            <a:ext cx="0" cy="3605048"/>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1" name="Gerade Verbindung mit Pfeil 40">
            <a:extLst>
              <a:ext uri="{FF2B5EF4-FFF2-40B4-BE49-F238E27FC236}">
                <a16:creationId xmlns:a16="http://schemas.microsoft.com/office/drawing/2014/main" xmlns="" id="{B37CDFEA-1F50-4DAD-A5AA-6C709DE7D09E}"/>
              </a:ext>
            </a:extLst>
          </p:cNvPr>
          <p:cNvCxnSpPr>
            <a:cxnSpLocks/>
            <a:stCxn id="22" idx="0"/>
          </p:cNvCxnSpPr>
          <p:nvPr/>
        </p:nvCxnSpPr>
        <p:spPr>
          <a:xfrm>
            <a:off x="3163614" y="5529799"/>
            <a:ext cx="8586952" cy="9153"/>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xmlns="" id="{699798A5-BF51-479B-A5D9-5BA45EBD086D}"/>
              </a:ext>
            </a:extLst>
          </p:cNvPr>
          <p:cNvSpPr txBox="1"/>
          <p:nvPr/>
        </p:nvSpPr>
        <p:spPr>
          <a:xfrm>
            <a:off x="7294179" y="1879142"/>
            <a:ext cx="1739643" cy="369332"/>
          </a:xfrm>
          <a:prstGeom prst="rect">
            <a:avLst/>
          </a:prstGeom>
          <a:noFill/>
        </p:spPr>
        <p:txBody>
          <a:bodyPr wrap="none" rtlCol="0">
            <a:spAutoFit/>
          </a:bodyPr>
          <a:lstStyle/>
          <a:p>
            <a:r>
              <a:rPr lang="en-GB"/>
              <a:t>Frecuencia de los eventos </a:t>
            </a:r>
            <a:endParaRPr lang="en-GB" dirty="0"/>
          </a:p>
        </p:txBody>
      </p:sp>
      <p:sp>
        <p:nvSpPr>
          <p:cNvPr id="46" name="Textfeld 45">
            <a:extLst>
              <a:ext uri="{FF2B5EF4-FFF2-40B4-BE49-F238E27FC236}">
                <a16:creationId xmlns:a16="http://schemas.microsoft.com/office/drawing/2014/main" xmlns="" id="{497AF788-D1DE-4566-A5EF-C1D09DCF7B64}"/>
              </a:ext>
            </a:extLst>
          </p:cNvPr>
          <p:cNvSpPr txBox="1"/>
          <p:nvPr/>
        </p:nvSpPr>
        <p:spPr>
          <a:xfrm>
            <a:off x="3163614" y="5538952"/>
            <a:ext cx="1156920" cy="646331"/>
          </a:xfrm>
          <a:prstGeom prst="rect">
            <a:avLst/>
          </a:prstGeom>
          <a:noFill/>
        </p:spPr>
        <p:txBody>
          <a:bodyPr wrap="none" rtlCol="0">
            <a:spAutoFit/>
          </a:bodyPr>
          <a:lstStyle/>
          <a:p>
            <a:r>
              <a:rPr lang="en-GB"/>
              <a:t>No deseado</a:t>
            </a:r>
            <a:br>
              <a:rPr lang="en-GB"/>
            </a:br>
            <a:r>
              <a:rPr lang="en-GB"/>
              <a:t>Resultados </a:t>
            </a:r>
            <a:endParaRPr lang="en-GB" dirty="0"/>
          </a:p>
        </p:txBody>
      </p:sp>
      <p:sp>
        <p:nvSpPr>
          <p:cNvPr id="47" name="Textfeld 46">
            <a:extLst>
              <a:ext uri="{FF2B5EF4-FFF2-40B4-BE49-F238E27FC236}">
                <a16:creationId xmlns:a16="http://schemas.microsoft.com/office/drawing/2014/main" xmlns="" id="{1EEBDF29-B306-4EBD-BCB7-3CF901E4BDE3}"/>
              </a:ext>
            </a:extLst>
          </p:cNvPr>
          <p:cNvSpPr txBox="1"/>
          <p:nvPr/>
        </p:nvSpPr>
        <p:spPr>
          <a:xfrm>
            <a:off x="10593646" y="5531836"/>
            <a:ext cx="1042273" cy="646331"/>
          </a:xfrm>
          <a:prstGeom prst="rect">
            <a:avLst/>
          </a:prstGeom>
          <a:noFill/>
        </p:spPr>
        <p:txBody>
          <a:bodyPr wrap="none" rtlCol="0">
            <a:spAutoFit/>
          </a:bodyPr>
          <a:lstStyle/>
          <a:p>
            <a:pPr algn="r"/>
            <a:r>
              <a:rPr lang="en-GB"/>
              <a:t>Positivo</a:t>
            </a:r>
            <a:br>
              <a:rPr lang="en-GB"/>
            </a:br>
            <a:r>
              <a:rPr lang="en-GB"/>
              <a:t>Sorpresas </a:t>
            </a:r>
            <a:endParaRPr lang="en-GB" dirty="0"/>
          </a:p>
        </p:txBody>
      </p:sp>
      <p:sp>
        <p:nvSpPr>
          <p:cNvPr id="48" name="Textfeld 47">
            <a:extLst>
              <a:ext uri="{FF2B5EF4-FFF2-40B4-BE49-F238E27FC236}">
                <a16:creationId xmlns:a16="http://schemas.microsoft.com/office/drawing/2014/main" xmlns="" id="{F5800D0A-7CEE-4C04-BA78-9860FDED78B1}"/>
              </a:ext>
            </a:extLst>
          </p:cNvPr>
          <p:cNvSpPr txBox="1"/>
          <p:nvPr/>
        </p:nvSpPr>
        <p:spPr>
          <a:xfrm>
            <a:off x="6724120" y="5529799"/>
            <a:ext cx="1140120" cy="646331"/>
          </a:xfrm>
          <a:prstGeom prst="rect">
            <a:avLst/>
          </a:prstGeom>
          <a:noFill/>
        </p:spPr>
        <p:txBody>
          <a:bodyPr wrap="none" rtlCol="0">
            <a:spAutoFit/>
          </a:bodyPr>
          <a:lstStyle/>
          <a:p>
            <a:pPr algn="ctr"/>
            <a:r>
              <a:rPr lang="en-GB"/>
              <a:t>Esperado</a:t>
            </a:r>
            <a:br>
              <a:rPr lang="en-GB"/>
            </a:br>
            <a:r>
              <a:rPr lang="en-GB"/>
              <a:t>Resultados esperados </a:t>
            </a:r>
            <a:endParaRPr lang="en-GB" dirty="0"/>
          </a:p>
        </p:txBody>
      </p:sp>
      <p:sp>
        <p:nvSpPr>
          <p:cNvPr id="49" name="Ellipse 48">
            <a:extLst>
              <a:ext uri="{FF2B5EF4-FFF2-40B4-BE49-F238E27FC236}">
                <a16:creationId xmlns:a16="http://schemas.microsoft.com/office/drawing/2014/main" xmlns="" id="{D72C5122-0192-4659-9E08-1658B452DC80}"/>
              </a:ext>
            </a:extLst>
          </p:cNvPr>
          <p:cNvSpPr/>
          <p:nvPr/>
        </p:nvSpPr>
        <p:spPr>
          <a:xfrm>
            <a:off x="3163613" y="4831508"/>
            <a:ext cx="2304265" cy="1331184"/>
          </a:xfrm>
          <a:prstGeom prst="ellipse">
            <a:avLst/>
          </a:prstGeom>
          <a:solidFill>
            <a:srgbClr val="C00000">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chemeClr val="bg1"/>
                </a:solidFill>
              </a:rPr>
              <a:t>Alcance de las actividades de aprendizaje</a:t>
            </a:r>
            <a:endParaRPr lang="en-GB" b="1" dirty="0">
              <a:solidFill>
                <a:schemeClr val="bg1"/>
              </a:solidFill>
            </a:endParaRPr>
          </a:p>
        </p:txBody>
      </p:sp>
      <p:sp>
        <p:nvSpPr>
          <p:cNvPr id="50" name="Ellipse 49">
            <a:extLst>
              <a:ext uri="{FF2B5EF4-FFF2-40B4-BE49-F238E27FC236}">
                <a16:creationId xmlns:a16="http://schemas.microsoft.com/office/drawing/2014/main" xmlns="" id="{45408BB8-8012-4346-AFF8-47D180ABFA9E}"/>
              </a:ext>
            </a:extLst>
          </p:cNvPr>
          <p:cNvSpPr/>
          <p:nvPr/>
        </p:nvSpPr>
        <p:spPr>
          <a:xfrm>
            <a:off x="4897822" y="2426381"/>
            <a:ext cx="6852744" cy="3736311"/>
          </a:xfrm>
          <a:prstGeom prst="ellipse">
            <a:avLst/>
          </a:prstGeom>
          <a:solidFill>
            <a:schemeClr val="accent1">
              <a:lumMod val="40000"/>
              <a:lumOff val="60000"/>
              <a:alpha val="7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chemeClr val="bg1"/>
                </a:solidFill>
              </a:rPr>
              <a:t>Oportunidades de aprendizaje perdidas que aportan ideas para la resiliencia ante las crisis</a:t>
            </a:r>
            <a:endParaRPr lang="en-GB" b="1" dirty="0">
              <a:solidFill>
                <a:schemeClr val="bg1"/>
              </a:solidFill>
            </a:endParaRPr>
          </a:p>
        </p:txBody>
      </p:sp>
    </p:spTree>
    <p:extLst>
      <p:ext uri="{BB962C8B-B14F-4D97-AF65-F5344CB8AC3E}">
        <p14:creationId xmlns:p14="http://schemas.microsoft.com/office/powerpoint/2010/main" val="7649768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extLst>
              <p:ext uri="{D42A27DB-BD31-4B8C-83A1-F6EECF244321}">
                <p14:modId xmlns:p14="http://schemas.microsoft.com/office/powerpoint/2010/main" val="1315197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69605" y="586175"/>
            <a:ext cx="8852375" cy="697353"/>
          </a:xfrm>
        </p:spPr>
        <p:txBody>
          <a:bodyPr>
            <a:normAutofit/>
          </a:bodyPr>
          <a:lstStyle/>
          <a:p>
            <a:r>
              <a:rPr lang="en-GB" dirty="0"/>
              <a:t>Aprender de lo que sale bien</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50277" y="2142491"/>
            <a:ext cx="2719697" cy="323708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dirty="0">
                <a:latin typeface="+mj-lt"/>
              </a:rPr>
              <a:t>La vieja mentalidad: Estamos seguros si nada va mal </a:t>
            </a:r>
            <a:endParaRPr lang="en-US" dirty="0"/>
          </a:p>
          <a:p>
            <a:pPr marL="285750" indent="-285750" algn="l">
              <a:lnSpc>
                <a:spcPct val="100000"/>
              </a:lnSpc>
              <a:spcBef>
                <a:spcPts val="600"/>
              </a:spcBef>
              <a:buFont typeface="Wingdings" panose="05000000000000000000" pitchFamily="2" charset="2"/>
              <a:buChar char="à"/>
            </a:pPr>
            <a:r>
              <a:rPr lang="en-GB" altLang="de-DE" dirty="0">
                <a:latin typeface="+mj-lt"/>
                <a:sym typeface="Wingdings" panose="05000000000000000000" pitchFamily="2" charset="2"/>
              </a:rPr>
              <a:t>El aprendizaje se produce cuando las cosas van mal</a:t>
            </a:r>
            <a:endParaRPr lang="en-GB" altLang="de-DE" dirty="0">
              <a:latin typeface="+mj-lt"/>
            </a:endParaRPr>
          </a:p>
          <a:p>
            <a:pPr algn="l">
              <a:lnSpc>
                <a:spcPct val="100000"/>
              </a:lnSpc>
              <a:spcBef>
                <a:spcPts val="600"/>
              </a:spcBef>
            </a:pPr>
            <a:endParaRPr lang="en-GB" altLang="de-DE" dirty="0">
              <a:latin typeface="+mj-lt"/>
            </a:endParaRPr>
          </a:p>
          <a:p>
            <a:pPr algn="l">
              <a:lnSpc>
                <a:spcPct val="100000"/>
              </a:lnSpc>
              <a:spcBef>
                <a:spcPts val="600"/>
              </a:spcBef>
            </a:pPr>
            <a:endParaRPr lang="en-GB" altLang="de-DE" sz="2200" dirty="0">
              <a:latin typeface="+mj-lt"/>
            </a:endParaRPr>
          </a:p>
        </p:txBody>
      </p:sp>
      <p:grpSp>
        <p:nvGrpSpPr>
          <p:cNvPr id="7" name="Grafik 5">
            <a:extLst>
              <a:ext uri="{FF2B5EF4-FFF2-40B4-BE49-F238E27FC236}">
                <a16:creationId xmlns:a16="http://schemas.microsoft.com/office/drawing/2014/main" xmlns="" id="{679E4123-F052-4691-9364-82105EE086EA}"/>
              </a:ext>
            </a:extLst>
          </p:cNvPr>
          <p:cNvGrpSpPr/>
          <p:nvPr/>
        </p:nvGrpSpPr>
        <p:grpSpPr>
          <a:xfrm>
            <a:off x="4440172" y="2459740"/>
            <a:ext cx="2061090" cy="2789035"/>
            <a:chOff x="3857208" y="2764590"/>
            <a:chExt cx="2061090" cy="2789035"/>
          </a:xfrm>
          <a:solidFill>
            <a:srgbClr val="C00000"/>
          </a:solidFill>
        </p:grpSpPr>
        <p:sp>
          <p:nvSpPr>
            <p:cNvPr id="8" name="Freihandform: Form 7">
              <a:extLst>
                <a:ext uri="{FF2B5EF4-FFF2-40B4-BE49-F238E27FC236}">
                  <a16:creationId xmlns:a16="http://schemas.microsoft.com/office/drawing/2014/main" xmlns="" id="{29CDFA3F-9268-4B73-AD28-2FB65459BD31}"/>
                </a:ext>
              </a:extLst>
            </p:cNvPr>
            <p:cNvSpPr/>
            <p:nvPr/>
          </p:nvSpPr>
          <p:spPr>
            <a:xfrm flipV="1">
              <a:off x="3857208" y="2764590"/>
              <a:ext cx="2061090" cy="2789035"/>
            </a:xfrm>
            <a:custGeom>
              <a:avLst/>
              <a:gdLst>
                <a:gd name="connsiteX0" fmla="*/ 1949719 w 2061090"/>
                <a:gd name="connsiteY0" fmla="*/ 2778412 h 2789035"/>
                <a:gd name="connsiteX1" fmla="*/ 1930108 w 2061090"/>
                <a:gd name="connsiteY1" fmla="*/ 2767730 h 2789035"/>
                <a:gd name="connsiteX2" fmla="*/ 1611745 w 2061090"/>
                <a:gd name="connsiteY2" fmla="*/ 2304246 h 2789035"/>
                <a:gd name="connsiteX3" fmla="*/ 1300355 w 2061090"/>
                <a:gd name="connsiteY3" fmla="*/ 1846212 h 2789035"/>
                <a:gd name="connsiteX4" fmla="*/ 698713 w 2061090"/>
                <a:gd name="connsiteY4" fmla="*/ 1846212 h 2789035"/>
                <a:gd name="connsiteX5" fmla="*/ 56104 w 2061090"/>
                <a:gd name="connsiteY5" fmla="*/ 1832695 h 2789035"/>
                <a:gd name="connsiteX6" fmla="*/ -4256 w 2061090"/>
                <a:gd name="connsiteY6" fmla="*/ 1764895 h 2789035"/>
                <a:gd name="connsiteX7" fmla="*/ 8382 w 2061090"/>
                <a:gd name="connsiteY7" fmla="*/ 1745929 h 2789035"/>
                <a:gd name="connsiteX8" fmla="*/ 34531 w 2061090"/>
                <a:gd name="connsiteY8" fmla="*/ 1750289 h 2789035"/>
                <a:gd name="connsiteX9" fmla="*/ 89444 w 2061090"/>
                <a:gd name="connsiteY9" fmla="*/ 1752469 h 2789035"/>
                <a:gd name="connsiteX10" fmla="*/ 100339 w 2061090"/>
                <a:gd name="connsiteY10" fmla="*/ 896789 h 2789035"/>
                <a:gd name="connsiteX11" fmla="*/ 101429 w 2061090"/>
                <a:gd name="connsiteY11" fmla="*/ 53100 h 2789035"/>
                <a:gd name="connsiteX12" fmla="*/ 106441 w 2061090"/>
                <a:gd name="connsiteY12" fmla="*/ 43726 h 2789035"/>
                <a:gd name="connsiteX13" fmla="*/ 796553 w 2061090"/>
                <a:gd name="connsiteY13" fmla="*/ -5762 h 2789035"/>
                <a:gd name="connsiteX14" fmla="*/ 1430882 w 2061090"/>
                <a:gd name="connsiteY14" fmla="*/ 17347 h 2789035"/>
                <a:gd name="connsiteX15" fmla="*/ 1466401 w 2061090"/>
                <a:gd name="connsiteY15" fmla="*/ 53754 h 2789035"/>
                <a:gd name="connsiteX16" fmla="*/ 1468798 w 2061090"/>
                <a:gd name="connsiteY16" fmla="*/ 884581 h 2789035"/>
                <a:gd name="connsiteX17" fmla="*/ 1473156 w 2061090"/>
                <a:gd name="connsiteY17" fmla="*/ 1721076 h 2789035"/>
                <a:gd name="connsiteX18" fmla="*/ 1507803 w 2061090"/>
                <a:gd name="connsiteY18" fmla="*/ 1792582 h 2789035"/>
                <a:gd name="connsiteX19" fmla="*/ 1523275 w 2061090"/>
                <a:gd name="connsiteY19" fmla="*/ 1821577 h 2789035"/>
                <a:gd name="connsiteX20" fmla="*/ 1500394 w 2061090"/>
                <a:gd name="connsiteY20" fmla="*/ 1842070 h 2789035"/>
                <a:gd name="connsiteX21" fmla="*/ 1489063 w 2061090"/>
                <a:gd name="connsiteY21" fmla="*/ 1847520 h 2789035"/>
                <a:gd name="connsiteX22" fmla="*/ 1768202 w 2061090"/>
                <a:gd name="connsiteY22" fmla="*/ 2262170 h 2789035"/>
                <a:gd name="connsiteX23" fmla="*/ 2052790 w 2061090"/>
                <a:gd name="connsiteY23" fmla="*/ 2685977 h 2789035"/>
                <a:gd name="connsiteX24" fmla="*/ 2051700 w 2061090"/>
                <a:gd name="connsiteY24" fmla="*/ 2722602 h 2789035"/>
                <a:gd name="connsiteX25" fmla="*/ 1990468 w 2061090"/>
                <a:gd name="connsiteY25" fmla="*/ 2777322 h 2789035"/>
                <a:gd name="connsiteX26" fmla="*/ 1949719 w 2061090"/>
                <a:gd name="connsiteY26" fmla="*/ 2778412 h 2789035"/>
                <a:gd name="connsiteX27" fmla="*/ 2037100 w 2061090"/>
                <a:gd name="connsiteY27" fmla="*/ 2729796 h 2789035"/>
                <a:gd name="connsiteX28" fmla="*/ 2037754 w 2061090"/>
                <a:gd name="connsiteY28" fmla="*/ 2675731 h 2789035"/>
                <a:gd name="connsiteX29" fmla="*/ 1754910 w 2061090"/>
                <a:gd name="connsiteY29" fmla="*/ 2258246 h 2789035"/>
                <a:gd name="connsiteX30" fmla="*/ 1478386 w 2061090"/>
                <a:gd name="connsiteY30" fmla="*/ 1851662 h 2789035"/>
                <a:gd name="connsiteX31" fmla="*/ 1455287 w 2061090"/>
                <a:gd name="connsiteY31" fmla="*/ 1851662 h 2789035"/>
                <a:gd name="connsiteX32" fmla="*/ 1430664 w 2061090"/>
                <a:gd name="connsiteY32" fmla="*/ 1852970 h 2789035"/>
                <a:gd name="connsiteX33" fmla="*/ 1450711 w 2061090"/>
                <a:gd name="connsiteY33" fmla="*/ 1885671 h 2789035"/>
                <a:gd name="connsiteX34" fmla="*/ 1491242 w 2061090"/>
                <a:gd name="connsiteY34" fmla="*/ 1945405 h 2789035"/>
                <a:gd name="connsiteX35" fmla="*/ 1548334 w 2061090"/>
                <a:gd name="connsiteY35" fmla="*/ 2029338 h 2789035"/>
                <a:gd name="connsiteX36" fmla="*/ 1622422 w 2061090"/>
                <a:gd name="connsiteY36" fmla="*/ 2138342 h 2789035"/>
                <a:gd name="connsiteX37" fmla="*/ 1680822 w 2061090"/>
                <a:gd name="connsiteY37" fmla="*/ 2224455 h 2789035"/>
                <a:gd name="connsiteX38" fmla="*/ 1860813 w 2061090"/>
                <a:gd name="connsiteY38" fmla="*/ 2489334 h 2789035"/>
                <a:gd name="connsiteX39" fmla="*/ 2030999 w 2061090"/>
                <a:gd name="connsiteY39" fmla="*/ 2735683 h 2789035"/>
                <a:gd name="connsiteX40" fmla="*/ 2037100 w 2061090"/>
                <a:gd name="connsiteY40" fmla="*/ 2729796 h 2789035"/>
                <a:gd name="connsiteX41" fmla="*/ 1290114 w 2061090"/>
                <a:gd name="connsiteY41" fmla="*/ 1835094 h 2789035"/>
                <a:gd name="connsiteX42" fmla="*/ 731835 w 2061090"/>
                <a:gd name="connsiteY42" fmla="*/ 1012333 h 2789035"/>
                <a:gd name="connsiteX43" fmla="*/ 595425 w 2061090"/>
                <a:gd name="connsiteY43" fmla="*/ 813074 h 2789035"/>
                <a:gd name="connsiteX44" fmla="*/ 471871 w 2061090"/>
                <a:gd name="connsiteY44" fmla="*/ 631256 h 2789035"/>
                <a:gd name="connsiteX45" fmla="*/ 458143 w 2061090"/>
                <a:gd name="connsiteY45" fmla="*/ 630820 h 2789035"/>
                <a:gd name="connsiteX46" fmla="*/ 441364 w 2061090"/>
                <a:gd name="connsiteY46" fmla="*/ 623190 h 2789035"/>
                <a:gd name="connsiteX47" fmla="*/ 449645 w 2061090"/>
                <a:gd name="connsiteY47" fmla="*/ 621446 h 2789035"/>
                <a:gd name="connsiteX48" fmla="*/ 457272 w 2061090"/>
                <a:gd name="connsiteY48" fmla="*/ 616214 h 2789035"/>
                <a:gd name="connsiteX49" fmla="*/ 434827 w 2061090"/>
                <a:gd name="connsiteY49" fmla="*/ 576318 h 2789035"/>
                <a:gd name="connsiteX50" fmla="*/ 409550 w 2061090"/>
                <a:gd name="connsiteY50" fmla="*/ 542527 h 2789035"/>
                <a:gd name="connsiteX51" fmla="*/ 407153 w 2061090"/>
                <a:gd name="connsiteY51" fmla="*/ 1003177 h 2789035"/>
                <a:gd name="connsiteX52" fmla="*/ 406717 w 2061090"/>
                <a:gd name="connsiteY52" fmla="*/ 1466225 h 2789035"/>
                <a:gd name="connsiteX53" fmla="*/ 371416 w 2061090"/>
                <a:gd name="connsiteY53" fmla="*/ 1472983 h 2789035"/>
                <a:gd name="connsiteX54" fmla="*/ 340473 w 2061090"/>
                <a:gd name="connsiteY54" fmla="*/ 1468623 h 2789035"/>
                <a:gd name="connsiteX55" fmla="*/ 365750 w 2061090"/>
                <a:gd name="connsiteY55" fmla="*/ 1464699 h 2789035"/>
                <a:gd name="connsiteX56" fmla="*/ 395386 w 2061090"/>
                <a:gd name="connsiteY56" fmla="*/ 1463391 h 2789035"/>
                <a:gd name="connsiteX57" fmla="*/ 398872 w 2061090"/>
                <a:gd name="connsiteY57" fmla="*/ 1323212 h 2789035"/>
                <a:gd name="connsiteX58" fmla="*/ 396257 w 2061090"/>
                <a:gd name="connsiteY58" fmla="*/ 1181725 h 2789035"/>
                <a:gd name="connsiteX59" fmla="*/ 366622 w 2061090"/>
                <a:gd name="connsiteY59" fmla="*/ 1179109 h 2789035"/>
                <a:gd name="connsiteX60" fmla="*/ 340473 w 2061090"/>
                <a:gd name="connsiteY60" fmla="*/ 1175403 h 2789035"/>
                <a:gd name="connsiteX61" fmla="*/ 369455 w 2061090"/>
                <a:gd name="connsiteY61" fmla="*/ 1170389 h 2789035"/>
                <a:gd name="connsiteX62" fmla="*/ 397783 w 2061090"/>
                <a:gd name="connsiteY62" fmla="*/ 1169299 h 2789035"/>
                <a:gd name="connsiteX63" fmla="*/ 398219 w 2061090"/>
                <a:gd name="connsiteY63" fmla="*/ 1114797 h 2789035"/>
                <a:gd name="connsiteX64" fmla="*/ 397129 w 2061090"/>
                <a:gd name="connsiteY64" fmla="*/ 975272 h 2789035"/>
                <a:gd name="connsiteX65" fmla="*/ 395604 w 2061090"/>
                <a:gd name="connsiteY65" fmla="*/ 890249 h 2789035"/>
                <a:gd name="connsiteX66" fmla="*/ 367712 w 2061090"/>
                <a:gd name="connsiteY66" fmla="*/ 889595 h 2789035"/>
                <a:gd name="connsiteX67" fmla="*/ 338512 w 2061090"/>
                <a:gd name="connsiteY67" fmla="*/ 885671 h 2789035"/>
                <a:gd name="connsiteX68" fmla="*/ 370109 w 2061090"/>
                <a:gd name="connsiteY68" fmla="*/ 878259 h 2789035"/>
                <a:gd name="connsiteX69" fmla="*/ 396693 w 2061090"/>
                <a:gd name="connsiteY69" fmla="*/ 878259 h 2789035"/>
                <a:gd name="connsiteX70" fmla="*/ 396693 w 2061090"/>
                <a:gd name="connsiteY70" fmla="*/ 738734 h 2789035"/>
                <a:gd name="connsiteX71" fmla="*/ 396693 w 2061090"/>
                <a:gd name="connsiteY71" fmla="*/ 599209 h 2789035"/>
                <a:gd name="connsiteX72" fmla="*/ 370109 w 2061090"/>
                <a:gd name="connsiteY72" fmla="*/ 599209 h 2789035"/>
                <a:gd name="connsiteX73" fmla="*/ 338512 w 2061090"/>
                <a:gd name="connsiteY73" fmla="*/ 591797 h 2789035"/>
                <a:gd name="connsiteX74" fmla="*/ 367712 w 2061090"/>
                <a:gd name="connsiteY74" fmla="*/ 587873 h 2789035"/>
                <a:gd name="connsiteX75" fmla="*/ 395604 w 2061090"/>
                <a:gd name="connsiteY75" fmla="*/ 587219 h 2789035"/>
                <a:gd name="connsiteX76" fmla="*/ 396257 w 2061090"/>
                <a:gd name="connsiteY76" fmla="*/ 553863 h 2789035"/>
                <a:gd name="connsiteX77" fmla="*/ 396911 w 2061090"/>
                <a:gd name="connsiteY77" fmla="*/ 520508 h 2789035"/>
                <a:gd name="connsiteX78" fmla="*/ 338730 w 2061090"/>
                <a:gd name="connsiteY78" fmla="*/ 435049 h 2789035"/>
                <a:gd name="connsiteX79" fmla="*/ 272922 w 2061090"/>
                <a:gd name="connsiteY79" fmla="*/ 342614 h 2789035"/>
                <a:gd name="connsiteX80" fmla="*/ 256143 w 2061090"/>
                <a:gd name="connsiteY80" fmla="*/ 337382 h 2789035"/>
                <a:gd name="connsiteX81" fmla="*/ 237621 w 2061090"/>
                <a:gd name="connsiteY81" fmla="*/ 333022 h 2789035"/>
                <a:gd name="connsiteX82" fmla="*/ 243069 w 2061090"/>
                <a:gd name="connsiteY82" fmla="*/ 331060 h 2789035"/>
                <a:gd name="connsiteX83" fmla="*/ 247645 w 2061090"/>
                <a:gd name="connsiteY83" fmla="*/ 330842 h 2789035"/>
                <a:gd name="connsiteX84" fmla="*/ 257233 w 2061090"/>
                <a:gd name="connsiteY84" fmla="*/ 329752 h 2789035"/>
                <a:gd name="connsiteX85" fmla="*/ 258322 w 2061090"/>
                <a:gd name="connsiteY85" fmla="*/ 317979 h 2789035"/>
                <a:gd name="connsiteX86" fmla="*/ 248516 w 2061090"/>
                <a:gd name="connsiteY86" fmla="*/ 314709 h 2789035"/>
                <a:gd name="connsiteX87" fmla="*/ 237839 w 2061090"/>
                <a:gd name="connsiteY87" fmla="*/ 318197 h 2789035"/>
                <a:gd name="connsiteX88" fmla="*/ 226725 w 2061090"/>
                <a:gd name="connsiteY88" fmla="*/ 323430 h 2789035"/>
                <a:gd name="connsiteX89" fmla="*/ 221932 w 2061090"/>
                <a:gd name="connsiteY89" fmla="*/ 330842 h 2789035"/>
                <a:gd name="connsiteX90" fmla="*/ 214958 w 2061090"/>
                <a:gd name="connsiteY90" fmla="*/ 331278 h 2789035"/>
                <a:gd name="connsiteX91" fmla="*/ 206024 w 2061090"/>
                <a:gd name="connsiteY91" fmla="*/ 330406 h 2789035"/>
                <a:gd name="connsiteX92" fmla="*/ 202102 w 2061090"/>
                <a:gd name="connsiteY92" fmla="*/ 328226 h 2789035"/>
                <a:gd name="connsiteX93" fmla="*/ 200577 w 2061090"/>
                <a:gd name="connsiteY93" fmla="*/ 324738 h 2789035"/>
                <a:gd name="connsiteX94" fmla="*/ 196001 w 2061090"/>
                <a:gd name="connsiteY94" fmla="*/ 318633 h 2789035"/>
                <a:gd name="connsiteX95" fmla="*/ 192296 w 2061090"/>
                <a:gd name="connsiteY95" fmla="*/ 311657 h 2789035"/>
                <a:gd name="connsiteX96" fmla="*/ 198833 w 2061090"/>
                <a:gd name="connsiteY96" fmla="*/ 306643 h 2789035"/>
                <a:gd name="connsiteX97" fmla="*/ 206242 w 2061090"/>
                <a:gd name="connsiteY97" fmla="*/ 301411 h 2789035"/>
                <a:gd name="connsiteX98" fmla="*/ 196654 w 2061090"/>
                <a:gd name="connsiteY98" fmla="*/ 292036 h 2789035"/>
                <a:gd name="connsiteX99" fmla="*/ 193168 w 2061090"/>
                <a:gd name="connsiteY99" fmla="*/ 285060 h 2789035"/>
                <a:gd name="connsiteX100" fmla="*/ 207985 w 2061090"/>
                <a:gd name="connsiteY100" fmla="*/ 282008 h 2789035"/>
                <a:gd name="connsiteX101" fmla="*/ 218009 w 2061090"/>
                <a:gd name="connsiteY101" fmla="*/ 278956 h 2789035"/>
                <a:gd name="connsiteX102" fmla="*/ 220188 w 2061090"/>
                <a:gd name="connsiteY102" fmla="*/ 270890 h 2789035"/>
                <a:gd name="connsiteX103" fmla="*/ 217573 w 2061090"/>
                <a:gd name="connsiteY103" fmla="*/ 268710 h 2789035"/>
                <a:gd name="connsiteX104" fmla="*/ 212997 w 2061090"/>
                <a:gd name="connsiteY104" fmla="*/ 259553 h 2789035"/>
                <a:gd name="connsiteX105" fmla="*/ 206024 w 2061090"/>
                <a:gd name="connsiteY105" fmla="*/ 258681 h 2789035"/>
                <a:gd name="connsiteX106" fmla="*/ 198615 w 2061090"/>
                <a:gd name="connsiteY106" fmla="*/ 270018 h 2789035"/>
                <a:gd name="connsiteX107" fmla="*/ 188810 w 2061090"/>
                <a:gd name="connsiteY107" fmla="*/ 273288 h 2789035"/>
                <a:gd name="connsiteX108" fmla="*/ 172467 w 2061090"/>
                <a:gd name="connsiteY108" fmla="*/ 280918 h 2789035"/>
                <a:gd name="connsiteX109" fmla="*/ 165711 w 2061090"/>
                <a:gd name="connsiteY109" fmla="*/ 285714 h 2789035"/>
                <a:gd name="connsiteX110" fmla="*/ 160046 w 2061090"/>
                <a:gd name="connsiteY110" fmla="*/ 290946 h 2789035"/>
                <a:gd name="connsiteX111" fmla="*/ 153509 w 2061090"/>
                <a:gd name="connsiteY111" fmla="*/ 293344 h 2789035"/>
                <a:gd name="connsiteX112" fmla="*/ 147625 w 2061090"/>
                <a:gd name="connsiteY112" fmla="*/ 299449 h 2789035"/>
                <a:gd name="connsiteX113" fmla="*/ 142177 w 2061090"/>
                <a:gd name="connsiteY113" fmla="*/ 306425 h 2789035"/>
                <a:gd name="connsiteX114" fmla="*/ 154598 w 2061090"/>
                <a:gd name="connsiteY114" fmla="*/ 318633 h 2789035"/>
                <a:gd name="connsiteX115" fmla="*/ 159174 w 2061090"/>
                <a:gd name="connsiteY115" fmla="*/ 324302 h 2789035"/>
                <a:gd name="connsiteX116" fmla="*/ 162443 w 2061090"/>
                <a:gd name="connsiteY116" fmla="*/ 331060 h 2789035"/>
                <a:gd name="connsiteX117" fmla="*/ 165711 w 2061090"/>
                <a:gd name="connsiteY117" fmla="*/ 334330 h 2789035"/>
                <a:gd name="connsiteX118" fmla="*/ 163750 w 2061090"/>
                <a:gd name="connsiteY118" fmla="*/ 337600 h 2789035"/>
                <a:gd name="connsiteX119" fmla="*/ 159174 w 2061090"/>
                <a:gd name="connsiteY119" fmla="*/ 334330 h 2789035"/>
                <a:gd name="connsiteX120" fmla="*/ 152855 w 2061090"/>
                <a:gd name="connsiteY120" fmla="*/ 331060 h 2789035"/>
                <a:gd name="connsiteX121" fmla="*/ 143267 w 2061090"/>
                <a:gd name="connsiteY121" fmla="*/ 317979 h 2789035"/>
                <a:gd name="connsiteX122" fmla="*/ 132807 w 2061090"/>
                <a:gd name="connsiteY122" fmla="*/ 304899 h 2789035"/>
                <a:gd name="connsiteX123" fmla="*/ 128667 w 2061090"/>
                <a:gd name="connsiteY123" fmla="*/ 301411 h 2789035"/>
                <a:gd name="connsiteX124" fmla="*/ 132154 w 2061090"/>
                <a:gd name="connsiteY124" fmla="*/ 299231 h 2789035"/>
                <a:gd name="connsiteX125" fmla="*/ 143921 w 2061090"/>
                <a:gd name="connsiteY125" fmla="*/ 290292 h 2789035"/>
                <a:gd name="connsiteX126" fmla="*/ 149368 w 2061090"/>
                <a:gd name="connsiteY126" fmla="*/ 287458 h 2789035"/>
                <a:gd name="connsiteX127" fmla="*/ 154816 w 2061090"/>
                <a:gd name="connsiteY127" fmla="*/ 283970 h 2789035"/>
                <a:gd name="connsiteX128" fmla="*/ 145664 w 2061090"/>
                <a:gd name="connsiteY128" fmla="*/ 281790 h 2789035"/>
                <a:gd name="connsiteX129" fmla="*/ 133679 w 2061090"/>
                <a:gd name="connsiteY129" fmla="*/ 287022 h 2789035"/>
                <a:gd name="connsiteX130" fmla="*/ 131718 w 2061090"/>
                <a:gd name="connsiteY130" fmla="*/ 283752 h 2789035"/>
                <a:gd name="connsiteX131" fmla="*/ 129757 w 2061090"/>
                <a:gd name="connsiteY131" fmla="*/ 274378 h 2789035"/>
                <a:gd name="connsiteX132" fmla="*/ 128667 w 2061090"/>
                <a:gd name="connsiteY132" fmla="*/ 267838 h 2789035"/>
                <a:gd name="connsiteX133" fmla="*/ 128013 w 2061090"/>
                <a:gd name="connsiteY133" fmla="*/ 250397 h 2789035"/>
                <a:gd name="connsiteX134" fmla="*/ 119951 w 2061090"/>
                <a:gd name="connsiteY134" fmla="*/ 260643 h 2789035"/>
                <a:gd name="connsiteX135" fmla="*/ 112542 w 2061090"/>
                <a:gd name="connsiteY135" fmla="*/ 263695 h 2789035"/>
                <a:gd name="connsiteX136" fmla="*/ 118208 w 2061090"/>
                <a:gd name="connsiteY136" fmla="*/ 246691 h 2789035"/>
                <a:gd name="connsiteX137" fmla="*/ 122130 w 2061090"/>
                <a:gd name="connsiteY137" fmla="*/ 243421 h 2789035"/>
                <a:gd name="connsiteX138" fmla="*/ 128667 w 2061090"/>
                <a:gd name="connsiteY138" fmla="*/ 242767 h 2789035"/>
                <a:gd name="connsiteX139" fmla="*/ 133897 w 2061090"/>
                <a:gd name="connsiteY139" fmla="*/ 233174 h 2789035"/>
                <a:gd name="connsiteX140" fmla="*/ 121258 w 2061090"/>
                <a:gd name="connsiteY140" fmla="*/ 229904 h 2789035"/>
                <a:gd name="connsiteX141" fmla="*/ 112978 w 2061090"/>
                <a:gd name="connsiteY141" fmla="*/ 216170 h 2789035"/>
                <a:gd name="connsiteX142" fmla="*/ 118426 w 2061090"/>
                <a:gd name="connsiteY142" fmla="*/ 193715 h 2789035"/>
                <a:gd name="connsiteX143" fmla="*/ 129321 w 2061090"/>
                <a:gd name="connsiteY143" fmla="*/ 185213 h 2789035"/>
                <a:gd name="connsiteX144" fmla="*/ 134115 w 2061090"/>
                <a:gd name="connsiteY144" fmla="*/ 174094 h 2789035"/>
                <a:gd name="connsiteX145" fmla="*/ 130846 w 2061090"/>
                <a:gd name="connsiteY145" fmla="*/ 168426 h 2789035"/>
                <a:gd name="connsiteX146" fmla="*/ 123002 w 2061090"/>
                <a:gd name="connsiteY146" fmla="*/ 165592 h 2789035"/>
                <a:gd name="connsiteX147" fmla="*/ 120605 w 2061090"/>
                <a:gd name="connsiteY147" fmla="*/ 176492 h 2789035"/>
                <a:gd name="connsiteX148" fmla="*/ 115157 w 2061090"/>
                <a:gd name="connsiteY148" fmla="*/ 189355 h 2789035"/>
                <a:gd name="connsiteX149" fmla="*/ 115811 w 2061090"/>
                <a:gd name="connsiteY149" fmla="*/ 179109 h 2789035"/>
                <a:gd name="connsiteX150" fmla="*/ 114503 w 2061090"/>
                <a:gd name="connsiteY150" fmla="*/ 169952 h 2789035"/>
                <a:gd name="connsiteX151" fmla="*/ 116900 w 2061090"/>
                <a:gd name="connsiteY151" fmla="*/ 158834 h 2789035"/>
                <a:gd name="connsiteX152" fmla="*/ 118643 w 2061090"/>
                <a:gd name="connsiteY152" fmla="*/ 147497 h 2789035"/>
                <a:gd name="connsiteX153" fmla="*/ 118861 w 2061090"/>
                <a:gd name="connsiteY153" fmla="*/ 143791 h 2789035"/>
                <a:gd name="connsiteX154" fmla="*/ 126052 w 2061090"/>
                <a:gd name="connsiteY154" fmla="*/ 150768 h 2789035"/>
                <a:gd name="connsiteX155" fmla="*/ 137819 w 2061090"/>
                <a:gd name="connsiteY155" fmla="*/ 154256 h 2789035"/>
                <a:gd name="connsiteX156" fmla="*/ 135422 w 2061090"/>
                <a:gd name="connsiteY156" fmla="*/ 145535 h 2789035"/>
                <a:gd name="connsiteX157" fmla="*/ 126488 w 2061090"/>
                <a:gd name="connsiteY157" fmla="*/ 139213 h 2789035"/>
                <a:gd name="connsiteX158" fmla="*/ 124309 w 2061090"/>
                <a:gd name="connsiteY158" fmla="*/ 118502 h 2789035"/>
                <a:gd name="connsiteX159" fmla="*/ 123002 w 2061090"/>
                <a:gd name="connsiteY159" fmla="*/ 101280 h 2789035"/>
                <a:gd name="connsiteX160" fmla="*/ 121040 w 2061090"/>
                <a:gd name="connsiteY160" fmla="*/ 97792 h 2789035"/>
                <a:gd name="connsiteX161" fmla="*/ 117990 w 2061090"/>
                <a:gd name="connsiteY161" fmla="*/ 88199 h 2789035"/>
                <a:gd name="connsiteX162" fmla="*/ 115157 w 2061090"/>
                <a:gd name="connsiteY162" fmla="*/ 71631 h 2789035"/>
                <a:gd name="connsiteX163" fmla="*/ 119515 w 2061090"/>
                <a:gd name="connsiteY163" fmla="*/ 78171 h 2789035"/>
                <a:gd name="connsiteX164" fmla="*/ 125616 w 2061090"/>
                <a:gd name="connsiteY164" fmla="*/ 79261 h 2789035"/>
                <a:gd name="connsiteX165" fmla="*/ 123002 w 2061090"/>
                <a:gd name="connsiteY165" fmla="*/ 68361 h 2789035"/>
                <a:gd name="connsiteX166" fmla="*/ 124963 w 2061090"/>
                <a:gd name="connsiteY166" fmla="*/ 58986 h 2789035"/>
                <a:gd name="connsiteX167" fmla="*/ 127360 w 2061090"/>
                <a:gd name="connsiteY167" fmla="*/ 50484 h 2789035"/>
                <a:gd name="connsiteX168" fmla="*/ 128449 w 2061090"/>
                <a:gd name="connsiteY168" fmla="*/ 44598 h 2789035"/>
                <a:gd name="connsiteX169" fmla="*/ 133461 w 2061090"/>
                <a:gd name="connsiteY169" fmla="*/ 62911 h 2789035"/>
                <a:gd name="connsiteX170" fmla="*/ 137383 w 2061090"/>
                <a:gd name="connsiteY170" fmla="*/ 72721 h 2789035"/>
                <a:gd name="connsiteX171" fmla="*/ 139998 w 2061090"/>
                <a:gd name="connsiteY171" fmla="*/ 65745 h 2789035"/>
                <a:gd name="connsiteX172" fmla="*/ 142177 w 2061090"/>
                <a:gd name="connsiteY172" fmla="*/ 58332 h 2789035"/>
                <a:gd name="connsiteX173" fmla="*/ 147189 w 2061090"/>
                <a:gd name="connsiteY173" fmla="*/ 57460 h 2789035"/>
                <a:gd name="connsiteX174" fmla="*/ 151983 w 2061090"/>
                <a:gd name="connsiteY174" fmla="*/ 56806 h 2789035"/>
                <a:gd name="connsiteX175" fmla="*/ 154162 w 2061090"/>
                <a:gd name="connsiteY175" fmla="*/ 50266 h 2789035"/>
                <a:gd name="connsiteX176" fmla="*/ 161789 w 2061090"/>
                <a:gd name="connsiteY176" fmla="*/ 44380 h 2789035"/>
                <a:gd name="connsiteX177" fmla="*/ 173338 w 2061090"/>
                <a:gd name="connsiteY177" fmla="*/ 34134 h 2789035"/>
                <a:gd name="connsiteX178" fmla="*/ 178568 w 2061090"/>
                <a:gd name="connsiteY178" fmla="*/ 27375 h 2789035"/>
                <a:gd name="connsiteX179" fmla="*/ 184016 w 2061090"/>
                <a:gd name="connsiteY179" fmla="*/ 19309 h 2789035"/>
                <a:gd name="connsiteX180" fmla="*/ 167237 w 2061090"/>
                <a:gd name="connsiteY180" fmla="*/ 24977 h 2789035"/>
                <a:gd name="connsiteX181" fmla="*/ 157213 w 2061090"/>
                <a:gd name="connsiteY181" fmla="*/ 33480 h 2789035"/>
                <a:gd name="connsiteX182" fmla="*/ 154816 w 2061090"/>
                <a:gd name="connsiteY182" fmla="*/ 28901 h 2789035"/>
                <a:gd name="connsiteX183" fmla="*/ 132590 w 2061090"/>
                <a:gd name="connsiteY183" fmla="*/ 32389 h 2789035"/>
                <a:gd name="connsiteX184" fmla="*/ 120169 w 2061090"/>
                <a:gd name="connsiteY184" fmla="*/ 52010 h 2789035"/>
                <a:gd name="connsiteX185" fmla="*/ 119733 w 2061090"/>
                <a:gd name="connsiteY185" fmla="*/ 60948 h 2789035"/>
                <a:gd name="connsiteX186" fmla="*/ 113196 w 2061090"/>
                <a:gd name="connsiteY186" fmla="*/ 59204 h 2789035"/>
                <a:gd name="connsiteX187" fmla="*/ 110799 w 2061090"/>
                <a:gd name="connsiteY187" fmla="*/ 60730 h 2789035"/>
                <a:gd name="connsiteX188" fmla="*/ 107530 w 2061090"/>
                <a:gd name="connsiteY188" fmla="*/ 884799 h 2789035"/>
                <a:gd name="connsiteX189" fmla="*/ 106223 w 2061090"/>
                <a:gd name="connsiteY189" fmla="*/ 1725218 h 2789035"/>
                <a:gd name="connsiteX190" fmla="*/ 38018 w 2061090"/>
                <a:gd name="connsiteY190" fmla="*/ 1759009 h 2789035"/>
                <a:gd name="connsiteX191" fmla="*/ 9472 w 2061090"/>
                <a:gd name="connsiteY191" fmla="*/ 1755521 h 2789035"/>
                <a:gd name="connsiteX192" fmla="*/ 6639 w 2061090"/>
                <a:gd name="connsiteY192" fmla="*/ 1765113 h 2789035"/>
                <a:gd name="connsiteX193" fmla="*/ 33442 w 2061090"/>
                <a:gd name="connsiteY193" fmla="*/ 1806099 h 2789035"/>
                <a:gd name="connsiteX194" fmla="*/ 78113 w 2061090"/>
                <a:gd name="connsiteY194" fmla="*/ 1833350 h 2789035"/>
                <a:gd name="connsiteX195" fmla="*/ 690432 w 2061090"/>
                <a:gd name="connsiteY195" fmla="*/ 1837274 h 2789035"/>
                <a:gd name="connsiteX196" fmla="*/ 1290114 w 2061090"/>
                <a:gd name="connsiteY196" fmla="*/ 1835094 h 2789035"/>
                <a:gd name="connsiteX197" fmla="*/ 1505842 w 2061090"/>
                <a:gd name="connsiteY197" fmla="*/ 1831169 h 2789035"/>
                <a:gd name="connsiteX198" fmla="*/ 1500830 w 2061090"/>
                <a:gd name="connsiteY198" fmla="*/ 1796070 h 2789035"/>
                <a:gd name="connsiteX199" fmla="*/ 1466183 w 2061090"/>
                <a:gd name="connsiteY199" fmla="*/ 1728052 h 2789035"/>
                <a:gd name="connsiteX200" fmla="*/ 1461171 w 2061090"/>
                <a:gd name="connsiteY200" fmla="*/ 1712137 h 2789035"/>
                <a:gd name="connsiteX201" fmla="*/ 1460081 w 2061090"/>
                <a:gd name="connsiteY201" fmla="*/ 1028684 h 2789035"/>
                <a:gd name="connsiteX202" fmla="*/ 1458338 w 2061090"/>
                <a:gd name="connsiteY202" fmla="*/ 344794 h 2789035"/>
                <a:gd name="connsiteX203" fmla="*/ 1455070 w 2061090"/>
                <a:gd name="connsiteY203" fmla="*/ 344140 h 2789035"/>
                <a:gd name="connsiteX204" fmla="*/ 1448097 w 2061090"/>
                <a:gd name="connsiteY204" fmla="*/ 330842 h 2789035"/>
                <a:gd name="connsiteX205" fmla="*/ 1453544 w 2061090"/>
                <a:gd name="connsiteY205" fmla="*/ 328880 h 2789035"/>
                <a:gd name="connsiteX206" fmla="*/ 1457684 w 2061090"/>
                <a:gd name="connsiteY206" fmla="*/ 321031 h 2789035"/>
                <a:gd name="connsiteX207" fmla="*/ 1446571 w 2061090"/>
                <a:gd name="connsiteY207" fmla="*/ 318415 h 2789035"/>
                <a:gd name="connsiteX208" fmla="*/ 1438291 w 2061090"/>
                <a:gd name="connsiteY208" fmla="*/ 316453 h 2789035"/>
                <a:gd name="connsiteX209" fmla="*/ 1441341 w 2061090"/>
                <a:gd name="connsiteY209" fmla="*/ 313619 h 2789035"/>
                <a:gd name="connsiteX210" fmla="*/ 1447007 w 2061090"/>
                <a:gd name="connsiteY210" fmla="*/ 310349 h 2789035"/>
                <a:gd name="connsiteX211" fmla="*/ 1447007 w 2061090"/>
                <a:gd name="connsiteY211" fmla="*/ 303809 h 2789035"/>
                <a:gd name="connsiteX212" fmla="*/ 1438944 w 2061090"/>
                <a:gd name="connsiteY212" fmla="*/ 304899 h 2789035"/>
                <a:gd name="connsiteX213" fmla="*/ 1428485 w 2061090"/>
                <a:gd name="connsiteY213" fmla="*/ 306643 h 2789035"/>
                <a:gd name="connsiteX214" fmla="*/ 1425652 w 2061090"/>
                <a:gd name="connsiteY214" fmla="*/ 297923 h 2789035"/>
                <a:gd name="connsiteX215" fmla="*/ 1426524 w 2061090"/>
                <a:gd name="connsiteY215" fmla="*/ 277866 h 2789035"/>
                <a:gd name="connsiteX216" fmla="*/ 1429356 w 2061090"/>
                <a:gd name="connsiteY216" fmla="*/ 260425 h 2789035"/>
                <a:gd name="connsiteX217" fmla="*/ 1442213 w 2061090"/>
                <a:gd name="connsiteY217" fmla="*/ 264131 h 2789035"/>
                <a:gd name="connsiteX218" fmla="*/ 1448750 w 2061090"/>
                <a:gd name="connsiteY218" fmla="*/ 267402 h 2789035"/>
                <a:gd name="connsiteX219" fmla="*/ 1444828 w 2061090"/>
                <a:gd name="connsiteY219" fmla="*/ 253013 h 2789035"/>
                <a:gd name="connsiteX220" fmla="*/ 1442431 w 2061090"/>
                <a:gd name="connsiteY220" fmla="*/ 241677 h 2789035"/>
                <a:gd name="connsiteX221" fmla="*/ 1457902 w 2061090"/>
                <a:gd name="connsiteY221" fmla="*/ 239497 h 2789035"/>
                <a:gd name="connsiteX222" fmla="*/ 1455070 w 2061090"/>
                <a:gd name="connsiteY222" fmla="*/ 236445 h 2789035"/>
                <a:gd name="connsiteX223" fmla="*/ 1449186 w 2061090"/>
                <a:gd name="connsiteY223" fmla="*/ 232084 h 2789035"/>
                <a:gd name="connsiteX224" fmla="*/ 1449404 w 2061090"/>
                <a:gd name="connsiteY224" fmla="*/ 222928 h 2789035"/>
                <a:gd name="connsiteX225" fmla="*/ 1447007 w 2061090"/>
                <a:gd name="connsiteY225" fmla="*/ 220966 h 2789035"/>
                <a:gd name="connsiteX226" fmla="*/ 1441559 w 2061090"/>
                <a:gd name="connsiteY226" fmla="*/ 222928 h 2789035"/>
                <a:gd name="connsiteX227" fmla="*/ 1435458 w 2061090"/>
                <a:gd name="connsiteY227" fmla="*/ 230994 h 2789035"/>
                <a:gd name="connsiteX228" fmla="*/ 1428485 w 2061090"/>
                <a:gd name="connsiteY228" fmla="*/ 230776 h 2789035"/>
                <a:gd name="connsiteX229" fmla="*/ 1423037 w 2061090"/>
                <a:gd name="connsiteY229" fmla="*/ 227288 h 2789035"/>
                <a:gd name="connsiteX230" fmla="*/ 1426306 w 2061090"/>
                <a:gd name="connsiteY230" fmla="*/ 225108 h 2789035"/>
                <a:gd name="connsiteX231" fmla="*/ 1440906 w 2061090"/>
                <a:gd name="connsiteY231" fmla="*/ 218786 h 2789035"/>
                <a:gd name="connsiteX232" fmla="*/ 1439816 w 2061090"/>
                <a:gd name="connsiteY232" fmla="*/ 199383 h 2789035"/>
                <a:gd name="connsiteX233" fmla="*/ 1428921 w 2061090"/>
                <a:gd name="connsiteY233" fmla="*/ 193933 h 2789035"/>
                <a:gd name="connsiteX234" fmla="*/ 1415193 w 2061090"/>
                <a:gd name="connsiteY234" fmla="*/ 194587 h 2789035"/>
                <a:gd name="connsiteX235" fmla="*/ 1412142 w 2061090"/>
                <a:gd name="connsiteY235" fmla="*/ 202435 h 2789035"/>
                <a:gd name="connsiteX236" fmla="*/ 1427613 w 2061090"/>
                <a:gd name="connsiteY236" fmla="*/ 203307 h 2789035"/>
                <a:gd name="connsiteX237" fmla="*/ 1436112 w 2061090"/>
                <a:gd name="connsiteY237" fmla="*/ 205705 h 2789035"/>
                <a:gd name="connsiteX238" fmla="*/ 1420640 w 2061090"/>
                <a:gd name="connsiteY238" fmla="*/ 220966 h 2789035"/>
                <a:gd name="connsiteX239" fmla="*/ 1417589 w 2061090"/>
                <a:gd name="connsiteY239" fmla="*/ 236009 h 2789035"/>
                <a:gd name="connsiteX240" fmla="*/ 1414539 w 2061090"/>
                <a:gd name="connsiteY240" fmla="*/ 241895 h 2789035"/>
                <a:gd name="connsiteX241" fmla="*/ 1409963 w 2061090"/>
                <a:gd name="connsiteY241" fmla="*/ 236227 h 2789035"/>
                <a:gd name="connsiteX242" fmla="*/ 1399721 w 2061090"/>
                <a:gd name="connsiteY242" fmla="*/ 235354 h 2789035"/>
                <a:gd name="connsiteX243" fmla="*/ 1396017 w 2061090"/>
                <a:gd name="connsiteY243" fmla="*/ 232084 h 2789035"/>
                <a:gd name="connsiteX244" fmla="*/ 1384250 w 2061090"/>
                <a:gd name="connsiteY244" fmla="*/ 231430 h 2789035"/>
                <a:gd name="connsiteX245" fmla="*/ 1376623 w 2061090"/>
                <a:gd name="connsiteY245" fmla="*/ 232956 h 2789035"/>
                <a:gd name="connsiteX246" fmla="*/ 1353743 w 2061090"/>
                <a:gd name="connsiteY246" fmla="*/ 233610 h 2789035"/>
                <a:gd name="connsiteX247" fmla="*/ 1363548 w 2061090"/>
                <a:gd name="connsiteY247" fmla="*/ 237753 h 2789035"/>
                <a:gd name="connsiteX248" fmla="*/ 1373354 w 2061090"/>
                <a:gd name="connsiteY248" fmla="*/ 242113 h 2789035"/>
                <a:gd name="connsiteX249" fmla="*/ 1381635 w 2061090"/>
                <a:gd name="connsiteY249" fmla="*/ 246037 h 2789035"/>
                <a:gd name="connsiteX250" fmla="*/ 1390351 w 2061090"/>
                <a:gd name="connsiteY250" fmla="*/ 241677 h 2789035"/>
                <a:gd name="connsiteX251" fmla="*/ 1395581 w 2061090"/>
                <a:gd name="connsiteY251" fmla="*/ 250179 h 2789035"/>
                <a:gd name="connsiteX252" fmla="*/ 1388390 w 2061090"/>
                <a:gd name="connsiteY252" fmla="*/ 256937 h 2789035"/>
                <a:gd name="connsiteX253" fmla="*/ 1379892 w 2061090"/>
                <a:gd name="connsiteY253" fmla="*/ 259553 h 2789035"/>
                <a:gd name="connsiteX254" fmla="*/ 1370304 w 2061090"/>
                <a:gd name="connsiteY254" fmla="*/ 250833 h 2789035"/>
                <a:gd name="connsiteX255" fmla="*/ 1356140 w 2061090"/>
                <a:gd name="connsiteY255" fmla="*/ 244075 h 2789035"/>
                <a:gd name="connsiteX256" fmla="*/ 1351128 w 2061090"/>
                <a:gd name="connsiteY256" fmla="*/ 240587 h 2789035"/>
                <a:gd name="connsiteX257" fmla="*/ 1346552 w 2061090"/>
                <a:gd name="connsiteY257" fmla="*/ 237317 h 2789035"/>
                <a:gd name="connsiteX258" fmla="*/ 1342847 w 2061090"/>
                <a:gd name="connsiteY258" fmla="*/ 231430 h 2789035"/>
                <a:gd name="connsiteX259" fmla="*/ 1338053 w 2061090"/>
                <a:gd name="connsiteY259" fmla="*/ 224236 h 2789035"/>
                <a:gd name="connsiteX260" fmla="*/ 1334131 w 2061090"/>
                <a:gd name="connsiteY260" fmla="*/ 215516 h 2789035"/>
                <a:gd name="connsiteX261" fmla="*/ 1346770 w 2061090"/>
                <a:gd name="connsiteY261" fmla="*/ 220748 h 2789035"/>
                <a:gd name="connsiteX262" fmla="*/ 1361805 w 2061090"/>
                <a:gd name="connsiteY262" fmla="*/ 224018 h 2789035"/>
                <a:gd name="connsiteX263" fmla="*/ 1364420 w 2061090"/>
                <a:gd name="connsiteY263" fmla="*/ 219004 h 2789035"/>
                <a:gd name="connsiteX264" fmla="*/ 1357447 w 2061090"/>
                <a:gd name="connsiteY264" fmla="*/ 217042 h 2789035"/>
                <a:gd name="connsiteX265" fmla="*/ 1344591 w 2061090"/>
                <a:gd name="connsiteY265" fmla="*/ 207886 h 2789035"/>
                <a:gd name="connsiteX266" fmla="*/ 1359626 w 2061090"/>
                <a:gd name="connsiteY266" fmla="*/ 210720 h 2789035"/>
                <a:gd name="connsiteX267" fmla="*/ 1362023 w 2061090"/>
                <a:gd name="connsiteY267" fmla="*/ 209630 h 2789035"/>
                <a:gd name="connsiteX268" fmla="*/ 1359844 w 2061090"/>
                <a:gd name="connsiteY268" fmla="*/ 204615 h 2789035"/>
                <a:gd name="connsiteX269" fmla="*/ 1360280 w 2061090"/>
                <a:gd name="connsiteY269" fmla="*/ 199165 h 2789035"/>
                <a:gd name="connsiteX270" fmla="*/ 1366163 w 2061090"/>
                <a:gd name="connsiteY270" fmla="*/ 194587 h 2789035"/>
                <a:gd name="connsiteX271" fmla="*/ 1377930 w 2061090"/>
                <a:gd name="connsiteY271" fmla="*/ 197203 h 2789035"/>
                <a:gd name="connsiteX272" fmla="*/ 1381635 w 2061090"/>
                <a:gd name="connsiteY272" fmla="*/ 205705 h 2789035"/>
                <a:gd name="connsiteX273" fmla="*/ 1379238 w 2061090"/>
                <a:gd name="connsiteY273" fmla="*/ 216388 h 2789035"/>
                <a:gd name="connsiteX274" fmla="*/ 1387518 w 2061090"/>
                <a:gd name="connsiteY274" fmla="*/ 217914 h 2789035"/>
                <a:gd name="connsiteX275" fmla="*/ 1398414 w 2061090"/>
                <a:gd name="connsiteY275" fmla="*/ 220530 h 2789035"/>
                <a:gd name="connsiteX276" fmla="*/ 1404733 w 2061090"/>
                <a:gd name="connsiteY276" fmla="*/ 221402 h 2789035"/>
                <a:gd name="connsiteX277" fmla="*/ 1406476 w 2061090"/>
                <a:gd name="connsiteY277" fmla="*/ 199383 h 2789035"/>
                <a:gd name="connsiteX278" fmla="*/ 1408437 w 2061090"/>
                <a:gd name="connsiteY278" fmla="*/ 177146 h 2789035"/>
                <a:gd name="connsiteX279" fmla="*/ 1414321 w 2061090"/>
                <a:gd name="connsiteY279" fmla="*/ 178019 h 2789035"/>
                <a:gd name="connsiteX280" fmla="*/ 1422601 w 2061090"/>
                <a:gd name="connsiteY280" fmla="*/ 180635 h 2789035"/>
                <a:gd name="connsiteX281" fmla="*/ 1431318 w 2061090"/>
                <a:gd name="connsiteY281" fmla="*/ 184123 h 2789035"/>
                <a:gd name="connsiteX282" fmla="*/ 1436330 w 2061090"/>
                <a:gd name="connsiteY282" fmla="*/ 181943 h 2789035"/>
                <a:gd name="connsiteX283" fmla="*/ 1438291 w 2061090"/>
                <a:gd name="connsiteY283" fmla="*/ 169734 h 2789035"/>
                <a:gd name="connsiteX284" fmla="*/ 1448097 w 2061090"/>
                <a:gd name="connsiteY284" fmla="*/ 150332 h 2789035"/>
                <a:gd name="connsiteX285" fmla="*/ 1443520 w 2061090"/>
                <a:gd name="connsiteY285" fmla="*/ 139431 h 2789035"/>
                <a:gd name="connsiteX286" fmla="*/ 1440034 w 2061090"/>
                <a:gd name="connsiteY286" fmla="*/ 129185 h 2789035"/>
                <a:gd name="connsiteX287" fmla="*/ 1439816 w 2061090"/>
                <a:gd name="connsiteY287" fmla="*/ 121773 h 2789035"/>
                <a:gd name="connsiteX288" fmla="*/ 1427395 w 2061090"/>
                <a:gd name="connsiteY288" fmla="*/ 107602 h 2789035"/>
                <a:gd name="connsiteX289" fmla="*/ 1431971 w 2061090"/>
                <a:gd name="connsiteY289" fmla="*/ 106512 h 2789035"/>
                <a:gd name="connsiteX290" fmla="*/ 1435022 w 2061090"/>
                <a:gd name="connsiteY290" fmla="*/ 102370 h 2789035"/>
                <a:gd name="connsiteX291" fmla="*/ 1439598 w 2061090"/>
                <a:gd name="connsiteY291" fmla="*/ 91470 h 2789035"/>
                <a:gd name="connsiteX292" fmla="*/ 1443520 w 2061090"/>
                <a:gd name="connsiteY292" fmla="*/ 82531 h 2789035"/>
                <a:gd name="connsiteX293" fmla="*/ 1427395 w 2061090"/>
                <a:gd name="connsiteY293" fmla="*/ 89507 h 2789035"/>
                <a:gd name="connsiteX294" fmla="*/ 1425216 w 2061090"/>
                <a:gd name="connsiteY294" fmla="*/ 90161 h 2789035"/>
                <a:gd name="connsiteX295" fmla="*/ 1424345 w 2061090"/>
                <a:gd name="connsiteY295" fmla="*/ 86673 h 2789035"/>
                <a:gd name="connsiteX296" fmla="*/ 1426524 w 2061090"/>
                <a:gd name="connsiteY296" fmla="*/ 74029 h 2789035"/>
                <a:gd name="connsiteX297" fmla="*/ 1424127 w 2061090"/>
                <a:gd name="connsiteY297" fmla="*/ 60730 h 2789035"/>
                <a:gd name="connsiteX298" fmla="*/ 1413013 w 2061090"/>
                <a:gd name="connsiteY298" fmla="*/ 67925 h 2789035"/>
                <a:gd name="connsiteX299" fmla="*/ 1408437 w 2061090"/>
                <a:gd name="connsiteY299" fmla="*/ 76427 h 2789035"/>
                <a:gd name="connsiteX300" fmla="*/ 1406476 w 2061090"/>
                <a:gd name="connsiteY300" fmla="*/ 83839 h 2789035"/>
                <a:gd name="connsiteX301" fmla="*/ 1411052 w 2061090"/>
                <a:gd name="connsiteY301" fmla="*/ 83403 h 2789035"/>
                <a:gd name="connsiteX302" fmla="*/ 1417807 w 2061090"/>
                <a:gd name="connsiteY302" fmla="*/ 82967 h 2789035"/>
                <a:gd name="connsiteX303" fmla="*/ 1419115 w 2061090"/>
                <a:gd name="connsiteY303" fmla="*/ 91688 h 2789035"/>
                <a:gd name="connsiteX304" fmla="*/ 1416064 w 2061090"/>
                <a:gd name="connsiteY304" fmla="*/ 104332 h 2789035"/>
                <a:gd name="connsiteX305" fmla="*/ 1408219 w 2061090"/>
                <a:gd name="connsiteY305" fmla="*/ 106512 h 2789035"/>
                <a:gd name="connsiteX306" fmla="*/ 1398849 w 2061090"/>
                <a:gd name="connsiteY306" fmla="*/ 95612 h 2789035"/>
                <a:gd name="connsiteX307" fmla="*/ 1396452 w 2061090"/>
                <a:gd name="connsiteY307" fmla="*/ 86673 h 2789035"/>
                <a:gd name="connsiteX308" fmla="*/ 1397760 w 2061090"/>
                <a:gd name="connsiteY308" fmla="*/ 81659 h 2789035"/>
                <a:gd name="connsiteX309" fmla="*/ 1395581 w 2061090"/>
                <a:gd name="connsiteY309" fmla="*/ 76427 h 2789035"/>
                <a:gd name="connsiteX310" fmla="*/ 1385993 w 2061090"/>
                <a:gd name="connsiteY310" fmla="*/ 67271 h 2789035"/>
                <a:gd name="connsiteX311" fmla="*/ 1387300 w 2061090"/>
                <a:gd name="connsiteY311" fmla="*/ 110654 h 2789035"/>
                <a:gd name="connsiteX312" fmla="*/ 1391223 w 2061090"/>
                <a:gd name="connsiteY312" fmla="*/ 108910 h 2789035"/>
                <a:gd name="connsiteX313" fmla="*/ 1396452 w 2061090"/>
                <a:gd name="connsiteY313" fmla="*/ 115232 h 2789035"/>
                <a:gd name="connsiteX314" fmla="*/ 1389479 w 2061090"/>
                <a:gd name="connsiteY314" fmla="*/ 119156 h 2789035"/>
                <a:gd name="connsiteX315" fmla="*/ 1385993 w 2061090"/>
                <a:gd name="connsiteY315" fmla="*/ 120247 h 2789035"/>
                <a:gd name="connsiteX316" fmla="*/ 1379238 w 2061090"/>
                <a:gd name="connsiteY316" fmla="*/ 123953 h 2789035"/>
                <a:gd name="connsiteX317" fmla="*/ 1375098 w 2061090"/>
                <a:gd name="connsiteY317" fmla="*/ 132673 h 2789035"/>
                <a:gd name="connsiteX318" fmla="*/ 1387518 w 2061090"/>
                <a:gd name="connsiteY318" fmla="*/ 129185 h 2789035"/>
                <a:gd name="connsiteX319" fmla="*/ 1397760 w 2061090"/>
                <a:gd name="connsiteY319" fmla="*/ 130929 h 2789035"/>
                <a:gd name="connsiteX320" fmla="*/ 1401246 w 2061090"/>
                <a:gd name="connsiteY320" fmla="*/ 135725 h 2789035"/>
                <a:gd name="connsiteX321" fmla="*/ 1406040 w 2061090"/>
                <a:gd name="connsiteY321" fmla="*/ 131147 h 2789035"/>
                <a:gd name="connsiteX322" fmla="*/ 1408219 w 2061090"/>
                <a:gd name="connsiteY322" fmla="*/ 123299 h 2789035"/>
                <a:gd name="connsiteX323" fmla="*/ 1408655 w 2061090"/>
                <a:gd name="connsiteY323" fmla="*/ 117630 h 2789035"/>
                <a:gd name="connsiteX324" fmla="*/ 1413231 w 2061090"/>
                <a:gd name="connsiteY324" fmla="*/ 117412 h 2789035"/>
                <a:gd name="connsiteX325" fmla="*/ 1422166 w 2061090"/>
                <a:gd name="connsiteY325" fmla="*/ 119593 h 2789035"/>
                <a:gd name="connsiteX326" fmla="*/ 1429574 w 2061090"/>
                <a:gd name="connsiteY326" fmla="*/ 121337 h 2789035"/>
                <a:gd name="connsiteX327" fmla="*/ 1421512 w 2061090"/>
                <a:gd name="connsiteY327" fmla="*/ 129403 h 2789035"/>
                <a:gd name="connsiteX328" fmla="*/ 1417372 w 2061090"/>
                <a:gd name="connsiteY328" fmla="*/ 140957 h 2789035"/>
                <a:gd name="connsiteX329" fmla="*/ 1414757 w 2061090"/>
                <a:gd name="connsiteY329" fmla="*/ 154910 h 2789035"/>
                <a:gd name="connsiteX330" fmla="*/ 1414321 w 2061090"/>
                <a:gd name="connsiteY330" fmla="*/ 161014 h 2789035"/>
                <a:gd name="connsiteX331" fmla="*/ 1416500 w 2061090"/>
                <a:gd name="connsiteY331" fmla="*/ 157744 h 2789035"/>
                <a:gd name="connsiteX332" fmla="*/ 1418461 w 2061090"/>
                <a:gd name="connsiteY332" fmla="*/ 154474 h 2789035"/>
                <a:gd name="connsiteX333" fmla="*/ 1421948 w 2061090"/>
                <a:gd name="connsiteY333" fmla="*/ 143573 h 2789035"/>
                <a:gd name="connsiteX334" fmla="*/ 1425216 w 2061090"/>
                <a:gd name="connsiteY334" fmla="*/ 131583 h 2789035"/>
                <a:gd name="connsiteX335" fmla="*/ 1431971 w 2061090"/>
                <a:gd name="connsiteY335" fmla="*/ 134853 h 2789035"/>
                <a:gd name="connsiteX336" fmla="*/ 1433279 w 2061090"/>
                <a:gd name="connsiteY336" fmla="*/ 142265 h 2789035"/>
                <a:gd name="connsiteX337" fmla="*/ 1430882 w 2061090"/>
                <a:gd name="connsiteY337" fmla="*/ 152076 h 2789035"/>
                <a:gd name="connsiteX338" fmla="*/ 1429139 w 2061090"/>
                <a:gd name="connsiteY338" fmla="*/ 158834 h 2789035"/>
                <a:gd name="connsiteX339" fmla="*/ 1426742 w 2061090"/>
                <a:gd name="connsiteY339" fmla="*/ 163848 h 2789035"/>
                <a:gd name="connsiteX340" fmla="*/ 1417807 w 2061090"/>
                <a:gd name="connsiteY340" fmla="*/ 175620 h 2789035"/>
                <a:gd name="connsiteX341" fmla="*/ 1414321 w 2061090"/>
                <a:gd name="connsiteY341" fmla="*/ 169734 h 2789035"/>
                <a:gd name="connsiteX342" fmla="*/ 1408873 w 2061090"/>
                <a:gd name="connsiteY342" fmla="*/ 167554 h 2789035"/>
                <a:gd name="connsiteX343" fmla="*/ 1400157 w 2061090"/>
                <a:gd name="connsiteY343" fmla="*/ 169734 h 2789035"/>
                <a:gd name="connsiteX344" fmla="*/ 1391223 w 2061090"/>
                <a:gd name="connsiteY344" fmla="*/ 164284 h 2789035"/>
                <a:gd name="connsiteX345" fmla="*/ 1396888 w 2061090"/>
                <a:gd name="connsiteY345" fmla="*/ 158398 h 2789035"/>
                <a:gd name="connsiteX346" fmla="*/ 1407566 w 2061090"/>
                <a:gd name="connsiteY346" fmla="*/ 156218 h 2789035"/>
                <a:gd name="connsiteX347" fmla="*/ 1401029 w 2061090"/>
                <a:gd name="connsiteY347" fmla="*/ 144663 h 2789035"/>
                <a:gd name="connsiteX348" fmla="*/ 1396235 w 2061090"/>
                <a:gd name="connsiteY348" fmla="*/ 141175 h 2789035"/>
                <a:gd name="connsiteX349" fmla="*/ 1389915 w 2061090"/>
                <a:gd name="connsiteY349" fmla="*/ 139649 h 2789035"/>
                <a:gd name="connsiteX350" fmla="*/ 1385121 w 2061090"/>
                <a:gd name="connsiteY350" fmla="*/ 150332 h 2789035"/>
                <a:gd name="connsiteX351" fmla="*/ 1373354 w 2061090"/>
                <a:gd name="connsiteY351" fmla="*/ 156218 h 2789035"/>
                <a:gd name="connsiteX352" fmla="*/ 1363766 w 2061090"/>
                <a:gd name="connsiteY352" fmla="*/ 155346 h 2789035"/>
                <a:gd name="connsiteX353" fmla="*/ 1355486 w 2061090"/>
                <a:gd name="connsiteY353" fmla="*/ 154910 h 2789035"/>
                <a:gd name="connsiteX354" fmla="*/ 1348513 w 2061090"/>
                <a:gd name="connsiteY354" fmla="*/ 150768 h 2789035"/>
                <a:gd name="connsiteX355" fmla="*/ 1339143 w 2061090"/>
                <a:gd name="connsiteY355" fmla="*/ 169298 h 2789035"/>
                <a:gd name="connsiteX356" fmla="*/ 1344155 w 2061090"/>
                <a:gd name="connsiteY356" fmla="*/ 166900 h 2789035"/>
                <a:gd name="connsiteX357" fmla="*/ 1353307 w 2061090"/>
                <a:gd name="connsiteY357" fmla="*/ 166464 h 2789035"/>
                <a:gd name="connsiteX358" fmla="*/ 1365510 w 2061090"/>
                <a:gd name="connsiteY358" fmla="*/ 167772 h 2789035"/>
                <a:gd name="connsiteX359" fmla="*/ 1377277 w 2061090"/>
                <a:gd name="connsiteY359" fmla="*/ 166464 h 2789035"/>
                <a:gd name="connsiteX360" fmla="*/ 1371829 w 2061090"/>
                <a:gd name="connsiteY360" fmla="*/ 169734 h 2789035"/>
                <a:gd name="connsiteX361" fmla="*/ 1365292 w 2061090"/>
                <a:gd name="connsiteY361" fmla="*/ 174094 h 2789035"/>
                <a:gd name="connsiteX362" fmla="*/ 1363984 w 2061090"/>
                <a:gd name="connsiteY362" fmla="*/ 181507 h 2789035"/>
                <a:gd name="connsiteX363" fmla="*/ 1360280 w 2061090"/>
                <a:gd name="connsiteY363" fmla="*/ 189137 h 2789035"/>
                <a:gd name="connsiteX364" fmla="*/ 1351128 w 2061090"/>
                <a:gd name="connsiteY364" fmla="*/ 188701 h 2789035"/>
                <a:gd name="connsiteX365" fmla="*/ 1354396 w 2061090"/>
                <a:gd name="connsiteY365" fmla="*/ 188047 h 2789035"/>
                <a:gd name="connsiteX366" fmla="*/ 1357665 w 2061090"/>
                <a:gd name="connsiteY366" fmla="*/ 186303 h 2789035"/>
                <a:gd name="connsiteX367" fmla="*/ 1338053 w 2061090"/>
                <a:gd name="connsiteY367" fmla="*/ 182815 h 2789035"/>
                <a:gd name="connsiteX368" fmla="*/ 1321274 w 2061090"/>
                <a:gd name="connsiteY368" fmla="*/ 175838 h 2789035"/>
                <a:gd name="connsiteX369" fmla="*/ 1320185 w 2061090"/>
                <a:gd name="connsiteY369" fmla="*/ 167554 h 2789035"/>
                <a:gd name="connsiteX370" fmla="*/ 1319095 w 2061090"/>
                <a:gd name="connsiteY370" fmla="*/ 160142 h 2789035"/>
                <a:gd name="connsiteX371" fmla="*/ 1328030 w 2061090"/>
                <a:gd name="connsiteY371" fmla="*/ 167772 h 2789035"/>
                <a:gd name="connsiteX372" fmla="*/ 1331080 w 2061090"/>
                <a:gd name="connsiteY372" fmla="*/ 176274 h 2789035"/>
                <a:gd name="connsiteX373" fmla="*/ 1329773 w 2061090"/>
                <a:gd name="connsiteY373" fmla="*/ 154038 h 2789035"/>
                <a:gd name="connsiteX374" fmla="*/ 1331734 w 2061090"/>
                <a:gd name="connsiteY374" fmla="*/ 144881 h 2789035"/>
                <a:gd name="connsiteX375" fmla="*/ 1340014 w 2061090"/>
                <a:gd name="connsiteY375" fmla="*/ 142483 h 2789035"/>
                <a:gd name="connsiteX376" fmla="*/ 1349602 w 2061090"/>
                <a:gd name="connsiteY376" fmla="*/ 145317 h 2789035"/>
                <a:gd name="connsiteX377" fmla="*/ 1354832 w 2061090"/>
                <a:gd name="connsiteY377" fmla="*/ 138123 h 2789035"/>
                <a:gd name="connsiteX378" fmla="*/ 1359408 w 2061090"/>
                <a:gd name="connsiteY378" fmla="*/ 131583 h 2789035"/>
                <a:gd name="connsiteX379" fmla="*/ 1362895 w 2061090"/>
                <a:gd name="connsiteY379" fmla="*/ 119374 h 2789035"/>
                <a:gd name="connsiteX380" fmla="*/ 1365945 w 2061090"/>
                <a:gd name="connsiteY380" fmla="*/ 107602 h 2789035"/>
                <a:gd name="connsiteX381" fmla="*/ 1375315 w 2061090"/>
                <a:gd name="connsiteY381" fmla="*/ 105204 h 2789035"/>
                <a:gd name="connsiteX382" fmla="*/ 1374008 w 2061090"/>
                <a:gd name="connsiteY382" fmla="*/ 92996 h 2789035"/>
                <a:gd name="connsiteX383" fmla="*/ 1362241 w 2061090"/>
                <a:gd name="connsiteY383" fmla="*/ 96484 h 2789035"/>
                <a:gd name="connsiteX384" fmla="*/ 1356140 w 2061090"/>
                <a:gd name="connsiteY384" fmla="*/ 102370 h 2789035"/>
                <a:gd name="connsiteX385" fmla="*/ 1352653 w 2061090"/>
                <a:gd name="connsiteY385" fmla="*/ 94086 h 2789035"/>
                <a:gd name="connsiteX386" fmla="*/ 1352653 w 2061090"/>
                <a:gd name="connsiteY386" fmla="*/ 83185 h 2789035"/>
                <a:gd name="connsiteX387" fmla="*/ 1359190 w 2061090"/>
                <a:gd name="connsiteY387" fmla="*/ 84711 h 2789035"/>
                <a:gd name="connsiteX388" fmla="*/ 1375098 w 2061090"/>
                <a:gd name="connsiteY388" fmla="*/ 86891 h 2789035"/>
                <a:gd name="connsiteX389" fmla="*/ 1374662 w 2061090"/>
                <a:gd name="connsiteY389" fmla="*/ 84711 h 2789035"/>
                <a:gd name="connsiteX390" fmla="*/ 1360498 w 2061090"/>
                <a:gd name="connsiteY390" fmla="*/ 75119 h 2789035"/>
                <a:gd name="connsiteX391" fmla="*/ 1355486 w 2061090"/>
                <a:gd name="connsiteY391" fmla="*/ 71195 h 2789035"/>
                <a:gd name="connsiteX392" fmla="*/ 1343937 w 2061090"/>
                <a:gd name="connsiteY392" fmla="*/ 72067 h 2789035"/>
                <a:gd name="connsiteX393" fmla="*/ 1339797 w 2061090"/>
                <a:gd name="connsiteY393" fmla="*/ 73593 h 2789035"/>
                <a:gd name="connsiteX394" fmla="*/ 1341976 w 2061090"/>
                <a:gd name="connsiteY394" fmla="*/ 89943 h 2789035"/>
                <a:gd name="connsiteX395" fmla="*/ 1345462 w 2061090"/>
                <a:gd name="connsiteY395" fmla="*/ 106948 h 2789035"/>
                <a:gd name="connsiteX396" fmla="*/ 1352217 w 2061090"/>
                <a:gd name="connsiteY396" fmla="*/ 112180 h 2789035"/>
                <a:gd name="connsiteX397" fmla="*/ 1352653 w 2061090"/>
                <a:gd name="connsiteY397" fmla="*/ 119374 h 2789035"/>
                <a:gd name="connsiteX398" fmla="*/ 1348513 w 2061090"/>
                <a:gd name="connsiteY398" fmla="*/ 127223 h 2789035"/>
                <a:gd name="connsiteX399" fmla="*/ 1328247 w 2061090"/>
                <a:gd name="connsiteY399" fmla="*/ 127659 h 2789035"/>
                <a:gd name="connsiteX400" fmla="*/ 1318442 w 2061090"/>
                <a:gd name="connsiteY400" fmla="*/ 106948 h 2789035"/>
                <a:gd name="connsiteX401" fmla="*/ 1322364 w 2061090"/>
                <a:gd name="connsiteY401" fmla="*/ 108474 h 2789035"/>
                <a:gd name="connsiteX402" fmla="*/ 1329555 w 2061090"/>
                <a:gd name="connsiteY402" fmla="*/ 111526 h 2789035"/>
                <a:gd name="connsiteX403" fmla="*/ 1331952 w 2061090"/>
                <a:gd name="connsiteY403" fmla="*/ 119374 h 2789035"/>
                <a:gd name="connsiteX404" fmla="*/ 1335438 w 2061090"/>
                <a:gd name="connsiteY404" fmla="*/ 126133 h 2789035"/>
                <a:gd name="connsiteX405" fmla="*/ 1337835 w 2061090"/>
                <a:gd name="connsiteY405" fmla="*/ 111962 h 2789035"/>
                <a:gd name="connsiteX406" fmla="*/ 1334349 w 2061090"/>
                <a:gd name="connsiteY406" fmla="*/ 103678 h 2789035"/>
                <a:gd name="connsiteX407" fmla="*/ 1330644 w 2061090"/>
                <a:gd name="connsiteY407" fmla="*/ 93214 h 2789035"/>
                <a:gd name="connsiteX408" fmla="*/ 1320621 w 2061090"/>
                <a:gd name="connsiteY408" fmla="*/ 94740 h 2789035"/>
                <a:gd name="connsiteX409" fmla="*/ 1316263 w 2061090"/>
                <a:gd name="connsiteY409" fmla="*/ 97792 h 2789035"/>
                <a:gd name="connsiteX410" fmla="*/ 1311904 w 2061090"/>
                <a:gd name="connsiteY410" fmla="*/ 110000 h 2789035"/>
                <a:gd name="connsiteX411" fmla="*/ 1314083 w 2061090"/>
                <a:gd name="connsiteY411" fmla="*/ 126133 h 2789035"/>
                <a:gd name="connsiteX412" fmla="*/ 1312122 w 2061090"/>
                <a:gd name="connsiteY412" fmla="*/ 132673 h 2789035"/>
                <a:gd name="connsiteX413" fmla="*/ 1303188 w 2061090"/>
                <a:gd name="connsiteY413" fmla="*/ 134853 h 2789035"/>
                <a:gd name="connsiteX414" fmla="*/ 1299919 w 2061090"/>
                <a:gd name="connsiteY414" fmla="*/ 136815 h 2789035"/>
                <a:gd name="connsiteX415" fmla="*/ 1298830 w 2061090"/>
                <a:gd name="connsiteY415" fmla="*/ 140303 h 2789035"/>
                <a:gd name="connsiteX416" fmla="*/ 1295126 w 2061090"/>
                <a:gd name="connsiteY416" fmla="*/ 137687 h 2789035"/>
                <a:gd name="connsiteX417" fmla="*/ 1290767 w 2061090"/>
                <a:gd name="connsiteY417" fmla="*/ 130711 h 2789035"/>
                <a:gd name="connsiteX418" fmla="*/ 1293164 w 2061090"/>
                <a:gd name="connsiteY418" fmla="*/ 123517 h 2789035"/>
                <a:gd name="connsiteX419" fmla="*/ 1300137 w 2061090"/>
                <a:gd name="connsiteY419" fmla="*/ 109346 h 2789035"/>
                <a:gd name="connsiteX420" fmla="*/ 1291421 w 2061090"/>
                <a:gd name="connsiteY420" fmla="*/ 106512 h 2789035"/>
                <a:gd name="connsiteX421" fmla="*/ 1269412 w 2061090"/>
                <a:gd name="connsiteY421" fmla="*/ 94086 h 2789035"/>
                <a:gd name="connsiteX422" fmla="*/ 1265926 w 2061090"/>
                <a:gd name="connsiteY422" fmla="*/ 85801 h 2789035"/>
                <a:gd name="connsiteX423" fmla="*/ 1260478 w 2061090"/>
                <a:gd name="connsiteY423" fmla="*/ 92342 h 2789035"/>
                <a:gd name="connsiteX424" fmla="*/ 1231061 w 2061090"/>
                <a:gd name="connsiteY424" fmla="*/ 107602 h 2789035"/>
                <a:gd name="connsiteX425" fmla="*/ 1214936 w 2061090"/>
                <a:gd name="connsiteY425" fmla="*/ 110872 h 2789035"/>
                <a:gd name="connsiteX426" fmla="*/ 1223652 w 2061090"/>
                <a:gd name="connsiteY426" fmla="*/ 120465 h 2789035"/>
                <a:gd name="connsiteX427" fmla="*/ 1231932 w 2061090"/>
                <a:gd name="connsiteY427" fmla="*/ 124171 h 2789035"/>
                <a:gd name="connsiteX428" fmla="*/ 1235419 w 2061090"/>
                <a:gd name="connsiteY428" fmla="*/ 128967 h 2789035"/>
                <a:gd name="connsiteX429" fmla="*/ 1243264 w 2061090"/>
                <a:gd name="connsiteY429" fmla="*/ 123081 h 2789035"/>
                <a:gd name="connsiteX430" fmla="*/ 1253287 w 2061090"/>
                <a:gd name="connsiteY430" fmla="*/ 111526 h 2789035"/>
                <a:gd name="connsiteX431" fmla="*/ 1263529 w 2061090"/>
                <a:gd name="connsiteY431" fmla="*/ 107384 h 2789035"/>
                <a:gd name="connsiteX432" fmla="*/ 1279218 w 2061090"/>
                <a:gd name="connsiteY432" fmla="*/ 114142 h 2789035"/>
                <a:gd name="connsiteX433" fmla="*/ 1275078 w 2061090"/>
                <a:gd name="connsiteY433" fmla="*/ 115886 h 2789035"/>
                <a:gd name="connsiteX434" fmla="*/ 1274206 w 2061090"/>
                <a:gd name="connsiteY434" fmla="*/ 122209 h 2789035"/>
                <a:gd name="connsiteX435" fmla="*/ 1277693 w 2061090"/>
                <a:gd name="connsiteY435" fmla="*/ 133109 h 2789035"/>
                <a:gd name="connsiteX436" fmla="*/ 1266144 w 2061090"/>
                <a:gd name="connsiteY436" fmla="*/ 129403 h 2789035"/>
                <a:gd name="connsiteX437" fmla="*/ 1261786 w 2061090"/>
                <a:gd name="connsiteY437" fmla="*/ 122863 h 2789035"/>
                <a:gd name="connsiteX438" fmla="*/ 1252634 w 2061090"/>
                <a:gd name="connsiteY438" fmla="*/ 123517 h 2789035"/>
                <a:gd name="connsiteX439" fmla="*/ 1247840 w 2061090"/>
                <a:gd name="connsiteY439" fmla="*/ 143573 h 2789035"/>
                <a:gd name="connsiteX440" fmla="*/ 1260260 w 2061090"/>
                <a:gd name="connsiteY440" fmla="*/ 155564 h 2789035"/>
                <a:gd name="connsiteX441" fmla="*/ 1272681 w 2061090"/>
                <a:gd name="connsiteY441" fmla="*/ 153602 h 2789035"/>
                <a:gd name="connsiteX442" fmla="*/ 1269412 w 2061090"/>
                <a:gd name="connsiteY442" fmla="*/ 156654 h 2789035"/>
                <a:gd name="connsiteX443" fmla="*/ 1263529 w 2061090"/>
                <a:gd name="connsiteY443" fmla="*/ 162104 h 2789035"/>
                <a:gd name="connsiteX444" fmla="*/ 1258735 w 2061090"/>
                <a:gd name="connsiteY444" fmla="*/ 167772 h 2789035"/>
                <a:gd name="connsiteX445" fmla="*/ 1253069 w 2061090"/>
                <a:gd name="connsiteY445" fmla="*/ 168426 h 2789035"/>
                <a:gd name="connsiteX446" fmla="*/ 1249147 w 2061090"/>
                <a:gd name="connsiteY446" fmla="*/ 175184 h 2789035"/>
                <a:gd name="connsiteX447" fmla="*/ 1239123 w 2061090"/>
                <a:gd name="connsiteY447" fmla="*/ 191099 h 2789035"/>
                <a:gd name="connsiteX448" fmla="*/ 1235419 w 2061090"/>
                <a:gd name="connsiteY448" fmla="*/ 187175 h 2789035"/>
                <a:gd name="connsiteX449" fmla="*/ 1235855 w 2061090"/>
                <a:gd name="connsiteY449" fmla="*/ 167554 h 2789035"/>
                <a:gd name="connsiteX450" fmla="*/ 1228882 w 2061090"/>
                <a:gd name="connsiteY450" fmla="*/ 167118 h 2789035"/>
                <a:gd name="connsiteX451" fmla="*/ 1225395 w 2061090"/>
                <a:gd name="connsiteY451" fmla="*/ 160360 h 2789035"/>
                <a:gd name="connsiteX452" fmla="*/ 1232368 w 2061090"/>
                <a:gd name="connsiteY452" fmla="*/ 154474 h 2789035"/>
                <a:gd name="connsiteX453" fmla="*/ 1242174 w 2061090"/>
                <a:gd name="connsiteY453" fmla="*/ 153820 h 2789035"/>
                <a:gd name="connsiteX454" fmla="*/ 1239123 w 2061090"/>
                <a:gd name="connsiteY454" fmla="*/ 146625 h 2789035"/>
                <a:gd name="connsiteX455" fmla="*/ 1237162 w 2061090"/>
                <a:gd name="connsiteY455" fmla="*/ 137033 h 2789035"/>
                <a:gd name="connsiteX456" fmla="*/ 1234765 w 2061090"/>
                <a:gd name="connsiteY456" fmla="*/ 134635 h 2789035"/>
                <a:gd name="connsiteX457" fmla="*/ 1227356 w 2061090"/>
                <a:gd name="connsiteY457" fmla="*/ 133981 h 2789035"/>
                <a:gd name="connsiteX458" fmla="*/ 1220383 w 2061090"/>
                <a:gd name="connsiteY458" fmla="*/ 139649 h 2789035"/>
                <a:gd name="connsiteX459" fmla="*/ 1218204 w 2061090"/>
                <a:gd name="connsiteY459" fmla="*/ 145753 h 2789035"/>
                <a:gd name="connsiteX460" fmla="*/ 1216025 w 2061090"/>
                <a:gd name="connsiteY460" fmla="*/ 137251 h 2789035"/>
                <a:gd name="connsiteX461" fmla="*/ 1208180 w 2061090"/>
                <a:gd name="connsiteY461" fmla="*/ 129403 h 2789035"/>
                <a:gd name="connsiteX462" fmla="*/ 1207745 w 2061090"/>
                <a:gd name="connsiteY462" fmla="*/ 136379 h 2789035"/>
                <a:gd name="connsiteX463" fmla="*/ 1207745 w 2061090"/>
                <a:gd name="connsiteY463" fmla="*/ 141829 h 2789035"/>
                <a:gd name="connsiteX464" fmla="*/ 1205130 w 2061090"/>
                <a:gd name="connsiteY464" fmla="*/ 149460 h 2789035"/>
                <a:gd name="connsiteX465" fmla="*/ 1195978 w 2061090"/>
                <a:gd name="connsiteY465" fmla="*/ 137469 h 2789035"/>
                <a:gd name="connsiteX466" fmla="*/ 1190530 w 2061090"/>
                <a:gd name="connsiteY466" fmla="*/ 124825 h 2789035"/>
                <a:gd name="connsiteX467" fmla="*/ 1185518 w 2061090"/>
                <a:gd name="connsiteY467" fmla="*/ 118066 h 2789035"/>
                <a:gd name="connsiteX468" fmla="*/ 1181814 w 2061090"/>
                <a:gd name="connsiteY468" fmla="*/ 112616 h 2789035"/>
                <a:gd name="connsiteX469" fmla="*/ 1179417 w 2061090"/>
                <a:gd name="connsiteY469" fmla="*/ 107384 h 2789035"/>
                <a:gd name="connsiteX470" fmla="*/ 1189876 w 2061090"/>
                <a:gd name="connsiteY470" fmla="*/ 114796 h 2789035"/>
                <a:gd name="connsiteX471" fmla="*/ 1195106 w 2061090"/>
                <a:gd name="connsiteY471" fmla="*/ 119593 h 2789035"/>
                <a:gd name="connsiteX472" fmla="*/ 1201861 w 2061090"/>
                <a:gd name="connsiteY472" fmla="*/ 123735 h 2789035"/>
                <a:gd name="connsiteX473" fmla="*/ 1206437 w 2061090"/>
                <a:gd name="connsiteY473" fmla="*/ 116322 h 2789035"/>
                <a:gd name="connsiteX474" fmla="*/ 1203604 w 2061090"/>
                <a:gd name="connsiteY474" fmla="*/ 106512 h 2789035"/>
                <a:gd name="connsiteX475" fmla="*/ 1200772 w 2061090"/>
                <a:gd name="connsiteY475" fmla="*/ 108692 h 2789035"/>
                <a:gd name="connsiteX476" fmla="*/ 1198593 w 2061090"/>
                <a:gd name="connsiteY476" fmla="*/ 110872 h 2789035"/>
                <a:gd name="connsiteX477" fmla="*/ 1196413 w 2061090"/>
                <a:gd name="connsiteY477" fmla="*/ 106512 h 2789035"/>
                <a:gd name="connsiteX478" fmla="*/ 1188787 w 2061090"/>
                <a:gd name="connsiteY478" fmla="*/ 98446 h 2789035"/>
                <a:gd name="connsiteX479" fmla="*/ 1181160 w 2061090"/>
                <a:gd name="connsiteY479" fmla="*/ 88635 h 2789035"/>
                <a:gd name="connsiteX480" fmla="*/ 1186608 w 2061090"/>
                <a:gd name="connsiteY480" fmla="*/ 82531 h 2789035"/>
                <a:gd name="connsiteX481" fmla="*/ 1194234 w 2061090"/>
                <a:gd name="connsiteY481" fmla="*/ 87981 h 2789035"/>
                <a:gd name="connsiteX482" fmla="*/ 1204258 w 2061090"/>
                <a:gd name="connsiteY482" fmla="*/ 90161 h 2789035"/>
                <a:gd name="connsiteX483" fmla="*/ 1204258 w 2061090"/>
                <a:gd name="connsiteY483" fmla="*/ 83621 h 2789035"/>
                <a:gd name="connsiteX484" fmla="*/ 1197067 w 2061090"/>
                <a:gd name="connsiteY484" fmla="*/ 80351 h 2789035"/>
                <a:gd name="connsiteX485" fmla="*/ 1194234 w 2061090"/>
                <a:gd name="connsiteY485" fmla="*/ 77081 h 2789035"/>
                <a:gd name="connsiteX486" fmla="*/ 1197285 w 2061090"/>
                <a:gd name="connsiteY486" fmla="*/ 73811 h 2789035"/>
                <a:gd name="connsiteX487" fmla="*/ 1201425 w 2061090"/>
                <a:gd name="connsiteY487" fmla="*/ 71195 h 2789035"/>
                <a:gd name="connsiteX488" fmla="*/ 1209488 w 2061090"/>
                <a:gd name="connsiteY488" fmla="*/ 77299 h 2789035"/>
                <a:gd name="connsiteX489" fmla="*/ 1213846 w 2061090"/>
                <a:gd name="connsiteY489" fmla="*/ 81441 h 2789035"/>
                <a:gd name="connsiteX490" fmla="*/ 1218204 w 2061090"/>
                <a:gd name="connsiteY490" fmla="*/ 90379 h 2789035"/>
                <a:gd name="connsiteX491" fmla="*/ 1230407 w 2061090"/>
                <a:gd name="connsiteY491" fmla="*/ 91470 h 2789035"/>
                <a:gd name="connsiteX492" fmla="*/ 1234329 w 2061090"/>
                <a:gd name="connsiteY492" fmla="*/ 67271 h 2789035"/>
                <a:gd name="connsiteX493" fmla="*/ 1227138 w 2061090"/>
                <a:gd name="connsiteY493" fmla="*/ 58768 h 2789035"/>
                <a:gd name="connsiteX494" fmla="*/ 1219730 w 2061090"/>
                <a:gd name="connsiteY494" fmla="*/ 54844 h 2789035"/>
                <a:gd name="connsiteX495" fmla="*/ 1221473 w 2061090"/>
                <a:gd name="connsiteY495" fmla="*/ 62911 h 2789035"/>
                <a:gd name="connsiteX496" fmla="*/ 1226921 w 2061090"/>
                <a:gd name="connsiteY496" fmla="*/ 71631 h 2789035"/>
                <a:gd name="connsiteX497" fmla="*/ 1224741 w 2061090"/>
                <a:gd name="connsiteY497" fmla="*/ 80351 h 2789035"/>
                <a:gd name="connsiteX498" fmla="*/ 1222562 w 2061090"/>
                <a:gd name="connsiteY498" fmla="*/ 78389 h 2789035"/>
                <a:gd name="connsiteX499" fmla="*/ 1208616 w 2061090"/>
                <a:gd name="connsiteY499" fmla="*/ 64437 h 2789035"/>
                <a:gd name="connsiteX500" fmla="*/ 1206001 w 2061090"/>
                <a:gd name="connsiteY500" fmla="*/ 57460 h 2789035"/>
                <a:gd name="connsiteX501" fmla="*/ 1202951 w 2061090"/>
                <a:gd name="connsiteY501" fmla="*/ 52010 h 2789035"/>
                <a:gd name="connsiteX502" fmla="*/ 1195978 w 2061090"/>
                <a:gd name="connsiteY502" fmla="*/ 57460 h 2789035"/>
                <a:gd name="connsiteX503" fmla="*/ 1184429 w 2061090"/>
                <a:gd name="connsiteY503" fmla="*/ 48522 h 2789035"/>
                <a:gd name="connsiteX504" fmla="*/ 1186608 w 2061090"/>
                <a:gd name="connsiteY504" fmla="*/ 42636 h 2789035"/>
                <a:gd name="connsiteX505" fmla="*/ 1197067 w 2061090"/>
                <a:gd name="connsiteY505" fmla="*/ 44816 h 2789035"/>
                <a:gd name="connsiteX506" fmla="*/ 1206219 w 2061090"/>
                <a:gd name="connsiteY506" fmla="*/ 45688 h 2789035"/>
                <a:gd name="connsiteX507" fmla="*/ 1219076 w 2061090"/>
                <a:gd name="connsiteY507" fmla="*/ 40892 h 2789035"/>
                <a:gd name="connsiteX508" fmla="*/ 1221909 w 2061090"/>
                <a:gd name="connsiteY508" fmla="*/ 33262 h 2789035"/>
                <a:gd name="connsiteX509" fmla="*/ 1195106 w 2061090"/>
                <a:gd name="connsiteY509" fmla="*/ 32608 h 2789035"/>
                <a:gd name="connsiteX510" fmla="*/ 1181160 w 2061090"/>
                <a:gd name="connsiteY510" fmla="*/ 31299 h 2789035"/>
                <a:gd name="connsiteX511" fmla="*/ 1178981 w 2061090"/>
                <a:gd name="connsiteY511" fmla="*/ 28029 h 2789035"/>
                <a:gd name="connsiteX512" fmla="*/ 1173751 w 2061090"/>
                <a:gd name="connsiteY512" fmla="*/ 43726 h 2789035"/>
                <a:gd name="connsiteX513" fmla="*/ 1172226 w 2061090"/>
                <a:gd name="connsiteY513" fmla="*/ 51356 h 2789035"/>
                <a:gd name="connsiteX514" fmla="*/ 1172879 w 2061090"/>
                <a:gd name="connsiteY514" fmla="*/ 57242 h 2789035"/>
                <a:gd name="connsiteX515" fmla="*/ 1168086 w 2061090"/>
                <a:gd name="connsiteY515" fmla="*/ 91252 h 2789035"/>
                <a:gd name="connsiteX516" fmla="*/ 1171354 w 2061090"/>
                <a:gd name="connsiteY516" fmla="*/ 97792 h 2789035"/>
                <a:gd name="connsiteX517" fmla="*/ 1180506 w 2061090"/>
                <a:gd name="connsiteY517" fmla="*/ 96266 h 2789035"/>
                <a:gd name="connsiteX518" fmla="*/ 1180724 w 2061090"/>
                <a:gd name="connsiteY518" fmla="*/ 103460 h 2789035"/>
                <a:gd name="connsiteX519" fmla="*/ 1152614 w 2061090"/>
                <a:gd name="connsiteY519" fmla="*/ 106512 h 2789035"/>
                <a:gd name="connsiteX520" fmla="*/ 1156319 w 2061090"/>
                <a:gd name="connsiteY520" fmla="*/ 85583 h 2789035"/>
                <a:gd name="connsiteX521" fmla="*/ 1147602 w 2061090"/>
                <a:gd name="connsiteY521" fmla="*/ 82531 h 2789035"/>
                <a:gd name="connsiteX522" fmla="*/ 1141719 w 2061090"/>
                <a:gd name="connsiteY522" fmla="*/ 81223 h 2789035"/>
                <a:gd name="connsiteX523" fmla="*/ 1140193 w 2061090"/>
                <a:gd name="connsiteY523" fmla="*/ 72503 h 2789035"/>
                <a:gd name="connsiteX524" fmla="*/ 1133438 w 2061090"/>
                <a:gd name="connsiteY524" fmla="*/ 60948 h 2789035"/>
                <a:gd name="connsiteX525" fmla="*/ 1123632 w 2061090"/>
                <a:gd name="connsiteY525" fmla="*/ 58768 h 2789035"/>
                <a:gd name="connsiteX526" fmla="*/ 1118403 w 2061090"/>
                <a:gd name="connsiteY526" fmla="*/ 49830 h 2789035"/>
                <a:gd name="connsiteX527" fmla="*/ 1115570 w 2061090"/>
                <a:gd name="connsiteY527" fmla="*/ 44380 h 2789035"/>
                <a:gd name="connsiteX528" fmla="*/ 1106854 w 2061090"/>
                <a:gd name="connsiteY528" fmla="*/ 38930 h 2789035"/>
                <a:gd name="connsiteX529" fmla="*/ 1095740 w 2061090"/>
                <a:gd name="connsiteY529" fmla="*/ 35006 h 2789035"/>
                <a:gd name="connsiteX530" fmla="*/ 1090075 w 2061090"/>
                <a:gd name="connsiteY530" fmla="*/ 26939 h 2789035"/>
                <a:gd name="connsiteX531" fmla="*/ 1086370 w 2061090"/>
                <a:gd name="connsiteY531" fmla="*/ 14949 h 2789035"/>
                <a:gd name="connsiteX532" fmla="*/ 1093561 w 2061090"/>
                <a:gd name="connsiteY532" fmla="*/ 9935 h 2789035"/>
                <a:gd name="connsiteX533" fmla="*/ 1101842 w 2061090"/>
                <a:gd name="connsiteY533" fmla="*/ 16257 h 2789035"/>
                <a:gd name="connsiteX534" fmla="*/ 1103149 w 2061090"/>
                <a:gd name="connsiteY534" fmla="*/ 26939 h 2789035"/>
                <a:gd name="connsiteX535" fmla="*/ 1111212 w 2061090"/>
                <a:gd name="connsiteY535" fmla="*/ 31735 h 2789035"/>
                <a:gd name="connsiteX536" fmla="*/ 1120146 w 2061090"/>
                <a:gd name="connsiteY536" fmla="*/ 32389 h 2789035"/>
                <a:gd name="connsiteX537" fmla="*/ 1126683 w 2061090"/>
                <a:gd name="connsiteY537" fmla="*/ 32389 h 2789035"/>
                <a:gd name="connsiteX538" fmla="*/ 1140629 w 2061090"/>
                <a:gd name="connsiteY538" fmla="*/ 40020 h 2789035"/>
                <a:gd name="connsiteX539" fmla="*/ 1140629 w 2061090"/>
                <a:gd name="connsiteY539" fmla="*/ 51792 h 2789035"/>
                <a:gd name="connsiteX540" fmla="*/ 1142590 w 2061090"/>
                <a:gd name="connsiteY540" fmla="*/ 58550 h 2789035"/>
                <a:gd name="connsiteX541" fmla="*/ 1146949 w 2061090"/>
                <a:gd name="connsiteY541" fmla="*/ 63565 h 2789035"/>
                <a:gd name="connsiteX542" fmla="*/ 1153268 w 2061090"/>
                <a:gd name="connsiteY542" fmla="*/ 70541 h 2789035"/>
                <a:gd name="connsiteX543" fmla="*/ 1158933 w 2061090"/>
                <a:gd name="connsiteY543" fmla="*/ 77735 h 2789035"/>
                <a:gd name="connsiteX544" fmla="*/ 1165689 w 2061090"/>
                <a:gd name="connsiteY544" fmla="*/ 79479 h 2789035"/>
                <a:gd name="connsiteX545" fmla="*/ 1165906 w 2061090"/>
                <a:gd name="connsiteY545" fmla="*/ 71849 h 2789035"/>
                <a:gd name="connsiteX546" fmla="*/ 1165906 w 2061090"/>
                <a:gd name="connsiteY546" fmla="*/ 63129 h 2789035"/>
                <a:gd name="connsiteX547" fmla="*/ 1161548 w 2061090"/>
                <a:gd name="connsiteY547" fmla="*/ 58768 h 2789035"/>
                <a:gd name="connsiteX548" fmla="*/ 1155447 w 2061090"/>
                <a:gd name="connsiteY548" fmla="*/ 55934 h 2789035"/>
                <a:gd name="connsiteX549" fmla="*/ 1161548 w 2061090"/>
                <a:gd name="connsiteY549" fmla="*/ 49612 h 2789035"/>
                <a:gd name="connsiteX550" fmla="*/ 1166996 w 2061090"/>
                <a:gd name="connsiteY550" fmla="*/ 48304 h 2789035"/>
                <a:gd name="connsiteX551" fmla="*/ 1160895 w 2061090"/>
                <a:gd name="connsiteY551" fmla="*/ 45688 h 2789035"/>
                <a:gd name="connsiteX552" fmla="*/ 1152832 w 2061090"/>
                <a:gd name="connsiteY552" fmla="*/ 43290 h 2789035"/>
                <a:gd name="connsiteX553" fmla="*/ 1149781 w 2061090"/>
                <a:gd name="connsiteY553" fmla="*/ 37840 h 2789035"/>
                <a:gd name="connsiteX554" fmla="*/ 1144116 w 2061090"/>
                <a:gd name="connsiteY554" fmla="*/ 32389 h 2789035"/>
                <a:gd name="connsiteX555" fmla="*/ 1139758 w 2061090"/>
                <a:gd name="connsiteY555" fmla="*/ 29119 h 2789035"/>
                <a:gd name="connsiteX556" fmla="*/ 1141937 w 2061090"/>
                <a:gd name="connsiteY556" fmla="*/ 25849 h 2789035"/>
                <a:gd name="connsiteX557" fmla="*/ 1144116 w 2061090"/>
                <a:gd name="connsiteY557" fmla="*/ 22361 h 2789035"/>
                <a:gd name="connsiteX558" fmla="*/ 1140847 w 2061090"/>
                <a:gd name="connsiteY558" fmla="*/ 21489 h 2789035"/>
                <a:gd name="connsiteX559" fmla="*/ 1139322 w 2061090"/>
                <a:gd name="connsiteY559" fmla="*/ 16475 h 2789035"/>
                <a:gd name="connsiteX560" fmla="*/ 1144116 w 2061090"/>
                <a:gd name="connsiteY560" fmla="*/ 8845 h 2789035"/>
                <a:gd name="connsiteX561" fmla="*/ 916402 w 2061090"/>
                <a:gd name="connsiteY561" fmla="*/ 5139 h 2789035"/>
                <a:gd name="connsiteX562" fmla="*/ 739897 w 2061090"/>
                <a:gd name="connsiteY562" fmla="*/ 5139 h 2789035"/>
                <a:gd name="connsiteX563" fmla="*/ 740551 w 2061090"/>
                <a:gd name="connsiteY563" fmla="*/ 10371 h 2789035"/>
                <a:gd name="connsiteX564" fmla="*/ 738372 w 2061090"/>
                <a:gd name="connsiteY564" fmla="*/ 14513 h 2789035"/>
                <a:gd name="connsiteX565" fmla="*/ 735539 w 2061090"/>
                <a:gd name="connsiteY565" fmla="*/ 9281 h 2789035"/>
                <a:gd name="connsiteX566" fmla="*/ 664719 w 2061090"/>
                <a:gd name="connsiteY566" fmla="*/ 5139 h 2789035"/>
                <a:gd name="connsiteX567" fmla="*/ 593899 w 2061090"/>
                <a:gd name="connsiteY567" fmla="*/ 5139 h 2789035"/>
                <a:gd name="connsiteX568" fmla="*/ 593899 w 2061090"/>
                <a:gd name="connsiteY568" fmla="*/ 13859 h 2789035"/>
                <a:gd name="connsiteX569" fmla="*/ 589541 w 2061090"/>
                <a:gd name="connsiteY569" fmla="*/ 22579 h 2789035"/>
                <a:gd name="connsiteX570" fmla="*/ 586273 w 2061090"/>
                <a:gd name="connsiteY570" fmla="*/ 9499 h 2789035"/>
                <a:gd name="connsiteX571" fmla="*/ 586926 w 2061090"/>
                <a:gd name="connsiteY571" fmla="*/ 5575 h 2789035"/>
                <a:gd name="connsiteX572" fmla="*/ 532885 w 2061090"/>
                <a:gd name="connsiteY572" fmla="*/ 5357 h 2789035"/>
                <a:gd name="connsiteX573" fmla="*/ 473615 w 2061090"/>
                <a:gd name="connsiteY573" fmla="*/ 6229 h 2789035"/>
                <a:gd name="connsiteX574" fmla="*/ 466642 w 2061090"/>
                <a:gd name="connsiteY574" fmla="*/ 14513 h 2789035"/>
                <a:gd name="connsiteX575" fmla="*/ 466206 w 2061090"/>
                <a:gd name="connsiteY575" fmla="*/ 26939 h 2789035"/>
                <a:gd name="connsiteX576" fmla="*/ 477101 w 2061090"/>
                <a:gd name="connsiteY576" fmla="*/ 28683 h 2789035"/>
                <a:gd name="connsiteX577" fmla="*/ 481895 w 2061090"/>
                <a:gd name="connsiteY577" fmla="*/ 20399 h 2789035"/>
                <a:gd name="connsiteX578" fmla="*/ 483856 w 2061090"/>
                <a:gd name="connsiteY578" fmla="*/ 21053 h 2789035"/>
                <a:gd name="connsiteX579" fmla="*/ 488214 w 2061090"/>
                <a:gd name="connsiteY579" fmla="*/ 25849 h 2789035"/>
                <a:gd name="connsiteX580" fmla="*/ 490393 w 2061090"/>
                <a:gd name="connsiteY580" fmla="*/ 35878 h 2789035"/>
                <a:gd name="connsiteX581" fmla="*/ 486035 w 2061090"/>
                <a:gd name="connsiteY581" fmla="*/ 44816 h 2789035"/>
                <a:gd name="connsiteX582" fmla="*/ 478191 w 2061090"/>
                <a:gd name="connsiteY582" fmla="*/ 48958 h 2789035"/>
                <a:gd name="connsiteX583" fmla="*/ 468603 w 2061090"/>
                <a:gd name="connsiteY583" fmla="*/ 47650 h 2789035"/>
                <a:gd name="connsiteX584" fmla="*/ 460322 w 2061090"/>
                <a:gd name="connsiteY584" fmla="*/ 40020 h 2789035"/>
                <a:gd name="connsiteX585" fmla="*/ 458797 w 2061090"/>
                <a:gd name="connsiteY585" fmla="*/ 57024 h 2789035"/>
                <a:gd name="connsiteX586" fmla="*/ 456618 w 2061090"/>
                <a:gd name="connsiteY586" fmla="*/ 72503 h 2789035"/>
                <a:gd name="connsiteX587" fmla="*/ 446158 w 2061090"/>
                <a:gd name="connsiteY587" fmla="*/ 70759 h 2789035"/>
                <a:gd name="connsiteX588" fmla="*/ 438096 w 2061090"/>
                <a:gd name="connsiteY588" fmla="*/ 72721 h 2789035"/>
                <a:gd name="connsiteX589" fmla="*/ 436570 w 2061090"/>
                <a:gd name="connsiteY589" fmla="*/ 75991 h 2789035"/>
                <a:gd name="connsiteX590" fmla="*/ 429815 w 2061090"/>
                <a:gd name="connsiteY590" fmla="*/ 80133 h 2789035"/>
                <a:gd name="connsiteX591" fmla="*/ 431776 w 2061090"/>
                <a:gd name="connsiteY591" fmla="*/ 91252 h 2789035"/>
                <a:gd name="connsiteX592" fmla="*/ 432648 w 2061090"/>
                <a:gd name="connsiteY592" fmla="*/ 99318 h 2789035"/>
                <a:gd name="connsiteX593" fmla="*/ 438096 w 2061090"/>
                <a:gd name="connsiteY593" fmla="*/ 105640 h 2789035"/>
                <a:gd name="connsiteX594" fmla="*/ 445722 w 2061090"/>
                <a:gd name="connsiteY594" fmla="*/ 115232 h 2789035"/>
                <a:gd name="connsiteX595" fmla="*/ 439621 w 2061090"/>
                <a:gd name="connsiteY595" fmla="*/ 119593 h 2789035"/>
                <a:gd name="connsiteX596" fmla="*/ 426111 w 2061090"/>
                <a:gd name="connsiteY596" fmla="*/ 104332 h 2789035"/>
                <a:gd name="connsiteX597" fmla="*/ 421753 w 2061090"/>
                <a:gd name="connsiteY597" fmla="*/ 99100 h 2789035"/>
                <a:gd name="connsiteX598" fmla="*/ 416741 w 2061090"/>
                <a:gd name="connsiteY598" fmla="*/ 91688 h 2789035"/>
                <a:gd name="connsiteX599" fmla="*/ 411293 w 2061090"/>
                <a:gd name="connsiteY599" fmla="*/ 81441 h 2789035"/>
                <a:gd name="connsiteX600" fmla="*/ 401269 w 2061090"/>
                <a:gd name="connsiteY600" fmla="*/ 77953 h 2789035"/>
                <a:gd name="connsiteX601" fmla="*/ 396475 w 2061090"/>
                <a:gd name="connsiteY601" fmla="*/ 64655 h 2789035"/>
                <a:gd name="connsiteX602" fmla="*/ 396911 w 2061090"/>
                <a:gd name="connsiteY602" fmla="*/ 55716 h 2789035"/>
                <a:gd name="connsiteX603" fmla="*/ 389284 w 2061090"/>
                <a:gd name="connsiteY603" fmla="*/ 57024 h 2789035"/>
                <a:gd name="connsiteX604" fmla="*/ 380568 w 2061090"/>
                <a:gd name="connsiteY604" fmla="*/ 55062 h 2789035"/>
                <a:gd name="connsiteX605" fmla="*/ 384926 w 2061090"/>
                <a:gd name="connsiteY605" fmla="*/ 45470 h 2789035"/>
                <a:gd name="connsiteX606" fmla="*/ 386670 w 2061090"/>
                <a:gd name="connsiteY606" fmla="*/ 38930 h 2789035"/>
                <a:gd name="connsiteX607" fmla="*/ 387759 w 2061090"/>
                <a:gd name="connsiteY607" fmla="*/ 32389 h 2789035"/>
                <a:gd name="connsiteX608" fmla="*/ 390156 w 2061090"/>
                <a:gd name="connsiteY608" fmla="*/ 35006 h 2789035"/>
                <a:gd name="connsiteX609" fmla="*/ 394296 w 2061090"/>
                <a:gd name="connsiteY609" fmla="*/ 33698 h 2789035"/>
                <a:gd name="connsiteX610" fmla="*/ 408460 w 2061090"/>
                <a:gd name="connsiteY610" fmla="*/ 35006 h 2789035"/>
                <a:gd name="connsiteX611" fmla="*/ 406935 w 2061090"/>
                <a:gd name="connsiteY611" fmla="*/ 45470 h 2789035"/>
                <a:gd name="connsiteX612" fmla="*/ 404538 w 2061090"/>
                <a:gd name="connsiteY612" fmla="*/ 57024 h 2789035"/>
                <a:gd name="connsiteX613" fmla="*/ 405627 w 2061090"/>
                <a:gd name="connsiteY613" fmla="*/ 64655 h 2789035"/>
                <a:gd name="connsiteX614" fmla="*/ 410204 w 2061090"/>
                <a:gd name="connsiteY614" fmla="*/ 66181 h 2789035"/>
                <a:gd name="connsiteX615" fmla="*/ 414126 w 2061090"/>
                <a:gd name="connsiteY615" fmla="*/ 53754 h 2789035"/>
                <a:gd name="connsiteX616" fmla="*/ 418484 w 2061090"/>
                <a:gd name="connsiteY616" fmla="*/ 47650 h 2789035"/>
                <a:gd name="connsiteX617" fmla="*/ 423932 w 2061090"/>
                <a:gd name="connsiteY617" fmla="*/ 40892 h 2789035"/>
                <a:gd name="connsiteX618" fmla="*/ 425675 w 2061090"/>
                <a:gd name="connsiteY618" fmla="*/ 32608 h 2789035"/>
                <a:gd name="connsiteX619" fmla="*/ 436570 w 2061090"/>
                <a:gd name="connsiteY619" fmla="*/ 15167 h 2789035"/>
                <a:gd name="connsiteX620" fmla="*/ 443325 w 2061090"/>
                <a:gd name="connsiteY620" fmla="*/ 10589 h 2789035"/>
                <a:gd name="connsiteX621" fmla="*/ 451170 w 2061090"/>
                <a:gd name="connsiteY621" fmla="*/ 12769 h 2789035"/>
                <a:gd name="connsiteX622" fmla="*/ 443543 w 2061090"/>
                <a:gd name="connsiteY622" fmla="*/ 22361 h 2789035"/>
                <a:gd name="connsiteX623" fmla="*/ 435917 w 2061090"/>
                <a:gd name="connsiteY623" fmla="*/ 33480 h 2789035"/>
                <a:gd name="connsiteX624" fmla="*/ 441364 w 2061090"/>
                <a:gd name="connsiteY624" fmla="*/ 34570 h 2789035"/>
                <a:gd name="connsiteX625" fmla="*/ 449863 w 2061090"/>
                <a:gd name="connsiteY625" fmla="*/ 33480 h 2789035"/>
                <a:gd name="connsiteX626" fmla="*/ 460758 w 2061090"/>
                <a:gd name="connsiteY626" fmla="*/ 25413 h 2789035"/>
                <a:gd name="connsiteX627" fmla="*/ 459669 w 2061090"/>
                <a:gd name="connsiteY627" fmla="*/ 14513 h 2789035"/>
                <a:gd name="connsiteX628" fmla="*/ 460322 w 2061090"/>
                <a:gd name="connsiteY628" fmla="*/ 6229 h 2789035"/>
                <a:gd name="connsiteX629" fmla="*/ 438314 w 2061090"/>
                <a:gd name="connsiteY629" fmla="*/ 6229 h 2789035"/>
                <a:gd name="connsiteX630" fmla="*/ 414126 w 2061090"/>
                <a:gd name="connsiteY630" fmla="*/ 10153 h 2789035"/>
                <a:gd name="connsiteX631" fmla="*/ 409768 w 2061090"/>
                <a:gd name="connsiteY631" fmla="*/ 10153 h 2789035"/>
                <a:gd name="connsiteX632" fmla="*/ 401051 w 2061090"/>
                <a:gd name="connsiteY632" fmla="*/ 6229 h 2789035"/>
                <a:gd name="connsiteX633" fmla="*/ 394514 w 2061090"/>
                <a:gd name="connsiteY633" fmla="*/ 14949 h 2789035"/>
                <a:gd name="connsiteX634" fmla="*/ 391464 w 2061090"/>
                <a:gd name="connsiteY634" fmla="*/ 23669 h 2789035"/>
                <a:gd name="connsiteX635" fmla="*/ 384055 w 2061090"/>
                <a:gd name="connsiteY635" fmla="*/ 12551 h 2789035"/>
                <a:gd name="connsiteX636" fmla="*/ 374903 w 2061090"/>
                <a:gd name="connsiteY636" fmla="*/ 7755 h 2789035"/>
                <a:gd name="connsiteX637" fmla="*/ 363571 w 2061090"/>
                <a:gd name="connsiteY637" fmla="*/ 8191 h 2789035"/>
                <a:gd name="connsiteX638" fmla="*/ 362482 w 2061090"/>
                <a:gd name="connsiteY638" fmla="*/ 16693 h 2789035"/>
                <a:gd name="connsiteX639" fmla="*/ 358124 w 2061090"/>
                <a:gd name="connsiteY639" fmla="*/ 24541 h 2789035"/>
                <a:gd name="connsiteX640" fmla="*/ 353112 w 2061090"/>
                <a:gd name="connsiteY640" fmla="*/ 30645 h 2789035"/>
                <a:gd name="connsiteX641" fmla="*/ 345267 w 2061090"/>
                <a:gd name="connsiteY641" fmla="*/ 34352 h 2789035"/>
                <a:gd name="connsiteX642" fmla="*/ 339384 w 2061090"/>
                <a:gd name="connsiteY642" fmla="*/ 33262 h 2789035"/>
                <a:gd name="connsiteX643" fmla="*/ 330885 w 2061090"/>
                <a:gd name="connsiteY643" fmla="*/ 32171 h 2789035"/>
                <a:gd name="connsiteX644" fmla="*/ 318247 w 2061090"/>
                <a:gd name="connsiteY644" fmla="*/ 39148 h 2789035"/>
                <a:gd name="connsiteX645" fmla="*/ 321515 w 2061090"/>
                <a:gd name="connsiteY645" fmla="*/ 44598 h 2789035"/>
                <a:gd name="connsiteX646" fmla="*/ 323258 w 2061090"/>
                <a:gd name="connsiteY646" fmla="*/ 54190 h 2789035"/>
                <a:gd name="connsiteX647" fmla="*/ 307351 w 2061090"/>
                <a:gd name="connsiteY647" fmla="*/ 38276 h 2789035"/>
                <a:gd name="connsiteX648" fmla="*/ 311927 w 2061090"/>
                <a:gd name="connsiteY648" fmla="*/ 32608 h 2789035"/>
                <a:gd name="connsiteX649" fmla="*/ 315632 w 2061090"/>
                <a:gd name="connsiteY649" fmla="*/ 25413 h 2789035"/>
                <a:gd name="connsiteX650" fmla="*/ 321079 w 2061090"/>
                <a:gd name="connsiteY650" fmla="*/ 19745 h 2789035"/>
                <a:gd name="connsiteX651" fmla="*/ 332411 w 2061090"/>
                <a:gd name="connsiteY651" fmla="*/ 21489 h 2789035"/>
                <a:gd name="connsiteX652" fmla="*/ 342216 w 2061090"/>
                <a:gd name="connsiteY652" fmla="*/ 19309 h 2789035"/>
                <a:gd name="connsiteX653" fmla="*/ 346357 w 2061090"/>
                <a:gd name="connsiteY653" fmla="*/ 12769 h 2789035"/>
                <a:gd name="connsiteX654" fmla="*/ 352240 w 2061090"/>
                <a:gd name="connsiteY654" fmla="*/ 15167 h 2789035"/>
                <a:gd name="connsiteX655" fmla="*/ 355509 w 2061090"/>
                <a:gd name="connsiteY655" fmla="*/ 14731 h 2789035"/>
                <a:gd name="connsiteX656" fmla="*/ 356380 w 2061090"/>
                <a:gd name="connsiteY656" fmla="*/ 10371 h 2789035"/>
                <a:gd name="connsiteX657" fmla="*/ 314542 w 2061090"/>
                <a:gd name="connsiteY657" fmla="*/ 11025 h 2789035"/>
                <a:gd name="connsiteX658" fmla="*/ 311709 w 2061090"/>
                <a:gd name="connsiteY658" fmla="*/ 10807 h 2789035"/>
                <a:gd name="connsiteX659" fmla="*/ 287304 w 2061090"/>
                <a:gd name="connsiteY659" fmla="*/ 10371 h 2789035"/>
                <a:gd name="connsiteX660" fmla="*/ 285561 w 2061090"/>
                <a:gd name="connsiteY660" fmla="*/ 13859 h 2789035"/>
                <a:gd name="connsiteX661" fmla="*/ 294931 w 2061090"/>
                <a:gd name="connsiteY661" fmla="*/ 17347 h 2789035"/>
                <a:gd name="connsiteX662" fmla="*/ 299071 w 2061090"/>
                <a:gd name="connsiteY662" fmla="*/ 14949 h 2789035"/>
                <a:gd name="connsiteX663" fmla="*/ 294059 w 2061090"/>
                <a:gd name="connsiteY663" fmla="*/ 28465 h 2789035"/>
                <a:gd name="connsiteX664" fmla="*/ 289919 w 2061090"/>
                <a:gd name="connsiteY664" fmla="*/ 42418 h 2789035"/>
                <a:gd name="connsiteX665" fmla="*/ 295802 w 2061090"/>
                <a:gd name="connsiteY665" fmla="*/ 47650 h 2789035"/>
                <a:gd name="connsiteX666" fmla="*/ 298635 w 2061090"/>
                <a:gd name="connsiteY666" fmla="*/ 49394 h 2789035"/>
                <a:gd name="connsiteX667" fmla="*/ 285996 w 2061090"/>
                <a:gd name="connsiteY667" fmla="*/ 55498 h 2789035"/>
                <a:gd name="connsiteX668" fmla="*/ 277934 w 2061090"/>
                <a:gd name="connsiteY668" fmla="*/ 64873 h 2789035"/>
                <a:gd name="connsiteX669" fmla="*/ 283164 w 2061090"/>
                <a:gd name="connsiteY669" fmla="*/ 67271 h 2789035"/>
                <a:gd name="connsiteX670" fmla="*/ 292098 w 2061090"/>
                <a:gd name="connsiteY670" fmla="*/ 80787 h 2789035"/>
                <a:gd name="connsiteX671" fmla="*/ 300160 w 2061090"/>
                <a:gd name="connsiteY671" fmla="*/ 87327 h 2789035"/>
                <a:gd name="connsiteX672" fmla="*/ 300596 w 2061090"/>
                <a:gd name="connsiteY672" fmla="*/ 74901 h 2789035"/>
                <a:gd name="connsiteX673" fmla="*/ 305826 w 2061090"/>
                <a:gd name="connsiteY673" fmla="*/ 55498 h 2789035"/>
                <a:gd name="connsiteX674" fmla="*/ 310838 w 2061090"/>
                <a:gd name="connsiteY674" fmla="*/ 71631 h 2789035"/>
                <a:gd name="connsiteX675" fmla="*/ 308441 w 2061090"/>
                <a:gd name="connsiteY675" fmla="*/ 84275 h 2789035"/>
                <a:gd name="connsiteX676" fmla="*/ 311056 w 2061090"/>
                <a:gd name="connsiteY676" fmla="*/ 83185 h 2789035"/>
                <a:gd name="connsiteX677" fmla="*/ 317375 w 2061090"/>
                <a:gd name="connsiteY677" fmla="*/ 80351 h 2789035"/>
                <a:gd name="connsiteX678" fmla="*/ 322605 w 2061090"/>
                <a:gd name="connsiteY678" fmla="*/ 68361 h 2789035"/>
                <a:gd name="connsiteX679" fmla="*/ 327617 w 2061090"/>
                <a:gd name="connsiteY679" fmla="*/ 57024 h 2789035"/>
                <a:gd name="connsiteX680" fmla="*/ 332411 w 2061090"/>
                <a:gd name="connsiteY680" fmla="*/ 49830 h 2789035"/>
                <a:gd name="connsiteX681" fmla="*/ 342652 w 2061090"/>
                <a:gd name="connsiteY681" fmla="*/ 44816 h 2789035"/>
                <a:gd name="connsiteX682" fmla="*/ 341563 w 2061090"/>
                <a:gd name="connsiteY682" fmla="*/ 60294 h 2789035"/>
                <a:gd name="connsiteX683" fmla="*/ 332629 w 2061090"/>
                <a:gd name="connsiteY683" fmla="*/ 82095 h 2789035"/>
                <a:gd name="connsiteX684" fmla="*/ 327835 w 2061090"/>
                <a:gd name="connsiteY684" fmla="*/ 93650 h 2789035"/>
                <a:gd name="connsiteX685" fmla="*/ 322387 w 2061090"/>
                <a:gd name="connsiteY685" fmla="*/ 110000 h 2789035"/>
                <a:gd name="connsiteX686" fmla="*/ 327181 w 2061090"/>
                <a:gd name="connsiteY686" fmla="*/ 127441 h 2789035"/>
                <a:gd name="connsiteX687" fmla="*/ 328924 w 2061090"/>
                <a:gd name="connsiteY687" fmla="*/ 134199 h 2789035"/>
                <a:gd name="connsiteX688" fmla="*/ 333718 w 2061090"/>
                <a:gd name="connsiteY688" fmla="*/ 140739 h 2789035"/>
                <a:gd name="connsiteX689" fmla="*/ 340255 w 2061090"/>
                <a:gd name="connsiteY689" fmla="*/ 142701 h 2789035"/>
                <a:gd name="connsiteX690" fmla="*/ 345485 w 2061090"/>
                <a:gd name="connsiteY690" fmla="*/ 145753 h 2789035"/>
                <a:gd name="connsiteX691" fmla="*/ 348318 w 2061090"/>
                <a:gd name="connsiteY691" fmla="*/ 156218 h 2789035"/>
                <a:gd name="connsiteX692" fmla="*/ 351804 w 2061090"/>
                <a:gd name="connsiteY692" fmla="*/ 169080 h 2789035"/>
                <a:gd name="connsiteX693" fmla="*/ 354419 w 2061090"/>
                <a:gd name="connsiteY693" fmla="*/ 160796 h 2789035"/>
                <a:gd name="connsiteX694" fmla="*/ 358777 w 2061090"/>
                <a:gd name="connsiteY694" fmla="*/ 153166 h 2789035"/>
                <a:gd name="connsiteX695" fmla="*/ 367930 w 2061090"/>
                <a:gd name="connsiteY695" fmla="*/ 154910 h 2789035"/>
                <a:gd name="connsiteX696" fmla="*/ 363136 w 2061090"/>
                <a:gd name="connsiteY696" fmla="*/ 145753 h 2789035"/>
                <a:gd name="connsiteX697" fmla="*/ 353766 w 2061090"/>
                <a:gd name="connsiteY697" fmla="*/ 144445 h 2789035"/>
                <a:gd name="connsiteX698" fmla="*/ 352458 w 2061090"/>
                <a:gd name="connsiteY698" fmla="*/ 137905 h 2789035"/>
                <a:gd name="connsiteX699" fmla="*/ 353548 w 2061090"/>
                <a:gd name="connsiteY699" fmla="*/ 132673 h 2789035"/>
                <a:gd name="connsiteX700" fmla="*/ 349189 w 2061090"/>
                <a:gd name="connsiteY700" fmla="*/ 136161 h 2789035"/>
                <a:gd name="connsiteX701" fmla="*/ 343088 w 2061090"/>
                <a:gd name="connsiteY701" fmla="*/ 131583 h 2789035"/>
                <a:gd name="connsiteX702" fmla="*/ 338076 w 2061090"/>
                <a:gd name="connsiteY702" fmla="*/ 125479 h 2789035"/>
                <a:gd name="connsiteX703" fmla="*/ 331321 w 2061090"/>
                <a:gd name="connsiteY703" fmla="*/ 112180 h 2789035"/>
                <a:gd name="connsiteX704" fmla="*/ 333064 w 2061090"/>
                <a:gd name="connsiteY704" fmla="*/ 106294 h 2789035"/>
                <a:gd name="connsiteX705" fmla="*/ 336987 w 2061090"/>
                <a:gd name="connsiteY705" fmla="*/ 102588 h 2789035"/>
                <a:gd name="connsiteX706" fmla="*/ 341999 w 2061090"/>
                <a:gd name="connsiteY706" fmla="*/ 112398 h 2789035"/>
                <a:gd name="connsiteX707" fmla="*/ 350497 w 2061090"/>
                <a:gd name="connsiteY707" fmla="*/ 119811 h 2789035"/>
                <a:gd name="connsiteX708" fmla="*/ 362482 w 2061090"/>
                <a:gd name="connsiteY708" fmla="*/ 128967 h 2789035"/>
                <a:gd name="connsiteX709" fmla="*/ 367058 w 2061090"/>
                <a:gd name="connsiteY709" fmla="*/ 132673 h 2789035"/>
                <a:gd name="connsiteX710" fmla="*/ 371852 w 2061090"/>
                <a:gd name="connsiteY710" fmla="*/ 138777 h 2789035"/>
                <a:gd name="connsiteX711" fmla="*/ 375338 w 2061090"/>
                <a:gd name="connsiteY711" fmla="*/ 147279 h 2789035"/>
                <a:gd name="connsiteX712" fmla="*/ 376864 w 2061090"/>
                <a:gd name="connsiteY712" fmla="*/ 153820 h 2789035"/>
                <a:gd name="connsiteX713" fmla="*/ 384273 w 2061090"/>
                <a:gd name="connsiteY713" fmla="*/ 169080 h 2789035"/>
                <a:gd name="connsiteX714" fmla="*/ 386234 w 2061090"/>
                <a:gd name="connsiteY714" fmla="*/ 162540 h 2789035"/>
                <a:gd name="connsiteX715" fmla="*/ 392335 w 2061090"/>
                <a:gd name="connsiteY715" fmla="*/ 156654 h 2789035"/>
                <a:gd name="connsiteX716" fmla="*/ 400180 w 2061090"/>
                <a:gd name="connsiteY716" fmla="*/ 146843 h 2789035"/>
                <a:gd name="connsiteX717" fmla="*/ 394732 w 2061090"/>
                <a:gd name="connsiteY717" fmla="*/ 145535 h 2789035"/>
                <a:gd name="connsiteX718" fmla="*/ 381440 w 2061090"/>
                <a:gd name="connsiteY718" fmla="*/ 139213 h 2789035"/>
                <a:gd name="connsiteX719" fmla="*/ 377082 w 2061090"/>
                <a:gd name="connsiteY719" fmla="*/ 130493 h 2789035"/>
                <a:gd name="connsiteX720" fmla="*/ 379261 w 2061090"/>
                <a:gd name="connsiteY720" fmla="*/ 127223 h 2789035"/>
                <a:gd name="connsiteX721" fmla="*/ 382529 w 2061090"/>
                <a:gd name="connsiteY721" fmla="*/ 119593 h 2789035"/>
                <a:gd name="connsiteX722" fmla="*/ 386016 w 2061090"/>
                <a:gd name="connsiteY722" fmla="*/ 127005 h 2789035"/>
                <a:gd name="connsiteX723" fmla="*/ 384926 w 2061090"/>
                <a:gd name="connsiteY723" fmla="*/ 133545 h 2789035"/>
                <a:gd name="connsiteX724" fmla="*/ 395386 w 2061090"/>
                <a:gd name="connsiteY724" fmla="*/ 133763 h 2789035"/>
                <a:gd name="connsiteX725" fmla="*/ 402359 w 2061090"/>
                <a:gd name="connsiteY725" fmla="*/ 130493 h 2789035"/>
                <a:gd name="connsiteX726" fmla="*/ 414126 w 2061090"/>
                <a:gd name="connsiteY726" fmla="*/ 114142 h 2789035"/>
                <a:gd name="connsiteX727" fmla="*/ 420009 w 2061090"/>
                <a:gd name="connsiteY727" fmla="*/ 109782 h 2789035"/>
                <a:gd name="connsiteX728" fmla="*/ 426764 w 2061090"/>
                <a:gd name="connsiteY728" fmla="*/ 116540 h 2789035"/>
                <a:gd name="connsiteX729" fmla="*/ 421753 w 2061090"/>
                <a:gd name="connsiteY729" fmla="*/ 125697 h 2789035"/>
                <a:gd name="connsiteX730" fmla="*/ 416305 w 2061090"/>
                <a:gd name="connsiteY730" fmla="*/ 132237 h 2789035"/>
                <a:gd name="connsiteX731" fmla="*/ 413690 w 2061090"/>
                <a:gd name="connsiteY731" fmla="*/ 138777 h 2789035"/>
                <a:gd name="connsiteX732" fmla="*/ 414998 w 2061090"/>
                <a:gd name="connsiteY732" fmla="*/ 144227 h 2789035"/>
                <a:gd name="connsiteX733" fmla="*/ 415215 w 2061090"/>
                <a:gd name="connsiteY733" fmla="*/ 150114 h 2789035"/>
                <a:gd name="connsiteX734" fmla="*/ 416741 w 2061090"/>
                <a:gd name="connsiteY734" fmla="*/ 157090 h 2789035"/>
                <a:gd name="connsiteX735" fmla="*/ 418702 w 2061090"/>
                <a:gd name="connsiteY735" fmla="*/ 162976 h 2789035"/>
                <a:gd name="connsiteX736" fmla="*/ 414998 w 2061090"/>
                <a:gd name="connsiteY736" fmla="*/ 173004 h 2789035"/>
                <a:gd name="connsiteX737" fmla="*/ 414344 w 2061090"/>
                <a:gd name="connsiteY737" fmla="*/ 180853 h 2789035"/>
                <a:gd name="connsiteX738" fmla="*/ 423060 w 2061090"/>
                <a:gd name="connsiteY738" fmla="*/ 180417 h 2789035"/>
                <a:gd name="connsiteX739" fmla="*/ 433955 w 2061090"/>
                <a:gd name="connsiteY739" fmla="*/ 183469 h 2789035"/>
                <a:gd name="connsiteX740" fmla="*/ 439839 w 2061090"/>
                <a:gd name="connsiteY740" fmla="*/ 187175 h 2789035"/>
                <a:gd name="connsiteX741" fmla="*/ 446376 w 2061090"/>
                <a:gd name="connsiteY741" fmla="*/ 189791 h 2789035"/>
                <a:gd name="connsiteX742" fmla="*/ 445722 w 2061090"/>
                <a:gd name="connsiteY742" fmla="*/ 207668 h 2789035"/>
                <a:gd name="connsiteX743" fmla="*/ 442454 w 2061090"/>
                <a:gd name="connsiteY743" fmla="*/ 211810 h 2789035"/>
                <a:gd name="connsiteX744" fmla="*/ 439185 w 2061090"/>
                <a:gd name="connsiteY744" fmla="*/ 217696 h 2789035"/>
                <a:gd name="connsiteX745" fmla="*/ 436352 w 2061090"/>
                <a:gd name="connsiteY745" fmla="*/ 225108 h 2789035"/>
                <a:gd name="connsiteX746" fmla="*/ 435045 w 2061090"/>
                <a:gd name="connsiteY746" fmla="*/ 235354 h 2789035"/>
                <a:gd name="connsiteX747" fmla="*/ 436788 w 2061090"/>
                <a:gd name="connsiteY747" fmla="*/ 243639 h 2789035"/>
                <a:gd name="connsiteX748" fmla="*/ 440275 w 2061090"/>
                <a:gd name="connsiteY748" fmla="*/ 250833 h 2789035"/>
                <a:gd name="connsiteX749" fmla="*/ 445940 w 2061090"/>
                <a:gd name="connsiteY749" fmla="*/ 254103 h 2789035"/>
                <a:gd name="connsiteX750" fmla="*/ 456182 w 2061090"/>
                <a:gd name="connsiteY750" fmla="*/ 260425 h 2789035"/>
                <a:gd name="connsiteX751" fmla="*/ 464027 w 2061090"/>
                <a:gd name="connsiteY751" fmla="*/ 267838 h 2789035"/>
                <a:gd name="connsiteX752" fmla="*/ 474268 w 2061090"/>
                <a:gd name="connsiteY752" fmla="*/ 272198 h 2789035"/>
                <a:gd name="connsiteX753" fmla="*/ 476447 w 2061090"/>
                <a:gd name="connsiteY753" fmla="*/ 264567 h 2789035"/>
                <a:gd name="connsiteX754" fmla="*/ 469692 w 2061090"/>
                <a:gd name="connsiteY754" fmla="*/ 251923 h 2789035"/>
                <a:gd name="connsiteX755" fmla="*/ 466642 w 2061090"/>
                <a:gd name="connsiteY755" fmla="*/ 243857 h 2789035"/>
                <a:gd name="connsiteX756" fmla="*/ 468385 w 2061090"/>
                <a:gd name="connsiteY756" fmla="*/ 230776 h 2789035"/>
                <a:gd name="connsiteX757" fmla="*/ 479934 w 2061090"/>
                <a:gd name="connsiteY757" fmla="*/ 210066 h 2789035"/>
                <a:gd name="connsiteX758" fmla="*/ 486253 w 2061090"/>
                <a:gd name="connsiteY758" fmla="*/ 205487 h 2789035"/>
                <a:gd name="connsiteX759" fmla="*/ 496277 w 2061090"/>
                <a:gd name="connsiteY759" fmla="*/ 200037 h 2789035"/>
                <a:gd name="connsiteX760" fmla="*/ 502378 w 2061090"/>
                <a:gd name="connsiteY760" fmla="*/ 194587 h 2789035"/>
                <a:gd name="connsiteX761" fmla="*/ 512402 w 2061090"/>
                <a:gd name="connsiteY761" fmla="*/ 194369 h 2789035"/>
                <a:gd name="connsiteX762" fmla="*/ 517632 w 2061090"/>
                <a:gd name="connsiteY762" fmla="*/ 187611 h 2789035"/>
                <a:gd name="connsiteX763" fmla="*/ 523080 w 2061090"/>
                <a:gd name="connsiteY763" fmla="*/ 183469 h 2789035"/>
                <a:gd name="connsiteX764" fmla="*/ 532232 w 2061090"/>
                <a:gd name="connsiteY764" fmla="*/ 179327 h 2789035"/>
                <a:gd name="connsiteX765" fmla="*/ 532232 w 2061090"/>
                <a:gd name="connsiteY765" fmla="*/ 169516 h 2789035"/>
                <a:gd name="connsiteX766" fmla="*/ 529617 w 2061090"/>
                <a:gd name="connsiteY766" fmla="*/ 162322 h 2789035"/>
                <a:gd name="connsiteX767" fmla="*/ 549664 w 2061090"/>
                <a:gd name="connsiteY767" fmla="*/ 156218 h 2789035"/>
                <a:gd name="connsiteX768" fmla="*/ 554240 w 2061090"/>
                <a:gd name="connsiteY768" fmla="*/ 145753 h 2789035"/>
                <a:gd name="connsiteX769" fmla="*/ 533321 w 2061090"/>
                <a:gd name="connsiteY769" fmla="*/ 147497 h 2789035"/>
                <a:gd name="connsiteX770" fmla="*/ 525912 w 2061090"/>
                <a:gd name="connsiteY770" fmla="*/ 155128 h 2789035"/>
                <a:gd name="connsiteX771" fmla="*/ 520465 w 2061090"/>
                <a:gd name="connsiteY771" fmla="*/ 164284 h 2789035"/>
                <a:gd name="connsiteX772" fmla="*/ 515235 w 2061090"/>
                <a:gd name="connsiteY772" fmla="*/ 169298 h 2789035"/>
                <a:gd name="connsiteX773" fmla="*/ 508480 w 2061090"/>
                <a:gd name="connsiteY773" fmla="*/ 176274 h 2789035"/>
                <a:gd name="connsiteX774" fmla="*/ 502596 w 2061090"/>
                <a:gd name="connsiteY774" fmla="*/ 182815 h 2789035"/>
                <a:gd name="connsiteX775" fmla="*/ 496931 w 2061090"/>
                <a:gd name="connsiteY775" fmla="*/ 188483 h 2789035"/>
                <a:gd name="connsiteX776" fmla="*/ 489958 w 2061090"/>
                <a:gd name="connsiteY776" fmla="*/ 188047 h 2789035"/>
                <a:gd name="connsiteX777" fmla="*/ 490829 w 2061090"/>
                <a:gd name="connsiteY777" fmla="*/ 173876 h 2789035"/>
                <a:gd name="connsiteX778" fmla="*/ 494316 w 2061090"/>
                <a:gd name="connsiteY778" fmla="*/ 166900 h 2789035"/>
                <a:gd name="connsiteX779" fmla="*/ 504340 w 2061090"/>
                <a:gd name="connsiteY779" fmla="*/ 165592 h 2789035"/>
                <a:gd name="connsiteX780" fmla="*/ 496495 w 2061090"/>
                <a:gd name="connsiteY780" fmla="*/ 157526 h 2789035"/>
                <a:gd name="connsiteX781" fmla="*/ 489304 w 2061090"/>
                <a:gd name="connsiteY781" fmla="*/ 154692 h 2789035"/>
                <a:gd name="connsiteX782" fmla="*/ 489304 w 2061090"/>
                <a:gd name="connsiteY782" fmla="*/ 145753 h 2789035"/>
                <a:gd name="connsiteX783" fmla="*/ 498020 w 2061090"/>
                <a:gd name="connsiteY783" fmla="*/ 142701 h 2789035"/>
                <a:gd name="connsiteX784" fmla="*/ 508698 w 2061090"/>
                <a:gd name="connsiteY784" fmla="*/ 136161 h 2789035"/>
                <a:gd name="connsiteX785" fmla="*/ 510877 w 2061090"/>
                <a:gd name="connsiteY785" fmla="*/ 125043 h 2789035"/>
                <a:gd name="connsiteX786" fmla="*/ 519375 w 2061090"/>
                <a:gd name="connsiteY786" fmla="*/ 124607 h 2789035"/>
                <a:gd name="connsiteX787" fmla="*/ 522208 w 2061090"/>
                <a:gd name="connsiteY787" fmla="*/ 130493 h 2789035"/>
                <a:gd name="connsiteX788" fmla="*/ 512184 w 2061090"/>
                <a:gd name="connsiteY788" fmla="*/ 144009 h 2789035"/>
                <a:gd name="connsiteX789" fmla="*/ 521990 w 2061090"/>
                <a:gd name="connsiteY789" fmla="*/ 143573 h 2789035"/>
                <a:gd name="connsiteX790" fmla="*/ 530053 w 2061090"/>
                <a:gd name="connsiteY790" fmla="*/ 139213 h 2789035"/>
                <a:gd name="connsiteX791" fmla="*/ 533975 w 2061090"/>
                <a:gd name="connsiteY791" fmla="*/ 135943 h 2789035"/>
                <a:gd name="connsiteX792" fmla="*/ 538551 w 2061090"/>
                <a:gd name="connsiteY792" fmla="*/ 132673 h 2789035"/>
                <a:gd name="connsiteX793" fmla="*/ 542038 w 2061090"/>
                <a:gd name="connsiteY793" fmla="*/ 122427 h 2789035"/>
                <a:gd name="connsiteX794" fmla="*/ 543563 w 2061090"/>
                <a:gd name="connsiteY794" fmla="*/ 115886 h 2789035"/>
                <a:gd name="connsiteX795" fmla="*/ 555112 w 2061090"/>
                <a:gd name="connsiteY795" fmla="*/ 116104 h 2789035"/>
                <a:gd name="connsiteX796" fmla="*/ 546831 w 2061090"/>
                <a:gd name="connsiteY796" fmla="*/ 106076 h 2789035"/>
                <a:gd name="connsiteX797" fmla="*/ 531796 w 2061090"/>
                <a:gd name="connsiteY797" fmla="*/ 114142 h 2789035"/>
                <a:gd name="connsiteX798" fmla="*/ 511530 w 2061090"/>
                <a:gd name="connsiteY798" fmla="*/ 105640 h 2789035"/>
                <a:gd name="connsiteX799" fmla="*/ 499328 w 2061090"/>
                <a:gd name="connsiteY799" fmla="*/ 108256 h 2789035"/>
                <a:gd name="connsiteX800" fmla="*/ 492355 w 2061090"/>
                <a:gd name="connsiteY800" fmla="*/ 110436 h 2789035"/>
                <a:gd name="connsiteX801" fmla="*/ 486035 w 2061090"/>
                <a:gd name="connsiteY801" fmla="*/ 106512 h 2789035"/>
                <a:gd name="connsiteX802" fmla="*/ 481677 w 2061090"/>
                <a:gd name="connsiteY802" fmla="*/ 104986 h 2789035"/>
                <a:gd name="connsiteX803" fmla="*/ 480370 w 2061090"/>
                <a:gd name="connsiteY803" fmla="*/ 98228 h 2789035"/>
                <a:gd name="connsiteX804" fmla="*/ 479062 w 2061090"/>
                <a:gd name="connsiteY804" fmla="*/ 93432 h 2789035"/>
                <a:gd name="connsiteX805" fmla="*/ 504557 w 2061090"/>
                <a:gd name="connsiteY805" fmla="*/ 94522 h 2789035"/>
                <a:gd name="connsiteX806" fmla="*/ 533975 w 2061090"/>
                <a:gd name="connsiteY806" fmla="*/ 92342 h 2789035"/>
                <a:gd name="connsiteX807" fmla="*/ 542691 w 2061090"/>
                <a:gd name="connsiteY807" fmla="*/ 94740 h 2789035"/>
                <a:gd name="connsiteX808" fmla="*/ 549228 w 2061090"/>
                <a:gd name="connsiteY808" fmla="*/ 94522 h 2789035"/>
                <a:gd name="connsiteX809" fmla="*/ 546831 w 2061090"/>
                <a:gd name="connsiteY809" fmla="*/ 87327 h 2789035"/>
                <a:gd name="connsiteX810" fmla="*/ 522644 w 2061090"/>
                <a:gd name="connsiteY810" fmla="*/ 82313 h 2789035"/>
                <a:gd name="connsiteX811" fmla="*/ 519375 w 2061090"/>
                <a:gd name="connsiteY811" fmla="*/ 77081 h 2789035"/>
                <a:gd name="connsiteX812" fmla="*/ 523515 w 2061090"/>
                <a:gd name="connsiteY812" fmla="*/ 71195 h 2789035"/>
                <a:gd name="connsiteX813" fmla="*/ 525259 w 2061090"/>
                <a:gd name="connsiteY813" fmla="*/ 66181 h 2789035"/>
                <a:gd name="connsiteX814" fmla="*/ 527438 w 2061090"/>
                <a:gd name="connsiteY814" fmla="*/ 67271 h 2789035"/>
                <a:gd name="connsiteX815" fmla="*/ 532668 w 2061090"/>
                <a:gd name="connsiteY815" fmla="*/ 68579 h 2789035"/>
                <a:gd name="connsiteX816" fmla="*/ 539205 w 2061090"/>
                <a:gd name="connsiteY816" fmla="*/ 70977 h 2789035"/>
                <a:gd name="connsiteX817" fmla="*/ 538987 w 2061090"/>
                <a:gd name="connsiteY817" fmla="*/ 66835 h 2789035"/>
                <a:gd name="connsiteX818" fmla="*/ 542255 w 2061090"/>
                <a:gd name="connsiteY818" fmla="*/ 58550 h 2789035"/>
                <a:gd name="connsiteX819" fmla="*/ 548139 w 2061090"/>
                <a:gd name="connsiteY819" fmla="*/ 56370 h 2789035"/>
                <a:gd name="connsiteX820" fmla="*/ 552061 w 2061090"/>
                <a:gd name="connsiteY820" fmla="*/ 55716 h 2789035"/>
                <a:gd name="connsiteX821" fmla="*/ 559034 w 2061090"/>
                <a:gd name="connsiteY821" fmla="*/ 57460 h 2789035"/>
                <a:gd name="connsiteX822" fmla="*/ 564046 w 2061090"/>
                <a:gd name="connsiteY822" fmla="*/ 64655 h 2789035"/>
                <a:gd name="connsiteX823" fmla="*/ 559470 w 2061090"/>
                <a:gd name="connsiteY823" fmla="*/ 69015 h 2789035"/>
                <a:gd name="connsiteX824" fmla="*/ 554022 w 2061090"/>
                <a:gd name="connsiteY824" fmla="*/ 70105 h 2789035"/>
                <a:gd name="connsiteX825" fmla="*/ 551843 w 2061090"/>
                <a:gd name="connsiteY825" fmla="*/ 80569 h 2789035"/>
                <a:gd name="connsiteX826" fmla="*/ 559034 w 2061090"/>
                <a:gd name="connsiteY826" fmla="*/ 82531 h 2789035"/>
                <a:gd name="connsiteX827" fmla="*/ 564482 w 2061090"/>
                <a:gd name="connsiteY827" fmla="*/ 88635 h 2789035"/>
                <a:gd name="connsiteX828" fmla="*/ 564264 w 2061090"/>
                <a:gd name="connsiteY828" fmla="*/ 107602 h 2789035"/>
                <a:gd name="connsiteX829" fmla="*/ 561867 w 2061090"/>
                <a:gd name="connsiteY829" fmla="*/ 121119 h 2789035"/>
                <a:gd name="connsiteX830" fmla="*/ 562303 w 2061090"/>
                <a:gd name="connsiteY830" fmla="*/ 129403 h 2789035"/>
                <a:gd name="connsiteX831" fmla="*/ 562739 w 2061090"/>
                <a:gd name="connsiteY831" fmla="*/ 135289 h 2789035"/>
                <a:gd name="connsiteX832" fmla="*/ 562957 w 2061090"/>
                <a:gd name="connsiteY832" fmla="*/ 143573 h 2789035"/>
                <a:gd name="connsiteX833" fmla="*/ 577556 w 2061090"/>
                <a:gd name="connsiteY833" fmla="*/ 153384 h 2789035"/>
                <a:gd name="connsiteX834" fmla="*/ 585837 w 2061090"/>
                <a:gd name="connsiteY834" fmla="*/ 157744 h 2789035"/>
                <a:gd name="connsiteX835" fmla="*/ 599347 w 2061090"/>
                <a:gd name="connsiteY835" fmla="*/ 150114 h 2789035"/>
                <a:gd name="connsiteX836" fmla="*/ 611114 w 2061090"/>
                <a:gd name="connsiteY836" fmla="*/ 149896 h 2789035"/>
                <a:gd name="connsiteX837" fmla="*/ 617869 w 2061090"/>
                <a:gd name="connsiteY837" fmla="*/ 156872 h 2789035"/>
                <a:gd name="connsiteX838" fmla="*/ 612204 w 2061090"/>
                <a:gd name="connsiteY838" fmla="*/ 155564 h 2789035"/>
                <a:gd name="connsiteX839" fmla="*/ 600437 w 2061090"/>
                <a:gd name="connsiteY839" fmla="*/ 164284 h 2789035"/>
                <a:gd name="connsiteX840" fmla="*/ 596950 w 2061090"/>
                <a:gd name="connsiteY840" fmla="*/ 176928 h 2789035"/>
                <a:gd name="connsiteX841" fmla="*/ 599347 w 2061090"/>
                <a:gd name="connsiteY841" fmla="*/ 175838 h 2789035"/>
                <a:gd name="connsiteX842" fmla="*/ 606974 w 2061090"/>
                <a:gd name="connsiteY842" fmla="*/ 171914 h 2789035"/>
                <a:gd name="connsiteX843" fmla="*/ 605884 w 2061090"/>
                <a:gd name="connsiteY843" fmla="*/ 178455 h 2789035"/>
                <a:gd name="connsiteX844" fmla="*/ 608063 w 2061090"/>
                <a:gd name="connsiteY844" fmla="*/ 186521 h 2789035"/>
                <a:gd name="connsiteX845" fmla="*/ 608281 w 2061090"/>
                <a:gd name="connsiteY845" fmla="*/ 193715 h 2789035"/>
                <a:gd name="connsiteX846" fmla="*/ 603923 w 2061090"/>
                <a:gd name="connsiteY846" fmla="*/ 208322 h 2789035"/>
                <a:gd name="connsiteX847" fmla="*/ 616780 w 2061090"/>
                <a:gd name="connsiteY847" fmla="*/ 220966 h 2789035"/>
                <a:gd name="connsiteX848" fmla="*/ 621138 w 2061090"/>
                <a:gd name="connsiteY848" fmla="*/ 226416 h 2789035"/>
                <a:gd name="connsiteX849" fmla="*/ 626150 w 2061090"/>
                <a:gd name="connsiteY849" fmla="*/ 231648 h 2789035"/>
                <a:gd name="connsiteX850" fmla="*/ 627457 w 2061090"/>
                <a:gd name="connsiteY850" fmla="*/ 236663 h 2789035"/>
                <a:gd name="connsiteX851" fmla="*/ 633559 w 2061090"/>
                <a:gd name="connsiteY851" fmla="*/ 244293 h 2789035"/>
                <a:gd name="connsiteX852" fmla="*/ 643582 w 2061090"/>
                <a:gd name="connsiteY852" fmla="*/ 247127 h 2789035"/>
                <a:gd name="connsiteX853" fmla="*/ 639660 w 2061090"/>
                <a:gd name="connsiteY853" fmla="*/ 233392 h 2789035"/>
                <a:gd name="connsiteX854" fmla="*/ 635520 w 2061090"/>
                <a:gd name="connsiteY854" fmla="*/ 220966 h 2789035"/>
                <a:gd name="connsiteX855" fmla="*/ 643147 w 2061090"/>
                <a:gd name="connsiteY855" fmla="*/ 217042 h 2789035"/>
                <a:gd name="connsiteX856" fmla="*/ 647505 w 2061090"/>
                <a:gd name="connsiteY856" fmla="*/ 225108 h 2789035"/>
                <a:gd name="connsiteX857" fmla="*/ 648158 w 2061090"/>
                <a:gd name="connsiteY857" fmla="*/ 230558 h 2789035"/>
                <a:gd name="connsiteX858" fmla="*/ 659054 w 2061090"/>
                <a:gd name="connsiteY858" fmla="*/ 229904 h 2789035"/>
                <a:gd name="connsiteX859" fmla="*/ 667988 w 2061090"/>
                <a:gd name="connsiteY859" fmla="*/ 230776 h 2789035"/>
                <a:gd name="connsiteX860" fmla="*/ 679101 w 2061090"/>
                <a:gd name="connsiteY860" fmla="*/ 225108 h 2789035"/>
                <a:gd name="connsiteX861" fmla="*/ 683024 w 2061090"/>
                <a:gd name="connsiteY861" fmla="*/ 220748 h 2789035"/>
                <a:gd name="connsiteX862" fmla="*/ 689997 w 2061090"/>
                <a:gd name="connsiteY862" fmla="*/ 219658 h 2789035"/>
                <a:gd name="connsiteX863" fmla="*/ 695444 w 2061090"/>
                <a:gd name="connsiteY863" fmla="*/ 218350 h 2789035"/>
                <a:gd name="connsiteX864" fmla="*/ 704379 w 2061090"/>
                <a:gd name="connsiteY864" fmla="*/ 215516 h 2789035"/>
                <a:gd name="connsiteX865" fmla="*/ 706340 w 2061090"/>
                <a:gd name="connsiteY865" fmla="*/ 208322 h 2789035"/>
                <a:gd name="connsiteX866" fmla="*/ 709608 w 2061090"/>
                <a:gd name="connsiteY866" fmla="*/ 200255 h 2789035"/>
                <a:gd name="connsiteX867" fmla="*/ 712223 w 2061090"/>
                <a:gd name="connsiteY867" fmla="*/ 196549 h 2789035"/>
                <a:gd name="connsiteX868" fmla="*/ 705686 w 2061090"/>
                <a:gd name="connsiteY868" fmla="*/ 192625 h 2789035"/>
                <a:gd name="connsiteX869" fmla="*/ 694355 w 2061090"/>
                <a:gd name="connsiteY869" fmla="*/ 186521 h 2789035"/>
                <a:gd name="connsiteX870" fmla="*/ 685421 w 2061090"/>
                <a:gd name="connsiteY870" fmla="*/ 181289 h 2789035"/>
                <a:gd name="connsiteX871" fmla="*/ 678230 w 2061090"/>
                <a:gd name="connsiteY871" fmla="*/ 171696 h 2789035"/>
                <a:gd name="connsiteX872" fmla="*/ 669513 w 2061090"/>
                <a:gd name="connsiteY872" fmla="*/ 170824 h 2789035"/>
                <a:gd name="connsiteX873" fmla="*/ 664066 w 2061090"/>
                <a:gd name="connsiteY873" fmla="*/ 177364 h 2789035"/>
                <a:gd name="connsiteX874" fmla="*/ 658618 w 2061090"/>
                <a:gd name="connsiteY874" fmla="*/ 185431 h 2789035"/>
                <a:gd name="connsiteX875" fmla="*/ 646633 w 2061090"/>
                <a:gd name="connsiteY875" fmla="*/ 191753 h 2789035"/>
                <a:gd name="connsiteX876" fmla="*/ 638788 w 2061090"/>
                <a:gd name="connsiteY876" fmla="*/ 200909 h 2789035"/>
                <a:gd name="connsiteX877" fmla="*/ 623099 w 2061090"/>
                <a:gd name="connsiteY877" fmla="*/ 206577 h 2789035"/>
                <a:gd name="connsiteX878" fmla="*/ 615908 w 2061090"/>
                <a:gd name="connsiteY878" fmla="*/ 190227 h 2789035"/>
                <a:gd name="connsiteX879" fmla="*/ 614601 w 2061090"/>
                <a:gd name="connsiteY879" fmla="*/ 179327 h 2789035"/>
                <a:gd name="connsiteX880" fmla="*/ 615254 w 2061090"/>
                <a:gd name="connsiteY880" fmla="*/ 170170 h 2789035"/>
                <a:gd name="connsiteX881" fmla="*/ 618959 w 2061090"/>
                <a:gd name="connsiteY881" fmla="*/ 162976 h 2789035"/>
                <a:gd name="connsiteX882" fmla="*/ 621138 w 2061090"/>
                <a:gd name="connsiteY882" fmla="*/ 157526 h 2789035"/>
                <a:gd name="connsiteX883" fmla="*/ 620048 w 2061090"/>
                <a:gd name="connsiteY883" fmla="*/ 152294 h 2789035"/>
                <a:gd name="connsiteX884" fmla="*/ 616780 w 2061090"/>
                <a:gd name="connsiteY884" fmla="*/ 145535 h 2789035"/>
                <a:gd name="connsiteX885" fmla="*/ 611332 w 2061090"/>
                <a:gd name="connsiteY885" fmla="*/ 138777 h 2789035"/>
                <a:gd name="connsiteX886" fmla="*/ 608281 w 2061090"/>
                <a:gd name="connsiteY886" fmla="*/ 128967 h 2789035"/>
                <a:gd name="connsiteX887" fmla="*/ 616780 w 2061090"/>
                <a:gd name="connsiteY887" fmla="*/ 133109 h 2789035"/>
                <a:gd name="connsiteX888" fmla="*/ 621792 w 2061090"/>
                <a:gd name="connsiteY888" fmla="*/ 136597 h 2789035"/>
                <a:gd name="connsiteX889" fmla="*/ 627239 w 2061090"/>
                <a:gd name="connsiteY889" fmla="*/ 119811 h 2789035"/>
                <a:gd name="connsiteX890" fmla="*/ 627893 w 2061090"/>
                <a:gd name="connsiteY890" fmla="*/ 103678 h 2789035"/>
                <a:gd name="connsiteX891" fmla="*/ 622227 w 2061090"/>
                <a:gd name="connsiteY891" fmla="*/ 104768 h 2789035"/>
                <a:gd name="connsiteX892" fmla="*/ 616780 w 2061090"/>
                <a:gd name="connsiteY892" fmla="*/ 102588 h 2789035"/>
                <a:gd name="connsiteX893" fmla="*/ 611332 w 2061090"/>
                <a:gd name="connsiteY893" fmla="*/ 103024 h 2789035"/>
                <a:gd name="connsiteX894" fmla="*/ 603705 w 2061090"/>
                <a:gd name="connsiteY894" fmla="*/ 106512 h 2789035"/>
                <a:gd name="connsiteX895" fmla="*/ 605013 w 2061090"/>
                <a:gd name="connsiteY895" fmla="*/ 95176 h 2789035"/>
                <a:gd name="connsiteX896" fmla="*/ 606102 w 2061090"/>
                <a:gd name="connsiteY896" fmla="*/ 88417 h 2789035"/>
                <a:gd name="connsiteX897" fmla="*/ 606756 w 2061090"/>
                <a:gd name="connsiteY897" fmla="*/ 82531 h 2789035"/>
                <a:gd name="connsiteX898" fmla="*/ 608281 w 2061090"/>
                <a:gd name="connsiteY898" fmla="*/ 67707 h 2789035"/>
                <a:gd name="connsiteX899" fmla="*/ 603487 w 2061090"/>
                <a:gd name="connsiteY899" fmla="*/ 56370 h 2789035"/>
                <a:gd name="connsiteX900" fmla="*/ 607628 w 2061090"/>
                <a:gd name="connsiteY900" fmla="*/ 31953 h 2789035"/>
                <a:gd name="connsiteX901" fmla="*/ 608063 w 2061090"/>
                <a:gd name="connsiteY901" fmla="*/ 25849 h 2789035"/>
                <a:gd name="connsiteX902" fmla="*/ 615908 w 2061090"/>
                <a:gd name="connsiteY902" fmla="*/ 19527 h 2789035"/>
                <a:gd name="connsiteX903" fmla="*/ 624189 w 2061090"/>
                <a:gd name="connsiteY903" fmla="*/ 16475 h 2789035"/>
                <a:gd name="connsiteX904" fmla="*/ 640314 w 2061090"/>
                <a:gd name="connsiteY904" fmla="*/ 10589 h 2789035"/>
                <a:gd name="connsiteX905" fmla="*/ 652517 w 2061090"/>
                <a:gd name="connsiteY905" fmla="*/ 24105 h 2789035"/>
                <a:gd name="connsiteX906" fmla="*/ 655567 w 2061090"/>
                <a:gd name="connsiteY906" fmla="*/ 30645 h 2789035"/>
                <a:gd name="connsiteX907" fmla="*/ 654914 w 2061090"/>
                <a:gd name="connsiteY907" fmla="*/ 38930 h 2789035"/>
                <a:gd name="connsiteX908" fmla="*/ 651645 w 2061090"/>
                <a:gd name="connsiteY908" fmla="*/ 35660 h 2789035"/>
                <a:gd name="connsiteX909" fmla="*/ 642493 w 2061090"/>
                <a:gd name="connsiteY909" fmla="*/ 38930 h 2789035"/>
                <a:gd name="connsiteX910" fmla="*/ 632033 w 2061090"/>
                <a:gd name="connsiteY910" fmla="*/ 43290 h 2789035"/>
                <a:gd name="connsiteX911" fmla="*/ 629854 w 2061090"/>
                <a:gd name="connsiteY911" fmla="*/ 41110 h 2789035"/>
                <a:gd name="connsiteX912" fmla="*/ 627893 w 2061090"/>
                <a:gd name="connsiteY912" fmla="*/ 46124 h 2789035"/>
                <a:gd name="connsiteX913" fmla="*/ 620048 w 2061090"/>
                <a:gd name="connsiteY913" fmla="*/ 57896 h 2789035"/>
                <a:gd name="connsiteX914" fmla="*/ 611332 w 2061090"/>
                <a:gd name="connsiteY914" fmla="*/ 65091 h 2789035"/>
                <a:gd name="connsiteX915" fmla="*/ 622227 w 2061090"/>
                <a:gd name="connsiteY915" fmla="*/ 69451 h 2789035"/>
                <a:gd name="connsiteX916" fmla="*/ 638571 w 2061090"/>
                <a:gd name="connsiteY916" fmla="*/ 59422 h 2789035"/>
                <a:gd name="connsiteX917" fmla="*/ 642929 w 2061090"/>
                <a:gd name="connsiteY917" fmla="*/ 52010 h 2789035"/>
                <a:gd name="connsiteX918" fmla="*/ 647287 w 2061090"/>
                <a:gd name="connsiteY918" fmla="*/ 47650 h 2789035"/>
                <a:gd name="connsiteX919" fmla="*/ 656875 w 2061090"/>
                <a:gd name="connsiteY919" fmla="*/ 43072 h 2789035"/>
                <a:gd name="connsiteX920" fmla="*/ 672128 w 2061090"/>
                <a:gd name="connsiteY920" fmla="*/ 45688 h 2789035"/>
                <a:gd name="connsiteX921" fmla="*/ 684331 w 2061090"/>
                <a:gd name="connsiteY921" fmla="*/ 46996 h 2789035"/>
                <a:gd name="connsiteX922" fmla="*/ 678883 w 2061090"/>
                <a:gd name="connsiteY922" fmla="*/ 49830 h 2789035"/>
                <a:gd name="connsiteX923" fmla="*/ 678448 w 2061090"/>
                <a:gd name="connsiteY923" fmla="*/ 58986 h 2789035"/>
                <a:gd name="connsiteX924" fmla="*/ 683895 w 2061090"/>
                <a:gd name="connsiteY924" fmla="*/ 64219 h 2789035"/>
                <a:gd name="connsiteX925" fmla="*/ 677794 w 2061090"/>
                <a:gd name="connsiteY925" fmla="*/ 69887 h 2789035"/>
                <a:gd name="connsiteX926" fmla="*/ 666898 w 2061090"/>
                <a:gd name="connsiteY926" fmla="*/ 67925 h 2789035"/>
                <a:gd name="connsiteX927" fmla="*/ 659054 w 2061090"/>
                <a:gd name="connsiteY927" fmla="*/ 74901 h 2789035"/>
                <a:gd name="connsiteX928" fmla="*/ 657964 w 2061090"/>
                <a:gd name="connsiteY928" fmla="*/ 82967 h 2789035"/>
                <a:gd name="connsiteX929" fmla="*/ 657528 w 2061090"/>
                <a:gd name="connsiteY929" fmla="*/ 93432 h 2789035"/>
                <a:gd name="connsiteX930" fmla="*/ 659272 w 2061090"/>
                <a:gd name="connsiteY930" fmla="*/ 102806 h 2789035"/>
                <a:gd name="connsiteX931" fmla="*/ 670167 w 2061090"/>
                <a:gd name="connsiteY931" fmla="*/ 91688 h 2789035"/>
                <a:gd name="connsiteX932" fmla="*/ 685856 w 2061090"/>
                <a:gd name="connsiteY932" fmla="*/ 80351 h 2789035"/>
                <a:gd name="connsiteX933" fmla="*/ 700456 w 2061090"/>
                <a:gd name="connsiteY933" fmla="*/ 101062 h 2789035"/>
                <a:gd name="connsiteX934" fmla="*/ 707647 w 2061090"/>
                <a:gd name="connsiteY934" fmla="*/ 108910 h 2789035"/>
                <a:gd name="connsiteX935" fmla="*/ 711569 w 2061090"/>
                <a:gd name="connsiteY935" fmla="*/ 113052 h 2789035"/>
                <a:gd name="connsiteX936" fmla="*/ 712659 w 2061090"/>
                <a:gd name="connsiteY936" fmla="*/ 123299 h 2789035"/>
                <a:gd name="connsiteX937" fmla="*/ 712877 w 2061090"/>
                <a:gd name="connsiteY937" fmla="*/ 133545 h 2789035"/>
                <a:gd name="connsiteX938" fmla="*/ 704814 w 2061090"/>
                <a:gd name="connsiteY938" fmla="*/ 135943 h 2789035"/>
                <a:gd name="connsiteX939" fmla="*/ 699149 w 2061090"/>
                <a:gd name="connsiteY939" fmla="*/ 137687 h 2789035"/>
                <a:gd name="connsiteX940" fmla="*/ 698495 w 2061090"/>
                <a:gd name="connsiteY940" fmla="*/ 144881 h 2789035"/>
                <a:gd name="connsiteX941" fmla="*/ 701982 w 2061090"/>
                <a:gd name="connsiteY941" fmla="*/ 156436 h 2789035"/>
                <a:gd name="connsiteX942" fmla="*/ 712223 w 2061090"/>
                <a:gd name="connsiteY942" fmla="*/ 148369 h 2789035"/>
                <a:gd name="connsiteX943" fmla="*/ 715710 w 2061090"/>
                <a:gd name="connsiteY943" fmla="*/ 139649 h 2789035"/>
                <a:gd name="connsiteX944" fmla="*/ 718543 w 2061090"/>
                <a:gd name="connsiteY944" fmla="*/ 142265 h 2789035"/>
                <a:gd name="connsiteX945" fmla="*/ 719632 w 2061090"/>
                <a:gd name="connsiteY945" fmla="*/ 149896 h 2789035"/>
                <a:gd name="connsiteX946" fmla="*/ 714838 w 2061090"/>
                <a:gd name="connsiteY946" fmla="*/ 162540 h 2789035"/>
                <a:gd name="connsiteX947" fmla="*/ 710480 w 2061090"/>
                <a:gd name="connsiteY947" fmla="*/ 167336 h 2789035"/>
                <a:gd name="connsiteX948" fmla="*/ 703289 w 2061090"/>
                <a:gd name="connsiteY948" fmla="*/ 171478 h 2789035"/>
                <a:gd name="connsiteX949" fmla="*/ 695880 w 2061090"/>
                <a:gd name="connsiteY949" fmla="*/ 173222 h 2789035"/>
                <a:gd name="connsiteX950" fmla="*/ 693701 w 2061090"/>
                <a:gd name="connsiteY950" fmla="*/ 179545 h 2789035"/>
                <a:gd name="connsiteX951" fmla="*/ 711352 w 2061090"/>
                <a:gd name="connsiteY951" fmla="*/ 179763 h 2789035"/>
                <a:gd name="connsiteX952" fmla="*/ 721375 w 2061090"/>
                <a:gd name="connsiteY952" fmla="*/ 178237 h 2789035"/>
                <a:gd name="connsiteX953" fmla="*/ 720940 w 2061090"/>
                <a:gd name="connsiteY953" fmla="*/ 185431 h 2789035"/>
                <a:gd name="connsiteX954" fmla="*/ 726169 w 2061090"/>
                <a:gd name="connsiteY954" fmla="*/ 193279 h 2789035"/>
                <a:gd name="connsiteX955" fmla="*/ 734450 w 2061090"/>
                <a:gd name="connsiteY955" fmla="*/ 188483 h 2789035"/>
                <a:gd name="connsiteX956" fmla="*/ 746435 w 2061090"/>
                <a:gd name="connsiteY956" fmla="*/ 184995 h 2789035"/>
                <a:gd name="connsiteX957" fmla="*/ 735103 w 2061090"/>
                <a:gd name="connsiteY957" fmla="*/ 200255 h 2789035"/>
                <a:gd name="connsiteX958" fmla="*/ 732271 w 2061090"/>
                <a:gd name="connsiteY958" fmla="*/ 205705 h 2789035"/>
                <a:gd name="connsiteX959" fmla="*/ 730745 w 2061090"/>
                <a:gd name="connsiteY959" fmla="*/ 220312 h 2789035"/>
                <a:gd name="connsiteX960" fmla="*/ 730963 w 2061090"/>
                <a:gd name="connsiteY960" fmla="*/ 230776 h 2789035"/>
                <a:gd name="connsiteX961" fmla="*/ 733360 w 2061090"/>
                <a:gd name="connsiteY961" fmla="*/ 239497 h 2789035"/>
                <a:gd name="connsiteX962" fmla="*/ 739897 w 2061090"/>
                <a:gd name="connsiteY962" fmla="*/ 246909 h 2789035"/>
                <a:gd name="connsiteX963" fmla="*/ 743384 w 2061090"/>
                <a:gd name="connsiteY963" fmla="*/ 230122 h 2789035"/>
                <a:gd name="connsiteX964" fmla="*/ 744038 w 2061090"/>
                <a:gd name="connsiteY964" fmla="*/ 219876 h 2789035"/>
                <a:gd name="connsiteX965" fmla="*/ 751011 w 2061090"/>
                <a:gd name="connsiteY965" fmla="*/ 204833 h 2789035"/>
                <a:gd name="connsiteX966" fmla="*/ 751882 w 2061090"/>
                <a:gd name="connsiteY966" fmla="*/ 201345 h 2789035"/>
                <a:gd name="connsiteX967" fmla="*/ 752754 w 2061090"/>
                <a:gd name="connsiteY967" fmla="*/ 188047 h 2789035"/>
                <a:gd name="connsiteX968" fmla="*/ 753408 w 2061090"/>
                <a:gd name="connsiteY968" fmla="*/ 176274 h 2789035"/>
                <a:gd name="connsiteX969" fmla="*/ 762778 w 2061090"/>
                <a:gd name="connsiteY969" fmla="*/ 199165 h 2789035"/>
                <a:gd name="connsiteX970" fmla="*/ 766046 w 2061090"/>
                <a:gd name="connsiteY970" fmla="*/ 217260 h 2789035"/>
                <a:gd name="connsiteX971" fmla="*/ 770404 w 2061090"/>
                <a:gd name="connsiteY971" fmla="*/ 215516 h 2789035"/>
                <a:gd name="connsiteX972" fmla="*/ 773673 w 2061090"/>
                <a:gd name="connsiteY972" fmla="*/ 201563 h 2789035"/>
                <a:gd name="connsiteX973" fmla="*/ 776070 w 2061090"/>
                <a:gd name="connsiteY973" fmla="*/ 187829 h 2789035"/>
                <a:gd name="connsiteX974" fmla="*/ 774545 w 2061090"/>
                <a:gd name="connsiteY974" fmla="*/ 181725 h 2789035"/>
                <a:gd name="connsiteX975" fmla="*/ 773237 w 2061090"/>
                <a:gd name="connsiteY975" fmla="*/ 171042 h 2789035"/>
                <a:gd name="connsiteX976" fmla="*/ 775852 w 2061090"/>
                <a:gd name="connsiteY976" fmla="*/ 156872 h 2789035"/>
                <a:gd name="connsiteX977" fmla="*/ 779339 w 2061090"/>
                <a:gd name="connsiteY977" fmla="*/ 150986 h 2789035"/>
                <a:gd name="connsiteX978" fmla="*/ 785440 w 2061090"/>
                <a:gd name="connsiteY978" fmla="*/ 152294 h 2789035"/>
                <a:gd name="connsiteX979" fmla="*/ 787183 w 2061090"/>
                <a:gd name="connsiteY979" fmla="*/ 158834 h 2789035"/>
                <a:gd name="connsiteX980" fmla="*/ 792195 w 2061090"/>
                <a:gd name="connsiteY980" fmla="*/ 167554 h 2789035"/>
                <a:gd name="connsiteX981" fmla="*/ 800912 w 2061090"/>
                <a:gd name="connsiteY981" fmla="*/ 167554 h 2789035"/>
                <a:gd name="connsiteX982" fmla="*/ 798950 w 2061090"/>
                <a:gd name="connsiteY982" fmla="*/ 177582 h 2789035"/>
                <a:gd name="connsiteX983" fmla="*/ 792631 w 2061090"/>
                <a:gd name="connsiteY983" fmla="*/ 188483 h 2789035"/>
                <a:gd name="connsiteX984" fmla="*/ 790016 w 2061090"/>
                <a:gd name="connsiteY984" fmla="*/ 193715 h 2789035"/>
                <a:gd name="connsiteX985" fmla="*/ 784568 w 2061090"/>
                <a:gd name="connsiteY985" fmla="*/ 193715 h 2789035"/>
                <a:gd name="connsiteX986" fmla="*/ 784568 w 2061090"/>
                <a:gd name="connsiteY986" fmla="*/ 188265 h 2789035"/>
                <a:gd name="connsiteX987" fmla="*/ 784786 w 2061090"/>
                <a:gd name="connsiteY987" fmla="*/ 183033 h 2789035"/>
                <a:gd name="connsiteX988" fmla="*/ 781300 w 2061090"/>
                <a:gd name="connsiteY988" fmla="*/ 184777 h 2789035"/>
                <a:gd name="connsiteX989" fmla="*/ 785004 w 2061090"/>
                <a:gd name="connsiteY989" fmla="*/ 199601 h 2789035"/>
                <a:gd name="connsiteX990" fmla="*/ 797207 w 2061090"/>
                <a:gd name="connsiteY990" fmla="*/ 206141 h 2789035"/>
                <a:gd name="connsiteX991" fmla="*/ 795464 w 2061090"/>
                <a:gd name="connsiteY991" fmla="*/ 218786 h 2789035"/>
                <a:gd name="connsiteX992" fmla="*/ 791106 w 2061090"/>
                <a:gd name="connsiteY992" fmla="*/ 223146 h 2789035"/>
                <a:gd name="connsiteX993" fmla="*/ 800040 w 2061090"/>
                <a:gd name="connsiteY993" fmla="*/ 232956 h 2789035"/>
                <a:gd name="connsiteX994" fmla="*/ 798515 w 2061090"/>
                <a:gd name="connsiteY994" fmla="*/ 238407 h 2789035"/>
                <a:gd name="connsiteX995" fmla="*/ 789798 w 2061090"/>
                <a:gd name="connsiteY995" fmla="*/ 243857 h 2789035"/>
                <a:gd name="connsiteX996" fmla="*/ 787183 w 2061090"/>
                <a:gd name="connsiteY996" fmla="*/ 249961 h 2789035"/>
                <a:gd name="connsiteX997" fmla="*/ 786748 w 2061090"/>
                <a:gd name="connsiteY997" fmla="*/ 254757 h 2789035"/>
                <a:gd name="connsiteX998" fmla="*/ 778903 w 2061090"/>
                <a:gd name="connsiteY998" fmla="*/ 251705 h 2789035"/>
                <a:gd name="connsiteX999" fmla="*/ 773455 w 2061090"/>
                <a:gd name="connsiteY999" fmla="*/ 242549 h 2789035"/>
                <a:gd name="connsiteX1000" fmla="*/ 778249 w 2061090"/>
                <a:gd name="connsiteY1000" fmla="*/ 230776 h 2789035"/>
                <a:gd name="connsiteX1001" fmla="*/ 781736 w 2061090"/>
                <a:gd name="connsiteY1001" fmla="*/ 227724 h 2789035"/>
                <a:gd name="connsiteX1002" fmla="*/ 786094 w 2061090"/>
                <a:gd name="connsiteY1002" fmla="*/ 216606 h 2789035"/>
                <a:gd name="connsiteX1003" fmla="*/ 789145 w 2061090"/>
                <a:gd name="connsiteY1003" fmla="*/ 206141 h 2789035"/>
                <a:gd name="connsiteX1004" fmla="*/ 781300 w 2061090"/>
                <a:gd name="connsiteY1004" fmla="*/ 208976 h 2789035"/>
                <a:gd name="connsiteX1005" fmla="*/ 762778 w 2061090"/>
                <a:gd name="connsiteY1005" fmla="*/ 237535 h 2789035"/>
                <a:gd name="connsiteX1006" fmla="*/ 756241 w 2061090"/>
                <a:gd name="connsiteY1006" fmla="*/ 243203 h 2789035"/>
                <a:gd name="connsiteX1007" fmla="*/ 752972 w 2061090"/>
                <a:gd name="connsiteY1007" fmla="*/ 256937 h 2789035"/>
                <a:gd name="connsiteX1008" fmla="*/ 762560 w 2061090"/>
                <a:gd name="connsiteY1008" fmla="*/ 256937 h 2789035"/>
                <a:gd name="connsiteX1009" fmla="*/ 776724 w 2061090"/>
                <a:gd name="connsiteY1009" fmla="*/ 262387 h 2789035"/>
                <a:gd name="connsiteX1010" fmla="*/ 780646 w 2061090"/>
                <a:gd name="connsiteY1010" fmla="*/ 268274 h 2789035"/>
                <a:gd name="connsiteX1011" fmla="*/ 785658 w 2061090"/>
                <a:gd name="connsiteY1011" fmla="*/ 279610 h 2789035"/>
                <a:gd name="connsiteX1012" fmla="*/ 780864 w 2061090"/>
                <a:gd name="connsiteY1012" fmla="*/ 292036 h 2789035"/>
                <a:gd name="connsiteX1013" fmla="*/ 775852 w 2061090"/>
                <a:gd name="connsiteY1013" fmla="*/ 297705 h 2789035"/>
                <a:gd name="connsiteX1014" fmla="*/ 764957 w 2061090"/>
                <a:gd name="connsiteY1014" fmla="*/ 305989 h 2789035"/>
                <a:gd name="connsiteX1015" fmla="*/ 764303 w 2061090"/>
                <a:gd name="connsiteY1015" fmla="*/ 298359 h 2789035"/>
                <a:gd name="connsiteX1016" fmla="*/ 752754 w 2061090"/>
                <a:gd name="connsiteY1016" fmla="*/ 293781 h 2789035"/>
                <a:gd name="connsiteX1017" fmla="*/ 743166 w 2061090"/>
                <a:gd name="connsiteY1017" fmla="*/ 292908 h 2789035"/>
                <a:gd name="connsiteX1018" fmla="*/ 734232 w 2061090"/>
                <a:gd name="connsiteY1018" fmla="*/ 290946 h 2789035"/>
                <a:gd name="connsiteX1019" fmla="*/ 730092 w 2061090"/>
                <a:gd name="connsiteY1019" fmla="*/ 299449 h 2789035"/>
                <a:gd name="connsiteX1020" fmla="*/ 718107 w 2061090"/>
                <a:gd name="connsiteY1020" fmla="*/ 304899 h 2789035"/>
                <a:gd name="connsiteX1021" fmla="*/ 712659 w 2061090"/>
                <a:gd name="connsiteY1021" fmla="*/ 308823 h 2789035"/>
                <a:gd name="connsiteX1022" fmla="*/ 715492 w 2061090"/>
                <a:gd name="connsiteY1022" fmla="*/ 310785 h 2789035"/>
                <a:gd name="connsiteX1023" fmla="*/ 721375 w 2061090"/>
                <a:gd name="connsiteY1023" fmla="*/ 311439 h 2789035"/>
                <a:gd name="connsiteX1024" fmla="*/ 721375 w 2061090"/>
                <a:gd name="connsiteY1024" fmla="*/ 319069 h 2789035"/>
                <a:gd name="connsiteX1025" fmla="*/ 722029 w 2061090"/>
                <a:gd name="connsiteY1025" fmla="*/ 332150 h 2789035"/>
                <a:gd name="connsiteX1026" fmla="*/ 716363 w 2061090"/>
                <a:gd name="connsiteY1026" fmla="*/ 336510 h 2789035"/>
                <a:gd name="connsiteX1027" fmla="*/ 711787 w 2061090"/>
                <a:gd name="connsiteY1027" fmla="*/ 325828 h 2789035"/>
                <a:gd name="connsiteX1028" fmla="*/ 709173 w 2061090"/>
                <a:gd name="connsiteY1028" fmla="*/ 317107 h 2789035"/>
                <a:gd name="connsiteX1029" fmla="*/ 700674 w 2061090"/>
                <a:gd name="connsiteY1029" fmla="*/ 324956 h 2789035"/>
                <a:gd name="connsiteX1030" fmla="*/ 696970 w 2061090"/>
                <a:gd name="connsiteY1030" fmla="*/ 334112 h 2789035"/>
                <a:gd name="connsiteX1031" fmla="*/ 693047 w 2061090"/>
                <a:gd name="connsiteY1031" fmla="*/ 327790 h 2789035"/>
                <a:gd name="connsiteX1032" fmla="*/ 685421 w 2061090"/>
                <a:gd name="connsiteY1032" fmla="*/ 320159 h 2789035"/>
                <a:gd name="connsiteX1033" fmla="*/ 679973 w 2061090"/>
                <a:gd name="connsiteY1033" fmla="*/ 316889 h 2789035"/>
                <a:gd name="connsiteX1034" fmla="*/ 680191 w 2061090"/>
                <a:gd name="connsiteY1034" fmla="*/ 313619 h 2789035"/>
                <a:gd name="connsiteX1035" fmla="*/ 677794 w 2061090"/>
                <a:gd name="connsiteY1035" fmla="*/ 315799 h 2789035"/>
                <a:gd name="connsiteX1036" fmla="*/ 670167 w 2061090"/>
                <a:gd name="connsiteY1036" fmla="*/ 317979 h 2789035"/>
                <a:gd name="connsiteX1037" fmla="*/ 667116 w 2061090"/>
                <a:gd name="connsiteY1037" fmla="*/ 329534 h 2789035"/>
                <a:gd name="connsiteX1038" fmla="*/ 669078 w 2061090"/>
                <a:gd name="connsiteY1038" fmla="*/ 339780 h 2789035"/>
                <a:gd name="connsiteX1039" fmla="*/ 660797 w 2061090"/>
                <a:gd name="connsiteY1039" fmla="*/ 337382 h 2789035"/>
                <a:gd name="connsiteX1040" fmla="*/ 656875 w 2061090"/>
                <a:gd name="connsiteY1040" fmla="*/ 328662 h 2789035"/>
                <a:gd name="connsiteX1041" fmla="*/ 656221 w 2061090"/>
                <a:gd name="connsiteY1041" fmla="*/ 322994 h 2789035"/>
                <a:gd name="connsiteX1042" fmla="*/ 656221 w 2061090"/>
                <a:gd name="connsiteY1042" fmla="*/ 315145 h 2789035"/>
                <a:gd name="connsiteX1043" fmla="*/ 658182 w 2061090"/>
                <a:gd name="connsiteY1043" fmla="*/ 307079 h 2789035"/>
                <a:gd name="connsiteX1044" fmla="*/ 665591 w 2061090"/>
                <a:gd name="connsiteY1044" fmla="*/ 304899 h 2789035"/>
                <a:gd name="connsiteX1045" fmla="*/ 669078 w 2061090"/>
                <a:gd name="connsiteY1045" fmla="*/ 298577 h 2789035"/>
                <a:gd name="connsiteX1046" fmla="*/ 667552 w 2061090"/>
                <a:gd name="connsiteY1046" fmla="*/ 291164 h 2789035"/>
                <a:gd name="connsiteX1047" fmla="*/ 668642 w 2061090"/>
                <a:gd name="connsiteY1047" fmla="*/ 290946 h 2789035"/>
                <a:gd name="connsiteX1048" fmla="*/ 676051 w 2061090"/>
                <a:gd name="connsiteY1048" fmla="*/ 286368 h 2789035"/>
                <a:gd name="connsiteX1049" fmla="*/ 686510 w 2061090"/>
                <a:gd name="connsiteY1049" fmla="*/ 280918 h 2789035"/>
                <a:gd name="connsiteX1050" fmla="*/ 698931 w 2061090"/>
                <a:gd name="connsiteY1050" fmla="*/ 251923 h 2789035"/>
                <a:gd name="connsiteX1051" fmla="*/ 698713 w 2061090"/>
                <a:gd name="connsiteY1051" fmla="*/ 243639 h 2789035"/>
                <a:gd name="connsiteX1052" fmla="*/ 704161 w 2061090"/>
                <a:gd name="connsiteY1052" fmla="*/ 235791 h 2789035"/>
                <a:gd name="connsiteX1053" fmla="*/ 713749 w 2061090"/>
                <a:gd name="connsiteY1053" fmla="*/ 232956 h 2789035"/>
                <a:gd name="connsiteX1054" fmla="*/ 712659 w 2061090"/>
                <a:gd name="connsiteY1054" fmla="*/ 239497 h 2789035"/>
                <a:gd name="connsiteX1055" fmla="*/ 712877 w 2061090"/>
                <a:gd name="connsiteY1055" fmla="*/ 248435 h 2789035"/>
                <a:gd name="connsiteX1056" fmla="*/ 712877 w 2061090"/>
                <a:gd name="connsiteY1056" fmla="*/ 255411 h 2789035"/>
                <a:gd name="connsiteX1057" fmla="*/ 717017 w 2061090"/>
                <a:gd name="connsiteY1057" fmla="*/ 263477 h 2789035"/>
                <a:gd name="connsiteX1058" fmla="*/ 721375 w 2061090"/>
                <a:gd name="connsiteY1058" fmla="*/ 270018 h 2789035"/>
                <a:gd name="connsiteX1059" fmla="*/ 714620 w 2061090"/>
                <a:gd name="connsiteY1059" fmla="*/ 270454 h 2789035"/>
                <a:gd name="connsiteX1060" fmla="*/ 707865 w 2061090"/>
                <a:gd name="connsiteY1060" fmla="*/ 269582 h 2789035"/>
                <a:gd name="connsiteX1061" fmla="*/ 719850 w 2061090"/>
                <a:gd name="connsiteY1061" fmla="*/ 291382 h 2789035"/>
                <a:gd name="connsiteX1062" fmla="*/ 723554 w 2061090"/>
                <a:gd name="connsiteY1062" fmla="*/ 283316 h 2789035"/>
                <a:gd name="connsiteX1063" fmla="*/ 728784 w 2061090"/>
                <a:gd name="connsiteY1063" fmla="*/ 274378 h 2789035"/>
                <a:gd name="connsiteX1064" fmla="*/ 735321 w 2061090"/>
                <a:gd name="connsiteY1064" fmla="*/ 277866 h 2789035"/>
                <a:gd name="connsiteX1065" fmla="*/ 743166 w 2061090"/>
                <a:gd name="connsiteY1065" fmla="*/ 280046 h 2789035"/>
                <a:gd name="connsiteX1066" fmla="*/ 754061 w 2061090"/>
                <a:gd name="connsiteY1066" fmla="*/ 283098 h 2789035"/>
                <a:gd name="connsiteX1067" fmla="*/ 761688 w 2061090"/>
                <a:gd name="connsiteY1067" fmla="*/ 286150 h 2789035"/>
                <a:gd name="connsiteX1068" fmla="*/ 764957 w 2061090"/>
                <a:gd name="connsiteY1068" fmla="*/ 287240 h 2789035"/>
                <a:gd name="connsiteX1069" fmla="*/ 769315 w 2061090"/>
                <a:gd name="connsiteY1069" fmla="*/ 287022 h 2789035"/>
                <a:gd name="connsiteX1070" fmla="*/ 768225 w 2061090"/>
                <a:gd name="connsiteY1070" fmla="*/ 278302 h 2789035"/>
                <a:gd name="connsiteX1071" fmla="*/ 762778 w 2061090"/>
                <a:gd name="connsiteY1071" fmla="*/ 272416 h 2789035"/>
                <a:gd name="connsiteX1072" fmla="*/ 753626 w 2061090"/>
                <a:gd name="connsiteY1072" fmla="*/ 267620 h 2789035"/>
                <a:gd name="connsiteX1073" fmla="*/ 743166 w 2061090"/>
                <a:gd name="connsiteY1073" fmla="*/ 264131 h 2789035"/>
                <a:gd name="connsiteX1074" fmla="*/ 740115 w 2061090"/>
                <a:gd name="connsiteY1074" fmla="*/ 261297 h 2789035"/>
                <a:gd name="connsiteX1075" fmla="*/ 734450 w 2061090"/>
                <a:gd name="connsiteY1075" fmla="*/ 258027 h 2789035"/>
                <a:gd name="connsiteX1076" fmla="*/ 727041 w 2061090"/>
                <a:gd name="connsiteY1076" fmla="*/ 254757 h 2789035"/>
                <a:gd name="connsiteX1077" fmla="*/ 718325 w 2061090"/>
                <a:gd name="connsiteY1077" fmla="*/ 251923 h 2789035"/>
                <a:gd name="connsiteX1078" fmla="*/ 720068 w 2061090"/>
                <a:gd name="connsiteY1078" fmla="*/ 244075 h 2789035"/>
                <a:gd name="connsiteX1079" fmla="*/ 723336 w 2061090"/>
                <a:gd name="connsiteY1079" fmla="*/ 233610 h 2789035"/>
                <a:gd name="connsiteX1080" fmla="*/ 721375 w 2061090"/>
                <a:gd name="connsiteY1080" fmla="*/ 218132 h 2789035"/>
                <a:gd name="connsiteX1081" fmla="*/ 719196 w 2061090"/>
                <a:gd name="connsiteY1081" fmla="*/ 204615 h 2789035"/>
                <a:gd name="connsiteX1082" fmla="*/ 713313 w 2061090"/>
                <a:gd name="connsiteY1082" fmla="*/ 205051 h 2789035"/>
                <a:gd name="connsiteX1083" fmla="*/ 712223 w 2061090"/>
                <a:gd name="connsiteY1083" fmla="*/ 211592 h 2789035"/>
                <a:gd name="connsiteX1084" fmla="*/ 710698 w 2061090"/>
                <a:gd name="connsiteY1084" fmla="*/ 218786 h 2789035"/>
                <a:gd name="connsiteX1085" fmla="*/ 703943 w 2061090"/>
                <a:gd name="connsiteY1085" fmla="*/ 220966 h 2789035"/>
                <a:gd name="connsiteX1086" fmla="*/ 696098 w 2061090"/>
                <a:gd name="connsiteY1086" fmla="*/ 224236 h 2789035"/>
                <a:gd name="connsiteX1087" fmla="*/ 690868 w 2061090"/>
                <a:gd name="connsiteY1087" fmla="*/ 227506 h 2789035"/>
                <a:gd name="connsiteX1088" fmla="*/ 695226 w 2061090"/>
                <a:gd name="connsiteY1088" fmla="*/ 230776 h 2789035"/>
                <a:gd name="connsiteX1089" fmla="*/ 695880 w 2061090"/>
                <a:gd name="connsiteY1089" fmla="*/ 239933 h 2789035"/>
                <a:gd name="connsiteX1090" fmla="*/ 684113 w 2061090"/>
                <a:gd name="connsiteY1090" fmla="*/ 243857 h 2789035"/>
                <a:gd name="connsiteX1091" fmla="*/ 684331 w 2061090"/>
                <a:gd name="connsiteY1091" fmla="*/ 255629 h 2789035"/>
                <a:gd name="connsiteX1092" fmla="*/ 690650 w 2061090"/>
                <a:gd name="connsiteY1092" fmla="*/ 266966 h 2789035"/>
                <a:gd name="connsiteX1093" fmla="*/ 678012 w 2061090"/>
                <a:gd name="connsiteY1093" fmla="*/ 269582 h 2789035"/>
                <a:gd name="connsiteX1094" fmla="*/ 667988 w 2061090"/>
                <a:gd name="connsiteY1094" fmla="*/ 274814 h 2789035"/>
                <a:gd name="connsiteX1095" fmla="*/ 663412 w 2061090"/>
                <a:gd name="connsiteY1095" fmla="*/ 280046 h 2789035"/>
                <a:gd name="connsiteX1096" fmla="*/ 658618 w 2061090"/>
                <a:gd name="connsiteY1096" fmla="*/ 284842 h 2789035"/>
                <a:gd name="connsiteX1097" fmla="*/ 654478 w 2061090"/>
                <a:gd name="connsiteY1097" fmla="*/ 292908 h 2789035"/>
                <a:gd name="connsiteX1098" fmla="*/ 648158 w 2061090"/>
                <a:gd name="connsiteY1098" fmla="*/ 294653 h 2789035"/>
                <a:gd name="connsiteX1099" fmla="*/ 642929 w 2061090"/>
                <a:gd name="connsiteY1099" fmla="*/ 292908 h 2789035"/>
                <a:gd name="connsiteX1100" fmla="*/ 640967 w 2061090"/>
                <a:gd name="connsiteY1100" fmla="*/ 289638 h 2789035"/>
                <a:gd name="connsiteX1101" fmla="*/ 637699 w 2061090"/>
                <a:gd name="connsiteY1101" fmla="*/ 301847 h 2789035"/>
                <a:gd name="connsiteX1102" fmla="*/ 643147 w 2061090"/>
                <a:gd name="connsiteY1102" fmla="*/ 305989 h 2789035"/>
                <a:gd name="connsiteX1103" fmla="*/ 647287 w 2061090"/>
                <a:gd name="connsiteY1103" fmla="*/ 306861 h 2789035"/>
                <a:gd name="connsiteX1104" fmla="*/ 644236 w 2061090"/>
                <a:gd name="connsiteY1104" fmla="*/ 309259 h 2789035"/>
                <a:gd name="connsiteX1105" fmla="*/ 638353 w 2061090"/>
                <a:gd name="connsiteY1105" fmla="*/ 316453 h 2789035"/>
                <a:gd name="connsiteX1106" fmla="*/ 629854 w 2061090"/>
                <a:gd name="connsiteY1106" fmla="*/ 328226 h 2789035"/>
                <a:gd name="connsiteX1107" fmla="*/ 619177 w 2061090"/>
                <a:gd name="connsiteY1107" fmla="*/ 329752 h 2789035"/>
                <a:gd name="connsiteX1108" fmla="*/ 615690 w 2061090"/>
                <a:gd name="connsiteY1108" fmla="*/ 322557 h 2789035"/>
                <a:gd name="connsiteX1109" fmla="*/ 612422 w 2061090"/>
                <a:gd name="connsiteY1109" fmla="*/ 312965 h 2789035"/>
                <a:gd name="connsiteX1110" fmla="*/ 610896 w 2061090"/>
                <a:gd name="connsiteY1110" fmla="*/ 302719 h 2789035"/>
                <a:gd name="connsiteX1111" fmla="*/ 622010 w 2061090"/>
                <a:gd name="connsiteY1111" fmla="*/ 314491 h 2789035"/>
                <a:gd name="connsiteX1112" fmla="*/ 627239 w 2061090"/>
                <a:gd name="connsiteY1112" fmla="*/ 315145 h 2789035"/>
                <a:gd name="connsiteX1113" fmla="*/ 627021 w 2061090"/>
                <a:gd name="connsiteY1113" fmla="*/ 305117 h 2789035"/>
                <a:gd name="connsiteX1114" fmla="*/ 623317 w 2061090"/>
                <a:gd name="connsiteY1114" fmla="*/ 297487 h 2789035"/>
                <a:gd name="connsiteX1115" fmla="*/ 642493 w 2061090"/>
                <a:gd name="connsiteY1115" fmla="*/ 283098 h 2789035"/>
                <a:gd name="connsiteX1116" fmla="*/ 643582 w 2061090"/>
                <a:gd name="connsiteY1116" fmla="*/ 271544 h 2789035"/>
                <a:gd name="connsiteX1117" fmla="*/ 647505 w 2061090"/>
                <a:gd name="connsiteY1117" fmla="*/ 268274 h 2789035"/>
                <a:gd name="connsiteX1118" fmla="*/ 653824 w 2061090"/>
                <a:gd name="connsiteY1118" fmla="*/ 263477 h 2789035"/>
                <a:gd name="connsiteX1119" fmla="*/ 646851 w 2061090"/>
                <a:gd name="connsiteY1119" fmla="*/ 257373 h 2789035"/>
                <a:gd name="connsiteX1120" fmla="*/ 638571 w 2061090"/>
                <a:gd name="connsiteY1120" fmla="*/ 253449 h 2789035"/>
                <a:gd name="connsiteX1121" fmla="*/ 631597 w 2061090"/>
                <a:gd name="connsiteY1121" fmla="*/ 250397 h 2789035"/>
                <a:gd name="connsiteX1122" fmla="*/ 627893 w 2061090"/>
                <a:gd name="connsiteY1122" fmla="*/ 257591 h 2789035"/>
                <a:gd name="connsiteX1123" fmla="*/ 625496 w 2061090"/>
                <a:gd name="connsiteY1123" fmla="*/ 263913 h 2789035"/>
                <a:gd name="connsiteX1124" fmla="*/ 616998 w 2061090"/>
                <a:gd name="connsiteY1124" fmla="*/ 245383 h 2789035"/>
                <a:gd name="connsiteX1125" fmla="*/ 606320 w 2061090"/>
                <a:gd name="connsiteY1125" fmla="*/ 230558 h 2789035"/>
                <a:gd name="connsiteX1126" fmla="*/ 595207 w 2061090"/>
                <a:gd name="connsiteY1126" fmla="*/ 222710 h 2789035"/>
                <a:gd name="connsiteX1127" fmla="*/ 588234 w 2061090"/>
                <a:gd name="connsiteY1127" fmla="*/ 189137 h 2789035"/>
                <a:gd name="connsiteX1128" fmla="*/ 585183 w 2061090"/>
                <a:gd name="connsiteY1128" fmla="*/ 179763 h 2789035"/>
                <a:gd name="connsiteX1129" fmla="*/ 578646 w 2061090"/>
                <a:gd name="connsiteY1129" fmla="*/ 166682 h 2789035"/>
                <a:gd name="connsiteX1130" fmla="*/ 566661 w 2061090"/>
                <a:gd name="connsiteY1130" fmla="*/ 164284 h 2789035"/>
                <a:gd name="connsiteX1131" fmla="*/ 561867 w 2061090"/>
                <a:gd name="connsiteY1131" fmla="*/ 165156 h 2789035"/>
                <a:gd name="connsiteX1132" fmla="*/ 557073 w 2061090"/>
                <a:gd name="connsiteY1132" fmla="*/ 163848 h 2789035"/>
                <a:gd name="connsiteX1133" fmla="*/ 554894 w 2061090"/>
                <a:gd name="connsiteY1133" fmla="*/ 173004 h 2789035"/>
                <a:gd name="connsiteX1134" fmla="*/ 552061 w 2061090"/>
                <a:gd name="connsiteY1134" fmla="*/ 180635 h 2789035"/>
                <a:gd name="connsiteX1135" fmla="*/ 545306 w 2061090"/>
                <a:gd name="connsiteY1135" fmla="*/ 178019 h 2789035"/>
                <a:gd name="connsiteX1136" fmla="*/ 547703 w 2061090"/>
                <a:gd name="connsiteY1136" fmla="*/ 186957 h 2789035"/>
                <a:gd name="connsiteX1137" fmla="*/ 555984 w 2061090"/>
                <a:gd name="connsiteY1137" fmla="*/ 200037 h 2789035"/>
                <a:gd name="connsiteX1138" fmla="*/ 566225 w 2061090"/>
                <a:gd name="connsiteY1138" fmla="*/ 206359 h 2789035"/>
                <a:gd name="connsiteX1139" fmla="*/ 573198 w 2061090"/>
                <a:gd name="connsiteY1139" fmla="*/ 210502 h 2789035"/>
                <a:gd name="connsiteX1140" fmla="*/ 574288 w 2061090"/>
                <a:gd name="connsiteY1140" fmla="*/ 213118 h 2789035"/>
                <a:gd name="connsiteX1141" fmla="*/ 573852 w 2061090"/>
                <a:gd name="connsiteY1141" fmla="*/ 203743 h 2789035"/>
                <a:gd name="connsiteX1142" fmla="*/ 569712 w 2061090"/>
                <a:gd name="connsiteY1142" fmla="*/ 196767 h 2789035"/>
                <a:gd name="connsiteX1143" fmla="*/ 560995 w 2061090"/>
                <a:gd name="connsiteY1143" fmla="*/ 183687 h 2789035"/>
                <a:gd name="connsiteX1144" fmla="*/ 579736 w 2061090"/>
                <a:gd name="connsiteY1144" fmla="*/ 187393 h 2789035"/>
                <a:gd name="connsiteX1145" fmla="*/ 585401 w 2061090"/>
                <a:gd name="connsiteY1145" fmla="*/ 194151 h 2789035"/>
                <a:gd name="connsiteX1146" fmla="*/ 587580 w 2061090"/>
                <a:gd name="connsiteY1146" fmla="*/ 202217 h 2789035"/>
                <a:gd name="connsiteX1147" fmla="*/ 584312 w 2061090"/>
                <a:gd name="connsiteY1147" fmla="*/ 219658 h 2789035"/>
                <a:gd name="connsiteX1148" fmla="*/ 580607 w 2061090"/>
                <a:gd name="connsiteY1148" fmla="*/ 237535 h 2789035"/>
                <a:gd name="connsiteX1149" fmla="*/ 579300 w 2061090"/>
                <a:gd name="connsiteY1149" fmla="*/ 244293 h 2789035"/>
                <a:gd name="connsiteX1150" fmla="*/ 583004 w 2061090"/>
                <a:gd name="connsiteY1150" fmla="*/ 243421 h 2789035"/>
                <a:gd name="connsiteX1151" fmla="*/ 601308 w 2061090"/>
                <a:gd name="connsiteY1151" fmla="*/ 242985 h 2789035"/>
                <a:gd name="connsiteX1152" fmla="*/ 605013 w 2061090"/>
                <a:gd name="connsiteY1152" fmla="*/ 248871 h 2789035"/>
                <a:gd name="connsiteX1153" fmla="*/ 607192 w 2061090"/>
                <a:gd name="connsiteY1153" fmla="*/ 257155 h 2789035"/>
                <a:gd name="connsiteX1154" fmla="*/ 604359 w 2061090"/>
                <a:gd name="connsiteY1154" fmla="*/ 266312 h 2789035"/>
                <a:gd name="connsiteX1155" fmla="*/ 602180 w 2061090"/>
                <a:gd name="connsiteY1155" fmla="*/ 259771 h 2789035"/>
                <a:gd name="connsiteX1156" fmla="*/ 599565 w 2061090"/>
                <a:gd name="connsiteY1156" fmla="*/ 255193 h 2789035"/>
                <a:gd name="connsiteX1157" fmla="*/ 596732 w 2061090"/>
                <a:gd name="connsiteY1157" fmla="*/ 267620 h 2789035"/>
                <a:gd name="connsiteX1158" fmla="*/ 589106 w 2061090"/>
                <a:gd name="connsiteY1158" fmla="*/ 283098 h 2789035"/>
                <a:gd name="connsiteX1159" fmla="*/ 587580 w 2061090"/>
                <a:gd name="connsiteY1159" fmla="*/ 276558 h 2789035"/>
                <a:gd name="connsiteX1160" fmla="*/ 586491 w 2061090"/>
                <a:gd name="connsiteY1160" fmla="*/ 266966 h 2789035"/>
                <a:gd name="connsiteX1161" fmla="*/ 586273 w 2061090"/>
                <a:gd name="connsiteY1161" fmla="*/ 262387 h 2789035"/>
                <a:gd name="connsiteX1162" fmla="*/ 581697 w 2061090"/>
                <a:gd name="connsiteY1162" fmla="*/ 258027 h 2789035"/>
                <a:gd name="connsiteX1163" fmla="*/ 575595 w 2061090"/>
                <a:gd name="connsiteY1163" fmla="*/ 251923 h 2789035"/>
                <a:gd name="connsiteX1164" fmla="*/ 574724 w 2061090"/>
                <a:gd name="connsiteY1164" fmla="*/ 242549 h 2789035"/>
                <a:gd name="connsiteX1165" fmla="*/ 573198 w 2061090"/>
                <a:gd name="connsiteY1165" fmla="*/ 236881 h 2789035"/>
                <a:gd name="connsiteX1166" fmla="*/ 569058 w 2061090"/>
                <a:gd name="connsiteY1166" fmla="*/ 232956 h 2789035"/>
                <a:gd name="connsiteX1167" fmla="*/ 563175 w 2061090"/>
                <a:gd name="connsiteY1167" fmla="*/ 230558 h 2789035"/>
                <a:gd name="connsiteX1168" fmla="*/ 556637 w 2061090"/>
                <a:gd name="connsiteY1168" fmla="*/ 229468 h 2789035"/>
                <a:gd name="connsiteX1169" fmla="*/ 554894 w 2061090"/>
                <a:gd name="connsiteY1169" fmla="*/ 225544 h 2789035"/>
                <a:gd name="connsiteX1170" fmla="*/ 554894 w 2061090"/>
                <a:gd name="connsiteY1170" fmla="*/ 219658 h 2789035"/>
                <a:gd name="connsiteX1171" fmla="*/ 552715 w 2061090"/>
                <a:gd name="connsiteY1171" fmla="*/ 208976 h 2789035"/>
                <a:gd name="connsiteX1172" fmla="*/ 548139 w 2061090"/>
                <a:gd name="connsiteY1172" fmla="*/ 198293 h 2789035"/>
                <a:gd name="connsiteX1173" fmla="*/ 530924 w 2061090"/>
                <a:gd name="connsiteY1173" fmla="*/ 195459 h 2789035"/>
                <a:gd name="connsiteX1174" fmla="*/ 540294 w 2061090"/>
                <a:gd name="connsiteY1174" fmla="*/ 206796 h 2789035"/>
                <a:gd name="connsiteX1175" fmla="*/ 544652 w 2061090"/>
                <a:gd name="connsiteY1175" fmla="*/ 215734 h 2789035"/>
                <a:gd name="connsiteX1176" fmla="*/ 543999 w 2061090"/>
                <a:gd name="connsiteY1176" fmla="*/ 222492 h 2789035"/>
                <a:gd name="connsiteX1177" fmla="*/ 540730 w 2061090"/>
                <a:gd name="connsiteY1177" fmla="*/ 228378 h 2789035"/>
                <a:gd name="connsiteX1178" fmla="*/ 535718 w 2061090"/>
                <a:gd name="connsiteY1178" fmla="*/ 235572 h 2789035"/>
                <a:gd name="connsiteX1179" fmla="*/ 528309 w 2061090"/>
                <a:gd name="connsiteY1179" fmla="*/ 236445 h 2789035"/>
                <a:gd name="connsiteX1180" fmla="*/ 530488 w 2061090"/>
                <a:gd name="connsiteY1180" fmla="*/ 223364 h 2789035"/>
                <a:gd name="connsiteX1181" fmla="*/ 530271 w 2061090"/>
                <a:gd name="connsiteY1181" fmla="*/ 206359 h 2789035"/>
                <a:gd name="connsiteX1182" fmla="*/ 518504 w 2061090"/>
                <a:gd name="connsiteY1182" fmla="*/ 211374 h 2789035"/>
                <a:gd name="connsiteX1183" fmla="*/ 520900 w 2061090"/>
                <a:gd name="connsiteY1183" fmla="*/ 219440 h 2789035"/>
                <a:gd name="connsiteX1184" fmla="*/ 522862 w 2061090"/>
                <a:gd name="connsiteY1184" fmla="*/ 230558 h 2789035"/>
                <a:gd name="connsiteX1185" fmla="*/ 523951 w 2061090"/>
                <a:gd name="connsiteY1185" fmla="*/ 245165 h 2789035"/>
                <a:gd name="connsiteX1186" fmla="*/ 527438 w 2061090"/>
                <a:gd name="connsiteY1186" fmla="*/ 254757 h 2789035"/>
                <a:gd name="connsiteX1187" fmla="*/ 520029 w 2061090"/>
                <a:gd name="connsiteY1187" fmla="*/ 254321 h 2789035"/>
                <a:gd name="connsiteX1188" fmla="*/ 516107 w 2061090"/>
                <a:gd name="connsiteY1188" fmla="*/ 254975 h 2789035"/>
                <a:gd name="connsiteX1189" fmla="*/ 507172 w 2061090"/>
                <a:gd name="connsiteY1189" fmla="*/ 259553 h 2789035"/>
                <a:gd name="connsiteX1190" fmla="*/ 501289 w 2061090"/>
                <a:gd name="connsiteY1190" fmla="*/ 252577 h 2789035"/>
                <a:gd name="connsiteX1191" fmla="*/ 496931 w 2061090"/>
                <a:gd name="connsiteY1191" fmla="*/ 238843 h 2789035"/>
                <a:gd name="connsiteX1192" fmla="*/ 492573 w 2061090"/>
                <a:gd name="connsiteY1192" fmla="*/ 232084 h 2789035"/>
                <a:gd name="connsiteX1193" fmla="*/ 508262 w 2061090"/>
                <a:gd name="connsiteY1193" fmla="*/ 234482 h 2789035"/>
                <a:gd name="connsiteX1194" fmla="*/ 512402 w 2061090"/>
                <a:gd name="connsiteY1194" fmla="*/ 232084 h 2789035"/>
                <a:gd name="connsiteX1195" fmla="*/ 511313 w 2061090"/>
                <a:gd name="connsiteY1195" fmla="*/ 223800 h 2789035"/>
                <a:gd name="connsiteX1196" fmla="*/ 509351 w 2061090"/>
                <a:gd name="connsiteY1196" fmla="*/ 221620 h 2789035"/>
                <a:gd name="connsiteX1197" fmla="*/ 503468 w 2061090"/>
                <a:gd name="connsiteY1197" fmla="*/ 223146 h 2789035"/>
                <a:gd name="connsiteX1198" fmla="*/ 505429 w 2061090"/>
                <a:gd name="connsiteY1198" fmla="*/ 213990 h 2789035"/>
                <a:gd name="connsiteX1199" fmla="*/ 509787 w 2061090"/>
                <a:gd name="connsiteY1199" fmla="*/ 202217 h 2789035"/>
                <a:gd name="connsiteX1200" fmla="*/ 503904 w 2061090"/>
                <a:gd name="connsiteY1200" fmla="*/ 203089 h 2789035"/>
                <a:gd name="connsiteX1201" fmla="*/ 498238 w 2061090"/>
                <a:gd name="connsiteY1201" fmla="*/ 206796 h 2789035"/>
                <a:gd name="connsiteX1202" fmla="*/ 488214 w 2061090"/>
                <a:gd name="connsiteY1202" fmla="*/ 219004 h 2789035"/>
                <a:gd name="connsiteX1203" fmla="*/ 481677 w 2061090"/>
                <a:gd name="connsiteY1203" fmla="*/ 227724 h 2789035"/>
                <a:gd name="connsiteX1204" fmla="*/ 476665 w 2061090"/>
                <a:gd name="connsiteY1204" fmla="*/ 239279 h 2789035"/>
                <a:gd name="connsiteX1205" fmla="*/ 484074 w 2061090"/>
                <a:gd name="connsiteY1205" fmla="*/ 242767 h 2789035"/>
                <a:gd name="connsiteX1206" fmla="*/ 490393 w 2061090"/>
                <a:gd name="connsiteY1206" fmla="*/ 243203 h 2789035"/>
                <a:gd name="connsiteX1207" fmla="*/ 491701 w 2061090"/>
                <a:gd name="connsiteY1207" fmla="*/ 249961 h 2789035"/>
                <a:gd name="connsiteX1208" fmla="*/ 487343 w 2061090"/>
                <a:gd name="connsiteY1208" fmla="*/ 254757 h 2789035"/>
                <a:gd name="connsiteX1209" fmla="*/ 483203 w 2061090"/>
                <a:gd name="connsiteY1209" fmla="*/ 258681 h 2789035"/>
                <a:gd name="connsiteX1210" fmla="*/ 489522 w 2061090"/>
                <a:gd name="connsiteY1210" fmla="*/ 266966 h 2789035"/>
                <a:gd name="connsiteX1211" fmla="*/ 490393 w 2061090"/>
                <a:gd name="connsiteY1211" fmla="*/ 281572 h 2789035"/>
                <a:gd name="connsiteX1212" fmla="*/ 486035 w 2061090"/>
                <a:gd name="connsiteY1212" fmla="*/ 287022 h 2789035"/>
                <a:gd name="connsiteX1213" fmla="*/ 504775 w 2061090"/>
                <a:gd name="connsiteY1213" fmla="*/ 284188 h 2789035"/>
                <a:gd name="connsiteX1214" fmla="*/ 503468 w 2061090"/>
                <a:gd name="connsiteY1214" fmla="*/ 271108 h 2789035"/>
                <a:gd name="connsiteX1215" fmla="*/ 501289 w 2061090"/>
                <a:gd name="connsiteY1215" fmla="*/ 270454 h 2789035"/>
                <a:gd name="connsiteX1216" fmla="*/ 537026 w 2061090"/>
                <a:gd name="connsiteY1216" fmla="*/ 268492 h 2789035"/>
                <a:gd name="connsiteX1217" fmla="*/ 544217 w 2061090"/>
                <a:gd name="connsiteY1217" fmla="*/ 266312 h 2789035"/>
                <a:gd name="connsiteX1218" fmla="*/ 542473 w 2061090"/>
                <a:gd name="connsiteY1218" fmla="*/ 263477 h 2789035"/>
                <a:gd name="connsiteX1219" fmla="*/ 533321 w 2061090"/>
                <a:gd name="connsiteY1219" fmla="*/ 253449 h 2789035"/>
                <a:gd name="connsiteX1220" fmla="*/ 543563 w 2061090"/>
                <a:gd name="connsiteY1220" fmla="*/ 254539 h 2789035"/>
                <a:gd name="connsiteX1221" fmla="*/ 550318 w 2061090"/>
                <a:gd name="connsiteY1221" fmla="*/ 257809 h 2789035"/>
                <a:gd name="connsiteX1222" fmla="*/ 557727 w 2061090"/>
                <a:gd name="connsiteY1222" fmla="*/ 261515 h 2789035"/>
                <a:gd name="connsiteX1223" fmla="*/ 567751 w 2061090"/>
                <a:gd name="connsiteY1223" fmla="*/ 263477 h 2789035"/>
                <a:gd name="connsiteX1224" fmla="*/ 574724 w 2061090"/>
                <a:gd name="connsiteY1224" fmla="*/ 261951 h 2789035"/>
                <a:gd name="connsiteX1225" fmla="*/ 569276 w 2061090"/>
                <a:gd name="connsiteY1225" fmla="*/ 276994 h 2789035"/>
                <a:gd name="connsiteX1226" fmla="*/ 573634 w 2061090"/>
                <a:gd name="connsiteY1226" fmla="*/ 279174 h 2789035"/>
                <a:gd name="connsiteX1227" fmla="*/ 581479 w 2061090"/>
                <a:gd name="connsiteY1227" fmla="*/ 285932 h 2789035"/>
                <a:gd name="connsiteX1228" fmla="*/ 587144 w 2061090"/>
                <a:gd name="connsiteY1228" fmla="*/ 289856 h 2789035"/>
                <a:gd name="connsiteX1229" fmla="*/ 594117 w 2061090"/>
                <a:gd name="connsiteY1229" fmla="*/ 290728 h 2789035"/>
                <a:gd name="connsiteX1230" fmla="*/ 603705 w 2061090"/>
                <a:gd name="connsiteY1230" fmla="*/ 289638 h 2789035"/>
                <a:gd name="connsiteX1231" fmla="*/ 615472 w 2061090"/>
                <a:gd name="connsiteY1231" fmla="*/ 268710 h 2789035"/>
                <a:gd name="connsiteX1232" fmla="*/ 622663 w 2061090"/>
                <a:gd name="connsiteY1232" fmla="*/ 271326 h 2789035"/>
                <a:gd name="connsiteX1233" fmla="*/ 620702 w 2061090"/>
                <a:gd name="connsiteY1233" fmla="*/ 282226 h 2789035"/>
                <a:gd name="connsiteX1234" fmla="*/ 612422 w 2061090"/>
                <a:gd name="connsiteY1234" fmla="*/ 293562 h 2789035"/>
                <a:gd name="connsiteX1235" fmla="*/ 608499 w 2061090"/>
                <a:gd name="connsiteY1235" fmla="*/ 298359 h 2789035"/>
                <a:gd name="connsiteX1236" fmla="*/ 586273 w 2061090"/>
                <a:gd name="connsiteY1236" fmla="*/ 315145 h 2789035"/>
                <a:gd name="connsiteX1237" fmla="*/ 596079 w 2061090"/>
                <a:gd name="connsiteY1237" fmla="*/ 317979 h 2789035"/>
                <a:gd name="connsiteX1238" fmla="*/ 606102 w 2061090"/>
                <a:gd name="connsiteY1238" fmla="*/ 320813 h 2789035"/>
                <a:gd name="connsiteX1239" fmla="*/ 608935 w 2061090"/>
                <a:gd name="connsiteY1239" fmla="*/ 331714 h 2789035"/>
                <a:gd name="connsiteX1240" fmla="*/ 608063 w 2061090"/>
                <a:gd name="connsiteY1240" fmla="*/ 338690 h 2789035"/>
                <a:gd name="connsiteX1241" fmla="*/ 600655 w 2061090"/>
                <a:gd name="connsiteY1241" fmla="*/ 334984 h 2789035"/>
                <a:gd name="connsiteX1242" fmla="*/ 595425 w 2061090"/>
                <a:gd name="connsiteY1242" fmla="*/ 331714 h 2789035"/>
                <a:gd name="connsiteX1243" fmla="*/ 584094 w 2061090"/>
                <a:gd name="connsiteY1243" fmla="*/ 328880 h 2789035"/>
                <a:gd name="connsiteX1244" fmla="*/ 565354 w 2061090"/>
                <a:gd name="connsiteY1244" fmla="*/ 315799 h 2789035"/>
                <a:gd name="connsiteX1245" fmla="*/ 562739 w 2061090"/>
                <a:gd name="connsiteY1245" fmla="*/ 324302 h 2789035"/>
                <a:gd name="connsiteX1246" fmla="*/ 559688 w 2061090"/>
                <a:gd name="connsiteY1246" fmla="*/ 329316 h 2789035"/>
                <a:gd name="connsiteX1247" fmla="*/ 550972 w 2061090"/>
                <a:gd name="connsiteY1247" fmla="*/ 333240 h 2789035"/>
                <a:gd name="connsiteX1248" fmla="*/ 542691 w 2061090"/>
                <a:gd name="connsiteY1248" fmla="*/ 340652 h 2789035"/>
                <a:gd name="connsiteX1249" fmla="*/ 528091 w 2061090"/>
                <a:gd name="connsiteY1249" fmla="*/ 344576 h 2789035"/>
                <a:gd name="connsiteX1250" fmla="*/ 513056 w 2061090"/>
                <a:gd name="connsiteY1250" fmla="*/ 341742 h 2789035"/>
                <a:gd name="connsiteX1251" fmla="*/ 503468 w 2061090"/>
                <a:gd name="connsiteY1251" fmla="*/ 337600 h 2789035"/>
                <a:gd name="connsiteX1252" fmla="*/ 489740 w 2061090"/>
                <a:gd name="connsiteY1252" fmla="*/ 324084 h 2789035"/>
                <a:gd name="connsiteX1253" fmla="*/ 487125 w 2061090"/>
                <a:gd name="connsiteY1253" fmla="*/ 304899 h 2789035"/>
                <a:gd name="connsiteX1254" fmla="*/ 477319 w 2061090"/>
                <a:gd name="connsiteY1254" fmla="*/ 321031 h 2789035"/>
                <a:gd name="connsiteX1255" fmla="*/ 480806 w 2061090"/>
                <a:gd name="connsiteY1255" fmla="*/ 328444 h 2789035"/>
                <a:gd name="connsiteX1256" fmla="*/ 477319 w 2061090"/>
                <a:gd name="connsiteY1256" fmla="*/ 341524 h 2789035"/>
                <a:gd name="connsiteX1257" fmla="*/ 469910 w 2061090"/>
                <a:gd name="connsiteY1257" fmla="*/ 344140 h 2789035"/>
                <a:gd name="connsiteX1258" fmla="*/ 689997 w 2061090"/>
                <a:gd name="connsiteY1258" fmla="*/ 672460 h 2789035"/>
                <a:gd name="connsiteX1259" fmla="*/ 917492 w 2061090"/>
                <a:gd name="connsiteY1259" fmla="*/ 1007755 h 2789035"/>
                <a:gd name="connsiteX1260" fmla="*/ 1480565 w 2061090"/>
                <a:gd name="connsiteY1260" fmla="*/ 1835748 h 2789035"/>
                <a:gd name="connsiteX1261" fmla="*/ 1505842 w 2061090"/>
                <a:gd name="connsiteY1261" fmla="*/ 1831169 h 2789035"/>
                <a:gd name="connsiteX1262" fmla="*/ 530271 w 2061090"/>
                <a:gd name="connsiteY1262" fmla="*/ 326264 h 2789035"/>
                <a:gd name="connsiteX1263" fmla="*/ 534629 w 2061090"/>
                <a:gd name="connsiteY1263" fmla="*/ 317543 h 2789035"/>
                <a:gd name="connsiteX1264" fmla="*/ 538987 w 2061090"/>
                <a:gd name="connsiteY1264" fmla="*/ 308169 h 2789035"/>
                <a:gd name="connsiteX1265" fmla="*/ 532232 w 2061090"/>
                <a:gd name="connsiteY1265" fmla="*/ 282662 h 2789035"/>
                <a:gd name="connsiteX1266" fmla="*/ 523080 w 2061090"/>
                <a:gd name="connsiteY1266" fmla="*/ 285496 h 2789035"/>
                <a:gd name="connsiteX1267" fmla="*/ 518939 w 2061090"/>
                <a:gd name="connsiteY1267" fmla="*/ 293344 h 2789035"/>
                <a:gd name="connsiteX1268" fmla="*/ 512184 w 2061090"/>
                <a:gd name="connsiteY1268" fmla="*/ 311003 h 2789035"/>
                <a:gd name="connsiteX1269" fmla="*/ 516324 w 2061090"/>
                <a:gd name="connsiteY1269" fmla="*/ 310567 h 2789035"/>
                <a:gd name="connsiteX1270" fmla="*/ 525041 w 2061090"/>
                <a:gd name="connsiteY1270" fmla="*/ 309695 h 2789035"/>
                <a:gd name="connsiteX1271" fmla="*/ 526566 w 2061090"/>
                <a:gd name="connsiteY1271" fmla="*/ 315799 h 2789035"/>
                <a:gd name="connsiteX1272" fmla="*/ 520900 w 2061090"/>
                <a:gd name="connsiteY1272" fmla="*/ 322339 h 2789035"/>
                <a:gd name="connsiteX1273" fmla="*/ 520900 w 2061090"/>
                <a:gd name="connsiteY1273" fmla="*/ 332150 h 2789035"/>
                <a:gd name="connsiteX1274" fmla="*/ 530271 w 2061090"/>
                <a:gd name="connsiteY1274" fmla="*/ 326264 h 2789035"/>
                <a:gd name="connsiteX1275" fmla="*/ 474268 w 2061090"/>
                <a:gd name="connsiteY1275" fmla="*/ 326046 h 2789035"/>
                <a:gd name="connsiteX1276" fmla="*/ 469256 w 2061090"/>
                <a:gd name="connsiteY1276" fmla="*/ 324520 h 2789035"/>
                <a:gd name="connsiteX1277" fmla="*/ 464027 w 2061090"/>
                <a:gd name="connsiteY1277" fmla="*/ 328880 h 2789035"/>
                <a:gd name="connsiteX1278" fmla="*/ 459886 w 2061090"/>
                <a:gd name="connsiteY1278" fmla="*/ 331060 h 2789035"/>
                <a:gd name="connsiteX1279" fmla="*/ 466642 w 2061090"/>
                <a:gd name="connsiteY1279" fmla="*/ 332586 h 2789035"/>
                <a:gd name="connsiteX1280" fmla="*/ 474268 w 2061090"/>
                <a:gd name="connsiteY1280" fmla="*/ 326046 h 2789035"/>
                <a:gd name="connsiteX1281" fmla="*/ 210382 w 2061090"/>
                <a:gd name="connsiteY1281" fmla="*/ 320159 h 2789035"/>
                <a:gd name="connsiteX1282" fmla="*/ 209511 w 2061090"/>
                <a:gd name="connsiteY1282" fmla="*/ 317979 h 2789035"/>
                <a:gd name="connsiteX1283" fmla="*/ 207114 w 2061090"/>
                <a:gd name="connsiteY1283" fmla="*/ 320159 h 2789035"/>
                <a:gd name="connsiteX1284" fmla="*/ 207985 w 2061090"/>
                <a:gd name="connsiteY1284" fmla="*/ 322339 h 2789035"/>
                <a:gd name="connsiteX1285" fmla="*/ 210382 w 2061090"/>
                <a:gd name="connsiteY1285" fmla="*/ 320159 h 2789035"/>
                <a:gd name="connsiteX1286" fmla="*/ 222149 w 2061090"/>
                <a:gd name="connsiteY1286" fmla="*/ 314491 h 2789035"/>
                <a:gd name="connsiteX1287" fmla="*/ 226943 w 2061090"/>
                <a:gd name="connsiteY1287" fmla="*/ 304463 h 2789035"/>
                <a:gd name="connsiteX1288" fmla="*/ 231084 w 2061090"/>
                <a:gd name="connsiteY1288" fmla="*/ 296397 h 2789035"/>
                <a:gd name="connsiteX1289" fmla="*/ 234352 w 2061090"/>
                <a:gd name="connsiteY1289" fmla="*/ 293999 h 2789035"/>
                <a:gd name="connsiteX1290" fmla="*/ 234570 w 2061090"/>
                <a:gd name="connsiteY1290" fmla="*/ 283316 h 2789035"/>
                <a:gd name="connsiteX1291" fmla="*/ 228905 w 2061090"/>
                <a:gd name="connsiteY1291" fmla="*/ 285278 h 2789035"/>
                <a:gd name="connsiteX1292" fmla="*/ 227597 w 2061090"/>
                <a:gd name="connsiteY1292" fmla="*/ 293126 h 2789035"/>
                <a:gd name="connsiteX1293" fmla="*/ 220406 w 2061090"/>
                <a:gd name="connsiteY1293" fmla="*/ 293562 h 2789035"/>
                <a:gd name="connsiteX1294" fmla="*/ 219099 w 2061090"/>
                <a:gd name="connsiteY1294" fmla="*/ 297923 h 2789035"/>
                <a:gd name="connsiteX1295" fmla="*/ 217138 w 2061090"/>
                <a:gd name="connsiteY1295" fmla="*/ 304899 h 2789035"/>
                <a:gd name="connsiteX1296" fmla="*/ 213869 w 2061090"/>
                <a:gd name="connsiteY1296" fmla="*/ 314927 h 2789035"/>
                <a:gd name="connsiteX1297" fmla="*/ 222149 w 2061090"/>
                <a:gd name="connsiteY1297" fmla="*/ 314491 h 2789035"/>
                <a:gd name="connsiteX1298" fmla="*/ 500853 w 2061090"/>
                <a:gd name="connsiteY1298" fmla="*/ 313837 h 2789035"/>
                <a:gd name="connsiteX1299" fmla="*/ 494534 w 2061090"/>
                <a:gd name="connsiteY1299" fmla="*/ 306425 h 2789035"/>
                <a:gd name="connsiteX1300" fmla="*/ 497802 w 2061090"/>
                <a:gd name="connsiteY1300" fmla="*/ 319505 h 2789035"/>
                <a:gd name="connsiteX1301" fmla="*/ 500853 w 2061090"/>
                <a:gd name="connsiteY1301" fmla="*/ 313837 h 2789035"/>
                <a:gd name="connsiteX1302" fmla="*/ 564046 w 2061090"/>
                <a:gd name="connsiteY1302" fmla="*/ 310131 h 2789035"/>
                <a:gd name="connsiteX1303" fmla="*/ 558816 w 2061090"/>
                <a:gd name="connsiteY1303" fmla="*/ 300539 h 2789035"/>
                <a:gd name="connsiteX1304" fmla="*/ 551408 w 2061090"/>
                <a:gd name="connsiteY1304" fmla="*/ 314927 h 2789035"/>
                <a:gd name="connsiteX1305" fmla="*/ 564046 w 2061090"/>
                <a:gd name="connsiteY1305" fmla="*/ 310131 h 2789035"/>
                <a:gd name="connsiteX1306" fmla="*/ 701110 w 2061090"/>
                <a:gd name="connsiteY1306" fmla="*/ 303373 h 2789035"/>
                <a:gd name="connsiteX1307" fmla="*/ 705032 w 2061090"/>
                <a:gd name="connsiteY1307" fmla="*/ 300539 h 2789035"/>
                <a:gd name="connsiteX1308" fmla="*/ 710262 w 2061090"/>
                <a:gd name="connsiteY1308" fmla="*/ 297487 h 2789035"/>
                <a:gd name="connsiteX1309" fmla="*/ 709390 w 2061090"/>
                <a:gd name="connsiteY1309" fmla="*/ 290946 h 2789035"/>
                <a:gd name="connsiteX1310" fmla="*/ 701764 w 2061090"/>
                <a:gd name="connsiteY1310" fmla="*/ 289856 h 2789035"/>
                <a:gd name="connsiteX1311" fmla="*/ 694791 w 2061090"/>
                <a:gd name="connsiteY1311" fmla="*/ 299013 h 2789035"/>
                <a:gd name="connsiteX1312" fmla="*/ 688035 w 2061090"/>
                <a:gd name="connsiteY1312" fmla="*/ 305989 h 2789035"/>
                <a:gd name="connsiteX1313" fmla="*/ 689561 w 2061090"/>
                <a:gd name="connsiteY1313" fmla="*/ 299885 h 2789035"/>
                <a:gd name="connsiteX1314" fmla="*/ 681934 w 2061090"/>
                <a:gd name="connsiteY1314" fmla="*/ 289856 h 2789035"/>
                <a:gd name="connsiteX1315" fmla="*/ 682370 w 2061090"/>
                <a:gd name="connsiteY1315" fmla="*/ 308605 h 2789035"/>
                <a:gd name="connsiteX1316" fmla="*/ 693701 w 2061090"/>
                <a:gd name="connsiteY1316" fmla="*/ 309695 h 2789035"/>
                <a:gd name="connsiteX1317" fmla="*/ 701110 w 2061090"/>
                <a:gd name="connsiteY1317" fmla="*/ 303373 h 2789035"/>
                <a:gd name="connsiteX1318" fmla="*/ 456618 w 2061090"/>
                <a:gd name="connsiteY1318" fmla="*/ 299231 h 2789035"/>
                <a:gd name="connsiteX1319" fmla="*/ 452260 w 2061090"/>
                <a:gd name="connsiteY1319" fmla="*/ 292908 h 2789035"/>
                <a:gd name="connsiteX1320" fmla="*/ 448555 w 2061090"/>
                <a:gd name="connsiteY1320" fmla="*/ 286804 h 2789035"/>
                <a:gd name="connsiteX1321" fmla="*/ 444633 w 2061090"/>
                <a:gd name="connsiteY1321" fmla="*/ 280918 h 2789035"/>
                <a:gd name="connsiteX1322" fmla="*/ 443543 w 2061090"/>
                <a:gd name="connsiteY1322" fmla="*/ 272198 h 2789035"/>
                <a:gd name="connsiteX1323" fmla="*/ 440928 w 2061090"/>
                <a:gd name="connsiteY1323" fmla="*/ 266748 h 2789035"/>
                <a:gd name="connsiteX1324" fmla="*/ 435481 w 2061090"/>
                <a:gd name="connsiteY1324" fmla="*/ 276776 h 2789035"/>
                <a:gd name="connsiteX1325" fmla="*/ 438096 w 2061090"/>
                <a:gd name="connsiteY1325" fmla="*/ 286368 h 2789035"/>
                <a:gd name="connsiteX1326" fmla="*/ 440711 w 2061090"/>
                <a:gd name="connsiteY1326" fmla="*/ 304027 h 2789035"/>
                <a:gd name="connsiteX1327" fmla="*/ 449645 w 2061090"/>
                <a:gd name="connsiteY1327" fmla="*/ 305989 h 2789035"/>
                <a:gd name="connsiteX1328" fmla="*/ 456618 w 2061090"/>
                <a:gd name="connsiteY1328" fmla="*/ 299231 h 2789035"/>
                <a:gd name="connsiteX1329" fmla="*/ 582786 w 2061090"/>
                <a:gd name="connsiteY1329" fmla="*/ 305771 h 2789035"/>
                <a:gd name="connsiteX1330" fmla="*/ 577992 w 2061090"/>
                <a:gd name="connsiteY1330" fmla="*/ 299885 h 2789035"/>
                <a:gd name="connsiteX1331" fmla="*/ 573852 w 2061090"/>
                <a:gd name="connsiteY1331" fmla="*/ 296397 h 2789035"/>
                <a:gd name="connsiteX1332" fmla="*/ 565136 w 2061090"/>
                <a:gd name="connsiteY1332" fmla="*/ 292472 h 2789035"/>
                <a:gd name="connsiteX1333" fmla="*/ 568622 w 2061090"/>
                <a:gd name="connsiteY1333" fmla="*/ 300539 h 2789035"/>
                <a:gd name="connsiteX1334" fmla="*/ 575377 w 2061090"/>
                <a:gd name="connsiteY1334" fmla="*/ 303809 h 2789035"/>
                <a:gd name="connsiteX1335" fmla="*/ 582786 w 2061090"/>
                <a:gd name="connsiteY1335" fmla="*/ 305771 h 2789035"/>
                <a:gd name="connsiteX1336" fmla="*/ 472961 w 2061090"/>
                <a:gd name="connsiteY1336" fmla="*/ 302719 h 2789035"/>
                <a:gd name="connsiteX1337" fmla="*/ 470564 w 2061090"/>
                <a:gd name="connsiteY1337" fmla="*/ 300539 h 2789035"/>
                <a:gd name="connsiteX1338" fmla="*/ 469692 w 2061090"/>
                <a:gd name="connsiteY1338" fmla="*/ 302719 h 2789035"/>
                <a:gd name="connsiteX1339" fmla="*/ 472089 w 2061090"/>
                <a:gd name="connsiteY1339" fmla="*/ 304899 h 2789035"/>
                <a:gd name="connsiteX1340" fmla="*/ 472961 w 2061090"/>
                <a:gd name="connsiteY1340" fmla="*/ 302719 h 2789035"/>
                <a:gd name="connsiteX1341" fmla="*/ 1444392 w 2061090"/>
                <a:gd name="connsiteY1341" fmla="*/ 295961 h 2789035"/>
                <a:gd name="connsiteX1342" fmla="*/ 1446135 w 2061090"/>
                <a:gd name="connsiteY1342" fmla="*/ 291600 h 2789035"/>
                <a:gd name="connsiteX1343" fmla="*/ 1450058 w 2061090"/>
                <a:gd name="connsiteY1343" fmla="*/ 295961 h 2789035"/>
                <a:gd name="connsiteX1344" fmla="*/ 1457902 w 2061090"/>
                <a:gd name="connsiteY1344" fmla="*/ 287240 h 2789035"/>
                <a:gd name="connsiteX1345" fmla="*/ 1454416 w 2061090"/>
                <a:gd name="connsiteY1345" fmla="*/ 275250 h 2789035"/>
                <a:gd name="connsiteX1346" fmla="*/ 1447879 w 2061090"/>
                <a:gd name="connsiteY1346" fmla="*/ 274160 h 2789035"/>
                <a:gd name="connsiteX1347" fmla="*/ 1439598 w 2061090"/>
                <a:gd name="connsiteY1347" fmla="*/ 278084 h 2789035"/>
                <a:gd name="connsiteX1348" fmla="*/ 1436330 w 2061090"/>
                <a:gd name="connsiteY1348" fmla="*/ 286368 h 2789035"/>
                <a:gd name="connsiteX1349" fmla="*/ 1438291 w 2061090"/>
                <a:gd name="connsiteY1349" fmla="*/ 294435 h 2789035"/>
                <a:gd name="connsiteX1350" fmla="*/ 1444392 w 2061090"/>
                <a:gd name="connsiteY1350" fmla="*/ 295961 h 2789035"/>
                <a:gd name="connsiteX1351" fmla="*/ 474704 w 2061090"/>
                <a:gd name="connsiteY1351" fmla="*/ 288984 h 2789035"/>
                <a:gd name="connsiteX1352" fmla="*/ 472089 w 2061090"/>
                <a:gd name="connsiteY1352" fmla="*/ 285278 h 2789035"/>
                <a:gd name="connsiteX1353" fmla="*/ 468603 w 2061090"/>
                <a:gd name="connsiteY1353" fmla="*/ 289856 h 2789035"/>
                <a:gd name="connsiteX1354" fmla="*/ 474704 w 2061090"/>
                <a:gd name="connsiteY1354" fmla="*/ 288984 h 2789035"/>
                <a:gd name="connsiteX1355" fmla="*/ 560342 w 2061090"/>
                <a:gd name="connsiteY1355" fmla="*/ 287022 h 2789035"/>
                <a:gd name="connsiteX1356" fmla="*/ 559906 w 2061090"/>
                <a:gd name="connsiteY1356" fmla="*/ 279828 h 2789035"/>
                <a:gd name="connsiteX1357" fmla="*/ 550100 w 2061090"/>
                <a:gd name="connsiteY1357" fmla="*/ 276340 h 2789035"/>
                <a:gd name="connsiteX1358" fmla="*/ 544870 w 2061090"/>
                <a:gd name="connsiteY1358" fmla="*/ 271544 h 2789035"/>
                <a:gd name="connsiteX1359" fmla="*/ 544870 w 2061090"/>
                <a:gd name="connsiteY1359" fmla="*/ 276776 h 2789035"/>
                <a:gd name="connsiteX1360" fmla="*/ 553805 w 2061090"/>
                <a:gd name="connsiteY1360" fmla="*/ 291818 h 2789035"/>
                <a:gd name="connsiteX1361" fmla="*/ 560342 w 2061090"/>
                <a:gd name="connsiteY1361" fmla="*/ 287022 h 2789035"/>
                <a:gd name="connsiteX1362" fmla="*/ 431776 w 2061090"/>
                <a:gd name="connsiteY1362" fmla="*/ 265440 h 2789035"/>
                <a:gd name="connsiteX1363" fmla="*/ 438096 w 2061090"/>
                <a:gd name="connsiteY1363" fmla="*/ 259553 h 2789035"/>
                <a:gd name="connsiteX1364" fmla="*/ 434391 w 2061090"/>
                <a:gd name="connsiteY1364" fmla="*/ 251705 h 2789035"/>
                <a:gd name="connsiteX1365" fmla="*/ 424368 w 2061090"/>
                <a:gd name="connsiteY1365" fmla="*/ 245165 h 2789035"/>
                <a:gd name="connsiteX1366" fmla="*/ 425239 w 2061090"/>
                <a:gd name="connsiteY1366" fmla="*/ 250615 h 2789035"/>
                <a:gd name="connsiteX1367" fmla="*/ 423060 w 2061090"/>
                <a:gd name="connsiteY1367" fmla="*/ 254757 h 2789035"/>
                <a:gd name="connsiteX1368" fmla="*/ 419791 w 2061090"/>
                <a:gd name="connsiteY1368" fmla="*/ 271544 h 2789035"/>
                <a:gd name="connsiteX1369" fmla="*/ 424803 w 2061090"/>
                <a:gd name="connsiteY1369" fmla="*/ 275250 h 2789035"/>
                <a:gd name="connsiteX1370" fmla="*/ 431776 w 2061090"/>
                <a:gd name="connsiteY1370" fmla="*/ 265440 h 2789035"/>
                <a:gd name="connsiteX1371" fmla="*/ 173556 w 2061090"/>
                <a:gd name="connsiteY1371" fmla="*/ 270672 h 2789035"/>
                <a:gd name="connsiteX1372" fmla="*/ 171377 w 2061090"/>
                <a:gd name="connsiteY1372" fmla="*/ 274596 h 2789035"/>
                <a:gd name="connsiteX1373" fmla="*/ 173992 w 2061090"/>
                <a:gd name="connsiteY1373" fmla="*/ 274596 h 2789035"/>
                <a:gd name="connsiteX1374" fmla="*/ 173556 w 2061090"/>
                <a:gd name="connsiteY1374" fmla="*/ 270672 h 2789035"/>
                <a:gd name="connsiteX1375" fmla="*/ 159392 w 2061090"/>
                <a:gd name="connsiteY1375" fmla="*/ 262387 h 2789035"/>
                <a:gd name="connsiteX1376" fmla="*/ 154380 w 2061090"/>
                <a:gd name="connsiteY1376" fmla="*/ 242985 h 2789035"/>
                <a:gd name="connsiteX1377" fmla="*/ 165711 w 2061090"/>
                <a:gd name="connsiteY1377" fmla="*/ 253667 h 2789035"/>
                <a:gd name="connsiteX1378" fmla="*/ 168108 w 2061090"/>
                <a:gd name="connsiteY1378" fmla="*/ 260425 h 2789035"/>
                <a:gd name="connsiteX1379" fmla="*/ 170723 w 2061090"/>
                <a:gd name="connsiteY1379" fmla="*/ 236227 h 2789035"/>
                <a:gd name="connsiteX1380" fmla="*/ 160917 w 2061090"/>
                <a:gd name="connsiteY1380" fmla="*/ 231212 h 2789035"/>
                <a:gd name="connsiteX1381" fmla="*/ 146100 w 2061090"/>
                <a:gd name="connsiteY1381" fmla="*/ 221620 h 2789035"/>
                <a:gd name="connsiteX1382" fmla="*/ 154598 w 2061090"/>
                <a:gd name="connsiteY1382" fmla="*/ 219876 h 2789035"/>
                <a:gd name="connsiteX1383" fmla="*/ 165711 w 2061090"/>
                <a:gd name="connsiteY1383" fmla="*/ 216606 h 2789035"/>
                <a:gd name="connsiteX1384" fmla="*/ 174428 w 2061090"/>
                <a:gd name="connsiteY1384" fmla="*/ 220966 h 2789035"/>
                <a:gd name="connsiteX1385" fmla="*/ 178786 w 2061090"/>
                <a:gd name="connsiteY1385" fmla="*/ 233392 h 2789035"/>
                <a:gd name="connsiteX1386" fmla="*/ 183362 w 2061090"/>
                <a:gd name="connsiteY1386" fmla="*/ 237099 h 2789035"/>
                <a:gd name="connsiteX1387" fmla="*/ 184016 w 2061090"/>
                <a:gd name="connsiteY1387" fmla="*/ 224672 h 2789035"/>
                <a:gd name="connsiteX1388" fmla="*/ 179440 w 2061090"/>
                <a:gd name="connsiteY1388" fmla="*/ 212028 h 2789035"/>
                <a:gd name="connsiteX1389" fmla="*/ 174864 w 2061090"/>
                <a:gd name="connsiteY1389" fmla="*/ 203961 h 2789035"/>
                <a:gd name="connsiteX1390" fmla="*/ 168980 w 2061090"/>
                <a:gd name="connsiteY1390" fmla="*/ 195677 h 2789035"/>
                <a:gd name="connsiteX1391" fmla="*/ 160700 w 2061090"/>
                <a:gd name="connsiteY1391" fmla="*/ 196985 h 2789035"/>
                <a:gd name="connsiteX1392" fmla="*/ 153291 w 2061090"/>
                <a:gd name="connsiteY1392" fmla="*/ 195895 h 2789035"/>
                <a:gd name="connsiteX1393" fmla="*/ 151330 w 2061090"/>
                <a:gd name="connsiteY1393" fmla="*/ 187829 h 2789035"/>
                <a:gd name="connsiteX1394" fmla="*/ 150458 w 2061090"/>
                <a:gd name="connsiteY1394" fmla="*/ 178455 h 2789035"/>
                <a:gd name="connsiteX1395" fmla="*/ 152637 w 2061090"/>
                <a:gd name="connsiteY1395" fmla="*/ 182379 h 2789035"/>
                <a:gd name="connsiteX1396" fmla="*/ 162225 w 2061090"/>
                <a:gd name="connsiteY1396" fmla="*/ 190009 h 2789035"/>
                <a:gd name="connsiteX1397" fmla="*/ 158303 w 2061090"/>
                <a:gd name="connsiteY1397" fmla="*/ 171696 h 2789035"/>
                <a:gd name="connsiteX1398" fmla="*/ 149586 w 2061090"/>
                <a:gd name="connsiteY1398" fmla="*/ 159488 h 2789035"/>
                <a:gd name="connsiteX1399" fmla="*/ 144574 w 2061090"/>
                <a:gd name="connsiteY1399" fmla="*/ 158180 h 2789035"/>
                <a:gd name="connsiteX1400" fmla="*/ 142395 w 2061090"/>
                <a:gd name="connsiteY1400" fmla="*/ 169080 h 2789035"/>
                <a:gd name="connsiteX1401" fmla="*/ 141524 w 2061090"/>
                <a:gd name="connsiteY1401" fmla="*/ 179763 h 2789035"/>
                <a:gd name="connsiteX1402" fmla="*/ 143921 w 2061090"/>
                <a:gd name="connsiteY1402" fmla="*/ 191317 h 2789035"/>
                <a:gd name="connsiteX1403" fmla="*/ 148715 w 2061090"/>
                <a:gd name="connsiteY1403" fmla="*/ 200691 h 2789035"/>
                <a:gd name="connsiteX1404" fmla="*/ 151983 w 2061090"/>
                <a:gd name="connsiteY1404" fmla="*/ 207668 h 2789035"/>
                <a:gd name="connsiteX1405" fmla="*/ 145446 w 2061090"/>
                <a:gd name="connsiteY1405" fmla="*/ 208322 h 2789035"/>
                <a:gd name="connsiteX1406" fmla="*/ 136512 w 2061090"/>
                <a:gd name="connsiteY1406" fmla="*/ 207232 h 2789035"/>
                <a:gd name="connsiteX1407" fmla="*/ 133897 w 2061090"/>
                <a:gd name="connsiteY1407" fmla="*/ 204833 h 2789035"/>
                <a:gd name="connsiteX1408" fmla="*/ 136512 w 2061090"/>
                <a:gd name="connsiteY1408" fmla="*/ 195895 h 2789035"/>
                <a:gd name="connsiteX1409" fmla="*/ 135422 w 2061090"/>
                <a:gd name="connsiteY1409" fmla="*/ 191535 h 2789035"/>
                <a:gd name="connsiteX1410" fmla="*/ 133025 w 2061090"/>
                <a:gd name="connsiteY1410" fmla="*/ 195023 h 2789035"/>
                <a:gd name="connsiteX1411" fmla="*/ 126924 w 2061090"/>
                <a:gd name="connsiteY1411" fmla="*/ 200473 h 2789035"/>
                <a:gd name="connsiteX1412" fmla="*/ 118208 w 2061090"/>
                <a:gd name="connsiteY1412" fmla="*/ 209412 h 2789035"/>
                <a:gd name="connsiteX1413" fmla="*/ 122784 w 2061090"/>
                <a:gd name="connsiteY1413" fmla="*/ 217914 h 2789035"/>
                <a:gd name="connsiteX1414" fmla="*/ 141960 w 2061090"/>
                <a:gd name="connsiteY1414" fmla="*/ 225762 h 2789035"/>
                <a:gd name="connsiteX1415" fmla="*/ 145446 w 2061090"/>
                <a:gd name="connsiteY1415" fmla="*/ 231212 h 2789035"/>
                <a:gd name="connsiteX1416" fmla="*/ 144139 w 2061090"/>
                <a:gd name="connsiteY1416" fmla="*/ 240805 h 2789035"/>
                <a:gd name="connsiteX1417" fmla="*/ 140870 w 2061090"/>
                <a:gd name="connsiteY1417" fmla="*/ 253885 h 2789035"/>
                <a:gd name="connsiteX1418" fmla="*/ 137601 w 2061090"/>
                <a:gd name="connsiteY1418" fmla="*/ 263913 h 2789035"/>
                <a:gd name="connsiteX1419" fmla="*/ 135204 w 2061090"/>
                <a:gd name="connsiteY1419" fmla="*/ 272198 h 2789035"/>
                <a:gd name="connsiteX1420" fmla="*/ 137383 w 2061090"/>
                <a:gd name="connsiteY1420" fmla="*/ 270236 h 2789035"/>
                <a:gd name="connsiteX1421" fmla="*/ 157867 w 2061090"/>
                <a:gd name="connsiteY1421" fmla="*/ 271326 h 2789035"/>
                <a:gd name="connsiteX1422" fmla="*/ 159392 w 2061090"/>
                <a:gd name="connsiteY1422" fmla="*/ 262387 h 2789035"/>
                <a:gd name="connsiteX1423" fmla="*/ 1438073 w 2061090"/>
                <a:gd name="connsiteY1423" fmla="*/ 268710 h 2789035"/>
                <a:gd name="connsiteX1424" fmla="*/ 1433715 w 2061090"/>
                <a:gd name="connsiteY1424" fmla="*/ 265658 h 2789035"/>
                <a:gd name="connsiteX1425" fmla="*/ 1434586 w 2061090"/>
                <a:gd name="connsiteY1425" fmla="*/ 272852 h 2789035"/>
                <a:gd name="connsiteX1426" fmla="*/ 1438073 w 2061090"/>
                <a:gd name="connsiteY1426" fmla="*/ 268710 h 2789035"/>
                <a:gd name="connsiteX1427" fmla="*/ 189899 w 2061090"/>
                <a:gd name="connsiteY1427" fmla="*/ 263041 h 2789035"/>
                <a:gd name="connsiteX1428" fmla="*/ 196436 w 2061090"/>
                <a:gd name="connsiteY1428" fmla="*/ 254103 h 2789035"/>
                <a:gd name="connsiteX1429" fmla="*/ 197962 w 2061090"/>
                <a:gd name="connsiteY1429" fmla="*/ 242113 h 2789035"/>
                <a:gd name="connsiteX1430" fmla="*/ 192732 w 2061090"/>
                <a:gd name="connsiteY1430" fmla="*/ 247999 h 2789035"/>
                <a:gd name="connsiteX1431" fmla="*/ 185541 w 2061090"/>
                <a:gd name="connsiteY1431" fmla="*/ 256065 h 2789035"/>
                <a:gd name="connsiteX1432" fmla="*/ 184234 w 2061090"/>
                <a:gd name="connsiteY1432" fmla="*/ 267838 h 2789035"/>
                <a:gd name="connsiteX1433" fmla="*/ 189899 w 2061090"/>
                <a:gd name="connsiteY1433" fmla="*/ 263041 h 2789035"/>
                <a:gd name="connsiteX1434" fmla="*/ 553587 w 2061090"/>
                <a:gd name="connsiteY1434" fmla="*/ 266966 h 2789035"/>
                <a:gd name="connsiteX1435" fmla="*/ 551408 w 2061090"/>
                <a:gd name="connsiteY1435" fmla="*/ 264567 h 2789035"/>
                <a:gd name="connsiteX1436" fmla="*/ 549228 w 2061090"/>
                <a:gd name="connsiteY1436" fmla="*/ 265440 h 2789035"/>
                <a:gd name="connsiteX1437" fmla="*/ 551408 w 2061090"/>
                <a:gd name="connsiteY1437" fmla="*/ 267838 h 2789035"/>
                <a:gd name="connsiteX1438" fmla="*/ 553587 w 2061090"/>
                <a:gd name="connsiteY1438" fmla="*/ 266966 h 2789035"/>
                <a:gd name="connsiteX1439" fmla="*/ 671257 w 2061090"/>
                <a:gd name="connsiteY1439" fmla="*/ 258027 h 2789035"/>
                <a:gd name="connsiteX1440" fmla="*/ 668860 w 2061090"/>
                <a:gd name="connsiteY1440" fmla="*/ 254757 h 2789035"/>
                <a:gd name="connsiteX1441" fmla="*/ 667770 w 2061090"/>
                <a:gd name="connsiteY1441" fmla="*/ 249307 h 2789035"/>
                <a:gd name="connsiteX1442" fmla="*/ 660797 w 2061090"/>
                <a:gd name="connsiteY1442" fmla="*/ 249307 h 2789035"/>
                <a:gd name="connsiteX1443" fmla="*/ 664719 w 2061090"/>
                <a:gd name="connsiteY1443" fmla="*/ 261297 h 2789035"/>
                <a:gd name="connsiteX1444" fmla="*/ 671257 w 2061090"/>
                <a:gd name="connsiteY1444" fmla="*/ 258027 h 2789035"/>
                <a:gd name="connsiteX1445" fmla="*/ 512184 w 2061090"/>
                <a:gd name="connsiteY1445" fmla="*/ 251269 h 2789035"/>
                <a:gd name="connsiteX1446" fmla="*/ 514363 w 2061090"/>
                <a:gd name="connsiteY1446" fmla="*/ 248217 h 2789035"/>
                <a:gd name="connsiteX1447" fmla="*/ 516542 w 2061090"/>
                <a:gd name="connsiteY1447" fmla="*/ 244947 h 2789035"/>
                <a:gd name="connsiteX1448" fmla="*/ 515017 w 2061090"/>
                <a:gd name="connsiteY1448" fmla="*/ 241677 h 2789035"/>
                <a:gd name="connsiteX1449" fmla="*/ 506737 w 2061090"/>
                <a:gd name="connsiteY1449" fmla="*/ 254757 h 2789035"/>
                <a:gd name="connsiteX1450" fmla="*/ 512184 w 2061090"/>
                <a:gd name="connsiteY1450" fmla="*/ 251269 h 2789035"/>
                <a:gd name="connsiteX1451" fmla="*/ 183580 w 2061090"/>
                <a:gd name="connsiteY1451" fmla="*/ 243421 h 2789035"/>
                <a:gd name="connsiteX1452" fmla="*/ 180965 w 2061090"/>
                <a:gd name="connsiteY1452" fmla="*/ 242985 h 2789035"/>
                <a:gd name="connsiteX1453" fmla="*/ 185105 w 2061090"/>
                <a:gd name="connsiteY1453" fmla="*/ 247127 h 2789035"/>
                <a:gd name="connsiteX1454" fmla="*/ 183580 w 2061090"/>
                <a:gd name="connsiteY1454" fmla="*/ 243421 h 2789035"/>
                <a:gd name="connsiteX1455" fmla="*/ 404102 w 2061090"/>
                <a:gd name="connsiteY1455" fmla="*/ 238625 h 2789035"/>
                <a:gd name="connsiteX1456" fmla="*/ 406499 w 2061090"/>
                <a:gd name="connsiteY1456" fmla="*/ 229904 h 2789035"/>
                <a:gd name="connsiteX1457" fmla="*/ 416305 w 2061090"/>
                <a:gd name="connsiteY1457" fmla="*/ 237535 h 2789035"/>
                <a:gd name="connsiteX1458" fmla="*/ 418484 w 2061090"/>
                <a:gd name="connsiteY1458" fmla="*/ 242767 h 2789035"/>
                <a:gd name="connsiteX1459" fmla="*/ 420663 w 2061090"/>
                <a:gd name="connsiteY1459" fmla="*/ 241677 h 2789035"/>
                <a:gd name="connsiteX1460" fmla="*/ 426111 w 2061090"/>
                <a:gd name="connsiteY1460" fmla="*/ 232084 h 2789035"/>
                <a:gd name="connsiteX1461" fmla="*/ 429379 w 2061090"/>
                <a:gd name="connsiteY1461" fmla="*/ 219876 h 2789035"/>
                <a:gd name="connsiteX1462" fmla="*/ 435263 w 2061090"/>
                <a:gd name="connsiteY1462" fmla="*/ 207886 h 2789035"/>
                <a:gd name="connsiteX1463" fmla="*/ 441800 w 2061090"/>
                <a:gd name="connsiteY1463" fmla="*/ 197203 h 2789035"/>
                <a:gd name="connsiteX1464" fmla="*/ 434173 w 2061090"/>
                <a:gd name="connsiteY1464" fmla="*/ 194369 h 2789035"/>
                <a:gd name="connsiteX1465" fmla="*/ 423932 w 2061090"/>
                <a:gd name="connsiteY1465" fmla="*/ 192407 h 2789035"/>
                <a:gd name="connsiteX1466" fmla="*/ 416087 w 2061090"/>
                <a:gd name="connsiteY1466" fmla="*/ 193933 h 2789035"/>
                <a:gd name="connsiteX1467" fmla="*/ 405410 w 2061090"/>
                <a:gd name="connsiteY1467" fmla="*/ 190445 h 2789035"/>
                <a:gd name="connsiteX1468" fmla="*/ 401269 w 2061090"/>
                <a:gd name="connsiteY1468" fmla="*/ 184995 h 2789035"/>
                <a:gd name="connsiteX1469" fmla="*/ 394514 w 2061090"/>
                <a:gd name="connsiteY1469" fmla="*/ 176056 h 2789035"/>
                <a:gd name="connsiteX1470" fmla="*/ 398437 w 2061090"/>
                <a:gd name="connsiteY1470" fmla="*/ 174094 h 2789035"/>
                <a:gd name="connsiteX1471" fmla="*/ 411293 w 2061090"/>
                <a:gd name="connsiteY1471" fmla="*/ 162322 h 2789035"/>
                <a:gd name="connsiteX1472" fmla="*/ 399090 w 2061090"/>
                <a:gd name="connsiteY1472" fmla="*/ 165810 h 2789035"/>
                <a:gd name="connsiteX1473" fmla="*/ 380568 w 2061090"/>
                <a:gd name="connsiteY1473" fmla="*/ 182815 h 2789035"/>
                <a:gd name="connsiteX1474" fmla="*/ 379261 w 2061090"/>
                <a:gd name="connsiteY1474" fmla="*/ 176710 h 2789035"/>
                <a:gd name="connsiteX1475" fmla="*/ 373377 w 2061090"/>
                <a:gd name="connsiteY1475" fmla="*/ 167772 h 2789035"/>
                <a:gd name="connsiteX1476" fmla="*/ 362482 w 2061090"/>
                <a:gd name="connsiteY1476" fmla="*/ 171260 h 2789035"/>
                <a:gd name="connsiteX1477" fmla="*/ 359431 w 2061090"/>
                <a:gd name="connsiteY1477" fmla="*/ 182815 h 2789035"/>
                <a:gd name="connsiteX1478" fmla="*/ 362918 w 2061090"/>
                <a:gd name="connsiteY1478" fmla="*/ 180417 h 2789035"/>
                <a:gd name="connsiteX1479" fmla="*/ 371634 w 2061090"/>
                <a:gd name="connsiteY1479" fmla="*/ 186085 h 2789035"/>
                <a:gd name="connsiteX1480" fmla="*/ 378389 w 2061090"/>
                <a:gd name="connsiteY1480" fmla="*/ 192189 h 2789035"/>
                <a:gd name="connsiteX1481" fmla="*/ 386670 w 2061090"/>
                <a:gd name="connsiteY1481" fmla="*/ 195023 h 2789035"/>
                <a:gd name="connsiteX1482" fmla="*/ 392335 w 2061090"/>
                <a:gd name="connsiteY1482" fmla="*/ 195895 h 2789035"/>
                <a:gd name="connsiteX1483" fmla="*/ 404538 w 2061090"/>
                <a:gd name="connsiteY1483" fmla="*/ 205487 h 2789035"/>
                <a:gd name="connsiteX1484" fmla="*/ 405410 w 2061090"/>
                <a:gd name="connsiteY1484" fmla="*/ 214426 h 2789035"/>
                <a:gd name="connsiteX1485" fmla="*/ 403013 w 2061090"/>
                <a:gd name="connsiteY1485" fmla="*/ 221184 h 2789035"/>
                <a:gd name="connsiteX1486" fmla="*/ 396693 w 2061090"/>
                <a:gd name="connsiteY1486" fmla="*/ 222056 h 2789035"/>
                <a:gd name="connsiteX1487" fmla="*/ 394514 w 2061090"/>
                <a:gd name="connsiteY1487" fmla="*/ 212028 h 2789035"/>
                <a:gd name="connsiteX1488" fmla="*/ 390592 w 2061090"/>
                <a:gd name="connsiteY1488" fmla="*/ 201781 h 2789035"/>
                <a:gd name="connsiteX1489" fmla="*/ 381876 w 2061090"/>
                <a:gd name="connsiteY1489" fmla="*/ 201563 h 2789035"/>
                <a:gd name="connsiteX1490" fmla="*/ 382747 w 2061090"/>
                <a:gd name="connsiteY1490" fmla="*/ 208322 h 2789035"/>
                <a:gd name="connsiteX1491" fmla="*/ 389720 w 2061090"/>
                <a:gd name="connsiteY1491" fmla="*/ 218568 h 2789035"/>
                <a:gd name="connsiteX1492" fmla="*/ 392771 w 2061090"/>
                <a:gd name="connsiteY1492" fmla="*/ 224236 h 2789035"/>
                <a:gd name="connsiteX1493" fmla="*/ 396693 w 2061090"/>
                <a:gd name="connsiteY1493" fmla="*/ 229468 h 2789035"/>
                <a:gd name="connsiteX1494" fmla="*/ 403448 w 2061090"/>
                <a:gd name="connsiteY1494" fmla="*/ 246909 h 2789035"/>
                <a:gd name="connsiteX1495" fmla="*/ 404102 w 2061090"/>
                <a:gd name="connsiteY1495" fmla="*/ 238625 h 2789035"/>
                <a:gd name="connsiteX1496" fmla="*/ 195347 w 2061090"/>
                <a:gd name="connsiteY1496" fmla="*/ 224890 h 2789035"/>
                <a:gd name="connsiteX1497" fmla="*/ 193168 w 2061090"/>
                <a:gd name="connsiteY1497" fmla="*/ 228814 h 2789035"/>
                <a:gd name="connsiteX1498" fmla="*/ 195783 w 2061090"/>
                <a:gd name="connsiteY1498" fmla="*/ 228814 h 2789035"/>
                <a:gd name="connsiteX1499" fmla="*/ 195347 w 2061090"/>
                <a:gd name="connsiteY1499" fmla="*/ 224890 h 2789035"/>
                <a:gd name="connsiteX1500" fmla="*/ 757330 w 2061090"/>
                <a:gd name="connsiteY1500" fmla="*/ 226416 h 2789035"/>
                <a:gd name="connsiteX1501" fmla="*/ 751882 w 2061090"/>
                <a:gd name="connsiteY1501" fmla="*/ 219222 h 2789035"/>
                <a:gd name="connsiteX1502" fmla="*/ 749703 w 2061090"/>
                <a:gd name="connsiteY1502" fmla="*/ 226634 h 2789035"/>
                <a:gd name="connsiteX1503" fmla="*/ 757330 w 2061090"/>
                <a:gd name="connsiteY1503" fmla="*/ 226416 h 2789035"/>
                <a:gd name="connsiteX1504" fmla="*/ 569712 w 2061090"/>
                <a:gd name="connsiteY1504" fmla="*/ 215080 h 2789035"/>
                <a:gd name="connsiteX1505" fmla="*/ 564482 w 2061090"/>
                <a:gd name="connsiteY1505" fmla="*/ 220530 h 2789035"/>
                <a:gd name="connsiteX1506" fmla="*/ 567751 w 2061090"/>
                <a:gd name="connsiteY1506" fmla="*/ 221184 h 2789035"/>
                <a:gd name="connsiteX1507" fmla="*/ 569712 w 2061090"/>
                <a:gd name="connsiteY1507" fmla="*/ 215080 h 2789035"/>
                <a:gd name="connsiteX1508" fmla="*/ 1455723 w 2061090"/>
                <a:gd name="connsiteY1508" fmla="*/ 205487 h 2789035"/>
                <a:gd name="connsiteX1509" fmla="*/ 1449186 w 2061090"/>
                <a:gd name="connsiteY1509" fmla="*/ 205705 h 2789035"/>
                <a:gd name="connsiteX1510" fmla="*/ 1452673 w 2061090"/>
                <a:gd name="connsiteY1510" fmla="*/ 210938 h 2789035"/>
                <a:gd name="connsiteX1511" fmla="*/ 1455723 w 2061090"/>
                <a:gd name="connsiteY1511" fmla="*/ 205487 h 2789035"/>
                <a:gd name="connsiteX1512" fmla="*/ 629418 w 2061090"/>
                <a:gd name="connsiteY1512" fmla="*/ 196331 h 2789035"/>
                <a:gd name="connsiteX1513" fmla="*/ 626804 w 2061090"/>
                <a:gd name="connsiteY1513" fmla="*/ 193715 h 2789035"/>
                <a:gd name="connsiteX1514" fmla="*/ 623317 w 2061090"/>
                <a:gd name="connsiteY1514" fmla="*/ 197203 h 2789035"/>
                <a:gd name="connsiteX1515" fmla="*/ 629418 w 2061090"/>
                <a:gd name="connsiteY1515" fmla="*/ 196331 h 2789035"/>
                <a:gd name="connsiteX1516" fmla="*/ 1448314 w 2061090"/>
                <a:gd name="connsiteY1516" fmla="*/ 197857 h 2789035"/>
                <a:gd name="connsiteX1517" fmla="*/ 1447879 w 2061090"/>
                <a:gd name="connsiteY1517" fmla="*/ 193715 h 2789035"/>
                <a:gd name="connsiteX1518" fmla="*/ 1441341 w 2061090"/>
                <a:gd name="connsiteY1518" fmla="*/ 197857 h 2789035"/>
                <a:gd name="connsiteX1519" fmla="*/ 1448314 w 2061090"/>
                <a:gd name="connsiteY1519" fmla="*/ 197857 h 2789035"/>
                <a:gd name="connsiteX1520" fmla="*/ 599347 w 2061090"/>
                <a:gd name="connsiteY1520" fmla="*/ 184777 h 2789035"/>
                <a:gd name="connsiteX1521" fmla="*/ 597168 w 2061090"/>
                <a:gd name="connsiteY1521" fmla="*/ 181725 h 2789035"/>
                <a:gd name="connsiteX1522" fmla="*/ 594989 w 2061090"/>
                <a:gd name="connsiteY1522" fmla="*/ 186303 h 2789035"/>
                <a:gd name="connsiteX1523" fmla="*/ 597168 w 2061090"/>
                <a:gd name="connsiteY1523" fmla="*/ 189355 h 2789035"/>
                <a:gd name="connsiteX1524" fmla="*/ 599347 w 2061090"/>
                <a:gd name="connsiteY1524" fmla="*/ 184777 h 2789035"/>
                <a:gd name="connsiteX1525" fmla="*/ 1452237 w 2061090"/>
                <a:gd name="connsiteY1525" fmla="*/ 188047 h 2789035"/>
                <a:gd name="connsiteX1526" fmla="*/ 1448968 w 2061090"/>
                <a:gd name="connsiteY1526" fmla="*/ 182815 h 2789035"/>
                <a:gd name="connsiteX1527" fmla="*/ 1444828 w 2061090"/>
                <a:gd name="connsiteY1527" fmla="*/ 186085 h 2789035"/>
                <a:gd name="connsiteX1528" fmla="*/ 1452237 w 2061090"/>
                <a:gd name="connsiteY1528" fmla="*/ 188047 h 2789035"/>
                <a:gd name="connsiteX1529" fmla="*/ 626368 w 2061090"/>
                <a:gd name="connsiteY1529" fmla="*/ 183687 h 2789035"/>
                <a:gd name="connsiteX1530" fmla="*/ 626586 w 2061090"/>
                <a:gd name="connsiteY1530" fmla="*/ 178891 h 2789035"/>
                <a:gd name="connsiteX1531" fmla="*/ 620266 w 2061090"/>
                <a:gd name="connsiteY1531" fmla="*/ 185213 h 2789035"/>
                <a:gd name="connsiteX1532" fmla="*/ 626368 w 2061090"/>
                <a:gd name="connsiteY1532" fmla="*/ 183687 h 2789035"/>
                <a:gd name="connsiteX1533" fmla="*/ 651645 w 2061090"/>
                <a:gd name="connsiteY1533" fmla="*/ 173876 h 2789035"/>
                <a:gd name="connsiteX1534" fmla="*/ 649466 w 2061090"/>
                <a:gd name="connsiteY1534" fmla="*/ 168644 h 2789035"/>
                <a:gd name="connsiteX1535" fmla="*/ 648594 w 2061090"/>
                <a:gd name="connsiteY1535" fmla="*/ 164938 h 2789035"/>
                <a:gd name="connsiteX1536" fmla="*/ 653170 w 2061090"/>
                <a:gd name="connsiteY1536" fmla="*/ 166682 h 2789035"/>
                <a:gd name="connsiteX1537" fmla="*/ 658400 w 2061090"/>
                <a:gd name="connsiteY1537" fmla="*/ 167554 h 2789035"/>
                <a:gd name="connsiteX1538" fmla="*/ 657093 w 2061090"/>
                <a:gd name="connsiteY1538" fmla="*/ 150768 h 2789035"/>
                <a:gd name="connsiteX1539" fmla="*/ 662105 w 2061090"/>
                <a:gd name="connsiteY1539" fmla="*/ 151204 h 2789035"/>
                <a:gd name="connsiteX1540" fmla="*/ 671257 w 2061090"/>
                <a:gd name="connsiteY1540" fmla="*/ 153384 h 2789035"/>
                <a:gd name="connsiteX1541" fmla="*/ 681280 w 2061090"/>
                <a:gd name="connsiteY1541" fmla="*/ 159924 h 2789035"/>
                <a:gd name="connsiteX1542" fmla="*/ 688689 w 2061090"/>
                <a:gd name="connsiteY1542" fmla="*/ 169298 h 2789035"/>
                <a:gd name="connsiteX1543" fmla="*/ 691740 w 2061090"/>
                <a:gd name="connsiteY1543" fmla="*/ 157090 h 2789035"/>
                <a:gd name="connsiteX1544" fmla="*/ 690650 w 2061090"/>
                <a:gd name="connsiteY1544" fmla="*/ 149460 h 2789035"/>
                <a:gd name="connsiteX1545" fmla="*/ 688689 w 2061090"/>
                <a:gd name="connsiteY1545" fmla="*/ 142483 h 2789035"/>
                <a:gd name="connsiteX1546" fmla="*/ 688689 w 2061090"/>
                <a:gd name="connsiteY1546" fmla="*/ 134635 h 2789035"/>
                <a:gd name="connsiteX1547" fmla="*/ 684985 w 2061090"/>
                <a:gd name="connsiteY1547" fmla="*/ 110218 h 2789035"/>
                <a:gd name="connsiteX1548" fmla="*/ 683459 w 2061090"/>
                <a:gd name="connsiteY1548" fmla="*/ 107166 h 2789035"/>
                <a:gd name="connsiteX1549" fmla="*/ 690650 w 2061090"/>
                <a:gd name="connsiteY1549" fmla="*/ 103460 h 2789035"/>
                <a:gd name="connsiteX1550" fmla="*/ 691086 w 2061090"/>
                <a:gd name="connsiteY1550" fmla="*/ 94522 h 2789035"/>
                <a:gd name="connsiteX1551" fmla="*/ 679973 w 2061090"/>
                <a:gd name="connsiteY1551" fmla="*/ 96048 h 2789035"/>
                <a:gd name="connsiteX1552" fmla="*/ 672346 w 2061090"/>
                <a:gd name="connsiteY1552" fmla="*/ 104332 h 2789035"/>
                <a:gd name="connsiteX1553" fmla="*/ 664719 w 2061090"/>
                <a:gd name="connsiteY1553" fmla="*/ 114796 h 2789035"/>
                <a:gd name="connsiteX1554" fmla="*/ 655785 w 2061090"/>
                <a:gd name="connsiteY1554" fmla="*/ 119593 h 2789035"/>
                <a:gd name="connsiteX1555" fmla="*/ 648376 w 2061090"/>
                <a:gd name="connsiteY1555" fmla="*/ 112834 h 2789035"/>
                <a:gd name="connsiteX1556" fmla="*/ 644890 w 2061090"/>
                <a:gd name="connsiteY1556" fmla="*/ 107166 h 2789035"/>
                <a:gd name="connsiteX1557" fmla="*/ 635956 w 2061090"/>
                <a:gd name="connsiteY1557" fmla="*/ 108692 h 2789035"/>
                <a:gd name="connsiteX1558" fmla="*/ 632033 w 2061090"/>
                <a:gd name="connsiteY1558" fmla="*/ 110872 h 2789035"/>
                <a:gd name="connsiteX1559" fmla="*/ 636391 w 2061090"/>
                <a:gd name="connsiteY1559" fmla="*/ 113052 h 2789035"/>
                <a:gd name="connsiteX1560" fmla="*/ 640750 w 2061090"/>
                <a:gd name="connsiteY1560" fmla="*/ 114360 h 2789035"/>
                <a:gd name="connsiteX1561" fmla="*/ 636391 w 2061090"/>
                <a:gd name="connsiteY1561" fmla="*/ 121119 h 2789035"/>
                <a:gd name="connsiteX1562" fmla="*/ 632033 w 2061090"/>
                <a:gd name="connsiteY1562" fmla="*/ 132237 h 2789035"/>
                <a:gd name="connsiteX1563" fmla="*/ 636609 w 2061090"/>
                <a:gd name="connsiteY1563" fmla="*/ 133545 h 2789035"/>
                <a:gd name="connsiteX1564" fmla="*/ 643147 w 2061090"/>
                <a:gd name="connsiteY1564" fmla="*/ 133327 h 2789035"/>
                <a:gd name="connsiteX1565" fmla="*/ 648594 w 2061090"/>
                <a:gd name="connsiteY1565" fmla="*/ 137033 h 2789035"/>
                <a:gd name="connsiteX1566" fmla="*/ 650338 w 2061090"/>
                <a:gd name="connsiteY1566" fmla="*/ 142701 h 2789035"/>
                <a:gd name="connsiteX1567" fmla="*/ 651863 w 2061090"/>
                <a:gd name="connsiteY1567" fmla="*/ 150550 h 2789035"/>
                <a:gd name="connsiteX1568" fmla="*/ 652299 w 2061090"/>
                <a:gd name="connsiteY1568" fmla="*/ 153820 h 2789035"/>
                <a:gd name="connsiteX1569" fmla="*/ 649466 w 2061090"/>
                <a:gd name="connsiteY1569" fmla="*/ 157962 h 2789035"/>
                <a:gd name="connsiteX1570" fmla="*/ 646633 w 2061090"/>
                <a:gd name="connsiteY1570" fmla="*/ 161014 h 2789035"/>
                <a:gd name="connsiteX1571" fmla="*/ 639878 w 2061090"/>
                <a:gd name="connsiteY1571" fmla="*/ 163848 h 2789035"/>
                <a:gd name="connsiteX1572" fmla="*/ 643582 w 2061090"/>
                <a:gd name="connsiteY1572" fmla="*/ 180199 h 2789035"/>
                <a:gd name="connsiteX1573" fmla="*/ 651645 w 2061090"/>
                <a:gd name="connsiteY1573" fmla="*/ 173876 h 2789035"/>
                <a:gd name="connsiteX1574" fmla="*/ 632033 w 2061090"/>
                <a:gd name="connsiteY1574" fmla="*/ 171696 h 2789035"/>
                <a:gd name="connsiteX1575" fmla="*/ 629854 w 2061090"/>
                <a:gd name="connsiteY1575" fmla="*/ 170824 h 2789035"/>
                <a:gd name="connsiteX1576" fmla="*/ 627675 w 2061090"/>
                <a:gd name="connsiteY1576" fmla="*/ 174312 h 2789035"/>
                <a:gd name="connsiteX1577" fmla="*/ 629854 w 2061090"/>
                <a:gd name="connsiteY1577" fmla="*/ 175184 h 2789035"/>
                <a:gd name="connsiteX1578" fmla="*/ 632033 w 2061090"/>
                <a:gd name="connsiteY1578" fmla="*/ 171696 h 2789035"/>
                <a:gd name="connsiteX1579" fmla="*/ 786094 w 2061090"/>
                <a:gd name="connsiteY1579" fmla="*/ 171478 h 2789035"/>
                <a:gd name="connsiteX1580" fmla="*/ 784786 w 2061090"/>
                <a:gd name="connsiteY1580" fmla="*/ 172786 h 2789035"/>
                <a:gd name="connsiteX1581" fmla="*/ 785876 w 2061090"/>
                <a:gd name="connsiteY1581" fmla="*/ 175620 h 2789035"/>
                <a:gd name="connsiteX1582" fmla="*/ 786094 w 2061090"/>
                <a:gd name="connsiteY1582" fmla="*/ 171478 h 2789035"/>
                <a:gd name="connsiteX1583" fmla="*/ 1456595 w 2061090"/>
                <a:gd name="connsiteY1583" fmla="*/ 170606 h 2789035"/>
                <a:gd name="connsiteX1584" fmla="*/ 1453980 w 2061090"/>
                <a:gd name="connsiteY1584" fmla="*/ 166028 h 2789035"/>
                <a:gd name="connsiteX1585" fmla="*/ 1447443 w 2061090"/>
                <a:gd name="connsiteY1585" fmla="*/ 169734 h 2789035"/>
                <a:gd name="connsiteX1586" fmla="*/ 1444828 w 2061090"/>
                <a:gd name="connsiteY1586" fmla="*/ 171914 h 2789035"/>
                <a:gd name="connsiteX1587" fmla="*/ 1456595 w 2061090"/>
                <a:gd name="connsiteY1587" fmla="*/ 170606 h 2789035"/>
                <a:gd name="connsiteX1588" fmla="*/ 638788 w 2061090"/>
                <a:gd name="connsiteY1588" fmla="*/ 156000 h 2789035"/>
                <a:gd name="connsiteX1589" fmla="*/ 632687 w 2061090"/>
                <a:gd name="connsiteY1589" fmla="*/ 141829 h 2789035"/>
                <a:gd name="connsiteX1590" fmla="*/ 627021 w 2061090"/>
                <a:gd name="connsiteY1590" fmla="*/ 160142 h 2789035"/>
                <a:gd name="connsiteX1591" fmla="*/ 632251 w 2061090"/>
                <a:gd name="connsiteY1591" fmla="*/ 164720 h 2789035"/>
                <a:gd name="connsiteX1592" fmla="*/ 638788 w 2061090"/>
                <a:gd name="connsiteY1592" fmla="*/ 156000 h 2789035"/>
                <a:gd name="connsiteX1593" fmla="*/ 1375098 w 2061090"/>
                <a:gd name="connsiteY1593" fmla="*/ 141393 h 2789035"/>
                <a:gd name="connsiteX1594" fmla="*/ 1373136 w 2061090"/>
                <a:gd name="connsiteY1594" fmla="*/ 139213 h 2789035"/>
                <a:gd name="connsiteX1595" fmla="*/ 1369650 w 2061090"/>
                <a:gd name="connsiteY1595" fmla="*/ 141393 h 2789035"/>
                <a:gd name="connsiteX1596" fmla="*/ 1371611 w 2061090"/>
                <a:gd name="connsiteY1596" fmla="*/ 143573 h 2789035"/>
                <a:gd name="connsiteX1597" fmla="*/ 1375098 w 2061090"/>
                <a:gd name="connsiteY1597" fmla="*/ 141393 h 2789035"/>
                <a:gd name="connsiteX1598" fmla="*/ 1453544 w 2061090"/>
                <a:gd name="connsiteY1598" fmla="*/ 124607 h 2789035"/>
                <a:gd name="connsiteX1599" fmla="*/ 1454198 w 2061090"/>
                <a:gd name="connsiteY1599" fmla="*/ 113706 h 2789035"/>
                <a:gd name="connsiteX1600" fmla="*/ 1448968 w 2061090"/>
                <a:gd name="connsiteY1600" fmla="*/ 115886 h 2789035"/>
                <a:gd name="connsiteX1601" fmla="*/ 1445264 w 2061090"/>
                <a:gd name="connsiteY1601" fmla="*/ 125479 h 2789035"/>
                <a:gd name="connsiteX1602" fmla="*/ 1447225 w 2061090"/>
                <a:gd name="connsiteY1602" fmla="*/ 132673 h 2789035"/>
                <a:gd name="connsiteX1603" fmla="*/ 1453544 w 2061090"/>
                <a:gd name="connsiteY1603" fmla="*/ 124607 h 2789035"/>
                <a:gd name="connsiteX1604" fmla="*/ 705032 w 2061090"/>
                <a:gd name="connsiteY1604" fmla="*/ 121773 h 2789035"/>
                <a:gd name="connsiteX1605" fmla="*/ 704161 w 2061090"/>
                <a:gd name="connsiteY1605" fmla="*/ 119593 h 2789035"/>
                <a:gd name="connsiteX1606" fmla="*/ 701764 w 2061090"/>
                <a:gd name="connsiteY1606" fmla="*/ 121773 h 2789035"/>
                <a:gd name="connsiteX1607" fmla="*/ 702635 w 2061090"/>
                <a:gd name="connsiteY1607" fmla="*/ 123953 h 2789035"/>
                <a:gd name="connsiteX1608" fmla="*/ 705032 w 2061090"/>
                <a:gd name="connsiteY1608" fmla="*/ 121773 h 2789035"/>
                <a:gd name="connsiteX1609" fmla="*/ 1375098 w 2061090"/>
                <a:gd name="connsiteY1609" fmla="*/ 116322 h 2789035"/>
                <a:gd name="connsiteX1610" fmla="*/ 1372918 w 2061090"/>
                <a:gd name="connsiteY1610" fmla="*/ 113052 h 2789035"/>
                <a:gd name="connsiteX1611" fmla="*/ 1370739 w 2061090"/>
                <a:gd name="connsiteY1611" fmla="*/ 116322 h 2789035"/>
                <a:gd name="connsiteX1612" fmla="*/ 1372918 w 2061090"/>
                <a:gd name="connsiteY1612" fmla="*/ 119593 h 2789035"/>
                <a:gd name="connsiteX1613" fmla="*/ 1375098 w 2061090"/>
                <a:gd name="connsiteY1613" fmla="*/ 116322 h 2789035"/>
                <a:gd name="connsiteX1614" fmla="*/ 315632 w 2061090"/>
                <a:gd name="connsiteY1614" fmla="*/ 112616 h 2789035"/>
                <a:gd name="connsiteX1615" fmla="*/ 309748 w 2061090"/>
                <a:gd name="connsiteY1615" fmla="*/ 111744 h 2789035"/>
                <a:gd name="connsiteX1616" fmla="*/ 315632 w 2061090"/>
                <a:gd name="connsiteY1616" fmla="*/ 117412 h 2789035"/>
                <a:gd name="connsiteX1617" fmla="*/ 315632 w 2061090"/>
                <a:gd name="connsiteY1617" fmla="*/ 112616 h 2789035"/>
                <a:gd name="connsiteX1618" fmla="*/ 1452673 w 2061090"/>
                <a:gd name="connsiteY1618" fmla="*/ 96484 h 2789035"/>
                <a:gd name="connsiteX1619" fmla="*/ 1446571 w 2061090"/>
                <a:gd name="connsiteY1619" fmla="*/ 97138 h 2789035"/>
                <a:gd name="connsiteX1620" fmla="*/ 1443520 w 2061090"/>
                <a:gd name="connsiteY1620" fmla="*/ 105640 h 2789035"/>
                <a:gd name="connsiteX1621" fmla="*/ 1449622 w 2061090"/>
                <a:gd name="connsiteY1621" fmla="*/ 104986 h 2789035"/>
                <a:gd name="connsiteX1622" fmla="*/ 1452673 w 2061090"/>
                <a:gd name="connsiteY1622" fmla="*/ 96484 h 2789035"/>
                <a:gd name="connsiteX1623" fmla="*/ 1291421 w 2061090"/>
                <a:gd name="connsiteY1623" fmla="*/ 98882 h 2789035"/>
                <a:gd name="connsiteX1624" fmla="*/ 1297305 w 2061090"/>
                <a:gd name="connsiteY1624" fmla="*/ 94086 h 2789035"/>
                <a:gd name="connsiteX1625" fmla="*/ 1302752 w 2061090"/>
                <a:gd name="connsiteY1625" fmla="*/ 90816 h 2789035"/>
                <a:gd name="connsiteX1626" fmla="*/ 1299048 w 2061090"/>
                <a:gd name="connsiteY1626" fmla="*/ 86891 h 2789035"/>
                <a:gd name="connsiteX1627" fmla="*/ 1294472 w 2061090"/>
                <a:gd name="connsiteY1627" fmla="*/ 84711 h 2789035"/>
                <a:gd name="connsiteX1628" fmla="*/ 1292293 w 2061090"/>
                <a:gd name="connsiteY1628" fmla="*/ 82531 h 2789035"/>
                <a:gd name="connsiteX1629" fmla="*/ 1290114 w 2061090"/>
                <a:gd name="connsiteY1629" fmla="*/ 85801 h 2789035"/>
                <a:gd name="connsiteX1630" fmla="*/ 1287063 w 2061090"/>
                <a:gd name="connsiteY1630" fmla="*/ 89071 h 2789035"/>
                <a:gd name="connsiteX1631" fmla="*/ 1282269 w 2061090"/>
                <a:gd name="connsiteY1631" fmla="*/ 99100 h 2789035"/>
                <a:gd name="connsiteX1632" fmla="*/ 1291421 w 2061090"/>
                <a:gd name="connsiteY1632" fmla="*/ 98882 h 2789035"/>
                <a:gd name="connsiteX1633" fmla="*/ 638571 w 2061090"/>
                <a:gd name="connsiteY1633" fmla="*/ 94522 h 2789035"/>
                <a:gd name="connsiteX1634" fmla="*/ 640750 w 2061090"/>
                <a:gd name="connsiteY1634" fmla="*/ 89071 h 2789035"/>
                <a:gd name="connsiteX1635" fmla="*/ 642929 w 2061090"/>
                <a:gd name="connsiteY1635" fmla="*/ 93432 h 2789035"/>
                <a:gd name="connsiteX1636" fmla="*/ 645108 w 2061090"/>
                <a:gd name="connsiteY1636" fmla="*/ 97792 h 2789035"/>
                <a:gd name="connsiteX1637" fmla="*/ 647287 w 2061090"/>
                <a:gd name="connsiteY1637" fmla="*/ 89071 h 2789035"/>
                <a:gd name="connsiteX1638" fmla="*/ 642057 w 2061090"/>
                <a:gd name="connsiteY1638" fmla="*/ 81877 h 2789035"/>
                <a:gd name="connsiteX1639" fmla="*/ 631815 w 2061090"/>
                <a:gd name="connsiteY1639" fmla="*/ 82749 h 2789035"/>
                <a:gd name="connsiteX1640" fmla="*/ 616780 w 2061090"/>
                <a:gd name="connsiteY1640" fmla="*/ 91688 h 2789035"/>
                <a:gd name="connsiteX1641" fmla="*/ 620920 w 2061090"/>
                <a:gd name="connsiteY1641" fmla="*/ 94522 h 2789035"/>
                <a:gd name="connsiteX1642" fmla="*/ 628111 w 2061090"/>
                <a:gd name="connsiteY1642" fmla="*/ 96484 h 2789035"/>
                <a:gd name="connsiteX1643" fmla="*/ 638571 w 2061090"/>
                <a:gd name="connsiteY1643" fmla="*/ 94522 h 2789035"/>
                <a:gd name="connsiteX1644" fmla="*/ 1244353 w 2061090"/>
                <a:gd name="connsiteY1644" fmla="*/ 97138 h 2789035"/>
                <a:gd name="connsiteX1645" fmla="*/ 1251326 w 2061090"/>
                <a:gd name="connsiteY1645" fmla="*/ 88635 h 2789035"/>
                <a:gd name="connsiteX1646" fmla="*/ 1266362 w 2061090"/>
                <a:gd name="connsiteY1646" fmla="*/ 82967 h 2789035"/>
                <a:gd name="connsiteX1647" fmla="*/ 1282269 w 2061090"/>
                <a:gd name="connsiteY1647" fmla="*/ 78389 h 2789035"/>
                <a:gd name="connsiteX1648" fmla="*/ 1289896 w 2061090"/>
                <a:gd name="connsiteY1648" fmla="*/ 73811 h 2789035"/>
                <a:gd name="connsiteX1649" fmla="*/ 1291639 w 2061090"/>
                <a:gd name="connsiteY1649" fmla="*/ 71195 h 2789035"/>
                <a:gd name="connsiteX1650" fmla="*/ 1284666 w 2061090"/>
                <a:gd name="connsiteY1650" fmla="*/ 68361 h 2789035"/>
                <a:gd name="connsiteX1651" fmla="*/ 1276168 w 2061090"/>
                <a:gd name="connsiteY1651" fmla="*/ 64437 h 2789035"/>
                <a:gd name="connsiteX1652" fmla="*/ 1278782 w 2061090"/>
                <a:gd name="connsiteY1652" fmla="*/ 56370 h 2789035"/>
                <a:gd name="connsiteX1653" fmla="*/ 1297087 w 2061090"/>
                <a:gd name="connsiteY1653" fmla="*/ 73811 h 2789035"/>
                <a:gd name="connsiteX1654" fmla="*/ 1306021 w 2061090"/>
                <a:gd name="connsiteY1654" fmla="*/ 82967 h 2789035"/>
                <a:gd name="connsiteX1655" fmla="*/ 1311904 w 2061090"/>
                <a:gd name="connsiteY1655" fmla="*/ 87981 h 2789035"/>
                <a:gd name="connsiteX1656" fmla="*/ 1318224 w 2061090"/>
                <a:gd name="connsiteY1656" fmla="*/ 87763 h 2789035"/>
                <a:gd name="connsiteX1657" fmla="*/ 1326068 w 2061090"/>
                <a:gd name="connsiteY1657" fmla="*/ 82967 h 2789035"/>
                <a:gd name="connsiteX1658" fmla="*/ 1329991 w 2061090"/>
                <a:gd name="connsiteY1658" fmla="*/ 78171 h 2789035"/>
                <a:gd name="connsiteX1659" fmla="*/ 1333477 w 2061090"/>
                <a:gd name="connsiteY1659" fmla="*/ 70541 h 2789035"/>
                <a:gd name="connsiteX1660" fmla="*/ 1339143 w 2061090"/>
                <a:gd name="connsiteY1660" fmla="*/ 52882 h 2789035"/>
                <a:gd name="connsiteX1661" fmla="*/ 1333913 w 2061090"/>
                <a:gd name="connsiteY1661" fmla="*/ 45470 h 2789035"/>
                <a:gd name="connsiteX1662" fmla="*/ 1331952 w 2061090"/>
                <a:gd name="connsiteY1662" fmla="*/ 51356 h 2789035"/>
                <a:gd name="connsiteX1663" fmla="*/ 1327594 w 2061090"/>
                <a:gd name="connsiteY1663" fmla="*/ 60948 h 2789035"/>
                <a:gd name="connsiteX1664" fmla="*/ 1321492 w 2061090"/>
                <a:gd name="connsiteY1664" fmla="*/ 69233 h 2789035"/>
                <a:gd name="connsiteX1665" fmla="*/ 1315391 w 2061090"/>
                <a:gd name="connsiteY1665" fmla="*/ 75337 h 2789035"/>
                <a:gd name="connsiteX1666" fmla="*/ 1312994 w 2061090"/>
                <a:gd name="connsiteY1666" fmla="*/ 66399 h 2789035"/>
                <a:gd name="connsiteX1667" fmla="*/ 1309943 w 2061090"/>
                <a:gd name="connsiteY1667" fmla="*/ 57460 h 2789035"/>
                <a:gd name="connsiteX1668" fmla="*/ 1301445 w 2061090"/>
                <a:gd name="connsiteY1668" fmla="*/ 57242 h 2789035"/>
                <a:gd name="connsiteX1669" fmla="*/ 1293382 w 2061090"/>
                <a:gd name="connsiteY1669" fmla="*/ 50920 h 2789035"/>
                <a:gd name="connsiteX1670" fmla="*/ 1289242 w 2061090"/>
                <a:gd name="connsiteY1670" fmla="*/ 43072 h 2789035"/>
                <a:gd name="connsiteX1671" fmla="*/ 1296215 w 2061090"/>
                <a:gd name="connsiteY1671" fmla="*/ 36750 h 2789035"/>
                <a:gd name="connsiteX1672" fmla="*/ 1301009 w 2061090"/>
                <a:gd name="connsiteY1672" fmla="*/ 19309 h 2789035"/>
                <a:gd name="connsiteX1673" fmla="*/ 1298830 w 2061090"/>
                <a:gd name="connsiteY1673" fmla="*/ 14949 h 2789035"/>
                <a:gd name="connsiteX1674" fmla="*/ 1295561 w 2061090"/>
                <a:gd name="connsiteY1674" fmla="*/ 10589 h 2789035"/>
                <a:gd name="connsiteX1675" fmla="*/ 1290767 w 2061090"/>
                <a:gd name="connsiteY1675" fmla="*/ 25849 h 2789035"/>
                <a:gd name="connsiteX1676" fmla="*/ 1289242 w 2061090"/>
                <a:gd name="connsiteY1676" fmla="*/ 33698 h 2789035"/>
                <a:gd name="connsiteX1677" fmla="*/ 1281833 w 2061090"/>
                <a:gd name="connsiteY1677" fmla="*/ 34788 h 2789035"/>
                <a:gd name="connsiteX1678" fmla="*/ 1278347 w 2061090"/>
                <a:gd name="connsiteY1678" fmla="*/ 38712 h 2789035"/>
                <a:gd name="connsiteX1679" fmla="*/ 1270284 w 2061090"/>
                <a:gd name="connsiteY1679" fmla="*/ 56370 h 2789035"/>
                <a:gd name="connsiteX1680" fmla="*/ 1270720 w 2061090"/>
                <a:gd name="connsiteY1680" fmla="*/ 40892 h 2789035"/>
                <a:gd name="connsiteX1681" fmla="*/ 1269630 w 2061090"/>
                <a:gd name="connsiteY1681" fmla="*/ 32608 h 2789035"/>
                <a:gd name="connsiteX1682" fmla="*/ 1273335 w 2061090"/>
                <a:gd name="connsiteY1682" fmla="*/ 21053 h 2789035"/>
                <a:gd name="connsiteX1683" fmla="*/ 1280308 w 2061090"/>
                <a:gd name="connsiteY1683" fmla="*/ 14949 h 2789035"/>
                <a:gd name="connsiteX1684" fmla="*/ 1270066 w 2061090"/>
                <a:gd name="connsiteY1684" fmla="*/ 8845 h 2789035"/>
                <a:gd name="connsiteX1685" fmla="*/ 1259171 w 2061090"/>
                <a:gd name="connsiteY1685" fmla="*/ 24759 h 2789035"/>
                <a:gd name="connsiteX1686" fmla="*/ 1260696 w 2061090"/>
                <a:gd name="connsiteY1686" fmla="*/ 38712 h 2789035"/>
                <a:gd name="connsiteX1687" fmla="*/ 1255684 w 2061090"/>
                <a:gd name="connsiteY1687" fmla="*/ 42418 h 2789035"/>
                <a:gd name="connsiteX1688" fmla="*/ 1247622 w 2061090"/>
                <a:gd name="connsiteY1688" fmla="*/ 47432 h 2789035"/>
                <a:gd name="connsiteX1689" fmla="*/ 1252416 w 2061090"/>
                <a:gd name="connsiteY1689" fmla="*/ 57678 h 2789035"/>
                <a:gd name="connsiteX1690" fmla="*/ 1260914 w 2061090"/>
                <a:gd name="connsiteY1690" fmla="*/ 61821 h 2789035"/>
                <a:gd name="connsiteX1691" fmla="*/ 1262875 w 2061090"/>
                <a:gd name="connsiteY1691" fmla="*/ 69451 h 2789035"/>
                <a:gd name="connsiteX1692" fmla="*/ 1237816 w 2061090"/>
                <a:gd name="connsiteY1692" fmla="*/ 95830 h 2789035"/>
                <a:gd name="connsiteX1693" fmla="*/ 1244353 w 2061090"/>
                <a:gd name="connsiteY1693" fmla="*/ 97138 h 2789035"/>
                <a:gd name="connsiteX1694" fmla="*/ 316068 w 2061090"/>
                <a:gd name="connsiteY1694" fmla="*/ 91252 h 2789035"/>
                <a:gd name="connsiteX1695" fmla="*/ 313888 w 2061090"/>
                <a:gd name="connsiteY1695" fmla="*/ 86891 h 2789035"/>
                <a:gd name="connsiteX1696" fmla="*/ 311709 w 2061090"/>
                <a:gd name="connsiteY1696" fmla="*/ 91252 h 2789035"/>
                <a:gd name="connsiteX1697" fmla="*/ 313888 w 2061090"/>
                <a:gd name="connsiteY1697" fmla="*/ 95612 h 2789035"/>
                <a:gd name="connsiteX1698" fmla="*/ 316068 w 2061090"/>
                <a:gd name="connsiteY1698" fmla="*/ 91252 h 2789035"/>
                <a:gd name="connsiteX1699" fmla="*/ 1408873 w 2061090"/>
                <a:gd name="connsiteY1699" fmla="*/ 93650 h 2789035"/>
                <a:gd name="connsiteX1700" fmla="*/ 1407784 w 2061090"/>
                <a:gd name="connsiteY1700" fmla="*/ 90161 h 2789035"/>
                <a:gd name="connsiteX1701" fmla="*/ 1405605 w 2061090"/>
                <a:gd name="connsiteY1701" fmla="*/ 92124 h 2789035"/>
                <a:gd name="connsiteX1702" fmla="*/ 1408873 w 2061090"/>
                <a:gd name="connsiteY1702" fmla="*/ 93650 h 2789035"/>
                <a:gd name="connsiteX1703" fmla="*/ 1457902 w 2061090"/>
                <a:gd name="connsiteY1703" fmla="*/ 82749 h 2789035"/>
                <a:gd name="connsiteX1704" fmla="*/ 1449404 w 2061090"/>
                <a:gd name="connsiteY1704" fmla="*/ 79043 h 2789035"/>
                <a:gd name="connsiteX1705" fmla="*/ 1448532 w 2061090"/>
                <a:gd name="connsiteY1705" fmla="*/ 86455 h 2789035"/>
                <a:gd name="connsiteX1706" fmla="*/ 1453762 w 2061090"/>
                <a:gd name="connsiteY1706" fmla="*/ 88853 h 2789035"/>
                <a:gd name="connsiteX1707" fmla="*/ 1457902 w 2061090"/>
                <a:gd name="connsiteY1707" fmla="*/ 82749 h 2789035"/>
                <a:gd name="connsiteX1708" fmla="*/ 616780 w 2061090"/>
                <a:gd name="connsiteY1708" fmla="*/ 83839 h 2789035"/>
                <a:gd name="connsiteX1709" fmla="*/ 614601 w 2061090"/>
                <a:gd name="connsiteY1709" fmla="*/ 81441 h 2789035"/>
                <a:gd name="connsiteX1710" fmla="*/ 612422 w 2061090"/>
                <a:gd name="connsiteY1710" fmla="*/ 82313 h 2789035"/>
                <a:gd name="connsiteX1711" fmla="*/ 614601 w 2061090"/>
                <a:gd name="connsiteY1711" fmla="*/ 84711 h 2789035"/>
                <a:gd name="connsiteX1712" fmla="*/ 616780 w 2061090"/>
                <a:gd name="connsiteY1712" fmla="*/ 83839 h 2789035"/>
                <a:gd name="connsiteX1713" fmla="*/ 427200 w 2061090"/>
                <a:gd name="connsiteY1713" fmla="*/ 66835 h 2789035"/>
                <a:gd name="connsiteX1714" fmla="*/ 432648 w 2061090"/>
                <a:gd name="connsiteY1714" fmla="*/ 64219 h 2789035"/>
                <a:gd name="connsiteX1715" fmla="*/ 439403 w 2061090"/>
                <a:gd name="connsiteY1715" fmla="*/ 64001 h 2789035"/>
                <a:gd name="connsiteX1716" fmla="*/ 438314 w 2061090"/>
                <a:gd name="connsiteY1716" fmla="*/ 57896 h 2789035"/>
                <a:gd name="connsiteX1717" fmla="*/ 435917 w 2061090"/>
                <a:gd name="connsiteY1717" fmla="*/ 51138 h 2789035"/>
                <a:gd name="connsiteX1718" fmla="*/ 430469 w 2061090"/>
                <a:gd name="connsiteY1718" fmla="*/ 54626 h 2789035"/>
                <a:gd name="connsiteX1719" fmla="*/ 420663 w 2061090"/>
                <a:gd name="connsiteY1719" fmla="*/ 65091 h 2789035"/>
                <a:gd name="connsiteX1720" fmla="*/ 417830 w 2061090"/>
                <a:gd name="connsiteY1720" fmla="*/ 78825 h 2789035"/>
                <a:gd name="connsiteX1721" fmla="*/ 427200 w 2061090"/>
                <a:gd name="connsiteY1721" fmla="*/ 66835 h 2789035"/>
                <a:gd name="connsiteX1722" fmla="*/ 1374226 w 2061090"/>
                <a:gd name="connsiteY1722" fmla="*/ 71195 h 2789035"/>
                <a:gd name="connsiteX1723" fmla="*/ 1381199 w 2061090"/>
                <a:gd name="connsiteY1723" fmla="*/ 58114 h 2789035"/>
                <a:gd name="connsiteX1724" fmla="*/ 1396017 w 2061090"/>
                <a:gd name="connsiteY1724" fmla="*/ 58768 h 2789035"/>
                <a:gd name="connsiteX1725" fmla="*/ 1405605 w 2061090"/>
                <a:gd name="connsiteY1725" fmla="*/ 50702 h 2789035"/>
                <a:gd name="connsiteX1726" fmla="*/ 1400157 w 2061090"/>
                <a:gd name="connsiteY1726" fmla="*/ 40674 h 2789035"/>
                <a:gd name="connsiteX1727" fmla="*/ 1404297 w 2061090"/>
                <a:gd name="connsiteY1727" fmla="*/ 27811 h 2789035"/>
                <a:gd name="connsiteX1728" fmla="*/ 1399067 w 2061090"/>
                <a:gd name="connsiteY1728" fmla="*/ 19309 h 2789035"/>
                <a:gd name="connsiteX1729" fmla="*/ 1384685 w 2061090"/>
                <a:gd name="connsiteY1729" fmla="*/ 19527 h 2789035"/>
                <a:gd name="connsiteX1730" fmla="*/ 1379238 w 2061090"/>
                <a:gd name="connsiteY1730" fmla="*/ 19963 h 2789035"/>
                <a:gd name="connsiteX1731" fmla="*/ 1367253 w 2061090"/>
                <a:gd name="connsiteY1731" fmla="*/ 18873 h 2789035"/>
                <a:gd name="connsiteX1732" fmla="*/ 1358101 w 2061090"/>
                <a:gd name="connsiteY1732" fmla="*/ 16911 h 2789035"/>
                <a:gd name="connsiteX1733" fmla="*/ 1331952 w 2061090"/>
                <a:gd name="connsiteY1733" fmla="*/ 19091 h 2789035"/>
                <a:gd name="connsiteX1734" fmla="*/ 1336528 w 2061090"/>
                <a:gd name="connsiteY1734" fmla="*/ 20617 h 2789035"/>
                <a:gd name="connsiteX1735" fmla="*/ 1349820 w 2061090"/>
                <a:gd name="connsiteY1735" fmla="*/ 28901 h 2789035"/>
                <a:gd name="connsiteX1736" fmla="*/ 1355486 w 2061090"/>
                <a:gd name="connsiteY1736" fmla="*/ 45470 h 2789035"/>
                <a:gd name="connsiteX1737" fmla="*/ 1350692 w 2061090"/>
                <a:gd name="connsiteY1737" fmla="*/ 42200 h 2789035"/>
                <a:gd name="connsiteX1738" fmla="*/ 1339797 w 2061090"/>
                <a:gd name="connsiteY1738" fmla="*/ 34134 h 2789035"/>
                <a:gd name="connsiteX1739" fmla="*/ 1360498 w 2061090"/>
                <a:gd name="connsiteY1739" fmla="*/ 58550 h 2789035"/>
                <a:gd name="connsiteX1740" fmla="*/ 1366381 w 2061090"/>
                <a:gd name="connsiteY1740" fmla="*/ 64655 h 2789035"/>
                <a:gd name="connsiteX1741" fmla="*/ 1370957 w 2061090"/>
                <a:gd name="connsiteY1741" fmla="*/ 75991 h 2789035"/>
                <a:gd name="connsiteX1742" fmla="*/ 1374226 w 2061090"/>
                <a:gd name="connsiteY1742" fmla="*/ 71195 h 2789035"/>
                <a:gd name="connsiteX1743" fmla="*/ 1453326 w 2061090"/>
                <a:gd name="connsiteY1743" fmla="*/ 69451 h 2789035"/>
                <a:gd name="connsiteX1744" fmla="*/ 1457467 w 2061090"/>
                <a:gd name="connsiteY1744" fmla="*/ 63565 h 2789035"/>
                <a:gd name="connsiteX1745" fmla="*/ 1448750 w 2061090"/>
                <a:gd name="connsiteY1745" fmla="*/ 58114 h 2789035"/>
                <a:gd name="connsiteX1746" fmla="*/ 1440470 w 2061090"/>
                <a:gd name="connsiteY1746" fmla="*/ 56806 h 2789035"/>
                <a:gd name="connsiteX1747" fmla="*/ 1435022 w 2061090"/>
                <a:gd name="connsiteY1747" fmla="*/ 51138 h 2789035"/>
                <a:gd name="connsiteX1748" fmla="*/ 1427395 w 2061090"/>
                <a:gd name="connsiteY1748" fmla="*/ 52228 h 2789035"/>
                <a:gd name="connsiteX1749" fmla="*/ 1434586 w 2061090"/>
                <a:gd name="connsiteY1749" fmla="*/ 63347 h 2789035"/>
                <a:gd name="connsiteX1750" fmla="*/ 1438727 w 2061090"/>
                <a:gd name="connsiteY1750" fmla="*/ 67053 h 2789035"/>
                <a:gd name="connsiteX1751" fmla="*/ 1439380 w 2061090"/>
                <a:gd name="connsiteY1751" fmla="*/ 73375 h 2789035"/>
                <a:gd name="connsiteX1752" fmla="*/ 1444392 w 2061090"/>
                <a:gd name="connsiteY1752" fmla="*/ 72939 h 2789035"/>
                <a:gd name="connsiteX1753" fmla="*/ 1453326 w 2061090"/>
                <a:gd name="connsiteY1753" fmla="*/ 69451 h 2789035"/>
                <a:gd name="connsiteX1754" fmla="*/ 649466 w 2061090"/>
                <a:gd name="connsiteY1754" fmla="*/ 65963 h 2789035"/>
                <a:gd name="connsiteX1755" fmla="*/ 647287 w 2061090"/>
                <a:gd name="connsiteY1755" fmla="*/ 64001 h 2789035"/>
                <a:gd name="connsiteX1756" fmla="*/ 645108 w 2061090"/>
                <a:gd name="connsiteY1756" fmla="*/ 67489 h 2789035"/>
                <a:gd name="connsiteX1757" fmla="*/ 647287 w 2061090"/>
                <a:gd name="connsiteY1757" fmla="*/ 69451 h 2789035"/>
                <a:gd name="connsiteX1758" fmla="*/ 649466 w 2061090"/>
                <a:gd name="connsiteY1758" fmla="*/ 65963 h 2789035"/>
                <a:gd name="connsiteX1759" fmla="*/ 1250890 w 2061090"/>
                <a:gd name="connsiteY1759" fmla="*/ 65963 h 2789035"/>
                <a:gd name="connsiteX1760" fmla="*/ 1248711 w 2061090"/>
                <a:gd name="connsiteY1760" fmla="*/ 64001 h 2789035"/>
                <a:gd name="connsiteX1761" fmla="*/ 1246532 w 2061090"/>
                <a:gd name="connsiteY1761" fmla="*/ 67489 h 2789035"/>
                <a:gd name="connsiteX1762" fmla="*/ 1248711 w 2061090"/>
                <a:gd name="connsiteY1762" fmla="*/ 69451 h 2789035"/>
                <a:gd name="connsiteX1763" fmla="*/ 1250890 w 2061090"/>
                <a:gd name="connsiteY1763" fmla="*/ 65963 h 2789035"/>
                <a:gd name="connsiteX1764" fmla="*/ 450298 w 2061090"/>
                <a:gd name="connsiteY1764" fmla="*/ 54844 h 2789035"/>
                <a:gd name="connsiteX1765" fmla="*/ 451388 w 2061090"/>
                <a:gd name="connsiteY1765" fmla="*/ 50266 h 2789035"/>
                <a:gd name="connsiteX1766" fmla="*/ 442454 w 2061090"/>
                <a:gd name="connsiteY1766" fmla="*/ 55280 h 2789035"/>
                <a:gd name="connsiteX1767" fmla="*/ 450298 w 2061090"/>
                <a:gd name="connsiteY1767" fmla="*/ 54844 h 2789035"/>
                <a:gd name="connsiteX1768" fmla="*/ 662540 w 2061090"/>
                <a:gd name="connsiteY1768" fmla="*/ 55280 h 2789035"/>
                <a:gd name="connsiteX1769" fmla="*/ 659490 w 2061090"/>
                <a:gd name="connsiteY1769" fmla="*/ 52010 h 2789035"/>
                <a:gd name="connsiteX1770" fmla="*/ 656439 w 2061090"/>
                <a:gd name="connsiteY1770" fmla="*/ 57024 h 2789035"/>
                <a:gd name="connsiteX1771" fmla="*/ 662540 w 2061090"/>
                <a:gd name="connsiteY1771" fmla="*/ 55280 h 2789035"/>
                <a:gd name="connsiteX1772" fmla="*/ 1327158 w 2061090"/>
                <a:gd name="connsiteY1772" fmla="*/ 54844 h 2789035"/>
                <a:gd name="connsiteX1773" fmla="*/ 1322582 w 2061090"/>
                <a:gd name="connsiteY1773" fmla="*/ 46342 h 2789035"/>
                <a:gd name="connsiteX1774" fmla="*/ 1320403 w 2061090"/>
                <a:gd name="connsiteY1774" fmla="*/ 36968 h 2789035"/>
                <a:gd name="connsiteX1775" fmla="*/ 1321492 w 2061090"/>
                <a:gd name="connsiteY1775" fmla="*/ 27157 h 2789035"/>
                <a:gd name="connsiteX1776" fmla="*/ 1324761 w 2061090"/>
                <a:gd name="connsiteY1776" fmla="*/ 19309 h 2789035"/>
                <a:gd name="connsiteX1777" fmla="*/ 1329337 w 2061090"/>
                <a:gd name="connsiteY1777" fmla="*/ 13859 h 2789035"/>
                <a:gd name="connsiteX1778" fmla="*/ 1319313 w 2061090"/>
                <a:gd name="connsiteY1778" fmla="*/ 12333 h 2789035"/>
                <a:gd name="connsiteX1779" fmla="*/ 1309725 w 2061090"/>
                <a:gd name="connsiteY1779" fmla="*/ 29337 h 2789035"/>
                <a:gd name="connsiteX1780" fmla="*/ 1305367 w 2061090"/>
                <a:gd name="connsiteY1780" fmla="*/ 39584 h 2789035"/>
                <a:gd name="connsiteX1781" fmla="*/ 1303842 w 2061090"/>
                <a:gd name="connsiteY1781" fmla="*/ 49176 h 2789035"/>
                <a:gd name="connsiteX1782" fmla="*/ 1310161 w 2061090"/>
                <a:gd name="connsiteY1782" fmla="*/ 46560 h 2789035"/>
                <a:gd name="connsiteX1783" fmla="*/ 1315391 w 2061090"/>
                <a:gd name="connsiteY1783" fmla="*/ 48958 h 2789035"/>
                <a:gd name="connsiteX1784" fmla="*/ 1327158 w 2061090"/>
                <a:gd name="connsiteY1784" fmla="*/ 54844 h 2789035"/>
                <a:gd name="connsiteX1785" fmla="*/ 283381 w 2061090"/>
                <a:gd name="connsiteY1785" fmla="*/ 50048 h 2789035"/>
                <a:gd name="connsiteX1786" fmla="*/ 277498 w 2061090"/>
                <a:gd name="connsiteY1786" fmla="*/ 46124 h 2789035"/>
                <a:gd name="connsiteX1787" fmla="*/ 281420 w 2061090"/>
                <a:gd name="connsiteY1787" fmla="*/ 52010 h 2789035"/>
                <a:gd name="connsiteX1788" fmla="*/ 283381 w 2061090"/>
                <a:gd name="connsiteY1788" fmla="*/ 50048 h 2789035"/>
                <a:gd name="connsiteX1789" fmla="*/ 1237380 w 2061090"/>
                <a:gd name="connsiteY1789" fmla="*/ 46124 h 2789035"/>
                <a:gd name="connsiteX1790" fmla="*/ 1226921 w 2061090"/>
                <a:gd name="connsiteY1790" fmla="*/ 42636 h 2789035"/>
                <a:gd name="connsiteX1791" fmla="*/ 1235201 w 2061090"/>
                <a:gd name="connsiteY1791" fmla="*/ 52010 h 2789035"/>
                <a:gd name="connsiteX1792" fmla="*/ 1237380 w 2061090"/>
                <a:gd name="connsiteY1792" fmla="*/ 46124 h 2789035"/>
                <a:gd name="connsiteX1793" fmla="*/ 620048 w 2061090"/>
                <a:gd name="connsiteY1793" fmla="*/ 47650 h 2789035"/>
                <a:gd name="connsiteX1794" fmla="*/ 618087 w 2061090"/>
                <a:gd name="connsiteY1794" fmla="*/ 45470 h 2789035"/>
                <a:gd name="connsiteX1795" fmla="*/ 614601 w 2061090"/>
                <a:gd name="connsiteY1795" fmla="*/ 47650 h 2789035"/>
                <a:gd name="connsiteX1796" fmla="*/ 616562 w 2061090"/>
                <a:gd name="connsiteY1796" fmla="*/ 49830 h 2789035"/>
                <a:gd name="connsiteX1797" fmla="*/ 620048 w 2061090"/>
                <a:gd name="connsiteY1797" fmla="*/ 47650 h 2789035"/>
                <a:gd name="connsiteX1798" fmla="*/ 1133220 w 2061090"/>
                <a:gd name="connsiteY1798" fmla="*/ 48958 h 2789035"/>
                <a:gd name="connsiteX1799" fmla="*/ 1131041 w 2061090"/>
                <a:gd name="connsiteY1799" fmla="*/ 46560 h 2789035"/>
                <a:gd name="connsiteX1800" fmla="*/ 1128862 w 2061090"/>
                <a:gd name="connsiteY1800" fmla="*/ 47432 h 2789035"/>
                <a:gd name="connsiteX1801" fmla="*/ 1131041 w 2061090"/>
                <a:gd name="connsiteY1801" fmla="*/ 49830 h 2789035"/>
                <a:gd name="connsiteX1802" fmla="*/ 1133220 w 2061090"/>
                <a:gd name="connsiteY1802" fmla="*/ 48958 h 2789035"/>
                <a:gd name="connsiteX1803" fmla="*/ 1447879 w 2061090"/>
                <a:gd name="connsiteY1803" fmla="*/ 46560 h 2789035"/>
                <a:gd name="connsiteX1804" fmla="*/ 1449186 w 2061090"/>
                <a:gd name="connsiteY1804" fmla="*/ 40020 h 2789035"/>
                <a:gd name="connsiteX1805" fmla="*/ 1443956 w 2061090"/>
                <a:gd name="connsiteY1805" fmla="*/ 36750 h 2789035"/>
                <a:gd name="connsiteX1806" fmla="*/ 1437637 w 2061090"/>
                <a:gd name="connsiteY1806" fmla="*/ 32389 h 2789035"/>
                <a:gd name="connsiteX1807" fmla="*/ 1413449 w 2061090"/>
                <a:gd name="connsiteY1807" fmla="*/ 37186 h 2789035"/>
                <a:gd name="connsiteX1808" fmla="*/ 1418243 w 2061090"/>
                <a:gd name="connsiteY1808" fmla="*/ 42636 h 2789035"/>
                <a:gd name="connsiteX1809" fmla="*/ 1431971 w 2061090"/>
                <a:gd name="connsiteY1809" fmla="*/ 44162 h 2789035"/>
                <a:gd name="connsiteX1810" fmla="*/ 1447879 w 2061090"/>
                <a:gd name="connsiteY1810" fmla="*/ 46560 h 2789035"/>
                <a:gd name="connsiteX1811" fmla="*/ 271179 w 2061090"/>
                <a:gd name="connsiteY1811" fmla="*/ 42200 h 2789035"/>
                <a:gd name="connsiteX1812" fmla="*/ 265731 w 2061090"/>
                <a:gd name="connsiteY1812" fmla="*/ 28029 h 2789035"/>
                <a:gd name="connsiteX1813" fmla="*/ 262680 w 2061090"/>
                <a:gd name="connsiteY1813" fmla="*/ 30209 h 2789035"/>
                <a:gd name="connsiteX1814" fmla="*/ 255925 w 2061090"/>
                <a:gd name="connsiteY1814" fmla="*/ 32389 h 2789035"/>
                <a:gd name="connsiteX1815" fmla="*/ 255925 w 2061090"/>
                <a:gd name="connsiteY1815" fmla="*/ 38930 h 2789035"/>
                <a:gd name="connsiteX1816" fmla="*/ 262680 w 2061090"/>
                <a:gd name="connsiteY1816" fmla="*/ 43072 h 2789035"/>
                <a:gd name="connsiteX1817" fmla="*/ 271179 w 2061090"/>
                <a:gd name="connsiteY1817" fmla="*/ 42200 h 2789035"/>
                <a:gd name="connsiteX1818" fmla="*/ 453349 w 2061090"/>
                <a:gd name="connsiteY1818" fmla="*/ 43290 h 2789035"/>
                <a:gd name="connsiteX1819" fmla="*/ 451170 w 2061090"/>
                <a:gd name="connsiteY1819" fmla="*/ 41110 h 2789035"/>
                <a:gd name="connsiteX1820" fmla="*/ 448991 w 2061090"/>
                <a:gd name="connsiteY1820" fmla="*/ 43290 h 2789035"/>
                <a:gd name="connsiteX1821" fmla="*/ 451170 w 2061090"/>
                <a:gd name="connsiteY1821" fmla="*/ 45470 h 2789035"/>
                <a:gd name="connsiteX1822" fmla="*/ 453349 w 2061090"/>
                <a:gd name="connsiteY1822" fmla="*/ 43290 h 2789035"/>
                <a:gd name="connsiteX1823" fmla="*/ 483856 w 2061090"/>
                <a:gd name="connsiteY1823" fmla="*/ 35442 h 2789035"/>
                <a:gd name="connsiteX1824" fmla="*/ 481677 w 2061090"/>
                <a:gd name="connsiteY1824" fmla="*/ 33480 h 2789035"/>
                <a:gd name="connsiteX1825" fmla="*/ 480588 w 2061090"/>
                <a:gd name="connsiteY1825" fmla="*/ 36968 h 2789035"/>
                <a:gd name="connsiteX1826" fmla="*/ 483856 w 2061090"/>
                <a:gd name="connsiteY1826" fmla="*/ 35442 h 2789035"/>
                <a:gd name="connsiteX1827" fmla="*/ 1247404 w 2061090"/>
                <a:gd name="connsiteY1827" fmla="*/ 33044 h 2789035"/>
                <a:gd name="connsiteX1828" fmla="*/ 1242174 w 2061090"/>
                <a:gd name="connsiteY1828" fmla="*/ 25849 h 2789035"/>
                <a:gd name="connsiteX1829" fmla="*/ 1236944 w 2061090"/>
                <a:gd name="connsiteY1829" fmla="*/ 23887 h 2789035"/>
                <a:gd name="connsiteX1830" fmla="*/ 1248058 w 2061090"/>
                <a:gd name="connsiteY1830" fmla="*/ 19309 h 2789035"/>
                <a:gd name="connsiteX1831" fmla="*/ 1252634 w 2061090"/>
                <a:gd name="connsiteY1831" fmla="*/ 14513 h 2789035"/>
                <a:gd name="connsiteX1832" fmla="*/ 1244135 w 2061090"/>
                <a:gd name="connsiteY1832" fmla="*/ 8845 h 2789035"/>
                <a:gd name="connsiteX1833" fmla="*/ 1234765 w 2061090"/>
                <a:gd name="connsiteY1833" fmla="*/ 13641 h 2789035"/>
                <a:gd name="connsiteX1834" fmla="*/ 1227356 w 2061090"/>
                <a:gd name="connsiteY1834" fmla="*/ 13423 h 2789035"/>
                <a:gd name="connsiteX1835" fmla="*/ 1228010 w 2061090"/>
                <a:gd name="connsiteY1835" fmla="*/ 7319 h 2789035"/>
                <a:gd name="connsiteX1836" fmla="*/ 1188351 w 2061090"/>
                <a:gd name="connsiteY1836" fmla="*/ 6883 h 2789035"/>
                <a:gd name="connsiteX1837" fmla="*/ 1148474 w 2061090"/>
                <a:gd name="connsiteY1837" fmla="*/ 7537 h 2789035"/>
                <a:gd name="connsiteX1838" fmla="*/ 1151089 w 2061090"/>
                <a:gd name="connsiteY1838" fmla="*/ 12769 h 2789035"/>
                <a:gd name="connsiteX1839" fmla="*/ 1151525 w 2061090"/>
                <a:gd name="connsiteY1839" fmla="*/ 21053 h 2789035"/>
                <a:gd name="connsiteX1840" fmla="*/ 1156319 w 2061090"/>
                <a:gd name="connsiteY1840" fmla="*/ 36532 h 2789035"/>
                <a:gd name="connsiteX1841" fmla="*/ 1170265 w 2061090"/>
                <a:gd name="connsiteY1841" fmla="*/ 23669 h 2789035"/>
                <a:gd name="connsiteX1842" fmla="*/ 1183775 w 2061090"/>
                <a:gd name="connsiteY1842" fmla="*/ 20181 h 2789035"/>
                <a:gd name="connsiteX1843" fmla="*/ 1189223 w 2061090"/>
                <a:gd name="connsiteY1843" fmla="*/ 21707 h 2789035"/>
                <a:gd name="connsiteX1844" fmla="*/ 1196631 w 2061090"/>
                <a:gd name="connsiteY1844" fmla="*/ 22143 h 2789035"/>
                <a:gd name="connsiteX1845" fmla="*/ 1206655 w 2061090"/>
                <a:gd name="connsiteY1845" fmla="*/ 19745 h 2789035"/>
                <a:gd name="connsiteX1846" fmla="*/ 1216461 w 2061090"/>
                <a:gd name="connsiteY1846" fmla="*/ 19091 h 2789035"/>
                <a:gd name="connsiteX1847" fmla="*/ 1221473 w 2061090"/>
                <a:gd name="connsiteY1847" fmla="*/ 27811 h 2789035"/>
                <a:gd name="connsiteX1848" fmla="*/ 1230189 w 2061090"/>
                <a:gd name="connsiteY1848" fmla="*/ 30209 h 2789035"/>
                <a:gd name="connsiteX1849" fmla="*/ 1237816 w 2061090"/>
                <a:gd name="connsiteY1849" fmla="*/ 33480 h 2789035"/>
                <a:gd name="connsiteX1850" fmla="*/ 1247404 w 2061090"/>
                <a:gd name="connsiteY1850" fmla="*/ 33044 h 2789035"/>
                <a:gd name="connsiteX1851" fmla="*/ 281202 w 2061090"/>
                <a:gd name="connsiteY1851" fmla="*/ 24977 h 2789035"/>
                <a:gd name="connsiteX1852" fmla="*/ 271614 w 2061090"/>
                <a:gd name="connsiteY1852" fmla="*/ 12769 h 2789035"/>
                <a:gd name="connsiteX1853" fmla="*/ 271397 w 2061090"/>
                <a:gd name="connsiteY1853" fmla="*/ 28901 h 2789035"/>
                <a:gd name="connsiteX1854" fmla="*/ 274665 w 2061090"/>
                <a:gd name="connsiteY1854" fmla="*/ 33916 h 2789035"/>
                <a:gd name="connsiteX1855" fmla="*/ 277934 w 2061090"/>
                <a:gd name="connsiteY1855" fmla="*/ 33698 h 2789035"/>
                <a:gd name="connsiteX1856" fmla="*/ 281202 w 2061090"/>
                <a:gd name="connsiteY1856" fmla="*/ 24977 h 2789035"/>
                <a:gd name="connsiteX1857" fmla="*/ 626150 w 2061090"/>
                <a:gd name="connsiteY1857" fmla="*/ 33698 h 2789035"/>
                <a:gd name="connsiteX1858" fmla="*/ 619177 w 2061090"/>
                <a:gd name="connsiteY1858" fmla="*/ 28029 h 2789035"/>
                <a:gd name="connsiteX1859" fmla="*/ 622010 w 2061090"/>
                <a:gd name="connsiteY1859" fmla="*/ 36750 h 2789035"/>
                <a:gd name="connsiteX1860" fmla="*/ 626150 w 2061090"/>
                <a:gd name="connsiteY1860" fmla="*/ 33698 h 2789035"/>
                <a:gd name="connsiteX1861" fmla="*/ 190771 w 2061090"/>
                <a:gd name="connsiteY1861" fmla="*/ 32389 h 2789035"/>
                <a:gd name="connsiteX1862" fmla="*/ 196001 w 2061090"/>
                <a:gd name="connsiteY1862" fmla="*/ 30209 h 2789035"/>
                <a:gd name="connsiteX1863" fmla="*/ 202320 w 2061090"/>
                <a:gd name="connsiteY1863" fmla="*/ 24541 h 2789035"/>
                <a:gd name="connsiteX1864" fmla="*/ 215394 w 2061090"/>
                <a:gd name="connsiteY1864" fmla="*/ 20399 h 2789035"/>
                <a:gd name="connsiteX1865" fmla="*/ 228033 w 2061090"/>
                <a:gd name="connsiteY1865" fmla="*/ 24977 h 2789035"/>
                <a:gd name="connsiteX1866" fmla="*/ 238710 w 2061090"/>
                <a:gd name="connsiteY1866" fmla="*/ 26067 h 2789035"/>
                <a:gd name="connsiteX1867" fmla="*/ 237185 w 2061090"/>
                <a:gd name="connsiteY1867" fmla="*/ 18219 h 2789035"/>
                <a:gd name="connsiteX1868" fmla="*/ 217138 w 2061090"/>
                <a:gd name="connsiteY1868" fmla="*/ 13859 h 2789035"/>
                <a:gd name="connsiteX1869" fmla="*/ 194039 w 2061090"/>
                <a:gd name="connsiteY1869" fmla="*/ 22579 h 2789035"/>
                <a:gd name="connsiteX1870" fmla="*/ 189681 w 2061090"/>
                <a:gd name="connsiteY1870" fmla="*/ 28029 h 2789035"/>
                <a:gd name="connsiteX1871" fmla="*/ 185323 w 2061090"/>
                <a:gd name="connsiteY1871" fmla="*/ 31299 h 2789035"/>
                <a:gd name="connsiteX1872" fmla="*/ 190771 w 2061090"/>
                <a:gd name="connsiteY1872" fmla="*/ 32389 h 2789035"/>
                <a:gd name="connsiteX1873" fmla="*/ 642057 w 2061090"/>
                <a:gd name="connsiteY1873" fmla="*/ 27593 h 2789035"/>
                <a:gd name="connsiteX1874" fmla="*/ 647505 w 2061090"/>
                <a:gd name="connsiteY1874" fmla="*/ 24323 h 2789035"/>
                <a:gd name="connsiteX1875" fmla="*/ 651645 w 2061090"/>
                <a:gd name="connsiteY1875" fmla="*/ 22361 h 2789035"/>
                <a:gd name="connsiteX1876" fmla="*/ 641839 w 2061090"/>
                <a:gd name="connsiteY1876" fmla="*/ 19309 h 2789035"/>
                <a:gd name="connsiteX1877" fmla="*/ 632033 w 2061090"/>
                <a:gd name="connsiteY1877" fmla="*/ 25413 h 2789035"/>
                <a:gd name="connsiteX1878" fmla="*/ 633341 w 2061090"/>
                <a:gd name="connsiteY1878" fmla="*/ 33044 h 2789035"/>
                <a:gd name="connsiteX1879" fmla="*/ 642057 w 2061090"/>
                <a:gd name="connsiteY1879" fmla="*/ 27593 h 2789035"/>
                <a:gd name="connsiteX1880" fmla="*/ 259412 w 2061090"/>
                <a:gd name="connsiteY1880" fmla="*/ 24759 h 2789035"/>
                <a:gd name="connsiteX1881" fmla="*/ 249824 w 2061090"/>
                <a:gd name="connsiteY1881" fmla="*/ 12769 h 2789035"/>
                <a:gd name="connsiteX1882" fmla="*/ 248298 w 2061090"/>
                <a:gd name="connsiteY1882" fmla="*/ 25413 h 2789035"/>
                <a:gd name="connsiteX1883" fmla="*/ 259412 w 2061090"/>
                <a:gd name="connsiteY1883" fmla="*/ 24759 h 2789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Lst>
              <a:rect l="l" t="t" r="r" b="b"/>
              <a:pathLst>
                <a:path w="2061090" h="2789035">
                  <a:moveTo>
                    <a:pt x="1949719" y="2778412"/>
                  </a:moveTo>
                  <a:cubicBezTo>
                    <a:pt x="1942964" y="2775578"/>
                    <a:pt x="1934030" y="2770782"/>
                    <a:pt x="1930108" y="2767730"/>
                  </a:cubicBezTo>
                  <a:cubicBezTo>
                    <a:pt x="1925967" y="2764678"/>
                    <a:pt x="1798492" y="2579153"/>
                    <a:pt x="1611745" y="2304246"/>
                  </a:cubicBezTo>
                  <a:lnTo>
                    <a:pt x="1300355" y="1846212"/>
                  </a:lnTo>
                  <a:lnTo>
                    <a:pt x="698713" y="1846212"/>
                  </a:lnTo>
                  <a:cubicBezTo>
                    <a:pt x="35403" y="1846212"/>
                    <a:pt x="83342" y="1847084"/>
                    <a:pt x="56104" y="1832695"/>
                  </a:cubicBezTo>
                  <a:cubicBezTo>
                    <a:pt x="30609" y="1818961"/>
                    <a:pt x="-4256" y="1779720"/>
                    <a:pt x="-4256" y="1764895"/>
                  </a:cubicBezTo>
                  <a:cubicBezTo>
                    <a:pt x="-4256" y="1759227"/>
                    <a:pt x="4678" y="1745929"/>
                    <a:pt x="8382" y="1745929"/>
                  </a:cubicBezTo>
                  <a:cubicBezTo>
                    <a:pt x="10561" y="1745929"/>
                    <a:pt x="22110" y="1747891"/>
                    <a:pt x="34531" y="1750289"/>
                  </a:cubicBezTo>
                  <a:cubicBezTo>
                    <a:pt x="58937" y="1755085"/>
                    <a:pt x="82907" y="1755957"/>
                    <a:pt x="89444" y="1752469"/>
                  </a:cubicBezTo>
                  <a:cubicBezTo>
                    <a:pt x="99685" y="1747019"/>
                    <a:pt x="99250" y="1790402"/>
                    <a:pt x="100339" y="896789"/>
                  </a:cubicBezTo>
                  <a:lnTo>
                    <a:pt x="101429" y="53100"/>
                  </a:lnTo>
                  <a:lnTo>
                    <a:pt x="106441" y="43726"/>
                  </a:lnTo>
                  <a:cubicBezTo>
                    <a:pt x="129975" y="-312"/>
                    <a:pt x="205806" y="-5762"/>
                    <a:pt x="796553" y="-5762"/>
                  </a:cubicBezTo>
                  <a:cubicBezTo>
                    <a:pt x="1269195" y="-5762"/>
                    <a:pt x="1379456" y="-1838"/>
                    <a:pt x="1430882" y="17347"/>
                  </a:cubicBezTo>
                  <a:cubicBezTo>
                    <a:pt x="1449186" y="24105"/>
                    <a:pt x="1463132" y="38494"/>
                    <a:pt x="1466401" y="53754"/>
                  </a:cubicBezTo>
                  <a:cubicBezTo>
                    <a:pt x="1468144" y="62257"/>
                    <a:pt x="1468798" y="285496"/>
                    <a:pt x="1468798" y="884581"/>
                  </a:cubicBezTo>
                  <a:cubicBezTo>
                    <a:pt x="1468798" y="1698839"/>
                    <a:pt x="1468798" y="1703853"/>
                    <a:pt x="1473156" y="1721076"/>
                  </a:cubicBezTo>
                  <a:cubicBezTo>
                    <a:pt x="1478821" y="1743094"/>
                    <a:pt x="1488409" y="1762715"/>
                    <a:pt x="1507803" y="1792582"/>
                  </a:cubicBezTo>
                  <a:cubicBezTo>
                    <a:pt x="1516302" y="1805663"/>
                    <a:pt x="1523275" y="1818743"/>
                    <a:pt x="1523275" y="1821577"/>
                  </a:cubicBezTo>
                  <a:cubicBezTo>
                    <a:pt x="1523275" y="1829425"/>
                    <a:pt x="1512379" y="1839018"/>
                    <a:pt x="1500394" y="1842070"/>
                  </a:cubicBezTo>
                  <a:cubicBezTo>
                    <a:pt x="1494729" y="1843378"/>
                    <a:pt x="1489717" y="1845994"/>
                    <a:pt x="1489063" y="1847520"/>
                  </a:cubicBezTo>
                  <a:cubicBezTo>
                    <a:pt x="1488627" y="1849046"/>
                    <a:pt x="1614142" y="2035660"/>
                    <a:pt x="1768202" y="2262170"/>
                  </a:cubicBezTo>
                  <a:cubicBezTo>
                    <a:pt x="1941003" y="2516585"/>
                    <a:pt x="2049957" y="2678783"/>
                    <a:pt x="2052790" y="2685977"/>
                  </a:cubicBezTo>
                  <a:cubicBezTo>
                    <a:pt x="2058455" y="2701019"/>
                    <a:pt x="2058237" y="2705816"/>
                    <a:pt x="2051700" y="2722602"/>
                  </a:cubicBezTo>
                  <a:cubicBezTo>
                    <a:pt x="2043202" y="2743967"/>
                    <a:pt x="2022065" y="2762934"/>
                    <a:pt x="1990468" y="2777322"/>
                  </a:cubicBezTo>
                  <a:cubicBezTo>
                    <a:pt x="1973689" y="2784952"/>
                    <a:pt x="1966280" y="2785170"/>
                    <a:pt x="1949719" y="2778412"/>
                  </a:cubicBezTo>
                  <a:close/>
                  <a:moveTo>
                    <a:pt x="2037100" y="2729796"/>
                  </a:moveTo>
                  <a:cubicBezTo>
                    <a:pt x="2048214" y="2714100"/>
                    <a:pt x="2048431" y="2694479"/>
                    <a:pt x="2037754" y="2675731"/>
                  </a:cubicBezTo>
                  <a:cubicBezTo>
                    <a:pt x="2034267" y="2669626"/>
                    <a:pt x="1907010" y="2481922"/>
                    <a:pt x="1754910" y="2258246"/>
                  </a:cubicBezTo>
                  <a:lnTo>
                    <a:pt x="1478386" y="1851662"/>
                  </a:lnTo>
                  <a:lnTo>
                    <a:pt x="1455287" y="1851662"/>
                  </a:lnTo>
                  <a:cubicBezTo>
                    <a:pt x="1442431" y="1851662"/>
                    <a:pt x="1431536" y="1852316"/>
                    <a:pt x="1430664" y="1852970"/>
                  </a:cubicBezTo>
                  <a:cubicBezTo>
                    <a:pt x="1430010" y="1853842"/>
                    <a:pt x="1438944" y="1868449"/>
                    <a:pt x="1450711" y="1885671"/>
                  </a:cubicBezTo>
                  <a:cubicBezTo>
                    <a:pt x="1462478" y="1902894"/>
                    <a:pt x="1480783" y="1929927"/>
                    <a:pt x="1491242" y="1945405"/>
                  </a:cubicBezTo>
                  <a:cubicBezTo>
                    <a:pt x="1501920" y="1961102"/>
                    <a:pt x="1527415" y="1998817"/>
                    <a:pt x="1548334" y="2029338"/>
                  </a:cubicBezTo>
                  <a:cubicBezTo>
                    <a:pt x="1569035" y="2059859"/>
                    <a:pt x="1602375" y="2108911"/>
                    <a:pt x="1622422" y="2138342"/>
                  </a:cubicBezTo>
                  <a:cubicBezTo>
                    <a:pt x="1642470" y="2167773"/>
                    <a:pt x="1668619" y="2206578"/>
                    <a:pt x="1680822" y="2224455"/>
                  </a:cubicBezTo>
                  <a:cubicBezTo>
                    <a:pt x="1693242" y="2242550"/>
                    <a:pt x="1774086" y="2361582"/>
                    <a:pt x="1860813" y="2489334"/>
                  </a:cubicBezTo>
                  <a:cubicBezTo>
                    <a:pt x="2031435" y="2740479"/>
                    <a:pt x="2028166" y="2735683"/>
                    <a:pt x="2030999" y="2735683"/>
                  </a:cubicBezTo>
                  <a:cubicBezTo>
                    <a:pt x="2032088" y="2735683"/>
                    <a:pt x="2034703" y="2733067"/>
                    <a:pt x="2037100" y="2729796"/>
                  </a:cubicBezTo>
                  <a:close/>
                  <a:moveTo>
                    <a:pt x="1290114" y="1835094"/>
                  </a:moveTo>
                  <a:cubicBezTo>
                    <a:pt x="1290114" y="1832695"/>
                    <a:pt x="754279" y="1043072"/>
                    <a:pt x="731835" y="1012333"/>
                  </a:cubicBezTo>
                  <a:cubicBezTo>
                    <a:pt x="724862" y="1002741"/>
                    <a:pt x="663412" y="913140"/>
                    <a:pt x="595425" y="813074"/>
                  </a:cubicBezTo>
                  <a:lnTo>
                    <a:pt x="471871" y="631256"/>
                  </a:lnTo>
                  <a:lnTo>
                    <a:pt x="458143" y="630820"/>
                  </a:lnTo>
                  <a:cubicBezTo>
                    <a:pt x="444633" y="630602"/>
                    <a:pt x="438531" y="627768"/>
                    <a:pt x="441364" y="623190"/>
                  </a:cubicBezTo>
                  <a:cubicBezTo>
                    <a:pt x="442236" y="621882"/>
                    <a:pt x="445940" y="621010"/>
                    <a:pt x="449645" y="621446"/>
                  </a:cubicBezTo>
                  <a:cubicBezTo>
                    <a:pt x="455746" y="622100"/>
                    <a:pt x="456618" y="621446"/>
                    <a:pt x="457272" y="616214"/>
                  </a:cubicBezTo>
                  <a:cubicBezTo>
                    <a:pt x="457925" y="611635"/>
                    <a:pt x="452695" y="602479"/>
                    <a:pt x="434827" y="576318"/>
                  </a:cubicBezTo>
                  <a:cubicBezTo>
                    <a:pt x="422188" y="557788"/>
                    <a:pt x="410857" y="542527"/>
                    <a:pt x="409550" y="542527"/>
                  </a:cubicBezTo>
                  <a:cubicBezTo>
                    <a:pt x="408460" y="542527"/>
                    <a:pt x="407371" y="718241"/>
                    <a:pt x="407153" y="1003177"/>
                  </a:cubicBezTo>
                  <a:cubicBezTo>
                    <a:pt x="407153" y="1256284"/>
                    <a:pt x="406717" y="1464699"/>
                    <a:pt x="406717" y="1466225"/>
                  </a:cubicBezTo>
                  <a:cubicBezTo>
                    <a:pt x="406063" y="1472547"/>
                    <a:pt x="401269" y="1473637"/>
                    <a:pt x="371416" y="1472983"/>
                  </a:cubicBezTo>
                  <a:cubicBezTo>
                    <a:pt x="344613" y="1472329"/>
                    <a:pt x="341127" y="1471893"/>
                    <a:pt x="340473" y="1468623"/>
                  </a:cubicBezTo>
                  <a:cubicBezTo>
                    <a:pt x="339819" y="1465135"/>
                    <a:pt x="342216" y="1464699"/>
                    <a:pt x="365750" y="1464699"/>
                  </a:cubicBezTo>
                  <a:cubicBezTo>
                    <a:pt x="380132" y="1464699"/>
                    <a:pt x="393425" y="1464045"/>
                    <a:pt x="395386" y="1463391"/>
                  </a:cubicBezTo>
                  <a:cubicBezTo>
                    <a:pt x="398437" y="1462083"/>
                    <a:pt x="398872" y="1447912"/>
                    <a:pt x="398872" y="1323212"/>
                  </a:cubicBezTo>
                  <a:cubicBezTo>
                    <a:pt x="398872" y="1218132"/>
                    <a:pt x="398219" y="1183687"/>
                    <a:pt x="396257" y="1181725"/>
                  </a:cubicBezTo>
                  <a:cubicBezTo>
                    <a:pt x="394514" y="1179981"/>
                    <a:pt x="384708" y="1179109"/>
                    <a:pt x="366622" y="1179109"/>
                  </a:cubicBezTo>
                  <a:cubicBezTo>
                    <a:pt x="342216" y="1179109"/>
                    <a:pt x="339819" y="1178673"/>
                    <a:pt x="340473" y="1175403"/>
                  </a:cubicBezTo>
                  <a:cubicBezTo>
                    <a:pt x="341127" y="1171915"/>
                    <a:pt x="344831" y="1171261"/>
                    <a:pt x="369455" y="1170389"/>
                  </a:cubicBezTo>
                  <a:lnTo>
                    <a:pt x="397783" y="1169299"/>
                  </a:lnTo>
                  <a:lnTo>
                    <a:pt x="398219" y="1114797"/>
                  </a:lnTo>
                  <a:cubicBezTo>
                    <a:pt x="398654" y="1084930"/>
                    <a:pt x="398001" y="1022144"/>
                    <a:pt x="397129" y="975272"/>
                  </a:cubicBezTo>
                  <a:lnTo>
                    <a:pt x="395604" y="890249"/>
                  </a:lnTo>
                  <a:lnTo>
                    <a:pt x="367712" y="889595"/>
                  </a:lnTo>
                  <a:cubicBezTo>
                    <a:pt x="344831" y="889159"/>
                    <a:pt x="339602" y="888505"/>
                    <a:pt x="338512" y="885671"/>
                  </a:cubicBezTo>
                  <a:cubicBezTo>
                    <a:pt x="336333" y="879785"/>
                    <a:pt x="342434" y="878259"/>
                    <a:pt x="370109" y="878259"/>
                  </a:cubicBezTo>
                  <a:lnTo>
                    <a:pt x="396693" y="878259"/>
                  </a:lnTo>
                  <a:lnTo>
                    <a:pt x="396693" y="738734"/>
                  </a:lnTo>
                  <a:lnTo>
                    <a:pt x="396693" y="599209"/>
                  </a:lnTo>
                  <a:lnTo>
                    <a:pt x="370109" y="599209"/>
                  </a:lnTo>
                  <a:cubicBezTo>
                    <a:pt x="342434" y="599209"/>
                    <a:pt x="336333" y="597683"/>
                    <a:pt x="338512" y="591797"/>
                  </a:cubicBezTo>
                  <a:cubicBezTo>
                    <a:pt x="339602" y="588963"/>
                    <a:pt x="344831" y="588309"/>
                    <a:pt x="367712" y="587873"/>
                  </a:cubicBezTo>
                  <a:lnTo>
                    <a:pt x="395604" y="587219"/>
                  </a:lnTo>
                  <a:lnTo>
                    <a:pt x="396257" y="553863"/>
                  </a:lnTo>
                  <a:lnTo>
                    <a:pt x="396911" y="520508"/>
                  </a:lnTo>
                  <a:lnTo>
                    <a:pt x="338730" y="435049"/>
                  </a:lnTo>
                  <a:cubicBezTo>
                    <a:pt x="306698" y="387960"/>
                    <a:pt x="277062" y="346320"/>
                    <a:pt x="272922" y="342614"/>
                  </a:cubicBezTo>
                  <a:cubicBezTo>
                    <a:pt x="265077" y="335420"/>
                    <a:pt x="259847" y="333676"/>
                    <a:pt x="256143" y="337382"/>
                  </a:cubicBezTo>
                  <a:cubicBezTo>
                    <a:pt x="250477" y="342832"/>
                    <a:pt x="237621" y="339562"/>
                    <a:pt x="237621" y="333022"/>
                  </a:cubicBezTo>
                  <a:cubicBezTo>
                    <a:pt x="237621" y="328444"/>
                    <a:pt x="240889" y="327572"/>
                    <a:pt x="243069" y="331060"/>
                  </a:cubicBezTo>
                  <a:cubicBezTo>
                    <a:pt x="244158" y="332804"/>
                    <a:pt x="245466" y="332586"/>
                    <a:pt x="247645" y="330842"/>
                  </a:cubicBezTo>
                  <a:cubicBezTo>
                    <a:pt x="249388" y="329534"/>
                    <a:pt x="253528" y="328880"/>
                    <a:pt x="257233" y="329752"/>
                  </a:cubicBezTo>
                  <a:cubicBezTo>
                    <a:pt x="265295" y="331278"/>
                    <a:pt x="265513" y="329316"/>
                    <a:pt x="258322" y="317979"/>
                  </a:cubicBezTo>
                  <a:cubicBezTo>
                    <a:pt x="252003" y="307951"/>
                    <a:pt x="248516" y="306861"/>
                    <a:pt x="248516" y="314709"/>
                  </a:cubicBezTo>
                  <a:cubicBezTo>
                    <a:pt x="248516" y="322339"/>
                    <a:pt x="242415" y="324302"/>
                    <a:pt x="237839" y="318197"/>
                  </a:cubicBezTo>
                  <a:cubicBezTo>
                    <a:pt x="232609" y="311439"/>
                    <a:pt x="226725" y="314273"/>
                    <a:pt x="226725" y="323430"/>
                  </a:cubicBezTo>
                  <a:cubicBezTo>
                    <a:pt x="226725" y="330624"/>
                    <a:pt x="223457" y="335638"/>
                    <a:pt x="221932" y="330842"/>
                  </a:cubicBezTo>
                  <a:cubicBezTo>
                    <a:pt x="221496" y="329316"/>
                    <a:pt x="219317" y="329316"/>
                    <a:pt x="214958" y="331278"/>
                  </a:cubicBezTo>
                  <a:cubicBezTo>
                    <a:pt x="209729" y="333676"/>
                    <a:pt x="208421" y="333676"/>
                    <a:pt x="206024" y="330406"/>
                  </a:cubicBezTo>
                  <a:cubicBezTo>
                    <a:pt x="204717" y="328444"/>
                    <a:pt x="202756" y="327354"/>
                    <a:pt x="202102" y="328226"/>
                  </a:cubicBezTo>
                  <a:cubicBezTo>
                    <a:pt x="201230" y="328880"/>
                    <a:pt x="200577" y="327354"/>
                    <a:pt x="200577" y="324738"/>
                  </a:cubicBezTo>
                  <a:cubicBezTo>
                    <a:pt x="200577" y="321467"/>
                    <a:pt x="199051" y="319287"/>
                    <a:pt x="196001" y="318633"/>
                  </a:cubicBezTo>
                  <a:cubicBezTo>
                    <a:pt x="192732" y="317761"/>
                    <a:pt x="191860" y="316017"/>
                    <a:pt x="192296" y="311657"/>
                  </a:cubicBezTo>
                  <a:cubicBezTo>
                    <a:pt x="192950" y="306861"/>
                    <a:pt x="193821" y="305989"/>
                    <a:pt x="198833" y="306643"/>
                  </a:cubicBezTo>
                  <a:cubicBezTo>
                    <a:pt x="203627" y="307079"/>
                    <a:pt x="205153" y="306207"/>
                    <a:pt x="206242" y="301411"/>
                  </a:cubicBezTo>
                  <a:cubicBezTo>
                    <a:pt x="208203" y="293344"/>
                    <a:pt x="202974" y="288112"/>
                    <a:pt x="196654" y="292036"/>
                  </a:cubicBezTo>
                  <a:cubicBezTo>
                    <a:pt x="190117" y="296179"/>
                    <a:pt x="188592" y="293126"/>
                    <a:pt x="193168" y="285060"/>
                  </a:cubicBezTo>
                  <a:cubicBezTo>
                    <a:pt x="198615" y="275904"/>
                    <a:pt x="200795" y="275250"/>
                    <a:pt x="207985" y="282008"/>
                  </a:cubicBezTo>
                  <a:cubicBezTo>
                    <a:pt x="214958" y="288330"/>
                    <a:pt x="218009" y="287458"/>
                    <a:pt x="218009" y="278956"/>
                  </a:cubicBezTo>
                  <a:cubicBezTo>
                    <a:pt x="218009" y="275686"/>
                    <a:pt x="219099" y="271980"/>
                    <a:pt x="220188" y="270890"/>
                  </a:cubicBezTo>
                  <a:cubicBezTo>
                    <a:pt x="221714" y="269364"/>
                    <a:pt x="221060" y="268710"/>
                    <a:pt x="217573" y="268710"/>
                  </a:cubicBezTo>
                  <a:cubicBezTo>
                    <a:pt x="212997" y="268928"/>
                    <a:pt x="212562" y="268056"/>
                    <a:pt x="212997" y="259553"/>
                  </a:cubicBezTo>
                  <a:cubicBezTo>
                    <a:pt x="213433" y="247563"/>
                    <a:pt x="207985" y="246691"/>
                    <a:pt x="206024" y="258681"/>
                  </a:cubicBezTo>
                  <a:cubicBezTo>
                    <a:pt x="203627" y="271980"/>
                    <a:pt x="203409" y="272634"/>
                    <a:pt x="198615" y="270018"/>
                  </a:cubicBezTo>
                  <a:cubicBezTo>
                    <a:pt x="192296" y="266748"/>
                    <a:pt x="190335" y="267402"/>
                    <a:pt x="188810" y="273288"/>
                  </a:cubicBezTo>
                  <a:cubicBezTo>
                    <a:pt x="187066" y="280482"/>
                    <a:pt x="180965" y="283316"/>
                    <a:pt x="172467" y="280918"/>
                  </a:cubicBezTo>
                  <a:cubicBezTo>
                    <a:pt x="165929" y="279174"/>
                    <a:pt x="165711" y="279174"/>
                    <a:pt x="165711" y="285714"/>
                  </a:cubicBezTo>
                  <a:cubicBezTo>
                    <a:pt x="165711" y="291600"/>
                    <a:pt x="165276" y="292254"/>
                    <a:pt x="160046" y="290946"/>
                  </a:cubicBezTo>
                  <a:cubicBezTo>
                    <a:pt x="155688" y="289856"/>
                    <a:pt x="154162" y="290292"/>
                    <a:pt x="153509" y="293344"/>
                  </a:cubicBezTo>
                  <a:cubicBezTo>
                    <a:pt x="152855" y="295743"/>
                    <a:pt x="150240" y="298359"/>
                    <a:pt x="147625" y="299449"/>
                  </a:cubicBezTo>
                  <a:cubicBezTo>
                    <a:pt x="145010" y="300757"/>
                    <a:pt x="142613" y="303809"/>
                    <a:pt x="142177" y="306425"/>
                  </a:cubicBezTo>
                  <a:cubicBezTo>
                    <a:pt x="141306" y="312747"/>
                    <a:pt x="148715" y="320159"/>
                    <a:pt x="154598" y="318633"/>
                  </a:cubicBezTo>
                  <a:cubicBezTo>
                    <a:pt x="158520" y="317543"/>
                    <a:pt x="159174" y="318415"/>
                    <a:pt x="159174" y="324302"/>
                  </a:cubicBezTo>
                  <a:cubicBezTo>
                    <a:pt x="159174" y="328880"/>
                    <a:pt x="160264" y="331060"/>
                    <a:pt x="162443" y="331060"/>
                  </a:cubicBezTo>
                  <a:cubicBezTo>
                    <a:pt x="164186" y="331060"/>
                    <a:pt x="165711" y="332586"/>
                    <a:pt x="165711" y="334330"/>
                  </a:cubicBezTo>
                  <a:cubicBezTo>
                    <a:pt x="165711" y="336074"/>
                    <a:pt x="164840" y="337600"/>
                    <a:pt x="163750" y="337600"/>
                  </a:cubicBezTo>
                  <a:cubicBezTo>
                    <a:pt x="162661" y="337600"/>
                    <a:pt x="160700" y="336074"/>
                    <a:pt x="159174" y="334330"/>
                  </a:cubicBezTo>
                  <a:cubicBezTo>
                    <a:pt x="157649" y="332586"/>
                    <a:pt x="154816" y="331060"/>
                    <a:pt x="152855" y="331060"/>
                  </a:cubicBezTo>
                  <a:cubicBezTo>
                    <a:pt x="150676" y="331060"/>
                    <a:pt x="146971" y="325828"/>
                    <a:pt x="143267" y="317979"/>
                  </a:cubicBezTo>
                  <a:cubicBezTo>
                    <a:pt x="138909" y="308605"/>
                    <a:pt x="135858" y="304899"/>
                    <a:pt x="132807" y="304899"/>
                  </a:cubicBezTo>
                  <a:cubicBezTo>
                    <a:pt x="130410" y="304899"/>
                    <a:pt x="128667" y="303373"/>
                    <a:pt x="128667" y="301411"/>
                  </a:cubicBezTo>
                  <a:cubicBezTo>
                    <a:pt x="128667" y="299013"/>
                    <a:pt x="129757" y="298359"/>
                    <a:pt x="132154" y="299231"/>
                  </a:cubicBezTo>
                  <a:cubicBezTo>
                    <a:pt x="136294" y="300757"/>
                    <a:pt x="143921" y="294871"/>
                    <a:pt x="143921" y="290292"/>
                  </a:cubicBezTo>
                  <a:cubicBezTo>
                    <a:pt x="143921" y="288766"/>
                    <a:pt x="146318" y="287458"/>
                    <a:pt x="149368" y="287458"/>
                  </a:cubicBezTo>
                  <a:cubicBezTo>
                    <a:pt x="152855" y="287458"/>
                    <a:pt x="154816" y="286150"/>
                    <a:pt x="154816" y="283970"/>
                  </a:cubicBezTo>
                  <a:cubicBezTo>
                    <a:pt x="154816" y="280918"/>
                    <a:pt x="153291" y="280700"/>
                    <a:pt x="145664" y="281790"/>
                  </a:cubicBezTo>
                  <a:cubicBezTo>
                    <a:pt x="140652" y="282662"/>
                    <a:pt x="135204" y="284842"/>
                    <a:pt x="133679" y="287022"/>
                  </a:cubicBezTo>
                  <a:cubicBezTo>
                    <a:pt x="130846" y="290292"/>
                    <a:pt x="130628" y="290074"/>
                    <a:pt x="131718" y="283752"/>
                  </a:cubicBezTo>
                  <a:cubicBezTo>
                    <a:pt x="132372" y="279392"/>
                    <a:pt x="131718" y="276122"/>
                    <a:pt x="129757" y="274378"/>
                  </a:cubicBezTo>
                  <a:cubicBezTo>
                    <a:pt x="127360" y="272416"/>
                    <a:pt x="127142" y="270672"/>
                    <a:pt x="128667" y="267838"/>
                  </a:cubicBezTo>
                  <a:cubicBezTo>
                    <a:pt x="131936" y="261951"/>
                    <a:pt x="131282" y="250397"/>
                    <a:pt x="128013" y="250397"/>
                  </a:cubicBezTo>
                  <a:cubicBezTo>
                    <a:pt x="123655" y="250397"/>
                    <a:pt x="119951" y="255193"/>
                    <a:pt x="119951" y="260643"/>
                  </a:cubicBezTo>
                  <a:cubicBezTo>
                    <a:pt x="119951" y="265658"/>
                    <a:pt x="114939" y="267620"/>
                    <a:pt x="112542" y="263695"/>
                  </a:cubicBezTo>
                  <a:cubicBezTo>
                    <a:pt x="110145" y="259771"/>
                    <a:pt x="114067" y="247563"/>
                    <a:pt x="118208" y="246691"/>
                  </a:cubicBezTo>
                  <a:cubicBezTo>
                    <a:pt x="120387" y="246037"/>
                    <a:pt x="122130" y="244511"/>
                    <a:pt x="122130" y="243421"/>
                  </a:cubicBezTo>
                  <a:cubicBezTo>
                    <a:pt x="122130" y="242331"/>
                    <a:pt x="124963" y="241895"/>
                    <a:pt x="128667" y="242767"/>
                  </a:cubicBezTo>
                  <a:cubicBezTo>
                    <a:pt x="135640" y="244293"/>
                    <a:pt x="135858" y="243857"/>
                    <a:pt x="133897" y="233174"/>
                  </a:cubicBezTo>
                  <a:cubicBezTo>
                    <a:pt x="132372" y="225762"/>
                    <a:pt x="128885" y="224672"/>
                    <a:pt x="121258" y="229904"/>
                  </a:cubicBezTo>
                  <a:cubicBezTo>
                    <a:pt x="114503" y="234046"/>
                    <a:pt x="113196" y="232084"/>
                    <a:pt x="112978" y="216170"/>
                  </a:cubicBezTo>
                  <a:cubicBezTo>
                    <a:pt x="112542" y="201999"/>
                    <a:pt x="114721" y="193715"/>
                    <a:pt x="118426" y="193715"/>
                  </a:cubicBezTo>
                  <a:cubicBezTo>
                    <a:pt x="119951" y="193715"/>
                    <a:pt x="124745" y="190009"/>
                    <a:pt x="129321" y="185213"/>
                  </a:cubicBezTo>
                  <a:cubicBezTo>
                    <a:pt x="136294" y="178019"/>
                    <a:pt x="136948" y="176492"/>
                    <a:pt x="134115" y="174094"/>
                  </a:cubicBezTo>
                  <a:cubicBezTo>
                    <a:pt x="132372" y="172568"/>
                    <a:pt x="130846" y="170170"/>
                    <a:pt x="130846" y="168426"/>
                  </a:cubicBezTo>
                  <a:cubicBezTo>
                    <a:pt x="130846" y="164066"/>
                    <a:pt x="126706" y="162540"/>
                    <a:pt x="123002" y="165592"/>
                  </a:cubicBezTo>
                  <a:cubicBezTo>
                    <a:pt x="120605" y="167554"/>
                    <a:pt x="119733" y="170824"/>
                    <a:pt x="120605" y="176492"/>
                  </a:cubicBezTo>
                  <a:cubicBezTo>
                    <a:pt x="121476" y="183905"/>
                    <a:pt x="119297" y="189355"/>
                    <a:pt x="115157" y="189355"/>
                  </a:cubicBezTo>
                  <a:cubicBezTo>
                    <a:pt x="112542" y="189355"/>
                    <a:pt x="112978" y="181943"/>
                    <a:pt x="115811" y="179109"/>
                  </a:cubicBezTo>
                  <a:cubicBezTo>
                    <a:pt x="117554" y="177364"/>
                    <a:pt x="117118" y="174748"/>
                    <a:pt x="114503" y="169952"/>
                  </a:cubicBezTo>
                  <a:cubicBezTo>
                    <a:pt x="110799" y="162540"/>
                    <a:pt x="111670" y="158834"/>
                    <a:pt x="116900" y="158834"/>
                  </a:cubicBezTo>
                  <a:cubicBezTo>
                    <a:pt x="122130" y="158834"/>
                    <a:pt x="123002" y="152512"/>
                    <a:pt x="118643" y="147497"/>
                  </a:cubicBezTo>
                  <a:cubicBezTo>
                    <a:pt x="114503" y="143137"/>
                    <a:pt x="114503" y="143137"/>
                    <a:pt x="118861" y="143791"/>
                  </a:cubicBezTo>
                  <a:cubicBezTo>
                    <a:pt x="121258" y="144445"/>
                    <a:pt x="124527" y="147497"/>
                    <a:pt x="126052" y="150768"/>
                  </a:cubicBezTo>
                  <a:cubicBezTo>
                    <a:pt x="129103" y="157308"/>
                    <a:pt x="131064" y="157744"/>
                    <a:pt x="137819" y="154256"/>
                  </a:cubicBezTo>
                  <a:cubicBezTo>
                    <a:pt x="142177" y="151858"/>
                    <a:pt x="141960" y="151640"/>
                    <a:pt x="135422" y="145535"/>
                  </a:cubicBezTo>
                  <a:cubicBezTo>
                    <a:pt x="131500" y="142047"/>
                    <a:pt x="127578" y="139213"/>
                    <a:pt x="126488" y="139213"/>
                  </a:cubicBezTo>
                  <a:cubicBezTo>
                    <a:pt x="122348" y="139213"/>
                    <a:pt x="120169" y="120901"/>
                    <a:pt x="124309" y="118502"/>
                  </a:cubicBezTo>
                  <a:cubicBezTo>
                    <a:pt x="127796" y="116322"/>
                    <a:pt x="126924" y="102806"/>
                    <a:pt x="123002" y="101280"/>
                  </a:cubicBezTo>
                  <a:cubicBezTo>
                    <a:pt x="121258" y="100626"/>
                    <a:pt x="120387" y="99100"/>
                    <a:pt x="121040" y="97792"/>
                  </a:cubicBezTo>
                  <a:cubicBezTo>
                    <a:pt x="121912" y="96484"/>
                    <a:pt x="120387" y="92342"/>
                    <a:pt x="117990" y="88199"/>
                  </a:cubicBezTo>
                  <a:cubicBezTo>
                    <a:pt x="113414" y="81005"/>
                    <a:pt x="111888" y="71631"/>
                    <a:pt x="115157" y="71631"/>
                  </a:cubicBezTo>
                  <a:cubicBezTo>
                    <a:pt x="116029" y="71631"/>
                    <a:pt x="117990" y="74683"/>
                    <a:pt x="119515" y="78171"/>
                  </a:cubicBezTo>
                  <a:cubicBezTo>
                    <a:pt x="123219" y="86237"/>
                    <a:pt x="127578" y="86891"/>
                    <a:pt x="125616" y="79261"/>
                  </a:cubicBezTo>
                  <a:cubicBezTo>
                    <a:pt x="124963" y="76209"/>
                    <a:pt x="123655" y="71413"/>
                    <a:pt x="123002" y="68361"/>
                  </a:cubicBezTo>
                  <a:cubicBezTo>
                    <a:pt x="122130" y="64655"/>
                    <a:pt x="122784" y="61384"/>
                    <a:pt x="124963" y="58986"/>
                  </a:cubicBezTo>
                  <a:cubicBezTo>
                    <a:pt x="126924" y="56806"/>
                    <a:pt x="128013" y="53100"/>
                    <a:pt x="127360" y="50484"/>
                  </a:cubicBezTo>
                  <a:cubicBezTo>
                    <a:pt x="126706" y="48086"/>
                    <a:pt x="127142" y="45252"/>
                    <a:pt x="128449" y="44598"/>
                  </a:cubicBezTo>
                  <a:cubicBezTo>
                    <a:pt x="131064" y="42854"/>
                    <a:pt x="132807" y="48740"/>
                    <a:pt x="133461" y="62911"/>
                  </a:cubicBezTo>
                  <a:cubicBezTo>
                    <a:pt x="133897" y="69887"/>
                    <a:pt x="134986" y="72721"/>
                    <a:pt x="137383" y="72721"/>
                  </a:cubicBezTo>
                  <a:cubicBezTo>
                    <a:pt x="139780" y="72721"/>
                    <a:pt x="140434" y="70759"/>
                    <a:pt x="139998" y="65745"/>
                  </a:cubicBezTo>
                  <a:cubicBezTo>
                    <a:pt x="139780" y="61166"/>
                    <a:pt x="140652" y="58550"/>
                    <a:pt x="142177" y="58332"/>
                  </a:cubicBezTo>
                  <a:cubicBezTo>
                    <a:pt x="143703" y="58114"/>
                    <a:pt x="146100" y="57896"/>
                    <a:pt x="147189" y="57460"/>
                  </a:cubicBezTo>
                  <a:cubicBezTo>
                    <a:pt x="148497" y="57242"/>
                    <a:pt x="150458" y="56806"/>
                    <a:pt x="151983" y="56806"/>
                  </a:cubicBezTo>
                  <a:cubicBezTo>
                    <a:pt x="153291" y="56588"/>
                    <a:pt x="154380" y="53754"/>
                    <a:pt x="154162" y="50266"/>
                  </a:cubicBezTo>
                  <a:cubicBezTo>
                    <a:pt x="153727" y="44816"/>
                    <a:pt x="154380" y="44380"/>
                    <a:pt x="161789" y="44380"/>
                  </a:cubicBezTo>
                  <a:cubicBezTo>
                    <a:pt x="171377" y="44380"/>
                    <a:pt x="172467" y="43290"/>
                    <a:pt x="173338" y="34134"/>
                  </a:cubicBezTo>
                  <a:cubicBezTo>
                    <a:pt x="173774" y="28247"/>
                    <a:pt x="174864" y="26939"/>
                    <a:pt x="178568" y="27375"/>
                  </a:cubicBezTo>
                  <a:cubicBezTo>
                    <a:pt x="183580" y="28029"/>
                    <a:pt x="187284" y="22579"/>
                    <a:pt x="184016" y="19309"/>
                  </a:cubicBezTo>
                  <a:cubicBezTo>
                    <a:pt x="181401" y="16693"/>
                    <a:pt x="166147" y="21925"/>
                    <a:pt x="167237" y="24977"/>
                  </a:cubicBezTo>
                  <a:cubicBezTo>
                    <a:pt x="168326" y="28247"/>
                    <a:pt x="160046" y="35224"/>
                    <a:pt x="157213" y="33480"/>
                  </a:cubicBezTo>
                  <a:cubicBezTo>
                    <a:pt x="155906" y="32826"/>
                    <a:pt x="154816" y="30645"/>
                    <a:pt x="154816" y="28901"/>
                  </a:cubicBezTo>
                  <a:cubicBezTo>
                    <a:pt x="154816" y="23669"/>
                    <a:pt x="143049" y="25413"/>
                    <a:pt x="132590" y="32389"/>
                  </a:cubicBezTo>
                  <a:cubicBezTo>
                    <a:pt x="118426" y="41764"/>
                    <a:pt x="117336" y="43508"/>
                    <a:pt x="120169" y="52010"/>
                  </a:cubicBezTo>
                  <a:cubicBezTo>
                    <a:pt x="122130" y="57678"/>
                    <a:pt x="122130" y="59422"/>
                    <a:pt x="119733" y="60948"/>
                  </a:cubicBezTo>
                  <a:cubicBezTo>
                    <a:pt x="115157" y="63783"/>
                    <a:pt x="113414" y="63347"/>
                    <a:pt x="113196" y="59204"/>
                  </a:cubicBezTo>
                  <a:cubicBezTo>
                    <a:pt x="113196" y="56370"/>
                    <a:pt x="112542" y="56806"/>
                    <a:pt x="110799" y="60730"/>
                  </a:cubicBezTo>
                  <a:cubicBezTo>
                    <a:pt x="109055" y="64655"/>
                    <a:pt x="108184" y="302501"/>
                    <a:pt x="107530" y="884799"/>
                  </a:cubicBezTo>
                  <a:cubicBezTo>
                    <a:pt x="107094" y="1334984"/>
                    <a:pt x="106659" y="1713227"/>
                    <a:pt x="106223" y="1725218"/>
                  </a:cubicBezTo>
                  <a:cubicBezTo>
                    <a:pt x="105133" y="1764241"/>
                    <a:pt x="95763" y="1768819"/>
                    <a:pt x="38018" y="1759009"/>
                  </a:cubicBezTo>
                  <a:cubicBezTo>
                    <a:pt x="23854" y="1756611"/>
                    <a:pt x="10997" y="1755085"/>
                    <a:pt x="9472" y="1755521"/>
                  </a:cubicBezTo>
                  <a:cubicBezTo>
                    <a:pt x="7729" y="1756175"/>
                    <a:pt x="6639" y="1760317"/>
                    <a:pt x="6639" y="1765113"/>
                  </a:cubicBezTo>
                  <a:cubicBezTo>
                    <a:pt x="6639" y="1776014"/>
                    <a:pt x="15791" y="1789966"/>
                    <a:pt x="33442" y="1806099"/>
                  </a:cubicBezTo>
                  <a:cubicBezTo>
                    <a:pt x="49785" y="1820705"/>
                    <a:pt x="61552" y="1827899"/>
                    <a:pt x="78113" y="1833350"/>
                  </a:cubicBezTo>
                  <a:cubicBezTo>
                    <a:pt x="90098" y="1837056"/>
                    <a:pt x="116029" y="1837274"/>
                    <a:pt x="690432" y="1837274"/>
                  </a:cubicBezTo>
                  <a:cubicBezTo>
                    <a:pt x="1125594" y="1837492"/>
                    <a:pt x="1290114" y="1836838"/>
                    <a:pt x="1290114" y="1835094"/>
                  </a:cubicBezTo>
                  <a:close/>
                  <a:moveTo>
                    <a:pt x="1505842" y="1831169"/>
                  </a:moveTo>
                  <a:cubicBezTo>
                    <a:pt x="1517827" y="1825719"/>
                    <a:pt x="1516955" y="1820487"/>
                    <a:pt x="1500830" y="1796070"/>
                  </a:cubicBezTo>
                  <a:cubicBezTo>
                    <a:pt x="1483180" y="1769691"/>
                    <a:pt x="1472502" y="1748981"/>
                    <a:pt x="1466183" y="1728052"/>
                  </a:cubicBezTo>
                  <a:lnTo>
                    <a:pt x="1461171" y="1712137"/>
                  </a:lnTo>
                  <a:lnTo>
                    <a:pt x="1460081" y="1028684"/>
                  </a:lnTo>
                  <a:cubicBezTo>
                    <a:pt x="1459428" y="652839"/>
                    <a:pt x="1458774" y="345012"/>
                    <a:pt x="1458338" y="344794"/>
                  </a:cubicBezTo>
                  <a:cubicBezTo>
                    <a:pt x="1458120" y="344358"/>
                    <a:pt x="1456595" y="344140"/>
                    <a:pt x="1455070" y="344140"/>
                  </a:cubicBezTo>
                  <a:cubicBezTo>
                    <a:pt x="1451583" y="344140"/>
                    <a:pt x="1446353" y="333894"/>
                    <a:pt x="1448097" y="330842"/>
                  </a:cubicBezTo>
                  <a:cubicBezTo>
                    <a:pt x="1448968" y="329752"/>
                    <a:pt x="1451365" y="328880"/>
                    <a:pt x="1453544" y="328880"/>
                  </a:cubicBezTo>
                  <a:cubicBezTo>
                    <a:pt x="1458992" y="328880"/>
                    <a:pt x="1461171" y="325174"/>
                    <a:pt x="1457684" y="321031"/>
                  </a:cubicBezTo>
                  <a:cubicBezTo>
                    <a:pt x="1455723" y="318633"/>
                    <a:pt x="1452237" y="317761"/>
                    <a:pt x="1446571" y="318415"/>
                  </a:cubicBezTo>
                  <a:cubicBezTo>
                    <a:pt x="1440906" y="318851"/>
                    <a:pt x="1438291" y="318415"/>
                    <a:pt x="1438291" y="316453"/>
                  </a:cubicBezTo>
                  <a:cubicBezTo>
                    <a:pt x="1438291" y="314927"/>
                    <a:pt x="1439598" y="313619"/>
                    <a:pt x="1441341" y="313619"/>
                  </a:cubicBezTo>
                  <a:cubicBezTo>
                    <a:pt x="1442867" y="313619"/>
                    <a:pt x="1445482" y="312093"/>
                    <a:pt x="1447007" y="310349"/>
                  </a:cubicBezTo>
                  <a:cubicBezTo>
                    <a:pt x="1449186" y="307733"/>
                    <a:pt x="1449186" y="306425"/>
                    <a:pt x="1447007" y="303809"/>
                  </a:cubicBezTo>
                  <a:cubicBezTo>
                    <a:pt x="1444610" y="300975"/>
                    <a:pt x="1443738" y="301193"/>
                    <a:pt x="1438944" y="304899"/>
                  </a:cubicBezTo>
                  <a:cubicBezTo>
                    <a:pt x="1434586" y="308169"/>
                    <a:pt x="1432625" y="308605"/>
                    <a:pt x="1428485" y="306643"/>
                  </a:cubicBezTo>
                  <a:cubicBezTo>
                    <a:pt x="1423909" y="304681"/>
                    <a:pt x="1423691" y="303591"/>
                    <a:pt x="1425652" y="297923"/>
                  </a:cubicBezTo>
                  <a:cubicBezTo>
                    <a:pt x="1426960" y="294217"/>
                    <a:pt x="1427395" y="285496"/>
                    <a:pt x="1426524" y="277866"/>
                  </a:cubicBezTo>
                  <a:cubicBezTo>
                    <a:pt x="1425434" y="266094"/>
                    <a:pt x="1425652" y="263695"/>
                    <a:pt x="1429356" y="260425"/>
                  </a:cubicBezTo>
                  <a:cubicBezTo>
                    <a:pt x="1435240" y="254975"/>
                    <a:pt x="1441341" y="256719"/>
                    <a:pt x="1442213" y="264131"/>
                  </a:cubicBezTo>
                  <a:cubicBezTo>
                    <a:pt x="1443085" y="270454"/>
                    <a:pt x="1444610" y="271544"/>
                    <a:pt x="1448750" y="267402"/>
                  </a:cubicBezTo>
                  <a:cubicBezTo>
                    <a:pt x="1452890" y="263259"/>
                    <a:pt x="1451801" y="259989"/>
                    <a:pt x="1444828" y="253013"/>
                  </a:cubicBezTo>
                  <a:cubicBezTo>
                    <a:pt x="1437201" y="245383"/>
                    <a:pt x="1435676" y="237971"/>
                    <a:pt x="1442431" y="241677"/>
                  </a:cubicBezTo>
                  <a:cubicBezTo>
                    <a:pt x="1449840" y="245601"/>
                    <a:pt x="1457902" y="244511"/>
                    <a:pt x="1457902" y="239497"/>
                  </a:cubicBezTo>
                  <a:cubicBezTo>
                    <a:pt x="1457902" y="236881"/>
                    <a:pt x="1456813" y="235791"/>
                    <a:pt x="1455070" y="236445"/>
                  </a:cubicBezTo>
                  <a:cubicBezTo>
                    <a:pt x="1453544" y="236881"/>
                    <a:pt x="1450929" y="234918"/>
                    <a:pt x="1449186" y="232084"/>
                  </a:cubicBezTo>
                  <a:cubicBezTo>
                    <a:pt x="1446789" y="227506"/>
                    <a:pt x="1446789" y="225980"/>
                    <a:pt x="1449404" y="222928"/>
                  </a:cubicBezTo>
                  <a:cubicBezTo>
                    <a:pt x="1452019" y="219658"/>
                    <a:pt x="1451801" y="219440"/>
                    <a:pt x="1447007" y="220966"/>
                  </a:cubicBezTo>
                  <a:cubicBezTo>
                    <a:pt x="1443956" y="221838"/>
                    <a:pt x="1441559" y="222710"/>
                    <a:pt x="1441559" y="222928"/>
                  </a:cubicBezTo>
                  <a:cubicBezTo>
                    <a:pt x="1441559" y="224672"/>
                    <a:pt x="1436547" y="231212"/>
                    <a:pt x="1435458" y="230994"/>
                  </a:cubicBezTo>
                  <a:cubicBezTo>
                    <a:pt x="1434586" y="230994"/>
                    <a:pt x="1431536" y="230776"/>
                    <a:pt x="1428485" y="230776"/>
                  </a:cubicBezTo>
                  <a:cubicBezTo>
                    <a:pt x="1424998" y="230776"/>
                    <a:pt x="1423037" y="229468"/>
                    <a:pt x="1423037" y="227288"/>
                  </a:cubicBezTo>
                  <a:cubicBezTo>
                    <a:pt x="1423037" y="225108"/>
                    <a:pt x="1424127" y="224236"/>
                    <a:pt x="1426306" y="225108"/>
                  </a:cubicBezTo>
                  <a:cubicBezTo>
                    <a:pt x="1429792" y="226416"/>
                    <a:pt x="1438073" y="222710"/>
                    <a:pt x="1440906" y="218786"/>
                  </a:cubicBezTo>
                  <a:cubicBezTo>
                    <a:pt x="1443520" y="215298"/>
                    <a:pt x="1442867" y="202435"/>
                    <a:pt x="1439816" y="199383"/>
                  </a:cubicBezTo>
                  <a:cubicBezTo>
                    <a:pt x="1438291" y="197857"/>
                    <a:pt x="1433497" y="195241"/>
                    <a:pt x="1428921" y="193933"/>
                  </a:cubicBezTo>
                  <a:cubicBezTo>
                    <a:pt x="1421948" y="191535"/>
                    <a:pt x="1419986" y="191753"/>
                    <a:pt x="1415193" y="194587"/>
                  </a:cubicBezTo>
                  <a:cubicBezTo>
                    <a:pt x="1410834" y="197639"/>
                    <a:pt x="1410399" y="198947"/>
                    <a:pt x="1412142" y="202435"/>
                  </a:cubicBezTo>
                  <a:cubicBezTo>
                    <a:pt x="1414975" y="207668"/>
                    <a:pt x="1422383" y="208104"/>
                    <a:pt x="1427613" y="203307"/>
                  </a:cubicBezTo>
                  <a:cubicBezTo>
                    <a:pt x="1431753" y="199601"/>
                    <a:pt x="1436112" y="200691"/>
                    <a:pt x="1436112" y="205705"/>
                  </a:cubicBezTo>
                  <a:cubicBezTo>
                    <a:pt x="1436112" y="210938"/>
                    <a:pt x="1425870" y="220966"/>
                    <a:pt x="1420640" y="220966"/>
                  </a:cubicBezTo>
                  <a:cubicBezTo>
                    <a:pt x="1414975" y="220966"/>
                    <a:pt x="1414975" y="221838"/>
                    <a:pt x="1417589" y="236009"/>
                  </a:cubicBezTo>
                  <a:cubicBezTo>
                    <a:pt x="1419115" y="244075"/>
                    <a:pt x="1419115" y="244293"/>
                    <a:pt x="1414539" y="241895"/>
                  </a:cubicBezTo>
                  <a:cubicBezTo>
                    <a:pt x="1412142" y="240369"/>
                    <a:pt x="1409963" y="237971"/>
                    <a:pt x="1409963" y="236227"/>
                  </a:cubicBezTo>
                  <a:cubicBezTo>
                    <a:pt x="1409963" y="232520"/>
                    <a:pt x="1403208" y="231866"/>
                    <a:pt x="1399721" y="235354"/>
                  </a:cubicBezTo>
                  <a:cubicBezTo>
                    <a:pt x="1398196" y="236881"/>
                    <a:pt x="1397106" y="236009"/>
                    <a:pt x="1396017" y="232084"/>
                  </a:cubicBezTo>
                  <a:cubicBezTo>
                    <a:pt x="1394273" y="225108"/>
                    <a:pt x="1391223" y="224890"/>
                    <a:pt x="1384250" y="231430"/>
                  </a:cubicBezTo>
                  <a:cubicBezTo>
                    <a:pt x="1379674" y="235572"/>
                    <a:pt x="1378802" y="235791"/>
                    <a:pt x="1376623" y="232956"/>
                  </a:cubicBezTo>
                  <a:cubicBezTo>
                    <a:pt x="1372918" y="228378"/>
                    <a:pt x="1354614" y="228814"/>
                    <a:pt x="1353743" y="233610"/>
                  </a:cubicBezTo>
                  <a:cubicBezTo>
                    <a:pt x="1353089" y="236227"/>
                    <a:pt x="1355268" y="237317"/>
                    <a:pt x="1363548" y="237753"/>
                  </a:cubicBezTo>
                  <a:cubicBezTo>
                    <a:pt x="1371829" y="238189"/>
                    <a:pt x="1373790" y="239061"/>
                    <a:pt x="1373354" y="242113"/>
                  </a:cubicBezTo>
                  <a:cubicBezTo>
                    <a:pt x="1372483" y="247127"/>
                    <a:pt x="1376187" y="248871"/>
                    <a:pt x="1381635" y="246037"/>
                  </a:cubicBezTo>
                  <a:cubicBezTo>
                    <a:pt x="1384032" y="244947"/>
                    <a:pt x="1387954" y="242985"/>
                    <a:pt x="1390351" y="241677"/>
                  </a:cubicBezTo>
                  <a:cubicBezTo>
                    <a:pt x="1395581" y="239061"/>
                    <a:pt x="1397324" y="241459"/>
                    <a:pt x="1395581" y="250179"/>
                  </a:cubicBezTo>
                  <a:cubicBezTo>
                    <a:pt x="1394491" y="255629"/>
                    <a:pt x="1393184" y="256937"/>
                    <a:pt x="1388390" y="256937"/>
                  </a:cubicBezTo>
                  <a:cubicBezTo>
                    <a:pt x="1385121" y="256937"/>
                    <a:pt x="1381417" y="258027"/>
                    <a:pt x="1379892" y="259553"/>
                  </a:cubicBezTo>
                  <a:cubicBezTo>
                    <a:pt x="1376405" y="263041"/>
                    <a:pt x="1371175" y="258245"/>
                    <a:pt x="1370304" y="250833"/>
                  </a:cubicBezTo>
                  <a:cubicBezTo>
                    <a:pt x="1369650" y="244947"/>
                    <a:pt x="1369214" y="244729"/>
                    <a:pt x="1356140" y="244075"/>
                  </a:cubicBezTo>
                  <a:cubicBezTo>
                    <a:pt x="1353307" y="243857"/>
                    <a:pt x="1351128" y="242549"/>
                    <a:pt x="1351128" y="240587"/>
                  </a:cubicBezTo>
                  <a:cubicBezTo>
                    <a:pt x="1351128" y="238625"/>
                    <a:pt x="1349167" y="237317"/>
                    <a:pt x="1346552" y="237317"/>
                  </a:cubicBezTo>
                  <a:cubicBezTo>
                    <a:pt x="1343065" y="237317"/>
                    <a:pt x="1342194" y="236227"/>
                    <a:pt x="1342847" y="231430"/>
                  </a:cubicBezTo>
                  <a:cubicBezTo>
                    <a:pt x="1343283" y="226634"/>
                    <a:pt x="1342411" y="225326"/>
                    <a:pt x="1338053" y="224236"/>
                  </a:cubicBezTo>
                  <a:cubicBezTo>
                    <a:pt x="1332388" y="222928"/>
                    <a:pt x="1329119" y="215516"/>
                    <a:pt x="1334131" y="215516"/>
                  </a:cubicBezTo>
                  <a:cubicBezTo>
                    <a:pt x="1335656" y="215516"/>
                    <a:pt x="1341322" y="217914"/>
                    <a:pt x="1346770" y="220748"/>
                  </a:cubicBezTo>
                  <a:cubicBezTo>
                    <a:pt x="1354178" y="224672"/>
                    <a:pt x="1357883" y="225326"/>
                    <a:pt x="1361805" y="224018"/>
                  </a:cubicBezTo>
                  <a:cubicBezTo>
                    <a:pt x="1365728" y="222492"/>
                    <a:pt x="1366381" y="221402"/>
                    <a:pt x="1364420" y="219004"/>
                  </a:cubicBezTo>
                  <a:cubicBezTo>
                    <a:pt x="1362895" y="217260"/>
                    <a:pt x="1359844" y="216388"/>
                    <a:pt x="1357447" y="217042"/>
                  </a:cubicBezTo>
                  <a:cubicBezTo>
                    <a:pt x="1353525" y="218132"/>
                    <a:pt x="1344591" y="211810"/>
                    <a:pt x="1344591" y="207886"/>
                  </a:cubicBezTo>
                  <a:cubicBezTo>
                    <a:pt x="1344591" y="204833"/>
                    <a:pt x="1357665" y="207232"/>
                    <a:pt x="1359626" y="210720"/>
                  </a:cubicBezTo>
                  <a:cubicBezTo>
                    <a:pt x="1361587" y="213990"/>
                    <a:pt x="1361805" y="213990"/>
                    <a:pt x="1362023" y="209630"/>
                  </a:cubicBezTo>
                  <a:cubicBezTo>
                    <a:pt x="1362023" y="206796"/>
                    <a:pt x="1361151" y="204615"/>
                    <a:pt x="1359844" y="204615"/>
                  </a:cubicBezTo>
                  <a:cubicBezTo>
                    <a:pt x="1358537" y="204615"/>
                    <a:pt x="1358754" y="202435"/>
                    <a:pt x="1360280" y="199165"/>
                  </a:cubicBezTo>
                  <a:cubicBezTo>
                    <a:pt x="1361805" y="195677"/>
                    <a:pt x="1363984" y="193933"/>
                    <a:pt x="1366163" y="194587"/>
                  </a:cubicBezTo>
                  <a:cubicBezTo>
                    <a:pt x="1368125" y="195241"/>
                    <a:pt x="1373354" y="196331"/>
                    <a:pt x="1377930" y="197203"/>
                  </a:cubicBezTo>
                  <a:cubicBezTo>
                    <a:pt x="1386647" y="198729"/>
                    <a:pt x="1388826" y="203525"/>
                    <a:pt x="1381635" y="205705"/>
                  </a:cubicBezTo>
                  <a:cubicBezTo>
                    <a:pt x="1377277" y="207014"/>
                    <a:pt x="1375533" y="214208"/>
                    <a:pt x="1379238" y="216388"/>
                  </a:cubicBezTo>
                  <a:cubicBezTo>
                    <a:pt x="1380327" y="217260"/>
                    <a:pt x="1384032" y="217914"/>
                    <a:pt x="1387518" y="217914"/>
                  </a:cubicBezTo>
                  <a:cubicBezTo>
                    <a:pt x="1390787" y="218132"/>
                    <a:pt x="1395799" y="219222"/>
                    <a:pt x="1398414" y="220530"/>
                  </a:cubicBezTo>
                  <a:cubicBezTo>
                    <a:pt x="1401246" y="221838"/>
                    <a:pt x="1404079" y="222274"/>
                    <a:pt x="1404733" y="221402"/>
                  </a:cubicBezTo>
                  <a:cubicBezTo>
                    <a:pt x="1405605" y="220748"/>
                    <a:pt x="1406258" y="210720"/>
                    <a:pt x="1406476" y="199383"/>
                  </a:cubicBezTo>
                  <a:cubicBezTo>
                    <a:pt x="1406476" y="188047"/>
                    <a:pt x="1407566" y="178019"/>
                    <a:pt x="1408437" y="177146"/>
                  </a:cubicBezTo>
                  <a:cubicBezTo>
                    <a:pt x="1409309" y="176056"/>
                    <a:pt x="1412142" y="176492"/>
                    <a:pt x="1414321" y="178019"/>
                  </a:cubicBezTo>
                  <a:cubicBezTo>
                    <a:pt x="1416718" y="179545"/>
                    <a:pt x="1420422" y="180635"/>
                    <a:pt x="1422601" y="180635"/>
                  </a:cubicBezTo>
                  <a:cubicBezTo>
                    <a:pt x="1424563" y="180635"/>
                    <a:pt x="1428703" y="182161"/>
                    <a:pt x="1431318" y="184123"/>
                  </a:cubicBezTo>
                  <a:cubicBezTo>
                    <a:pt x="1437201" y="188047"/>
                    <a:pt x="1440252" y="186739"/>
                    <a:pt x="1436330" y="181943"/>
                  </a:cubicBezTo>
                  <a:cubicBezTo>
                    <a:pt x="1433497" y="178455"/>
                    <a:pt x="1435022" y="169734"/>
                    <a:pt x="1438291" y="169734"/>
                  </a:cubicBezTo>
                  <a:cubicBezTo>
                    <a:pt x="1440688" y="169734"/>
                    <a:pt x="1446135" y="158616"/>
                    <a:pt x="1448097" y="150332"/>
                  </a:cubicBezTo>
                  <a:cubicBezTo>
                    <a:pt x="1449186" y="145317"/>
                    <a:pt x="1448314" y="143137"/>
                    <a:pt x="1443520" y="139431"/>
                  </a:cubicBezTo>
                  <a:cubicBezTo>
                    <a:pt x="1438291" y="135289"/>
                    <a:pt x="1437855" y="134199"/>
                    <a:pt x="1440034" y="129185"/>
                  </a:cubicBezTo>
                  <a:cubicBezTo>
                    <a:pt x="1443303" y="122209"/>
                    <a:pt x="1443303" y="121773"/>
                    <a:pt x="1439816" y="121773"/>
                  </a:cubicBezTo>
                  <a:cubicBezTo>
                    <a:pt x="1437201" y="121773"/>
                    <a:pt x="1427395" y="110654"/>
                    <a:pt x="1427395" y="107602"/>
                  </a:cubicBezTo>
                  <a:cubicBezTo>
                    <a:pt x="1427395" y="106948"/>
                    <a:pt x="1429356" y="106512"/>
                    <a:pt x="1431971" y="106512"/>
                  </a:cubicBezTo>
                  <a:cubicBezTo>
                    <a:pt x="1435240" y="106512"/>
                    <a:pt x="1436112" y="105422"/>
                    <a:pt x="1435022" y="102370"/>
                  </a:cubicBezTo>
                  <a:cubicBezTo>
                    <a:pt x="1434150" y="99754"/>
                    <a:pt x="1435894" y="95830"/>
                    <a:pt x="1439598" y="91470"/>
                  </a:cubicBezTo>
                  <a:cubicBezTo>
                    <a:pt x="1443085" y="87327"/>
                    <a:pt x="1444610" y="83621"/>
                    <a:pt x="1443520" y="82531"/>
                  </a:cubicBezTo>
                  <a:cubicBezTo>
                    <a:pt x="1441341" y="80351"/>
                    <a:pt x="1427395" y="86237"/>
                    <a:pt x="1427395" y="89507"/>
                  </a:cubicBezTo>
                  <a:cubicBezTo>
                    <a:pt x="1427395" y="90598"/>
                    <a:pt x="1426306" y="90816"/>
                    <a:pt x="1425216" y="90161"/>
                  </a:cubicBezTo>
                  <a:cubicBezTo>
                    <a:pt x="1423909" y="89289"/>
                    <a:pt x="1423473" y="87763"/>
                    <a:pt x="1424345" y="86673"/>
                  </a:cubicBezTo>
                  <a:cubicBezTo>
                    <a:pt x="1424998" y="85583"/>
                    <a:pt x="1426088" y="79915"/>
                    <a:pt x="1426524" y="74029"/>
                  </a:cubicBezTo>
                  <a:cubicBezTo>
                    <a:pt x="1427177" y="66399"/>
                    <a:pt x="1426524" y="62693"/>
                    <a:pt x="1424127" y="60730"/>
                  </a:cubicBezTo>
                  <a:cubicBezTo>
                    <a:pt x="1420204" y="57460"/>
                    <a:pt x="1415410" y="60512"/>
                    <a:pt x="1413013" y="67925"/>
                  </a:cubicBezTo>
                  <a:cubicBezTo>
                    <a:pt x="1412360" y="70541"/>
                    <a:pt x="1410181" y="74465"/>
                    <a:pt x="1408437" y="76427"/>
                  </a:cubicBezTo>
                  <a:cubicBezTo>
                    <a:pt x="1406476" y="78607"/>
                    <a:pt x="1405605" y="81877"/>
                    <a:pt x="1406476" y="83839"/>
                  </a:cubicBezTo>
                  <a:cubicBezTo>
                    <a:pt x="1407784" y="87327"/>
                    <a:pt x="1408219" y="87109"/>
                    <a:pt x="1411052" y="83403"/>
                  </a:cubicBezTo>
                  <a:cubicBezTo>
                    <a:pt x="1413885" y="79479"/>
                    <a:pt x="1414321" y="79479"/>
                    <a:pt x="1417807" y="82967"/>
                  </a:cubicBezTo>
                  <a:cubicBezTo>
                    <a:pt x="1421076" y="86019"/>
                    <a:pt x="1421294" y="87763"/>
                    <a:pt x="1419115" y="91688"/>
                  </a:cubicBezTo>
                  <a:cubicBezTo>
                    <a:pt x="1417807" y="94522"/>
                    <a:pt x="1416282" y="100190"/>
                    <a:pt x="1416064" y="104332"/>
                  </a:cubicBezTo>
                  <a:cubicBezTo>
                    <a:pt x="1415193" y="113270"/>
                    <a:pt x="1409309" y="115014"/>
                    <a:pt x="1408219" y="106512"/>
                  </a:cubicBezTo>
                  <a:cubicBezTo>
                    <a:pt x="1407130" y="99536"/>
                    <a:pt x="1403861" y="95612"/>
                    <a:pt x="1398849" y="95612"/>
                  </a:cubicBezTo>
                  <a:cubicBezTo>
                    <a:pt x="1392748" y="95612"/>
                    <a:pt x="1391441" y="90816"/>
                    <a:pt x="1396452" y="86673"/>
                  </a:cubicBezTo>
                  <a:cubicBezTo>
                    <a:pt x="1400375" y="83621"/>
                    <a:pt x="1400593" y="82749"/>
                    <a:pt x="1397760" y="81659"/>
                  </a:cubicBezTo>
                  <a:cubicBezTo>
                    <a:pt x="1395581" y="80787"/>
                    <a:pt x="1394927" y="78825"/>
                    <a:pt x="1395581" y="76427"/>
                  </a:cubicBezTo>
                  <a:cubicBezTo>
                    <a:pt x="1397324" y="70977"/>
                    <a:pt x="1388826" y="62693"/>
                    <a:pt x="1385993" y="67271"/>
                  </a:cubicBezTo>
                  <a:cubicBezTo>
                    <a:pt x="1384250" y="69887"/>
                    <a:pt x="1385557" y="108474"/>
                    <a:pt x="1387300" y="110654"/>
                  </a:cubicBezTo>
                  <a:cubicBezTo>
                    <a:pt x="1387736" y="111090"/>
                    <a:pt x="1389479" y="110218"/>
                    <a:pt x="1391223" y="108910"/>
                  </a:cubicBezTo>
                  <a:cubicBezTo>
                    <a:pt x="1396452" y="104550"/>
                    <a:pt x="1399067" y="107820"/>
                    <a:pt x="1396452" y="115232"/>
                  </a:cubicBezTo>
                  <a:cubicBezTo>
                    <a:pt x="1394055" y="122209"/>
                    <a:pt x="1391441" y="123517"/>
                    <a:pt x="1389479" y="119156"/>
                  </a:cubicBezTo>
                  <a:cubicBezTo>
                    <a:pt x="1388826" y="117194"/>
                    <a:pt x="1387736" y="117412"/>
                    <a:pt x="1385993" y="120247"/>
                  </a:cubicBezTo>
                  <a:cubicBezTo>
                    <a:pt x="1384685" y="122209"/>
                    <a:pt x="1381635" y="123953"/>
                    <a:pt x="1379238" y="123953"/>
                  </a:cubicBezTo>
                  <a:cubicBezTo>
                    <a:pt x="1374226" y="123953"/>
                    <a:pt x="1371175" y="130275"/>
                    <a:pt x="1375098" y="132673"/>
                  </a:cubicBezTo>
                  <a:cubicBezTo>
                    <a:pt x="1378584" y="134853"/>
                    <a:pt x="1385993" y="132891"/>
                    <a:pt x="1387518" y="129185"/>
                  </a:cubicBezTo>
                  <a:cubicBezTo>
                    <a:pt x="1389262" y="124607"/>
                    <a:pt x="1394055" y="125479"/>
                    <a:pt x="1397760" y="130929"/>
                  </a:cubicBezTo>
                  <a:lnTo>
                    <a:pt x="1401246" y="135725"/>
                  </a:lnTo>
                  <a:lnTo>
                    <a:pt x="1406040" y="131147"/>
                  </a:lnTo>
                  <a:cubicBezTo>
                    <a:pt x="1409745" y="127441"/>
                    <a:pt x="1410181" y="125697"/>
                    <a:pt x="1408219" y="123299"/>
                  </a:cubicBezTo>
                  <a:cubicBezTo>
                    <a:pt x="1406040" y="120901"/>
                    <a:pt x="1406258" y="119593"/>
                    <a:pt x="1408655" y="117630"/>
                  </a:cubicBezTo>
                  <a:cubicBezTo>
                    <a:pt x="1410834" y="115886"/>
                    <a:pt x="1412142" y="115668"/>
                    <a:pt x="1413231" y="117412"/>
                  </a:cubicBezTo>
                  <a:cubicBezTo>
                    <a:pt x="1413885" y="118502"/>
                    <a:pt x="1418025" y="119593"/>
                    <a:pt x="1422166" y="119593"/>
                  </a:cubicBezTo>
                  <a:cubicBezTo>
                    <a:pt x="1426306" y="119593"/>
                    <a:pt x="1429574" y="120247"/>
                    <a:pt x="1429574" y="121337"/>
                  </a:cubicBezTo>
                  <a:cubicBezTo>
                    <a:pt x="1429356" y="125043"/>
                    <a:pt x="1425216" y="129403"/>
                    <a:pt x="1421512" y="129403"/>
                  </a:cubicBezTo>
                  <a:cubicBezTo>
                    <a:pt x="1418243" y="129403"/>
                    <a:pt x="1417589" y="131365"/>
                    <a:pt x="1417372" y="140957"/>
                  </a:cubicBezTo>
                  <a:cubicBezTo>
                    <a:pt x="1417372" y="147279"/>
                    <a:pt x="1416064" y="153602"/>
                    <a:pt x="1414757" y="154910"/>
                  </a:cubicBezTo>
                  <a:cubicBezTo>
                    <a:pt x="1411488" y="158180"/>
                    <a:pt x="1411488" y="161014"/>
                    <a:pt x="1414321" y="161014"/>
                  </a:cubicBezTo>
                  <a:cubicBezTo>
                    <a:pt x="1415628" y="161014"/>
                    <a:pt x="1416500" y="159488"/>
                    <a:pt x="1416500" y="157744"/>
                  </a:cubicBezTo>
                  <a:cubicBezTo>
                    <a:pt x="1416500" y="156000"/>
                    <a:pt x="1417372" y="154474"/>
                    <a:pt x="1418461" y="154474"/>
                  </a:cubicBezTo>
                  <a:cubicBezTo>
                    <a:pt x="1419551" y="154474"/>
                    <a:pt x="1421076" y="149678"/>
                    <a:pt x="1421948" y="143573"/>
                  </a:cubicBezTo>
                  <a:cubicBezTo>
                    <a:pt x="1422819" y="137687"/>
                    <a:pt x="1424127" y="132237"/>
                    <a:pt x="1425216" y="131583"/>
                  </a:cubicBezTo>
                  <a:cubicBezTo>
                    <a:pt x="1426088" y="130929"/>
                    <a:pt x="1429356" y="132455"/>
                    <a:pt x="1431971" y="134853"/>
                  </a:cubicBezTo>
                  <a:cubicBezTo>
                    <a:pt x="1436983" y="138995"/>
                    <a:pt x="1436983" y="139431"/>
                    <a:pt x="1433279" y="142265"/>
                  </a:cubicBezTo>
                  <a:cubicBezTo>
                    <a:pt x="1430446" y="144445"/>
                    <a:pt x="1430010" y="146843"/>
                    <a:pt x="1430882" y="152076"/>
                  </a:cubicBezTo>
                  <a:cubicBezTo>
                    <a:pt x="1431971" y="157308"/>
                    <a:pt x="1431536" y="158834"/>
                    <a:pt x="1429139" y="158834"/>
                  </a:cubicBezTo>
                  <a:cubicBezTo>
                    <a:pt x="1426960" y="158834"/>
                    <a:pt x="1426088" y="160360"/>
                    <a:pt x="1426742" y="163848"/>
                  </a:cubicBezTo>
                  <a:cubicBezTo>
                    <a:pt x="1427831" y="170170"/>
                    <a:pt x="1422601" y="177364"/>
                    <a:pt x="1417807" y="175620"/>
                  </a:cubicBezTo>
                  <a:cubicBezTo>
                    <a:pt x="1415846" y="174748"/>
                    <a:pt x="1414321" y="172132"/>
                    <a:pt x="1414321" y="169734"/>
                  </a:cubicBezTo>
                  <a:cubicBezTo>
                    <a:pt x="1414321" y="165156"/>
                    <a:pt x="1411270" y="163848"/>
                    <a:pt x="1408873" y="167554"/>
                  </a:cubicBezTo>
                  <a:cubicBezTo>
                    <a:pt x="1408219" y="168862"/>
                    <a:pt x="1404079" y="169734"/>
                    <a:pt x="1400157" y="169734"/>
                  </a:cubicBezTo>
                  <a:cubicBezTo>
                    <a:pt x="1393838" y="169734"/>
                    <a:pt x="1392312" y="168862"/>
                    <a:pt x="1391223" y="164284"/>
                  </a:cubicBezTo>
                  <a:cubicBezTo>
                    <a:pt x="1389479" y="157090"/>
                    <a:pt x="1391659" y="154910"/>
                    <a:pt x="1396888" y="158398"/>
                  </a:cubicBezTo>
                  <a:cubicBezTo>
                    <a:pt x="1402990" y="162104"/>
                    <a:pt x="1405605" y="161668"/>
                    <a:pt x="1407566" y="156218"/>
                  </a:cubicBezTo>
                  <a:cubicBezTo>
                    <a:pt x="1409745" y="149896"/>
                    <a:pt x="1405822" y="143137"/>
                    <a:pt x="1401029" y="144663"/>
                  </a:cubicBezTo>
                  <a:cubicBezTo>
                    <a:pt x="1398632" y="145535"/>
                    <a:pt x="1397106" y="144227"/>
                    <a:pt x="1396235" y="141175"/>
                  </a:cubicBezTo>
                  <a:cubicBezTo>
                    <a:pt x="1394927" y="136597"/>
                    <a:pt x="1394709" y="136597"/>
                    <a:pt x="1389915" y="139649"/>
                  </a:cubicBezTo>
                  <a:cubicBezTo>
                    <a:pt x="1386211" y="142047"/>
                    <a:pt x="1384903" y="145099"/>
                    <a:pt x="1385121" y="150332"/>
                  </a:cubicBezTo>
                  <a:cubicBezTo>
                    <a:pt x="1385121" y="160142"/>
                    <a:pt x="1382506" y="161450"/>
                    <a:pt x="1373354" y="156218"/>
                  </a:cubicBezTo>
                  <a:cubicBezTo>
                    <a:pt x="1366381" y="152512"/>
                    <a:pt x="1365510" y="152294"/>
                    <a:pt x="1363766" y="155346"/>
                  </a:cubicBezTo>
                  <a:cubicBezTo>
                    <a:pt x="1361151" y="160142"/>
                    <a:pt x="1355486" y="159706"/>
                    <a:pt x="1355486" y="154910"/>
                  </a:cubicBezTo>
                  <a:cubicBezTo>
                    <a:pt x="1355486" y="149024"/>
                    <a:pt x="1353525" y="147933"/>
                    <a:pt x="1348513" y="150768"/>
                  </a:cubicBezTo>
                  <a:cubicBezTo>
                    <a:pt x="1344155" y="153384"/>
                    <a:pt x="1337182" y="167336"/>
                    <a:pt x="1339143" y="169298"/>
                  </a:cubicBezTo>
                  <a:cubicBezTo>
                    <a:pt x="1339797" y="169952"/>
                    <a:pt x="1341976" y="168862"/>
                    <a:pt x="1344155" y="166900"/>
                  </a:cubicBezTo>
                  <a:cubicBezTo>
                    <a:pt x="1349167" y="162322"/>
                    <a:pt x="1353307" y="162104"/>
                    <a:pt x="1353307" y="166464"/>
                  </a:cubicBezTo>
                  <a:cubicBezTo>
                    <a:pt x="1353307" y="172132"/>
                    <a:pt x="1359408" y="172568"/>
                    <a:pt x="1365510" y="167772"/>
                  </a:cubicBezTo>
                  <a:cubicBezTo>
                    <a:pt x="1372483" y="162322"/>
                    <a:pt x="1381635" y="161232"/>
                    <a:pt x="1377277" y="166464"/>
                  </a:cubicBezTo>
                  <a:cubicBezTo>
                    <a:pt x="1375751" y="168208"/>
                    <a:pt x="1373354" y="169734"/>
                    <a:pt x="1371829" y="169734"/>
                  </a:cubicBezTo>
                  <a:cubicBezTo>
                    <a:pt x="1370521" y="169734"/>
                    <a:pt x="1367471" y="171696"/>
                    <a:pt x="1365292" y="174094"/>
                  </a:cubicBezTo>
                  <a:cubicBezTo>
                    <a:pt x="1362241" y="177364"/>
                    <a:pt x="1362023" y="179109"/>
                    <a:pt x="1363984" y="181507"/>
                  </a:cubicBezTo>
                  <a:cubicBezTo>
                    <a:pt x="1366163" y="183905"/>
                    <a:pt x="1365292" y="185431"/>
                    <a:pt x="1360280" y="189137"/>
                  </a:cubicBezTo>
                  <a:cubicBezTo>
                    <a:pt x="1354178" y="193279"/>
                    <a:pt x="1351128" y="193279"/>
                    <a:pt x="1351128" y="188701"/>
                  </a:cubicBezTo>
                  <a:cubicBezTo>
                    <a:pt x="1351128" y="187611"/>
                    <a:pt x="1352653" y="187175"/>
                    <a:pt x="1354396" y="188047"/>
                  </a:cubicBezTo>
                  <a:cubicBezTo>
                    <a:pt x="1356358" y="188701"/>
                    <a:pt x="1357665" y="188047"/>
                    <a:pt x="1357665" y="186303"/>
                  </a:cubicBezTo>
                  <a:cubicBezTo>
                    <a:pt x="1357665" y="182161"/>
                    <a:pt x="1349602" y="180635"/>
                    <a:pt x="1338053" y="182815"/>
                  </a:cubicBezTo>
                  <a:cubicBezTo>
                    <a:pt x="1326286" y="184995"/>
                    <a:pt x="1319749" y="182379"/>
                    <a:pt x="1321274" y="175838"/>
                  </a:cubicBezTo>
                  <a:cubicBezTo>
                    <a:pt x="1321928" y="173440"/>
                    <a:pt x="1321492" y="169734"/>
                    <a:pt x="1320185" y="167554"/>
                  </a:cubicBezTo>
                  <a:cubicBezTo>
                    <a:pt x="1318877" y="165592"/>
                    <a:pt x="1318442" y="162104"/>
                    <a:pt x="1319095" y="160142"/>
                  </a:cubicBezTo>
                  <a:cubicBezTo>
                    <a:pt x="1321492" y="154256"/>
                    <a:pt x="1326504" y="158616"/>
                    <a:pt x="1328030" y="167772"/>
                  </a:cubicBezTo>
                  <a:cubicBezTo>
                    <a:pt x="1328683" y="172350"/>
                    <a:pt x="1330209" y="176274"/>
                    <a:pt x="1331080" y="176274"/>
                  </a:cubicBezTo>
                  <a:cubicBezTo>
                    <a:pt x="1333695" y="176274"/>
                    <a:pt x="1332824" y="157526"/>
                    <a:pt x="1329773" y="154038"/>
                  </a:cubicBezTo>
                  <a:cubicBezTo>
                    <a:pt x="1327594" y="151422"/>
                    <a:pt x="1328030" y="149678"/>
                    <a:pt x="1331734" y="144881"/>
                  </a:cubicBezTo>
                  <a:cubicBezTo>
                    <a:pt x="1335874" y="139431"/>
                    <a:pt x="1336746" y="139213"/>
                    <a:pt x="1340014" y="142483"/>
                  </a:cubicBezTo>
                  <a:cubicBezTo>
                    <a:pt x="1342194" y="144227"/>
                    <a:pt x="1346552" y="145535"/>
                    <a:pt x="1349602" y="145317"/>
                  </a:cubicBezTo>
                  <a:cubicBezTo>
                    <a:pt x="1354614" y="144881"/>
                    <a:pt x="1355268" y="144009"/>
                    <a:pt x="1354832" y="138123"/>
                  </a:cubicBezTo>
                  <a:cubicBezTo>
                    <a:pt x="1354396" y="132673"/>
                    <a:pt x="1355268" y="131583"/>
                    <a:pt x="1359408" y="131583"/>
                  </a:cubicBezTo>
                  <a:cubicBezTo>
                    <a:pt x="1367471" y="131583"/>
                    <a:pt x="1369214" y="125915"/>
                    <a:pt x="1362895" y="119374"/>
                  </a:cubicBezTo>
                  <a:cubicBezTo>
                    <a:pt x="1356140" y="112180"/>
                    <a:pt x="1357665" y="105422"/>
                    <a:pt x="1365945" y="107602"/>
                  </a:cubicBezTo>
                  <a:cubicBezTo>
                    <a:pt x="1369432" y="108474"/>
                    <a:pt x="1372701" y="107602"/>
                    <a:pt x="1375315" y="105204"/>
                  </a:cubicBezTo>
                  <a:cubicBezTo>
                    <a:pt x="1380981" y="100190"/>
                    <a:pt x="1380545" y="96048"/>
                    <a:pt x="1374008" y="92996"/>
                  </a:cubicBezTo>
                  <a:cubicBezTo>
                    <a:pt x="1369214" y="90816"/>
                    <a:pt x="1367689" y="91252"/>
                    <a:pt x="1362241" y="96484"/>
                  </a:cubicBezTo>
                  <a:lnTo>
                    <a:pt x="1356140" y="102370"/>
                  </a:lnTo>
                  <a:lnTo>
                    <a:pt x="1352653" y="94086"/>
                  </a:lnTo>
                  <a:cubicBezTo>
                    <a:pt x="1349602" y="86455"/>
                    <a:pt x="1349602" y="85583"/>
                    <a:pt x="1352653" y="83185"/>
                  </a:cubicBezTo>
                  <a:cubicBezTo>
                    <a:pt x="1355704" y="81005"/>
                    <a:pt x="1356793" y="81223"/>
                    <a:pt x="1359190" y="84711"/>
                  </a:cubicBezTo>
                  <a:cubicBezTo>
                    <a:pt x="1362459" y="89289"/>
                    <a:pt x="1369650" y="90379"/>
                    <a:pt x="1375098" y="86891"/>
                  </a:cubicBezTo>
                  <a:cubicBezTo>
                    <a:pt x="1377930" y="85147"/>
                    <a:pt x="1377930" y="84711"/>
                    <a:pt x="1374662" y="84711"/>
                  </a:cubicBezTo>
                  <a:cubicBezTo>
                    <a:pt x="1367035" y="84711"/>
                    <a:pt x="1360062" y="79915"/>
                    <a:pt x="1360498" y="75119"/>
                  </a:cubicBezTo>
                  <a:cubicBezTo>
                    <a:pt x="1360934" y="71413"/>
                    <a:pt x="1359844" y="70759"/>
                    <a:pt x="1355486" y="71195"/>
                  </a:cubicBezTo>
                  <a:cubicBezTo>
                    <a:pt x="1352435" y="71631"/>
                    <a:pt x="1347205" y="72067"/>
                    <a:pt x="1343937" y="72067"/>
                  </a:cubicBezTo>
                  <a:cubicBezTo>
                    <a:pt x="1340450" y="72067"/>
                    <a:pt x="1338489" y="72939"/>
                    <a:pt x="1339797" y="73593"/>
                  </a:cubicBezTo>
                  <a:cubicBezTo>
                    <a:pt x="1340886" y="74247"/>
                    <a:pt x="1341758" y="81659"/>
                    <a:pt x="1341976" y="89943"/>
                  </a:cubicBezTo>
                  <a:cubicBezTo>
                    <a:pt x="1341976" y="101062"/>
                    <a:pt x="1343065" y="105640"/>
                    <a:pt x="1345462" y="106948"/>
                  </a:cubicBezTo>
                  <a:cubicBezTo>
                    <a:pt x="1347205" y="108038"/>
                    <a:pt x="1350256" y="110436"/>
                    <a:pt x="1352217" y="112180"/>
                  </a:cubicBezTo>
                  <a:cubicBezTo>
                    <a:pt x="1355268" y="115232"/>
                    <a:pt x="1355268" y="116104"/>
                    <a:pt x="1352653" y="119374"/>
                  </a:cubicBezTo>
                  <a:cubicBezTo>
                    <a:pt x="1350910" y="121337"/>
                    <a:pt x="1348949" y="124825"/>
                    <a:pt x="1348513" y="127223"/>
                  </a:cubicBezTo>
                  <a:cubicBezTo>
                    <a:pt x="1347423" y="133545"/>
                    <a:pt x="1334131" y="133763"/>
                    <a:pt x="1328247" y="127659"/>
                  </a:cubicBezTo>
                  <a:cubicBezTo>
                    <a:pt x="1324979" y="123953"/>
                    <a:pt x="1318660" y="111090"/>
                    <a:pt x="1318442" y="106948"/>
                  </a:cubicBezTo>
                  <a:cubicBezTo>
                    <a:pt x="1318442" y="106730"/>
                    <a:pt x="1320185" y="107384"/>
                    <a:pt x="1322364" y="108474"/>
                  </a:cubicBezTo>
                  <a:cubicBezTo>
                    <a:pt x="1324325" y="109564"/>
                    <a:pt x="1327594" y="111090"/>
                    <a:pt x="1329555" y="111526"/>
                  </a:cubicBezTo>
                  <a:cubicBezTo>
                    <a:pt x="1331952" y="112398"/>
                    <a:pt x="1332824" y="114578"/>
                    <a:pt x="1331952" y="119374"/>
                  </a:cubicBezTo>
                  <a:cubicBezTo>
                    <a:pt x="1331080" y="125043"/>
                    <a:pt x="1331734" y="126133"/>
                    <a:pt x="1335438" y="126133"/>
                  </a:cubicBezTo>
                  <a:cubicBezTo>
                    <a:pt x="1343065" y="126133"/>
                    <a:pt x="1345244" y="114142"/>
                    <a:pt x="1337835" y="111962"/>
                  </a:cubicBezTo>
                  <a:cubicBezTo>
                    <a:pt x="1334131" y="110654"/>
                    <a:pt x="1333477" y="109128"/>
                    <a:pt x="1334349" y="103678"/>
                  </a:cubicBezTo>
                  <a:cubicBezTo>
                    <a:pt x="1335003" y="98664"/>
                    <a:pt x="1334131" y="96048"/>
                    <a:pt x="1330644" y="93214"/>
                  </a:cubicBezTo>
                  <a:cubicBezTo>
                    <a:pt x="1325850" y="89289"/>
                    <a:pt x="1320621" y="89943"/>
                    <a:pt x="1320621" y="94740"/>
                  </a:cubicBezTo>
                  <a:cubicBezTo>
                    <a:pt x="1320621" y="96484"/>
                    <a:pt x="1318660" y="97792"/>
                    <a:pt x="1316263" y="97792"/>
                  </a:cubicBezTo>
                  <a:cubicBezTo>
                    <a:pt x="1312340" y="97792"/>
                    <a:pt x="1311904" y="99318"/>
                    <a:pt x="1311904" y="110000"/>
                  </a:cubicBezTo>
                  <a:cubicBezTo>
                    <a:pt x="1311904" y="116540"/>
                    <a:pt x="1312994" y="123953"/>
                    <a:pt x="1314083" y="126133"/>
                  </a:cubicBezTo>
                  <a:cubicBezTo>
                    <a:pt x="1315827" y="129403"/>
                    <a:pt x="1315391" y="130711"/>
                    <a:pt x="1312122" y="132673"/>
                  </a:cubicBezTo>
                  <a:cubicBezTo>
                    <a:pt x="1309725" y="133763"/>
                    <a:pt x="1305803" y="134853"/>
                    <a:pt x="1303188" y="134853"/>
                  </a:cubicBezTo>
                  <a:cubicBezTo>
                    <a:pt x="1300573" y="134853"/>
                    <a:pt x="1299048" y="135725"/>
                    <a:pt x="1299919" y="136815"/>
                  </a:cubicBezTo>
                  <a:cubicBezTo>
                    <a:pt x="1300573" y="137905"/>
                    <a:pt x="1300137" y="139431"/>
                    <a:pt x="1298830" y="140303"/>
                  </a:cubicBezTo>
                  <a:cubicBezTo>
                    <a:pt x="1297523" y="140957"/>
                    <a:pt x="1295997" y="139867"/>
                    <a:pt x="1295126" y="137687"/>
                  </a:cubicBezTo>
                  <a:cubicBezTo>
                    <a:pt x="1294254" y="135507"/>
                    <a:pt x="1292293" y="132455"/>
                    <a:pt x="1290767" y="130711"/>
                  </a:cubicBezTo>
                  <a:cubicBezTo>
                    <a:pt x="1286845" y="127005"/>
                    <a:pt x="1288370" y="122645"/>
                    <a:pt x="1293164" y="123517"/>
                  </a:cubicBezTo>
                  <a:cubicBezTo>
                    <a:pt x="1297087" y="124171"/>
                    <a:pt x="1301881" y="114360"/>
                    <a:pt x="1300137" y="109346"/>
                  </a:cubicBezTo>
                  <a:cubicBezTo>
                    <a:pt x="1299484" y="107820"/>
                    <a:pt x="1295779" y="106512"/>
                    <a:pt x="1291421" y="106512"/>
                  </a:cubicBezTo>
                  <a:cubicBezTo>
                    <a:pt x="1279218" y="106512"/>
                    <a:pt x="1273117" y="103024"/>
                    <a:pt x="1269412" y="94086"/>
                  </a:cubicBezTo>
                  <a:lnTo>
                    <a:pt x="1265926" y="85801"/>
                  </a:lnTo>
                  <a:lnTo>
                    <a:pt x="1260478" y="92342"/>
                  </a:lnTo>
                  <a:cubicBezTo>
                    <a:pt x="1245878" y="109782"/>
                    <a:pt x="1247186" y="109128"/>
                    <a:pt x="1231061" y="107602"/>
                  </a:cubicBezTo>
                  <a:cubicBezTo>
                    <a:pt x="1217333" y="106294"/>
                    <a:pt x="1216243" y="106512"/>
                    <a:pt x="1214936" y="110872"/>
                  </a:cubicBezTo>
                  <a:cubicBezTo>
                    <a:pt x="1212974" y="116976"/>
                    <a:pt x="1217333" y="121991"/>
                    <a:pt x="1223652" y="120465"/>
                  </a:cubicBezTo>
                  <a:cubicBezTo>
                    <a:pt x="1227138" y="119593"/>
                    <a:pt x="1229535" y="120683"/>
                    <a:pt x="1231932" y="124171"/>
                  </a:cubicBezTo>
                  <a:lnTo>
                    <a:pt x="1235419" y="128967"/>
                  </a:lnTo>
                  <a:lnTo>
                    <a:pt x="1243264" y="123081"/>
                  </a:lnTo>
                  <a:cubicBezTo>
                    <a:pt x="1247622" y="119593"/>
                    <a:pt x="1252198" y="114578"/>
                    <a:pt x="1253287" y="111526"/>
                  </a:cubicBezTo>
                  <a:cubicBezTo>
                    <a:pt x="1255031" y="106512"/>
                    <a:pt x="1256120" y="106294"/>
                    <a:pt x="1263529" y="107384"/>
                  </a:cubicBezTo>
                  <a:cubicBezTo>
                    <a:pt x="1276385" y="109782"/>
                    <a:pt x="1279218" y="110872"/>
                    <a:pt x="1279218" y="114142"/>
                  </a:cubicBezTo>
                  <a:cubicBezTo>
                    <a:pt x="1279218" y="115886"/>
                    <a:pt x="1277693" y="116540"/>
                    <a:pt x="1275078" y="115886"/>
                  </a:cubicBezTo>
                  <a:cubicBezTo>
                    <a:pt x="1268323" y="114142"/>
                    <a:pt x="1267669" y="119156"/>
                    <a:pt x="1274206" y="122209"/>
                  </a:cubicBezTo>
                  <a:cubicBezTo>
                    <a:pt x="1281397" y="125697"/>
                    <a:pt x="1283359" y="132019"/>
                    <a:pt x="1277693" y="133109"/>
                  </a:cubicBezTo>
                  <a:cubicBezTo>
                    <a:pt x="1272027" y="134417"/>
                    <a:pt x="1266144" y="132455"/>
                    <a:pt x="1266144" y="129403"/>
                  </a:cubicBezTo>
                  <a:cubicBezTo>
                    <a:pt x="1266144" y="128095"/>
                    <a:pt x="1264183" y="125043"/>
                    <a:pt x="1261786" y="122863"/>
                  </a:cubicBezTo>
                  <a:cubicBezTo>
                    <a:pt x="1257428" y="118938"/>
                    <a:pt x="1257210" y="118938"/>
                    <a:pt x="1252634" y="123517"/>
                  </a:cubicBezTo>
                  <a:cubicBezTo>
                    <a:pt x="1248493" y="127441"/>
                    <a:pt x="1247840" y="130711"/>
                    <a:pt x="1247840" y="143573"/>
                  </a:cubicBezTo>
                  <a:cubicBezTo>
                    <a:pt x="1247840" y="163194"/>
                    <a:pt x="1250019" y="165374"/>
                    <a:pt x="1260260" y="155564"/>
                  </a:cubicBezTo>
                  <a:cubicBezTo>
                    <a:pt x="1268105" y="147933"/>
                    <a:pt x="1272681" y="147061"/>
                    <a:pt x="1272681" y="153602"/>
                  </a:cubicBezTo>
                  <a:cubicBezTo>
                    <a:pt x="1272681" y="155346"/>
                    <a:pt x="1271156" y="156654"/>
                    <a:pt x="1269412" y="156654"/>
                  </a:cubicBezTo>
                  <a:cubicBezTo>
                    <a:pt x="1267451" y="156654"/>
                    <a:pt x="1264836" y="159052"/>
                    <a:pt x="1263529" y="162104"/>
                  </a:cubicBezTo>
                  <a:cubicBezTo>
                    <a:pt x="1262222" y="165156"/>
                    <a:pt x="1260042" y="167772"/>
                    <a:pt x="1258735" y="167772"/>
                  </a:cubicBezTo>
                  <a:cubicBezTo>
                    <a:pt x="1257428" y="167990"/>
                    <a:pt x="1254813" y="168208"/>
                    <a:pt x="1253069" y="168426"/>
                  </a:cubicBezTo>
                  <a:cubicBezTo>
                    <a:pt x="1251108" y="168426"/>
                    <a:pt x="1249583" y="171260"/>
                    <a:pt x="1249147" y="175184"/>
                  </a:cubicBezTo>
                  <a:cubicBezTo>
                    <a:pt x="1248275" y="185431"/>
                    <a:pt x="1244135" y="191753"/>
                    <a:pt x="1239123" y="191099"/>
                  </a:cubicBezTo>
                  <a:cubicBezTo>
                    <a:pt x="1236291" y="190663"/>
                    <a:pt x="1234983" y="189137"/>
                    <a:pt x="1235419" y="187175"/>
                  </a:cubicBezTo>
                  <a:cubicBezTo>
                    <a:pt x="1237598" y="179327"/>
                    <a:pt x="1237816" y="170606"/>
                    <a:pt x="1235855" y="167554"/>
                  </a:cubicBezTo>
                  <a:cubicBezTo>
                    <a:pt x="1233894" y="164720"/>
                    <a:pt x="1232804" y="164720"/>
                    <a:pt x="1228882" y="167118"/>
                  </a:cubicBezTo>
                  <a:cubicBezTo>
                    <a:pt x="1222780" y="171042"/>
                    <a:pt x="1222344" y="170170"/>
                    <a:pt x="1225395" y="160360"/>
                  </a:cubicBezTo>
                  <a:cubicBezTo>
                    <a:pt x="1228010" y="152076"/>
                    <a:pt x="1229971" y="150550"/>
                    <a:pt x="1232368" y="154474"/>
                  </a:cubicBezTo>
                  <a:cubicBezTo>
                    <a:pt x="1234329" y="157744"/>
                    <a:pt x="1242174" y="157090"/>
                    <a:pt x="1242174" y="153820"/>
                  </a:cubicBezTo>
                  <a:cubicBezTo>
                    <a:pt x="1242174" y="152294"/>
                    <a:pt x="1240867" y="149024"/>
                    <a:pt x="1239123" y="146625"/>
                  </a:cubicBezTo>
                  <a:cubicBezTo>
                    <a:pt x="1237162" y="144227"/>
                    <a:pt x="1236508" y="140303"/>
                    <a:pt x="1237162" y="137033"/>
                  </a:cubicBezTo>
                  <a:cubicBezTo>
                    <a:pt x="1238470" y="132019"/>
                    <a:pt x="1238252" y="131801"/>
                    <a:pt x="1234765" y="134635"/>
                  </a:cubicBezTo>
                  <a:cubicBezTo>
                    <a:pt x="1231714" y="137251"/>
                    <a:pt x="1230625" y="137033"/>
                    <a:pt x="1227356" y="133981"/>
                  </a:cubicBezTo>
                  <a:cubicBezTo>
                    <a:pt x="1222344" y="129621"/>
                    <a:pt x="1220383" y="131365"/>
                    <a:pt x="1220383" y="139649"/>
                  </a:cubicBezTo>
                  <a:cubicBezTo>
                    <a:pt x="1220383" y="142919"/>
                    <a:pt x="1219512" y="145753"/>
                    <a:pt x="1218204" y="145753"/>
                  </a:cubicBezTo>
                  <a:cubicBezTo>
                    <a:pt x="1217115" y="145753"/>
                    <a:pt x="1216025" y="141829"/>
                    <a:pt x="1216025" y="137251"/>
                  </a:cubicBezTo>
                  <a:cubicBezTo>
                    <a:pt x="1216025" y="127223"/>
                    <a:pt x="1212321" y="123735"/>
                    <a:pt x="1208180" y="129403"/>
                  </a:cubicBezTo>
                  <a:cubicBezTo>
                    <a:pt x="1206001" y="132455"/>
                    <a:pt x="1205784" y="134199"/>
                    <a:pt x="1207745" y="136379"/>
                  </a:cubicBezTo>
                  <a:cubicBezTo>
                    <a:pt x="1209488" y="138559"/>
                    <a:pt x="1209488" y="140085"/>
                    <a:pt x="1207745" y="141829"/>
                  </a:cubicBezTo>
                  <a:cubicBezTo>
                    <a:pt x="1206219" y="143355"/>
                    <a:pt x="1205130" y="146625"/>
                    <a:pt x="1205130" y="149460"/>
                  </a:cubicBezTo>
                  <a:cubicBezTo>
                    <a:pt x="1205130" y="161232"/>
                    <a:pt x="1196196" y="149678"/>
                    <a:pt x="1195978" y="137469"/>
                  </a:cubicBezTo>
                  <a:cubicBezTo>
                    <a:pt x="1195760" y="133327"/>
                    <a:pt x="1193581" y="128095"/>
                    <a:pt x="1190530" y="124825"/>
                  </a:cubicBezTo>
                  <a:cubicBezTo>
                    <a:pt x="1187915" y="121773"/>
                    <a:pt x="1185518" y="118720"/>
                    <a:pt x="1185518" y="118066"/>
                  </a:cubicBezTo>
                  <a:cubicBezTo>
                    <a:pt x="1185518" y="117194"/>
                    <a:pt x="1183993" y="114796"/>
                    <a:pt x="1181814" y="112616"/>
                  </a:cubicBezTo>
                  <a:cubicBezTo>
                    <a:pt x="1179853" y="110436"/>
                    <a:pt x="1178763" y="108038"/>
                    <a:pt x="1179417" y="107384"/>
                  </a:cubicBezTo>
                  <a:cubicBezTo>
                    <a:pt x="1181378" y="105640"/>
                    <a:pt x="1189876" y="111526"/>
                    <a:pt x="1189876" y="114796"/>
                  </a:cubicBezTo>
                  <a:cubicBezTo>
                    <a:pt x="1189876" y="116322"/>
                    <a:pt x="1192273" y="118502"/>
                    <a:pt x="1195106" y="119593"/>
                  </a:cubicBezTo>
                  <a:cubicBezTo>
                    <a:pt x="1197939" y="120683"/>
                    <a:pt x="1200990" y="122645"/>
                    <a:pt x="1201861" y="123735"/>
                  </a:cubicBezTo>
                  <a:cubicBezTo>
                    <a:pt x="1204694" y="128531"/>
                    <a:pt x="1206219" y="125915"/>
                    <a:pt x="1206437" y="116322"/>
                  </a:cubicBezTo>
                  <a:cubicBezTo>
                    <a:pt x="1206655" y="109346"/>
                    <a:pt x="1205784" y="106512"/>
                    <a:pt x="1203604" y="106512"/>
                  </a:cubicBezTo>
                  <a:cubicBezTo>
                    <a:pt x="1202079" y="106512"/>
                    <a:pt x="1200772" y="107602"/>
                    <a:pt x="1200772" y="108692"/>
                  </a:cubicBezTo>
                  <a:cubicBezTo>
                    <a:pt x="1200772" y="110000"/>
                    <a:pt x="1199900" y="110872"/>
                    <a:pt x="1198593" y="110872"/>
                  </a:cubicBezTo>
                  <a:cubicBezTo>
                    <a:pt x="1197503" y="110872"/>
                    <a:pt x="1196413" y="108910"/>
                    <a:pt x="1196413" y="106512"/>
                  </a:cubicBezTo>
                  <a:cubicBezTo>
                    <a:pt x="1196413" y="103678"/>
                    <a:pt x="1193799" y="100844"/>
                    <a:pt x="1188787" y="98446"/>
                  </a:cubicBezTo>
                  <a:cubicBezTo>
                    <a:pt x="1182685" y="95612"/>
                    <a:pt x="1181160" y="93432"/>
                    <a:pt x="1181160" y="88635"/>
                  </a:cubicBezTo>
                  <a:cubicBezTo>
                    <a:pt x="1181160" y="83621"/>
                    <a:pt x="1182032" y="82531"/>
                    <a:pt x="1186608" y="82531"/>
                  </a:cubicBezTo>
                  <a:cubicBezTo>
                    <a:pt x="1190530" y="82531"/>
                    <a:pt x="1192709" y="84057"/>
                    <a:pt x="1194234" y="87981"/>
                  </a:cubicBezTo>
                  <a:cubicBezTo>
                    <a:pt x="1196631" y="94304"/>
                    <a:pt x="1198375" y="94740"/>
                    <a:pt x="1204258" y="90161"/>
                  </a:cubicBezTo>
                  <a:cubicBezTo>
                    <a:pt x="1208398" y="86891"/>
                    <a:pt x="1208398" y="86891"/>
                    <a:pt x="1204258" y="83621"/>
                  </a:cubicBezTo>
                  <a:cubicBezTo>
                    <a:pt x="1201861" y="81877"/>
                    <a:pt x="1198593" y="80351"/>
                    <a:pt x="1197067" y="80351"/>
                  </a:cubicBezTo>
                  <a:cubicBezTo>
                    <a:pt x="1195542" y="80351"/>
                    <a:pt x="1194234" y="78825"/>
                    <a:pt x="1194234" y="77081"/>
                  </a:cubicBezTo>
                  <a:cubicBezTo>
                    <a:pt x="1194234" y="75337"/>
                    <a:pt x="1195542" y="73811"/>
                    <a:pt x="1197285" y="73811"/>
                  </a:cubicBezTo>
                  <a:cubicBezTo>
                    <a:pt x="1199028" y="73811"/>
                    <a:pt x="1200772" y="72503"/>
                    <a:pt x="1201425" y="71195"/>
                  </a:cubicBezTo>
                  <a:cubicBezTo>
                    <a:pt x="1202515" y="67707"/>
                    <a:pt x="1209488" y="72939"/>
                    <a:pt x="1209488" y="77299"/>
                  </a:cubicBezTo>
                  <a:cubicBezTo>
                    <a:pt x="1209488" y="78825"/>
                    <a:pt x="1211449" y="80787"/>
                    <a:pt x="1213846" y="81441"/>
                  </a:cubicBezTo>
                  <a:cubicBezTo>
                    <a:pt x="1217115" y="82531"/>
                    <a:pt x="1218204" y="84711"/>
                    <a:pt x="1218204" y="90379"/>
                  </a:cubicBezTo>
                  <a:cubicBezTo>
                    <a:pt x="1218204" y="99536"/>
                    <a:pt x="1221255" y="99754"/>
                    <a:pt x="1230407" y="91470"/>
                  </a:cubicBezTo>
                  <a:cubicBezTo>
                    <a:pt x="1238034" y="84711"/>
                    <a:pt x="1239777" y="73157"/>
                    <a:pt x="1234329" y="67271"/>
                  </a:cubicBezTo>
                  <a:cubicBezTo>
                    <a:pt x="1232586" y="65527"/>
                    <a:pt x="1229535" y="61603"/>
                    <a:pt x="1227138" y="58768"/>
                  </a:cubicBezTo>
                  <a:cubicBezTo>
                    <a:pt x="1224524" y="55280"/>
                    <a:pt x="1221909" y="53972"/>
                    <a:pt x="1219730" y="54844"/>
                  </a:cubicBezTo>
                  <a:cubicBezTo>
                    <a:pt x="1213846" y="57024"/>
                    <a:pt x="1215154" y="62911"/>
                    <a:pt x="1221473" y="62911"/>
                  </a:cubicBezTo>
                  <a:cubicBezTo>
                    <a:pt x="1226485" y="62911"/>
                    <a:pt x="1226921" y="63783"/>
                    <a:pt x="1226921" y="71631"/>
                  </a:cubicBezTo>
                  <a:cubicBezTo>
                    <a:pt x="1226921" y="76427"/>
                    <a:pt x="1226049" y="80351"/>
                    <a:pt x="1224741" y="80351"/>
                  </a:cubicBezTo>
                  <a:cubicBezTo>
                    <a:pt x="1223652" y="80351"/>
                    <a:pt x="1222562" y="79479"/>
                    <a:pt x="1222562" y="78389"/>
                  </a:cubicBezTo>
                  <a:cubicBezTo>
                    <a:pt x="1222562" y="75555"/>
                    <a:pt x="1213192" y="66181"/>
                    <a:pt x="1208616" y="64437"/>
                  </a:cubicBezTo>
                  <a:cubicBezTo>
                    <a:pt x="1205784" y="63347"/>
                    <a:pt x="1204912" y="61603"/>
                    <a:pt x="1206001" y="57460"/>
                  </a:cubicBezTo>
                  <a:cubicBezTo>
                    <a:pt x="1207091" y="52882"/>
                    <a:pt x="1206655" y="52010"/>
                    <a:pt x="1202951" y="52010"/>
                  </a:cubicBezTo>
                  <a:cubicBezTo>
                    <a:pt x="1200336" y="52010"/>
                    <a:pt x="1197503" y="54190"/>
                    <a:pt x="1195978" y="57460"/>
                  </a:cubicBezTo>
                  <a:cubicBezTo>
                    <a:pt x="1191184" y="68143"/>
                    <a:pt x="1185082" y="63565"/>
                    <a:pt x="1184429" y="48522"/>
                  </a:cubicBezTo>
                  <a:cubicBezTo>
                    <a:pt x="1184211" y="40892"/>
                    <a:pt x="1184646" y="39802"/>
                    <a:pt x="1186608" y="42636"/>
                  </a:cubicBezTo>
                  <a:cubicBezTo>
                    <a:pt x="1188569" y="45252"/>
                    <a:pt x="1191184" y="45906"/>
                    <a:pt x="1197067" y="44816"/>
                  </a:cubicBezTo>
                  <a:cubicBezTo>
                    <a:pt x="1201425" y="44162"/>
                    <a:pt x="1205566" y="44598"/>
                    <a:pt x="1206219" y="45688"/>
                  </a:cubicBezTo>
                  <a:cubicBezTo>
                    <a:pt x="1208834" y="49830"/>
                    <a:pt x="1215154" y="47432"/>
                    <a:pt x="1219076" y="40892"/>
                  </a:cubicBezTo>
                  <a:cubicBezTo>
                    <a:pt x="1221255" y="37186"/>
                    <a:pt x="1222562" y="33698"/>
                    <a:pt x="1221909" y="33262"/>
                  </a:cubicBezTo>
                  <a:cubicBezTo>
                    <a:pt x="1219947" y="31081"/>
                    <a:pt x="1196413" y="30645"/>
                    <a:pt x="1195106" y="32608"/>
                  </a:cubicBezTo>
                  <a:cubicBezTo>
                    <a:pt x="1193145" y="36096"/>
                    <a:pt x="1181160" y="34788"/>
                    <a:pt x="1181160" y="31299"/>
                  </a:cubicBezTo>
                  <a:cubicBezTo>
                    <a:pt x="1181160" y="29555"/>
                    <a:pt x="1180070" y="28029"/>
                    <a:pt x="1178981" y="28029"/>
                  </a:cubicBezTo>
                  <a:cubicBezTo>
                    <a:pt x="1175712" y="28029"/>
                    <a:pt x="1172008" y="38712"/>
                    <a:pt x="1173751" y="43726"/>
                  </a:cubicBezTo>
                  <a:cubicBezTo>
                    <a:pt x="1174405" y="45906"/>
                    <a:pt x="1173751" y="49394"/>
                    <a:pt x="1172226" y="51356"/>
                  </a:cubicBezTo>
                  <a:cubicBezTo>
                    <a:pt x="1169829" y="54190"/>
                    <a:pt x="1170047" y="55062"/>
                    <a:pt x="1172879" y="57242"/>
                  </a:cubicBezTo>
                  <a:cubicBezTo>
                    <a:pt x="1178763" y="61603"/>
                    <a:pt x="1175712" y="83185"/>
                    <a:pt x="1168086" y="91252"/>
                  </a:cubicBezTo>
                  <a:cubicBezTo>
                    <a:pt x="1160241" y="99754"/>
                    <a:pt x="1163074" y="105640"/>
                    <a:pt x="1171354" y="97792"/>
                  </a:cubicBezTo>
                  <a:cubicBezTo>
                    <a:pt x="1176584" y="92996"/>
                    <a:pt x="1177020" y="92778"/>
                    <a:pt x="1180506" y="96266"/>
                  </a:cubicBezTo>
                  <a:cubicBezTo>
                    <a:pt x="1183993" y="99754"/>
                    <a:pt x="1183993" y="100190"/>
                    <a:pt x="1180724" y="103460"/>
                  </a:cubicBezTo>
                  <a:cubicBezTo>
                    <a:pt x="1177020" y="107384"/>
                    <a:pt x="1157408" y="109346"/>
                    <a:pt x="1152614" y="106512"/>
                  </a:cubicBezTo>
                  <a:cubicBezTo>
                    <a:pt x="1149999" y="104768"/>
                    <a:pt x="1151307" y="97356"/>
                    <a:pt x="1156319" y="85583"/>
                  </a:cubicBezTo>
                  <a:cubicBezTo>
                    <a:pt x="1157626" y="82313"/>
                    <a:pt x="1150435" y="79697"/>
                    <a:pt x="1147602" y="82531"/>
                  </a:cubicBezTo>
                  <a:cubicBezTo>
                    <a:pt x="1146295" y="83839"/>
                    <a:pt x="1144334" y="83621"/>
                    <a:pt x="1141719" y="81223"/>
                  </a:cubicBezTo>
                  <a:cubicBezTo>
                    <a:pt x="1138668" y="78389"/>
                    <a:pt x="1138232" y="76863"/>
                    <a:pt x="1140193" y="72503"/>
                  </a:cubicBezTo>
                  <a:cubicBezTo>
                    <a:pt x="1143026" y="66617"/>
                    <a:pt x="1139322" y="60294"/>
                    <a:pt x="1133438" y="60948"/>
                  </a:cubicBezTo>
                  <a:cubicBezTo>
                    <a:pt x="1131477" y="61166"/>
                    <a:pt x="1127119" y="60294"/>
                    <a:pt x="1123632" y="58768"/>
                  </a:cubicBezTo>
                  <a:cubicBezTo>
                    <a:pt x="1118403" y="56588"/>
                    <a:pt x="1117531" y="55280"/>
                    <a:pt x="1118403" y="49830"/>
                  </a:cubicBezTo>
                  <a:cubicBezTo>
                    <a:pt x="1119274" y="44380"/>
                    <a:pt x="1118838" y="43508"/>
                    <a:pt x="1115570" y="44380"/>
                  </a:cubicBezTo>
                  <a:cubicBezTo>
                    <a:pt x="1112955" y="45252"/>
                    <a:pt x="1110122" y="43508"/>
                    <a:pt x="1106854" y="38930"/>
                  </a:cubicBezTo>
                  <a:cubicBezTo>
                    <a:pt x="1101624" y="32171"/>
                    <a:pt x="1097266" y="30427"/>
                    <a:pt x="1095740" y="35006"/>
                  </a:cubicBezTo>
                  <a:cubicBezTo>
                    <a:pt x="1093997" y="40238"/>
                    <a:pt x="1089639" y="33916"/>
                    <a:pt x="1090075" y="26939"/>
                  </a:cubicBezTo>
                  <a:cubicBezTo>
                    <a:pt x="1090293" y="22143"/>
                    <a:pt x="1088985" y="18001"/>
                    <a:pt x="1086370" y="14949"/>
                  </a:cubicBezTo>
                  <a:cubicBezTo>
                    <a:pt x="1081140" y="9281"/>
                    <a:pt x="1082230" y="8409"/>
                    <a:pt x="1093561" y="9935"/>
                  </a:cubicBezTo>
                  <a:cubicBezTo>
                    <a:pt x="1102060" y="11025"/>
                    <a:pt x="1102931" y="11679"/>
                    <a:pt x="1101842" y="16257"/>
                  </a:cubicBezTo>
                  <a:cubicBezTo>
                    <a:pt x="1101188" y="18873"/>
                    <a:pt x="1101624" y="23887"/>
                    <a:pt x="1103149" y="26939"/>
                  </a:cubicBezTo>
                  <a:cubicBezTo>
                    <a:pt x="1105110" y="31517"/>
                    <a:pt x="1106854" y="32608"/>
                    <a:pt x="1111212" y="31735"/>
                  </a:cubicBezTo>
                  <a:cubicBezTo>
                    <a:pt x="1114262" y="31081"/>
                    <a:pt x="1118403" y="31517"/>
                    <a:pt x="1120146" y="32389"/>
                  </a:cubicBezTo>
                  <a:cubicBezTo>
                    <a:pt x="1122107" y="33480"/>
                    <a:pt x="1124940" y="33480"/>
                    <a:pt x="1126683" y="32389"/>
                  </a:cubicBezTo>
                  <a:cubicBezTo>
                    <a:pt x="1130823" y="29773"/>
                    <a:pt x="1139322" y="34352"/>
                    <a:pt x="1140629" y="40020"/>
                  </a:cubicBezTo>
                  <a:cubicBezTo>
                    <a:pt x="1141283" y="42854"/>
                    <a:pt x="1141283" y="48086"/>
                    <a:pt x="1140629" y="51792"/>
                  </a:cubicBezTo>
                  <a:cubicBezTo>
                    <a:pt x="1139540" y="57024"/>
                    <a:pt x="1139975" y="58550"/>
                    <a:pt x="1142590" y="58550"/>
                  </a:cubicBezTo>
                  <a:cubicBezTo>
                    <a:pt x="1144334" y="58550"/>
                    <a:pt x="1146295" y="60730"/>
                    <a:pt x="1146949" y="63565"/>
                  </a:cubicBezTo>
                  <a:cubicBezTo>
                    <a:pt x="1147820" y="66181"/>
                    <a:pt x="1150435" y="69451"/>
                    <a:pt x="1153268" y="70541"/>
                  </a:cubicBezTo>
                  <a:cubicBezTo>
                    <a:pt x="1156101" y="71849"/>
                    <a:pt x="1158498" y="74901"/>
                    <a:pt x="1158933" y="77735"/>
                  </a:cubicBezTo>
                  <a:cubicBezTo>
                    <a:pt x="1159805" y="83185"/>
                    <a:pt x="1161984" y="83839"/>
                    <a:pt x="1165689" y="79479"/>
                  </a:cubicBezTo>
                  <a:cubicBezTo>
                    <a:pt x="1167650" y="77081"/>
                    <a:pt x="1167868" y="75119"/>
                    <a:pt x="1165906" y="71849"/>
                  </a:cubicBezTo>
                  <a:cubicBezTo>
                    <a:pt x="1164381" y="68579"/>
                    <a:pt x="1164163" y="65963"/>
                    <a:pt x="1165906" y="63129"/>
                  </a:cubicBezTo>
                  <a:cubicBezTo>
                    <a:pt x="1168521" y="58114"/>
                    <a:pt x="1166124" y="55716"/>
                    <a:pt x="1161548" y="58768"/>
                  </a:cubicBezTo>
                  <a:cubicBezTo>
                    <a:pt x="1156319" y="61821"/>
                    <a:pt x="1154575" y="61166"/>
                    <a:pt x="1155447" y="55934"/>
                  </a:cubicBezTo>
                  <a:cubicBezTo>
                    <a:pt x="1155883" y="52882"/>
                    <a:pt x="1158062" y="50484"/>
                    <a:pt x="1161548" y="49612"/>
                  </a:cubicBezTo>
                  <a:lnTo>
                    <a:pt x="1166996" y="48304"/>
                  </a:lnTo>
                  <a:lnTo>
                    <a:pt x="1160895" y="45688"/>
                  </a:lnTo>
                  <a:cubicBezTo>
                    <a:pt x="1157408" y="44380"/>
                    <a:pt x="1153922" y="43290"/>
                    <a:pt x="1152832" y="43290"/>
                  </a:cubicBezTo>
                  <a:cubicBezTo>
                    <a:pt x="1151960" y="43290"/>
                    <a:pt x="1150435" y="40892"/>
                    <a:pt x="1149781" y="37840"/>
                  </a:cubicBezTo>
                  <a:cubicBezTo>
                    <a:pt x="1148910" y="34352"/>
                    <a:pt x="1146949" y="32389"/>
                    <a:pt x="1144116" y="32389"/>
                  </a:cubicBezTo>
                  <a:cubicBezTo>
                    <a:pt x="1141719" y="32389"/>
                    <a:pt x="1139758" y="30863"/>
                    <a:pt x="1139758" y="29119"/>
                  </a:cubicBezTo>
                  <a:cubicBezTo>
                    <a:pt x="1139758" y="27375"/>
                    <a:pt x="1140847" y="25849"/>
                    <a:pt x="1141937" y="25849"/>
                  </a:cubicBezTo>
                  <a:cubicBezTo>
                    <a:pt x="1143244" y="25849"/>
                    <a:pt x="1144116" y="24323"/>
                    <a:pt x="1144116" y="22361"/>
                  </a:cubicBezTo>
                  <a:cubicBezTo>
                    <a:pt x="1144116" y="19309"/>
                    <a:pt x="1143462" y="19309"/>
                    <a:pt x="1140847" y="21489"/>
                  </a:cubicBezTo>
                  <a:cubicBezTo>
                    <a:pt x="1135399" y="26067"/>
                    <a:pt x="1134310" y="21925"/>
                    <a:pt x="1139322" y="16475"/>
                  </a:cubicBezTo>
                  <a:cubicBezTo>
                    <a:pt x="1141937" y="13641"/>
                    <a:pt x="1144116" y="10371"/>
                    <a:pt x="1144116" y="8845"/>
                  </a:cubicBezTo>
                  <a:cubicBezTo>
                    <a:pt x="1144116" y="5575"/>
                    <a:pt x="1121235" y="5139"/>
                    <a:pt x="916402" y="5139"/>
                  </a:cubicBezTo>
                  <a:lnTo>
                    <a:pt x="739897" y="5139"/>
                  </a:lnTo>
                  <a:lnTo>
                    <a:pt x="740551" y="10371"/>
                  </a:lnTo>
                  <a:cubicBezTo>
                    <a:pt x="741205" y="13859"/>
                    <a:pt x="740333" y="15167"/>
                    <a:pt x="738372" y="14513"/>
                  </a:cubicBezTo>
                  <a:cubicBezTo>
                    <a:pt x="736847" y="13859"/>
                    <a:pt x="735539" y="11679"/>
                    <a:pt x="735539" y="9281"/>
                  </a:cubicBezTo>
                  <a:cubicBezTo>
                    <a:pt x="735539" y="5357"/>
                    <a:pt x="732924" y="5139"/>
                    <a:pt x="664719" y="5139"/>
                  </a:cubicBezTo>
                  <a:lnTo>
                    <a:pt x="593899" y="5139"/>
                  </a:lnTo>
                  <a:lnTo>
                    <a:pt x="593899" y="13859"/>
                  </a:lnTo>
                  <a:cubicBezTo>
                    <a:pt x="593899" y="21053"/>
                    <a:pt x="593246" y="22579"/>
                    <a:pt x="589541" y="22579"/>
                  </a:cubicBezTo>
                  <a:cubicBezTo>
                    <a:pt x="584529" y="22579"/>
                    <a:pt x="582350" y="14295"/>
                    <a:pt x="586273" y="9499"/>
                  </a:cubicBezTo>
                  <a:cubicBezTo>
                    <a:pt x="587580" y="7973"/>
                    <a:pt x="587798" y="6229"/>
                    <a:pt x="586926" y="5575"/>
                  </a:cubicBezTo>
                  <a:cubicBezTo>
                    <a:pt x="586055" y="4921"/>
                    <a:pt x="561649" y="4921"/>
                    <a:pt x="532885" y="5357"/>
                  </a:cubicBezTo>
                  <a:cubicBezTo>
                    <a:pt x="504122" y="5793"/>
                    <a:pt x="477319" y="6229"/>
                    <a:pt x="473615" y="6229"/>
                  </a:cubicBezTo>
                  <a:cubicBezTo>
                    <a:pt x="466859" y="6229"/>
                    <a:pt x="466642" y="6665"/>
                    <a:pt x="466642" y="14513"/>
                  </a:cubicBezTo>
                  <a:cubicBezTo>
                    <a:pt x="466859" y="18873"/>
                    <a:pt x="466642" y="24541"/>
                    <a:pt x="466206" y="26939"/>
                  </a:cubicBezTo>
                  <a:cubicBezTo>
                    <a:pt x="465116" y="32608"/>
                    <a:pt x="471436" y="33698"/>
                    <a:pt x="477101" y="28683"/>
                  </a:cubicBezTo>
                  <a:cubicBezTo>
                    <a:pt x="479716" y="26721"/>
                    <a:pt x="481677" y="22797"/>
                    <a:pt x="481895" y="20399"/>
                  </a:cubicBezTo>
                  <a:cubicBezTo>
                    <a:pt x="481895" y="16257"/>
                    <a:pt x="482113" y="16475"/>
                    <a:pt x="483856" y="21053"/>
                  </a:cubicBezTo>
                  <a:cubicBezTo>
                    <a:pt x="484946" y="23669"/>
                    <a:pt x="486907" y="25849"/>
                    <a:pt x="488214" y="25849"/>
                  </a:cubicBezTo>
                  <a:cubicBezTo>
                    <a:pt x="489304" y="25849"/>
                    <a:pt x="490393" y="30427"/>
                    <a:pt x="490393" y="35878"/>
                  </a:cubicBezTo>
                  <a:cubicBezTo>
                    <a:pt x="490393" y="45034"/>
                    <a:pt x="489958" y="45906"/>
                    <a:pt x="486035" y="44816"/>
                  </a:cubicBezTo>
                  <a:cubicBezTo>
                    <a:pt x="482985" y="43944"/>
                    <a:pt x="480588" y="45252"/>
                    <a:pt x="478191" y="48958"/>
                  </a:cubicBezTo>
                  <a:cubicBezTo>
                    <a:pt x="473179" y="56370"/>
                    <a:pt x="468603" y="55716"/>
                    <a:pt x="468603" y="47650"/>
                  </a:cubicBezTo>
                  <a:cubicBezTo>
                    <a:pt x="468603" y="41110"/>
                    <a:pt x="463591" y="36532"/>
                    <a:pt x="460322" y="40020"/>
                  </a:cubicBezTo>
                  <a:cubicBezTo>
                    <a:pt x="459451" y="40892"/>
                    <a:pt x="458797" y="48522"/>
                    <a:pt x="458797" y="57024"/>
                  </a:cubicBezTo>
                  <a:cubicBezTo>
                    <a:pt x="458797" y="66181"/>
                    <a:pt x="457925" y="72503"/>
                    <a:pt x="456618" y="72503"/>
                  </a:cubicBezTo>
                  <a:cubicBezTo>
                    <a:pt x="455528" y="72285"/>
                    <a:pt x="450734" y="71413"/>
                    <a:pt x="446158" y="70759"/>
                  </a:cubicBezTo>
                  <a:cubicBezTo>
                    <a:pt x="439621" y="69451"/>
                    <a:pt x="438096" y="69887"/>
                    <a:pt x="438096" y="72721"/>
                  </a:cubicBezTo>
                  <a:cubicBezTo>
                    <a:pt x="438096" y="74465"/>
                    <a:pt x="437442" y="75991"/>
                    <a:pt x="436570" y="75991"/>
                  </a:cubicBezTo>
                  <a:cubicBezTo>
                    <a:pt x="435481" y="76209"/>
                    <a:pt x="432648" y="77953"/>
                    <a:pt x="429815" y="80133"/>
                  </a:cubicBezTo>
                  <a:cubicBezTo>
                    <a:pt x="424368" y="84929"/>
                    <a:pt x="425457" y="91252"/>
                    <a:pt x="431776" y="91252"/>
                  </a:cubicBezTo>
                  <a:cubicBezTo>
                    <a:pt x="436788" y="91252"/>
                    <a:pt x="437224" y="94740"/>
                    <a:pt x="432648" y="99318"/>
                  </a:cubicBezTo>
                  <a:cubicBezTo>
                    <a:pt x="428072" y="103896"/>
                    <a:pt x="430905" y="107166"/>
                    <a:pt x="438096" y="105640"/>
                  </a:cubicBezTo>
                  <a:cubicBezTo>
                    <a:pt x="446812" y="104114"/>
                    <a:pt x="450952" y="109346"/>
                    <a:pt x="445722" y="115232"/>
                  </a:cubicBezTo>
                  <a:cubicBezTo>
                    <a:pt x="443543" y="117630"/>
                    <a:pt x="440928" y="119593"/>
                    <a:pt x="439621" y="119593"/>
                  </a:cubicBezTo>
                  <a:cubicBezTo>
                    <a:pt x="436788" y="119593"/>
                    <a:pt x="424803" y="106294"/>
                    <a:pt x="426111" y="104332"/>
                  </a:cubicBezTo>
                  <a:cubicBezTo>
                    <a:pt x="426764" y="103460"/>
                    <a:pt x="424803" y="101062"/>
                    <a:pt x="421753" y="99100"/>
                  </a:cubicBezTo>
                  <a:cubicBezTo>
                    <a:pt x="418702" y="97138"/>
                    <a:pt x="416523" y="93868"/>
                    <a:pt x="416741" y="91688"/>
                  </a:cubicBezTo>
                  <a:cubicBezTo>
                    <a:pt x="417394" y="82313"/>
                    <a:pt x="416305" y="80351"/>
                    <a:pt x="411293" y="81441"/>
                  </a:cubicBezTo>
                  <a:cubicBezTo>
                    <a:pt x="408242" y="82095"/>
                    <a:pt x="404538" y="80787"/>
                    <a:pt x="401269" y="77953"/>
                  </a:cubicBezTo>
                  <a:cubicBezTo>
                    <a:pt x="396911" y="74465"/>
                    <a:pt x="396040" y="71849"/>
                    <a:pt x="396475" y="64655"/>
                  </a:cubicBezTo>
                  <a:lnTo>
                    <a:pt x="396911" y="55716"/>
                  </a:lnTo>
                  <a:lnTo>
                    <a:pt x="389284" y="57024"/>
                  </a:lnTo>
                  <a:cubicBezTo>
                    <a:pt x="383837" y="57896"/>
                    <a:pt x="381440" y="57242"/>
                    <a:pt x="380568" y="55062"/>
                  </a:cubicBezTo>
                  <a:cubicBezTo>
                    <a:pt x="378825" y="50702"/>
                    <a:pt x="381222" y="45470"/>
                    <a:pt x="384926" y="45470"/>
                  </a:cubicBezTo>
                  <a:cubicBezTo>
                    <a:pt x="387105" y="45470"/>
                    <a:pt x="387541" y="43726"/>
                    <a:pt x="386670" y="38930"/>
                  </a:cubicBezTo>
                  <a:cubicBezTo>
                    <a:pt x="385798" y="34788"/>
                    <a:pt x="386234" y="32389"/>
                    <a:pt x="387759" y="32389"/>
                  </a:cubicBezTo>
                  <a:cubicBezTo>
                    <a:pt x="389067" y="32389"/>
                    <a:pt x="390156" y="33480"/>
                    <a:pt x="390156" y="35006"/>
                  </a:cubicBezTo>
                  <a:cubicBezTo>
                    <a:pt x="390156" y="36314"/>
                    <a:pt x="391899" y="35878"/>
                    <a:pt x="394296" y="33698"/>
                  </a:cubicBezTo>
                  <a:cubicBezTo>
                    <a:pt x="399308" y="29119"/>
                    <a:pt x="404974" y="29773"/>
                    <a:pt x="408460" y="35006"/>
                  </a:cubicBezTo>
                  <a:cubicBezTo>
                    <a:pt x="410204" y="37840"/>
                    <a:pt x="409768" y="40456"/>
                    <a:pt x="406935" y="45470"/>
                  </a:cubicBezTo>
                  <a:cubicBezTo>
                    <a:pt x="404320" y="49830"/>
                    <a:pt x="403448" y="53754"/>
                    <a:pt x="404538" y="57024"/>
                  </a:cubicBezTo>
                  <a:cubicBezTo>
                    <a:pt x="405627" y="59640"/>
                    <a:pt x="406063" y="63129"/>
                    <a:pt x="405627" y="64655"/>
                  </a:cubicBezTo>
                  <a:cubicBezTo>
                    <a:pt x="405192" y="66835"/>
                    <a:pt x="406499" y="67271"/>
                    <a:pt x="410204" y="66181"/>
                  </a:cubicBezTo>
                  <a:cubicBezTo>
                    <a:pt x="418048" y="63783"/>
                    <a:pt x="418484" y="62475"/>
                    <a:pt x="414126" y="53754"/>
                  </a:cubicBezTo>
                  <a:cubicBezTo>
                    <a:pt x="409550" y="44380"/>
                    <a:pt x="411947" y="41110"/>
                    <a:pt x="418484" y="47650"/>
                  </a:cubicBezTo>
                  <a:cubicBezTo>
                    <a:pt x="426764" y="55934"/>
                    <a:pt x="429815" y="52446"/>
                    <a:pt x="423932" y="40892"/>
                  </a:cubicBezTo>
                  <a:cubicBezTo>
                    <a:pt x="420663" y="34788"/>
                    <a:pt x="420663" y="34352"/>
                    <a:pt x="425675" y="32608"/>
                  </a:cubicBezTo>
                  <a:cubicBezTo>
                    <a:pt x="432430" y="29991"/>
                    <a:pt x="438096" y="21053"/>
                    <a:pt x="436570" y="15167"/>
                  </a:cubicBezTo>
                  <a:cubicBezTo>
                    <a:pt x="435481" y="11025"/>
                    <a:pt x="436352" y="10589"/>
                    <a:pt x="443325" y="10589"/>
                  </a:cubicBezTo>
                  <a:cubicBezTo>
                    <a:pt x="447684" y="10589"/>
                    <a:pt x="451170" y="11461"/>
                    <a:pt x="451170" y="12769"/>
                  </a:cubicBezTo>
                  <a:cubicBezTo>
                    <a:pt x="451170" y="13859"/>
                    <a:pt x="447684" y="18219"/>
                    <a:pt x="443543" y="22361"/>
                  </a:cubicBezTo>
                  <a:cubicBezTo>
                    <a:pt x="439403" y="26721"/>
                    <a:pt x="435917" y="31517"/>
                    <a:pt x="435917" y="33480"/>
                  </a:cubicBezTo>
                  <a:cubicBezTo>
                    <a:pt x="435917" y="37186"/>
                    <a:pt x="439403" y="37840"/>
                    <a:pt x="441364" y="34570"/>
                  </a:cubicBezTo>
                  <a:cubicBezTo>
                    <a:pt x="442236" y="33262"/>
                    <a:pt x="445940" y="32826"/>
                    <a:pt x="449863" y="33480"/>
                  </a:cubicBezTo>
                  <a:cubicBezTo>
                    <a:pt x="457489" y="35006"/>
                    <a:pt x="463809" y="30427"/>
                    <a:pt x="460758" y="25413"/>
                  </a:cubicBezTo>
                  <a:cubicBezTo>
                    <a:pt x="459886" y="23887"/>
                    <a:pt x="459233" y="19091"/>
                    <a:pt x="459669" y="14513"/>
                  </a:cubicBezTo>
                  <a:lnTo>
                    <a:pt x="460322" y="6229"/>
                  </a:lnTo>
                  <a:lnTo>
                    <a:pt x="438314" y="6229"/>
                  </a:lnTo>
                  <a:cubicBezTo>
                    <a:pt x="419791" y="6229"/>
                    <a:pt x="416087" y="6883"/>
                    <a:pt x="414126" y="10153"/>
                  </a:cubicBezTo>
                  <a:cubicBezTo>
                    <a:pt x="411947" y="13641"/>
                    <a:pt x="411947" y="13641"/>
                    <a:pt x="409768" y="10153"/>
                  </a:cubicBezTo>
                  <a:cubicBezTo>
                    <a:pt x="408242" y="7755"/>
                    <a:pt x="404756" y="6229"/>
                    <a:pt x="401051" y="6229"/>
                  </a:cubicBezTo>
                  <a:cubicBezTo>
                    <a:pt x="394950" y="6229"/>
                    <a:pt x="394514" y="6665"/>
                    <a:pt x="394514" y="14949"/>
                  </a:cubicBezTo>
                  <a:cubicBezTo>
                    <a:pt x="394514" y="20835"/>
                    <a:pt x="393643" y="23669"/>
                    <a:pt x="391464" y="23669"/>
                  </a:cubicBezTo>
                  <a:cubicBezTo>
                    <a:pt x="387105" y="23669"/>
                    <a:pt x="383401" y="18437"/>
                    <a:pt x="384055" y="12551"/>
                  </a:cubicBezTo>
                  <a:cubicBezTo>
                    <a:pt x="384708" y="7755"/>
                    <a:pt x="384055" y="7319"/>
                    <a:pt x="374903" y="7755"/>
                  </a:cubicBezTo>
                  <a:cubicBezTo>
                    <a:pt x="369455" y="7973"/>
                    <a:pt x="364443" y="8191"/>
                    <a:pt x="363571" y="8191"/>
                  </a:cubicBezTo>
                  <a:cubicBezTo>
                    <a:pt x="362700" y="8409"/>
                    <a:pt x="362264" y="12115"/>
                    <a:pt x="362482" y="16693"/>
                  </a:cubicBezTo>
                  <a:cubicBezTo>
                    <a:pt x="362918" y="23887"/>
                    <a:pt x="362264" y="24759"/>
                    <a:pt x="358124" y="24541"/>
                  </a:cubicBezTo>
                  <a:cubicBezTo>
                    <a:pt x="353983" y="24541"/>
                    <a:pt x="353112" y="25631"/>
                    <a:pt x="353112" y="30645"/>
                  </a:cubicBezTo>
                  <a:cubicBezTo>
                    <a:pt x="353112" y="36750"/>
                    <a:pt x="348318" y="39148"/>
                    <a:pt x="345267" y="34352"/>
                  </a:cubicBezTo>
                  <a:cubicBezTo>
                    <a:pt x="344613" y="33044"/>
                    <a:pt x="341999" y="32608"/>
                    <a:pt x="339384" y="33262"/>
                  </a:cubicBezTo>
                  <a:cubicBezTo>
                    <a:pt x="336987" y="33916"/>
                    <a:pt x="333064" y="33480"/>
                    <a:pt x="330885" y="32171"/>
                  </a:cubicBezTo>
                  <a:cubicBezTo>
                    <a:pt x="325655" y="29337"/>
                    <a:pt x="318247" y="33262"/>
                    <a:pt x="318247" y="39148"/>
                  </a:cubicBezTo>
                  <a:cubicBezTo>
                    <a:pt x="318247" y="41546"/>
                    <a:pt x="319772" y="43944"/>
                    <a:pt x="321515" y="44598"/>
                  </a:cubicBezTo>
                  <a:cubicBezTo>
                    <a:pt x="324784" y="45906"/>
                    <a:pt x="326309" y="54190"/>
                    <a:pt x="323258" y="54190"/>
                  </a:cubicBezTo>
                  <a:cubicBezTo>
                    <a:pt x="321297" y="54190"/>
                    <a:pt x="307351" y="40238"/>
                    <a:pt x="307351" y="38276"/>
                  </a:cubicBezTo>
                  <a:cubicBezTo>
                    <a:pt x="307351" y="37622"/>
                    <a:pt x="309312" y="35006"/>
                    <a:pt x="311927" y="32608"/>
                  </a:cubicBezTo>
                  <a:cubicBezTo>
                    <a:pt x="314542" y="30209"/>
                    <a:pt x="316068" y="27157"/>
                    <a:pt x="315632" y="25413"/>
                  </a:cubicBezTo>
                  <a:cubicBezTo>
                    <a:pt x="314978" y="23887"/>
                    <a:pt x="317375" y="21489"/>
                    <a:pt x="321079" y="19745"/>
                  </a:cubicBezTo>
                  <a:cubicBezTo>
                    <a:pt x="326963" y="17347"/>
                    <a:pt x="328270" y="17565"/>
                    <a:pt x="332411" y="21489"/>
                  </a:cubicBezTo>
                  <a:cubicBezTo>
                    <a:pt x="338948" y="27593"/>
                    <a:pt x="342216" y="26939"/>
                    <a:pt x="342216" y="19309"/>
                  </a:cubicBezTo>
                  <a:cubicBezTo>
                    <a:pt x="342216" y="14295"/>
                    <a:pt x="343306" y="12769"/>
                    <a:pt x="346357" y="12769"/>
                  </a:cubicBezTo>
                  <a:cubicBezTo>
                    <a:pt x="348754" y="12769"/>
                    <a:pt x="351369" y="13859"/>
                    <a:pt x="352240" y="15167"/>
                  </a:cubicBezTo>
                  <a:cubicBezTo>
                    <a:pt x="353112" y="16911"/>
                    <a:pt x="354201" y="16693"/>
                    <a:pt x="355509" y="14731"/>
                  </a:cubicBezTo>
                  <a:cubicBezTo>
                    <a:pt x="356380" y="13205"/>
                    <a:pt x="356816" y="11243"/>
                    <a:pt x="356380" y="10371"/>
                  </a:cubicBezTo>
                  <a:cubicBezTo>
                    <a:pt x="354855" y="7973"/>
                    <a:pt x="317375" y="8627"/>
                    <a:pt x="314542" y="11025"/>
                  </a:cubicBezTo>
                  <a:cubicBezTo>
                    <a:pt x="312581" y="12551"/>
                    <a:pt x="311709" y="12551"/>
                    <a:pt x="311709" y="10807"/>
                  </a:cubicBezTo>
                  <a:cubicBezTo>
                    <a:pt x="311709" y="8845"/>
                    <a:pt x="302121" y="8627"/>
                    <a:pt x="287304" y="10371"/>
                  </a:cubicBezTo>
                  <a:cubicBezTo>
                    <a:pt x="286214" y="10589"/>
                    <a:pt x="285561" y="12115"/>
                    <a:pt x="285561" y="13859"/>
                  </a:cubicBezTo>
                  <a:cubicBezTo>
                    <a:pt x="285561" y="18219"/>
                    <a:pt x="291662" y="20617"/>
                    <a:pt x="294931" y="17347"/>
                  </a:cubicBezTo>
                  <a:cubicBezTo>
                    <a:pt x="296238" y="16039"/>
                    <a:pt x="298199" y="14949"/>
                    <a:pt x="299071" y="14949"/>
                  </a:cubicBezTo>
                  <a:cubicBezTo>
                    <a:pt x="302557" y="14949"/>
                    <a:pt x="300596" y="19963"/>
                    <a:pt x="294059" y="28465"/>
                  </a:cubicBezTo>
                  <a:cubicBezTo>
                    <a:pt x="287740" y="36314"/>
                    <a:pt x="287522" y="37622"/>
                    <a:pt x="289919" y="42418"/>
                  </a:cubicBezTo>
                  <a:cubicBezTo>
                    <a:pt x="291662" y="45252"/>
                    <a:pt x="294059" y="47650"/>
                    <a:pt x="295802" y="47650"/>
                  </a:cubicBezTo>
                  <a:cubicBezTo>
                    <a:pt x="297328" y="47650"/>
                    <a:pt x="298635" y="48522"/>
                    <a:pt x="298635" y="49394"/>
                  </a:cubicBezTo>
                  <a:cubicBezTo>
                    <a:pt x="298635" y="52228"/>
                    <a:pt x="288393" y="57024"/>
                    <a:pt x="285996" y="55498"/>
                  </a:cubicBezTo>
                  <a:cubicBezTo>
                    <a:pt x="283164" y="53754"/>
                    <a:pt x="275973" y="62039"/>
                    <a:pt x="277934" y="64873"/>
                  </a:cubicBezTo>
                  <a:cubicBezTo>
                    <a:pt x="278587" y="66181"/>
                    <a:pt x="280984" y="67271"/>
                    <a:pt x="283164" y="67271"/>
                  </a:cubicBezTo>
                  <a:cubicBezTo>
                    <a:pt x="289047" y="67271"/>
                    <a:pt x="292098" y="71849"/>
                    <a:pt x="292098" y="80787"/>
                  </a:cubicBezTo>
                  <a:cubicBezTo>
                    <a:pt x="292098" y="89071"/>
                    <a:pt x="294495" y="91034"/>
                    <a:pt x="300160" y="87327"/>
                  </a:cubicBezTo>
                  <a:cubicBezTo>
                    <a:pt x="301904" y="86237"/>
                    <a:pt x="302121" y="82749"/>
                    <a:pt x="300596" y="74901"/>
                  </a:cubicBezTo>
                  <a:cubicBezTo>
                    <a:pt x="297763" y="60076"/>
                    <a:pt x="299507" y="53536"/>
                    <a:pt x="305826" y="55498"/>
                  </a:cubicBezTo>
                  <a:cubicBezTo>
                    <a:pt x="314324" y="57896"/>
                    <a:pt x="314978" y="60076"/>
                    <a:pt x="310838" y="71631"/>
                  </a:cubicBezTo>
                  <a:cubicBezTo>
                    <a:pt x="308659" y="77735"/>
                    <a:pt x="307569" y="83403"/>
                    <a:pt x="308441" y="84275"/>
                  </a:cubicBezTo>
                  <a:cubicBezTo>
                    <a:pt x="309312" y="85147"/>
                    <a:pt x="310620" y="84493"/>
                    <a:pt x="311056" y="83185"/>
                  </a:cubicBezTo>
                  <a:cubicBezTo>
                    <a:pt x="311709" y="81659"/>
                    <a:pt x="314542" y="80351"/>
                    <a:pt x="317375" y="80351"/>
                  </a:cubicBezTo>
                  <a:cubicBezTo>
                    <a:pt x="322169" y="80351"/>
                    <a:pt x="322605" y="79479"/>
                    <a:pt x="322605" y="68361"/>
                  </a:cubicBezTo>
                  <a:cubicBezTo>
                    <a:pt x="322605" y="57242"/>
                    <a:pt x="323041" y="56370"/>
                    <a:pt x="327617" y="57024"/>
                  </a:cubicBezTo>
                  <a:cubicBezTo>
                    <a:pt x="331757" y="57460"/>
                    <a:pt x="332411" y="56370"/>
                    <a:pt x="332411" y="49830"/>
                  </a:cubicBezTo>
                  <a:cubicBezTo>
                    <a:pt x="332411" y="41110"/>
                    <a:pt x="337205" y="38712"/>
                    <a:pt x="342652" y="44816"/>
                  </a:cubicBezTo>
                  <a:cubicBezTo>
                    <a:pt x="348754" y="51574"/>
                    <a:pt x="348318" y="57024"/>
                    <a:pt x="341563" y="60294"/>
                  </a:cubicBezTo>
                  <a:cubicBezTo>
                    <a:pt x="333936" y="64001"/>
                    <a:pt x="330885" y="71631"/>
                    <a:pt x="332629" y="82095"/>
                  </a:cubicBezTo>
                  <a:cubicBezTo>
                    <a:pt x="333718" y="89289"/>
                    <a:pt x="333064" y="90598"/>
                    <a:pt x="327835" y="93650"/>
                  </a:cubicBezTo>
                  <a:cubicBezTo>
                    <a:pt x="322169" y="97138"/>
                    <a:pt x="321733" y="98228"/>
                    <a:pt x="322387" y="110000"/>
                  </a:cubicBezTo>
                  <a:cubicBezTo>
                    <a:pt x="322823" y="119156"/>
                    <a:pt x="324130" y="124171"/>
                    <a:pt x="327181" y="127441"/>
                  </a:cubicBezTo>
                  <a:cubicBezTo>
                    <a:pt x="330232" y="130711"/>
                    <a:pt x="330667" y="132455"/>
                    <a:pt x="328924" y="134199"/>
                  </a:cubicBezTo>
                  <a:cubicBezTo>
                    <a:pt x="325438" y="137687"/>
                    <a:pt x="328706" y="142047"/>
                    <a:pt x="333718" y="140739"/>
                  </a:cubicBezTo>
                  <a:cubicBezTo>
                    <a:pt x="335897" y="140085"/>
                    <a:pt x="338730" y="140957"/>
                    <a:pt x="340255" y="142701"/>
                  </a:cubicBezTo>
                  <a:cubicBezTo>
                    <a:pt x="341563" y="144445"/>
                    <a:pt x="343960" y="145753"/>
                    <a:pt x="345485" y="145753"/>
                  </a:cubicBezTo>
                  <a:cubicBezTo>
                    <a:pt x="348972" y="145753"/>
                    <a:pt x="351151" y="153384"/>
                    <a:pt x="348318" y="156218"/>
                  </a:cubicBezTo>
                  <a:cubicBezTo>
                    <a:pt x="345703" y="158834"/>
                    <a:pt x="348536" y="170170"/>
                    <a:pt x="351804" y="169080"/>
                  </a:cubicBezTo>
                  <a:cubicBezTo>
                    <a:pt x="353112" y="168644"/>
                    <a:pt x="354201" y="164938"/>
                    <a:pt x="354419" y="160796"/>
                  </a:cubicBezTo>
                  <a:cubicBezTo>
                    <a:pt x="354637" y="149896"/>
                    <a:pt x="354855" y="149460"/>
                    <a:pt x="358777" y="153166"/>
                  </a:cubicBezTo>
                  <a:cubicBezTo>
                    <a:pt x="362482" y="157090"/>
                    <a:pt x="364007" y="157308"/>
                    <a:pt x="367930" y="154910"/>
                  </a:cubicBezTo>
                  <a:cubicBezTo>
                    <a:pt x="372070" y="152294"/>
                    <a:pt x="368583" y="145753"/>
                    <a:pt x="363136" y="145753"/>
                  </a:cubicBezTo>
                  <a:cubicBezTo>
                    <a:pt x="360739" y="145753"/>
                    <a:pt x="356380" y="145099"/>
                    <a:pt x="353766" y="144445"/>
                  </a:cubicBezTo>
                  <a:cubicBezTo>
                    <a:pt x="349189" y="143137"/>
                    <a:pt x="349189" y="142919"/>
                    <a:pt x="352458" y="137905"/>
                  </a:cubicBezTo>
                  <a:cubicBezTo>
                    <a:pt x="354419" y="134853"/>
                    <a:pt x="354855" y="132673"/>
                    <a:pt x="353548" y="132673"/>
                  </a:cubicBezTo>
                  <a:cubicBezTo>
                    <a:pt x="352240" y="132673"/>
                    <a:pt x="350279" y="134199"/>
                    <a:pt x="349189" y="136161"/>
                  </a:cubicBezTo>
                  <a:cubicBezTo>
                    <a:pt x="346357" y="141393"/>
                    <a:pt x="341563" y="137687"/>
                    <a:pt x="343088" y="131583"/>
                  </a:cubicBezTo>
                  <a:cubicBezTo>
                    <a:pt x="344178" y="127441"/>
                    <a:pt x="343306" y="126351"/>
                    <a:pt x="338076" y="125479"/>
                  </a:cubicBezTo>
                  <a:cubicBezTo>
                    <a:pt x="330885" y="123953"/>
                    <a:pt x="327399" y="116758"/>
                    <a:pt x="331321" y="112180"/>
                  </a:cubicBezTo>
                  <a:cubicBezTo>
                    <a:pt x="332629" y="110436"/>
                    <a:pt x="333282" y="107820"/>
                    <a:pt x="333064" y="106294"/>
                  </a:cubicBezTo>
                  <a:cubicBezTo>
                    <a:pt x="332629" y="104550"/>
                    <a:pt x="334590" y="103024"/>
                    <a:pt x="336987" y="102588"/>
                  </a:cubicBezTo>
                  <a:cubicBezTo>
                    <a:pt x="342652" y="101716"/>
                    <a:pt x="345703" y="107820"/>
                    <a:pt x="341999" y="112398"/>
                  </a:cubicBezTo>
                  <a:cubicBezTo>
                    <a:pt x="337858" y="117194"/>
                    <a:pt x="344613" y="123081"/>
                    <a:pt x="350497" y="119811"/>
                  </a:cubicBezTo>
                  <a:cubicBezTo>
                    <a:pt x="355073" y="117412"/>
                    <a:pt x="359649" y="120901"/>
                    <a:pt x="362482" y="128967"/>
                  </a:cubicBezTo>
                  <a:cubicBezTo>
                    <a:pt x="363353" y="130929"/>
                    <a:pt x="365315" y="132673"/>
                    <a:pt x="367058" y="132673"/>
                  </a:cubicBezTo>
                  <a:cubicBezTo>
                    <a:pt x="369019" y="132673"/>
                    <a:pt x="371198" y="135289"/>
                    <a:pt x="371852" y="138777"/>
                  </a:cubicBezTo>
                  <a:cubicBezTo>
                    <a:pt x="372723" y="142047"/>
                    <a:pt x="374249" y="145753"/>
                    <a:pt x="375338" y="147279"/>
                  </a:cubicBezTo>
                  <a:cubicBezTo>
                    <a:pt x="376428" y="148588"/>
                    <a:pt x="377082" y="151640"/>
                    <a:pt x="376864" y="153820"/>
                  </a:cubicBezTo>
                  <a:cubicBezTo>
                    <a:pt x="376210" y="159706"/>
                    <a:pt x="381004" y="170170"/>
                    <a:pt x="384273" y="169080"/>
                  </a:cubicBezTo>
                  <a:cubicBezTo>
                    <a:pt x="385798" y="168644"/>
                    <a:pt x="386670" y="165810"/>
                    <a:pt x="386234" y="162540"/>
                  </a:cubicBezTo>
                  <a:cubicBezTo>
                    <a:pt x="385580" y="157308"/>
                    <a:pt x="386234" y="156654"/>
                    <a:pt x="392335" y="156654"/>
                  </a:cubicBezTo>
                  <a:cubicBezTo>
                    <a:pt x="399308" y="156654"/>
                    <a:pt x="402577" y="152730"/>
                    <a:pt x="400180" y="146843"/>
                  </a:cubicBezTo>
                  <a:cubicBezTo>
                    <a:pt x="399308" y="144227"/>
                    <a:pt x="398001" y="144009"/>
                    <a:pt x="394732" y="145535"/>
                  </a:cubicBezTo>
                  <a:cubicBezTo>
                    <a:pt x="391246" y="147497"/>
                    <a:pt x="389067" y="146407"/>
                    <a:pt x="381440" y="139213"/>
                  </a:cubicBezTo>
                  <a:cubicBezTo>
                    <a:pt x="373159" y="131365"/>
                    <a:pt x="372723" y="130493"/>
                    <a:pt x="377082" y="130493"/>
                  </a:cubicBezTo>
                  <a:cubicBezTo>
                    <a:pt x="381222" y="130493"/>
                    <a:pt x="381440" y="129839"/>
                    <a:pt x="379261" y="127223"/>
                  </a:cubicBezTo>
                  <a:cubicBezTo>
                    <a:pt x="376428" y="123735"/>
                    <a:pt x="377953" y="119593"/>
                    <a:pt x="382529" y="119593"/>
                  </a:cubicBezTo>
                  <a:cubicBezTo>
                    <a:pt x="386887" y="119593"/>
                    <a:pt x="388849" y="123735"/>
                    <a:pt x="386016" y="127005"/>
                  </a:cubicBezTo>
                  <a:cubicBezTo>
                    <a:pt x="384708" y="128531"/>
                    <a:pt x="384055" y="131583"/>
                    <a:pt x="384926" y="133545"/>
                  </a:cubicBezTo>
                  <a:cubicBezTo>
                    <a:pt x="386670" y="137905"/>
                    <a:pt x="393643" y="138123"/>
                    <a:pt x="395386" y="133763"/>
                  </a:cubicBezTo>
                  <a:cubicBezTo>
                    <a:pt x="396040" y="132019"/>
                    <a:pt x="399308" y="130493"/>
                    <a:pt x="402359" y="130493"/>
                  </a:cubicBezTo>
                  <a:cubicBezTo>
                    <a:pt x="412383" y="130493"/>
                    <a:pt x="421099" y="118502"/>
                    <a:pt x="414126" y="114142"/>
                  </a:cubicBezTo>
                  <a:cubicBezTo>
                    <a:pt x="410421" y="111744"/>
                    <a:pt x="413472" y="109564"/>
                    <a:pt x="420009" y="109782"/>
                  </a:cubicBezTo>
                  <a:cubicBezTo>
                    <a:pt x="425021" y="110000"/>
                    <a:pt x="426111" y="111090"/>
                    <a:pt x="426764" y="116540"/>
                  </a:cubicBezTo>
                  <a:cubicBezTo>
                    <a:pt x="427200" y="121773"/>
                    <a:pt x="426329" y="123735"/>
                    <a:pt x="421753" y="125697"/>
                  </a:cubicBezTo>
                  <a:cubicBezTo>
                    <a:pt x="418702" y="127005"/>
                    <a:pt x="416305" y="130057"/>
                    <a:pt x="416305" y="132237"/>
                  </a:cubicBezTo>
                  <a:cubicBezTo>
                    <a:pt x="416305" y="134417"/>
                    <a:pt x="415215" y="137251"/>
                    <a:pt x="413690" y="138777"/>
                  </a:cubicBezTo>
                  <a:cubicBezTo>
                    <a:pt x="411729" y="140739"/>
                    <a:pt x="411947" y="142047"/>
                    <a:pt x="414998" y="144227"/>
                  </a:cubicBezTo>
                  <a:cubicBezTo>
                    <a:pt x="418702" y="146843"/>
                    <a:pt x="418702" y="147279"/>
                    <a:pt x="415215" y="150114"/>
                  </a:cubicBezTo>
                  <a:cubicBezTo>
                    <a:pt x="411947" y="152948"/>
                    <a:pt x="411947" y="153384"/>
                    <a:pt x="416741" y="157090"/>
                  </a:cubicBezTo>
                  <a:cubicBezTo>
                    <a:pt x="420663" y="160142"/>
                    <a:pt x="421099" y="161450"/>
                    <a:pt x="418702" y="162976"/>
                  </a:cubicBezTo>
                  <a:cubicBezTo>
                    <a:pt x="417177" y="164066"/>
                    <a:pt x="415433" y="168426"/>
                    <a:pt x="414998" y="173004"/>
                  </a:cubicBezTo>
                  <a:lnTo>
                    <a:pt x="414344" y="180853"/>
                  </a:lnTo>
                  <a:lnTo>
                    <a:pt x="423060" y="180417"/>
                  </a:lnTo>
                  <a:cubicBezTo>
                    <a:pt x="429597" y="179763"/>
                    <a:pt x="432430" y="180635"/>
                    <a:pt x="433955" y="183469"/>
                  </a:cubicBezTo>
                  <a:cubicBezTo>
                    <a:pt x="435263" y="185431"/>
                    <a:pt x="437878" y="187175"/>
                    <a:pt x="439839" y="187175"/>
                  </a:cubicBezTo>
                  <a:cubicBezTo>
                    <a:pt x="442018" y="187175"/>
                    <a:pt x="444851" y="188265"/>
                    <a:pt x="446376" y="189791"/>
                  </a:cubicBezTo>
                  <a:cubicBezTo>
                    <a:pt x="450081" y="193497"/>
                    <a:pt x="449645" y="206141"/>
                    <a:pt x="445722" y="207668"/>
                  </a:cubicBezTo>
                  <a:cubicBezTo>
                    <a:pt x="443979" y="208322"/>
                    <a:pt x="442454" y="210284"/>
                    <a:pt x="442454" y="211810"/>
                  </a:cubicBezTo>
                  <a:cubicBezTo>
                    <a:pt x="442454" y="213554"/>
                    <a:pt x="440928" y="216170"/>
                    <a:pt x="439185" y="217696"/>
                  </a:cubicBezTo>
                  <a:cubicBezTo>
                    <a:pt x="437442" y="219222"/>
                    <a:pt x="436135" y="222492"/>
                    <a:pt x="436352" y="225108"/>
                  </a:cubicBezTo>
                  <a:cubicBezTo>
                    <a:pt x="436352" y="227506"/>
                    <a:pt x="435917" y="232302"/>
                    <a:pt x="435045" y="235354"/>
                  </a:cubicBezTo>
                  <a:cubicBezTo>
                    <a:pt x="433955" y="239279"/>
                    <a:pt x="434391" y="241677"/>
                    <a:pt x="436788" y="243639"/>
                  </a:cubicBezTo>
                  <a:cubicBezTo>
                    <a:pt x="438749" y="245383"/>
                    <a:pt x="440275" y="248435"/>
                    <a:pt x="440275" y="250833"/>
                  </a:cubicBezTo>
                  <a:cubicBezTo>
                    <a:pt x="440275" y="254321"/>
                    <a:pt x="441364" y="254975"/>
                    <a:pt x="445940" y="254103"/>
                  </a:cubicBezTo>
                  <a:cubicBezTo>
                    <a:pt x="450516" y="253231"/>
                    <a:pt x="452478" y="254539"/>
                    <a:pt x="456182" y="260425"/>
                  </a:cubicBezTo>
                  <a:cubicBezTo>
                    <a:pt x="458797" y="264567"/>
                    <a:pt x="462283" y="267838"/>
                    <a:pt x="464027" y="267838"/>
                  </a:cubicBezTo>
                  <a:cubicBezTo>
                    <a:pt x="465552" y="267838"/>
                    <a:pt x="470128" y="269800"/>
                    <a:pt x="474268" y="272198"/>
                  </a:cubicBezTo>
                  <a:cubicBezTo>
                    <a:pt x="484728" y="278738"/>
                    <a:pt x="486253" y="273506"/>
                    <a:pt x="476447" y="264567"/>
                  </a:cubicBezTo>
                  <a:cubicBezTo>
                    <a:pt x="469910" y="258681"/>
                    <a:pt x="468603" y="256283"/>
                    <a:pt x="469692" y="251923"/>
                  </a:cubicBezTo>
                  <a:cubicBezTo>
                    <a:pt x="470782" y="247781"/>
                    <a:pt x="470128" y="245819"/>
                    <a:pt x="466642" y="243857"/>
                  </a:cubicBezTo>
                  <a:cubicBezTo>
                    <a:pt x="460540" y="240805"/>
                    <a:pt x="460758" y="239061"/>
                    <a:pt x="468385" y="230776"/>
                  </a:cubicBezTo>
                  <a:cubicBezTo>
                    <a:pt x="480370" y="217478"/>
                    <a:pt x="481241" y="216170"/>
                    <a:pt x="479934" y="210066"/>
                  </a:cubicBezTo>
                  <a:cubicBezTo>
                    <a:pt x="478844" y="204179"/>
                    <a:pt x="479062" y="203961"/>
                    <a:pt x="486253" y="205487"/>
                  </a:cubicBezTo>
                  <a:cubicBezTo>
                    <a:pt x="493226" y="206796"/>
                    <a:pt x="494098" y="206359"/>
                    <a:pt x="496277" y="200037"/>
                  </a:cubicBezTo>
                  <a:cubicBezTo>
                    <a:pt x="498238" y="195241"/>
                    <a:pt x="499981" y="193497"/>
                    <a:pt x="502378" y="194587"/>
                  </a:cubicBezTo>
                  <a:cubicBezTo>
                    <a:pt x="504122" y="195241"/>
                    <a:pt x="508698" y="195241"/>
                    <a:pt x="512402" y="194369"/>
                  </a:cubicBezTo>
                  <a:cubicBezTo>
                    <a:pt x="518286" y="193279"/>
                    <a:pt x="518939" y="192407"/>
                    <a:pt x="517632" y="187611"/>
                  </a:cubicBezTo>
                  <a:cubicBezTo>
                    <a:pt x="516324" y="182597"/>
                    <a:pt x="516760" y="182379"/>
                    <a:pt x="523080" y="183469"/>
                  </a:cubicBezTo>
                  <a:cubicBezTo>
                    <a:pt x="528745" y="184777"/>
                    <a:pt x="530053" y="184123"/>
                    <a:pt x="532232" y="179327"/>
                  </a:cubicBezTo>
                  <a:cubicBezTo>
                    <a:pt x="534193" y="175184"/>
                    <a:pt x="534193" y="172786"/>
                    <a:pt x="532232" y="169516"/>
                  </a:cubicBezTo>
                  <a:cubicBezTo>
                    <a:pt x="530706" y="167336"/>
                    <a:pt x="529617" y="164066"/>
                    <a:pt x="529617" y="162322"/>
                  </a:cubicBezTo>
                  <a:cubicBezTo>
                    <a:pt x="529617" y="158834"/>
                    <a:pt x="540294" y="155782"/>
                    <a:pt x="549664" y="156218"/>
                  </a:cubicBezTo>
                  <a:cubicBezTo>
                    <a:pt x="557509" y="156872"/>
                    <a:pt x="559034" y="153602"/>
                    <a:pt x="554240" y="145753"/>
                  </a:cubicBezTo>
                  <a:cubicBezTo>
                    <a:pt x="549011" y="136597"/>
                    <a:pt x="542909" y="137251"/>
                    <a:pt x="533321" y="147497"/>
                  </a:cubicBezTo>
                  <a:cubicBezTo>
                    <a:pt x="531796" y="149024"/>
                    <a:pt x="528527" y="152512"/>
                    <a:pt x="525912" y="155128"/>
                  </a:cubicBezTo>
                  <a:cubicBezTo>
                    <a:pt x="523515" y="157744"/>
                    <a:pt x="520900" y="161886"/>
                    <a:pt x="520465" y="164284"/>
                  </a:cubicBezTo>
                  <a:cubicBezTo>
                    <a:pt x="520029" y="166682"/>
                    <a:pt x="517850" y="168862"/>
                    <a:pt x="515235" y="169298"/>
                  </a:cubicBezTo>
                  <a:cubicBezTo>
                    <a:pt x="512838" y="169734"/>
                    <a:pt x="509787" y="172568"/>
                    <a:pt x="508480" y="176274"/>
                  </a:cubicBezTo>
                  <a:cubicBezTo>
                    <a:pt x="507172" y="179981"/>
                    <a:pt x="504340" y="182815"/>
                    <a:pt x="502596" y="182815"/>
                  </a:cubicBezTo>
                  <a:cubicBezTo>
                    <a:pt x="500635" y="182815"/>
                    <a:pt x="498020" y="185431"/>
                    <a:pt x="496931" y="188483"/>
                  </a:cubicBezTo>
                  <a:cubicBezTo>
                    <a:pt x="494534" y="194805"/>
                    <a:pt x="488868" y="194369"/>
                    <a:pt x="489958" y="188047"/>
                  </a:cubicBezTo>
                  <a:cubicBezTo>
                    <a:pt x="490176" y="185867"/>
                    <a:pt x="490611" y="179327"/>
                    <a:pt x="490829" y="173876"/>
                  </a:cubicBezTo>
                  <a:cubicBezTo>
                    <a:pt x="491265" y="165156"/>
                    <a:pt x="491701" y="164066"/>
                    <a:pt x="494316" y="166900"/>
                  </a:cubicBezTo>
                  <a:cubicBezTo>
                    <a:pt x="496931" y="169516"/>
                    <a:pt x="498238" y="169298"/>
                    <a:pt x="504340" y="165592"/>
                  </a:cubicBezTo>
                  <a:cubicBezTo>
                    <a:pt x="516324" y="157962"/>
                    <a:pt x="511966" y="153384"/>
                    <a:pt x="496495" y="157526"/>
                  </a:cubicBezTo>
                  <a:cubicBezTo>
                    <a:pt x="491919" y="158834"/>
                    <a:pt x="490611" y="158398"/>
                    <a:pt x="489304" y="154692"/>
                  </a:cubicBezTo>
                  <a:cubicBezTo>
                    <a:pt x="488650" y="152076"/>
                    <a:pt x="488650" y="148151"/>
                    <a:pt x="489304" y="145753"/>
                  </a:cubicBezTo>
                  <a:cubicBezTo>
                    <a:pt x="490393" y="142047"/>
                    <a:pt x="491919" y="141393"/>
                    <a:pt x="498020" y="142701"/>
                  </a:cubicBezTo>
                  <a:cubicBezTo>
                    <a:pt x="504993" y="144009"/>
                    <a:pt x="505647" y="143573"/>
                    <a:pt x="508698" y="136161"/>
                  </a:cubicBezTo>
                  <a:cubicBezTo>
                    <a:pt x="510441" y="131801"/>
                    <a:pt x="511530" y="126787"/>
                    <a:pt x="510877" y="125043"/>
                  </a:cubicBezTo>
                  <a:cubicBezTo>
                    <a:pt x="509351" y="121119"/>
                    <a:pt x="511748" y="120901"/>
                    <a:pt x="519375" y="124607"/>
                  </a:cubicBezTo>
                  <a:cubicBezTo>
                    <a:pt x="525694" y="127441"/>
                    <a:pt x="527220" y="130493"/>
                    <a:pt x="522208" y="130493"/>
                  </a:cubicBezTo>
                  <a:cubicBezTo>
                    <a:pt x="518286" y="130493"/>
                    <a:pt x="512184" y="138777"/>
                    <a:pt x="512184" y="144009"/>
                  </a:cubicBezTo>
                  <a:cubicBezTo>
                    <a:pt x="512184" y="149242"/>
                    <a:pt x="517196" y="149024"/>
                    <a:pt x="521990" y="143573"/>
                  </a:cubicBezTo>
                  <a:cubicBezTo>
                    <a:pt x="524169" y="141175"/>
                    <a:pt x="527656" y="139213"/>
                    <a:pt x="530053" y="139213"/>
                  </a:cubicBezTo>
                  <a:cubicBezTo>
                    <a:pt x="532232" y="139213"/>
                    <a:pt x="533975" y="137687"/>
                    <a:pt x="533975" y="135943"/>
                  </a:cubicBezTo>
                  <a:cubicBezTo>
                    <a:pt x="533975" y="133981"/>
                    <a:pt x="535936" y="132673"/>
                    <a:pt x="538551" y="132673"/>
                  </a:cubicBezTo>
                  <a:cubicBezTo>
                    <a:pt x="542909" y="132673"/>
                    <a:pt x="543127" y="131801"/>
                    <a:pt x="542038" y="122427"/>
                  </a:cubicBezTo>
                  <a:cubicBezTo>
                    <a:pt x="540730" y="113488"/>
                    <a:pt x="540948" y="112398"/>
                    <a:pt x="543563" y="115886"/>
                  </a:cubicBezTo>
                  <a:cubicBezTo>
                    <a:pt x="547267" y="120683"/>
                    <a:pt x="553369" y="120683"/>
                    <a:pt x="555112" y="116104"/>
                  </a:cubicBezTo>
                  <a:cubicBezTo>
                    <a:pt x="557073" y="110654"/>
                    <a:pt x="552715" y="105422"/>
                    <a:pt x="546831" y="106076"/>
                  </a:cubicBezTo>
                  <a:cubicBezTo>
                    <a:pt x="533975" y="107602"/>
                    <a:pt x="531796" y="108692"/>
                    <a:pt x="531796" y="114142"/>
                  </a:cubicBezTo>
                  <a:cubicBezTo>
                    <a:pt x="531796" y="124607"/>
                    <a:pt x="516324" y="118066"/>
                    <a:pt x="511530" y="105640"/>
                  </a:cubicBezTo>
                  <a:cubicBezTo>
                    <a:pt x="509569" y="100408"/>
                    <a:pt x="504340" y="101498"/>
                    <a:pt x="499328" y="108256"/>
                  </a:cubicBezTo>
                  <a:cubicBezTo>
                    <a:pt x="495187" y="113706"/>
                    <a:pt x="494534" y="113706"/>
                    <a:pt x="492355" y="110436"/>
                  </a:cubicBezTo>
                  <a:cubicBezTo>
                    <a:pt x="491265" y="108256"/>
                    <a:pt x="488214" y="106512"/>
                    <a:pt x="486035" y="106512"/>
                  </a:cubicBezTo>
                  <a:cubicBezTo>
                    <a:pt x="483638" y="106512"/>
                    <a:pt x="481677" y="105858"/>
                    <a:pt x="481677" y="104986"/>
                  </a:cubicBezTo>
                  <a:cubicBezTo>
                    <a:pt x="481677" y="103896"/>
                    <a:pt x="481023" y="101062"/>
                    <a:pt x="480370" y="98228"/>
                  </a:cubicBezTo>
                  <a:lnTo>
                    <a:pt x="479062" y="93432"/>
                  </a:lnTo>
                  <a:lnTo>
                    <a:pt x="504557" y="94522"/>
                  </a:lnTo>
                  <a:cubicBezTo>
                    <a:pt x="526566" y="95830"/>
                    <a:pt x="530488" y="95394"/>
                    <a:pt x="533975" y="92342"/>
                  </a:cubicBezTo>
                  <a:cubicBezTo>
                    <a:pt x="538333" y="88417"/>
                    <a:pt x="542691" y="89507"/>
                    <a:pt x="542691" y="94740"/>
                  </a:cubicBezTo>
                  <a:cubicBezTo>
                    <a:pt x="542691" y="98664"/>
                    <a:pt x="545742" y="98664"/>
                    <a:pt x="549228" y="94522"/>
                  </a:cubicBezTo>
                  <a:cubicBezTo>
                    <a:pt x="551625" y="91688"/>
                    <a:pt x="551190" y="90379"/>
                    <a:pt x="546831" y="87327"/>
                  </a:cubicBezTo>
                  <a:cubicBezTo>
                    <a:pt x="541384" y="83403"/>
                    <a:pt x="536372" y="82531"/>
                    <a:pt x="522644" y="82313"/>
                  </a:cubicBezTo>
                  <a:cubicBezTo>
                    <a:pt x="513274" y="82313"/>
                    <a:pt x="511966" y="80133"/>
                    <a:pt x="519375" y="77081"/>
                  </a:cubicBezTo>
                  <a:cubicBezTo>
                    <a:pt x="521990" y="75773"/>
                    <a:pt x="523951" y="73375"/>
                    <a:pt x="523515" y="71195"/>
                  </a:cubicBezTo>
                  <a:cubicBezTo>
                    <a:pt x="523297" y="69233"/>
                    <a:pt x="523951" y="67053"/>
                    <a:pt x="525259" y="66181"/>
                  </a:cubicBezTo>
                  <a:cubicBezTo>
                    <a:pt x="526348" y="65527"/>
                    <a:pt x="527438" y="65963"/>
                    <a:pt x="527438" y="67271"/>
                  </a:cubicBezTo>
                  <a:cubicBezTo>
                    <a:pt x="527438" y="69015"/>
                    <a:pt x="529399" y="69451"/>
                    <a:pt x="532668" y="68579"/>
                  </a:cubicBezTo>
                  <a:cubicBezTo>
                    <a:pt x="536590" y="67707"/>
                    <a:pt x="538333" y="68361"/>
                    <a:pt x="539205" y="70977"/>
                  </a:cubicBezTo>
                  <a:cubicBezTo>
                    <a:pt x="539641" y="73157"/>
                    <a:pt x="539641" y="71195"/>
                    <a:pt x="538987" y="66835"/>
                  </a:cubicBezTo>
                  <a:cubicBezTo>
                    <a:pt x="537897" y="59640"/>
                    <a:pt x="538333" y="58550"/>
                    <a:pt x="542255" y="58550"/>
                  </a:cubicBezTo>
                  <a:cubicBezTo>
                    <a:pt x="544870" y="58550"/>
                    <a:pt x="547485" y="57460"/>
                    <a:pt x="548139" y="56370"/>
                  </a:cubicBezTo>
                  <a:cubicBezTo>
                    <a:pt x="549011" y="55062"/>
                    <a:pt x="550754" y="54844"/>
                    <a:pt x="552061" y="55716"/>
                  </a:cubicBezTo>
                  <a:cubicBezTo>
                    <a:pt x="553587" y="56806"/>
                    <a:pt x="556637" y="57460"/>
                    <a:pt x="559034" y="57460"/>
                  </a:cubicBezTo>
                  <a:cubicBezTo>
                    <a:pt x="562303" y="57460"/>
                    <a:pt x="563610" y="59204"/>
                    <a:pt x="564046" y="64655"/>
                  </a:cubicBezTo>
                  <a:cubicBezTo>
                    <a:pt x="564700" y="71413"/>
                    <a:pt x="561431" y="74465"/>
                    <a:pt x="559470" y="69015"/>
                  </a:cubicBezTo>
                  <a:cubicBezTo>
                    <a:pt x="558816" y="66835"/>
                    <a:pt x="557291" y="67271"/>
                    <a:pt x="554022" y="70105"/>
                  </a:cubicBezTo>
                  <a:cubicBezTo>
                    <a:pt x="550318" y="73593"/>
                    <a:pt x="549882" y="75119"/>
                    <a:pt x="551843" y="80569"/>
                  </a:cubicBezTo>
                  <a:cubicBezTo>
                    <a:pt x="554458" y="87981"/>
                    <a:pt x="557073" y="88635"/>
                    <a:pt x="559034" y="82531"/>
                  </a:cubicBezTo>
                  <a:cubicBezTo>
                    <a:pt x="561431" y="74683"/>
                    <a:pt x="564482" y="77953"/>
                    <a:pt x="564482" y="88635"/>
                  </a:cubicBezTo>
                  <a:cubicBezTo>
                    <a:pt x="564264" y="94304"/>
                    <a:pt x="564264" y="102806"/>
                    <a:pt x="564264" y="107602"/>
                  </a:cubicBezTo>
                  <a:cubicBezTo>
                    <a:pt x="564482" y="112398"/>
                    <a:pt x="563392" y="118502"/>
                    <a:pt x="561867" y="121119"/>
                  </a:cubicBezTo>
                  <a:cubicBezTo>
                    <a:pt x="560124" y="124825"/>
                    <a:pt x="560124" y="126787"/>
                    <a:pt x="562303" y="129403"/>
                  </a:cubicBezTo>
                  <a:cubicBezTo>
                    <a:pt x="564482" y="132019"/>
                    <a:pt x="564482" y="133545"/>
                    <a:pt x="562739" y="135289"/>
                  </a:cubicBezTo>
                  <a:cubicBezTo>
                    <a:pt x="559252" y="138777"/>
                    <a:pt x="559470" y="143573"/>
                    <a:pt x="562957" y="143573"/>
                  </a:cubicBezTo>
                  <a:cubicBezTo>
                    <a:pt x="569276" y="143573"/>
                    <a:pt x="577556" y="149242"/>
                    <a:pt x="577556" y="153384"/>
                  </a:cubicBezTo>
                  <a:cubicBezTo>
                    <a:pt x="577556" y="157090"/>
                    <a:pt x="578864" y="157744"/>
                    <a:pt x="585837" y="157744"/>
                  </a:cubicBezTo>
                  <a:cubicBezTo>
                    <a:pt x="595643" y="157526"/>
                    <a:pt x="599347" y="155564"/>
                    <a:pt x="599347" y="150114"/>
                  </a:cubicBezTo>
                  <a:cubicBezTo>
                    <a:pt x="599347" y="142919"/>
                    <a:pt x="603923" y="142919"/>
                    <a:pt x="611114" y="149896"/>
                  </a:cubicBezTo>
                  <a:lnTo>
                    <a:pt x="617869" y="156872"/>
                  </a:lnTo>
                  <a:lnTo>
                    <a:pt x="612204" y="155564"/>
                  </a:lnTo>
                  <a:cubicBezTo>
                    <a:pt x="607192" y="154256"/>
                    <a:pt x="605884" y="155346"/>
                    <a:pt x="600437" y="164284"/>
                  </a:cubicBezTo>
                  <a:cubicBezTo>
                    <a:pt x="596079" y="171696"/>
                    <a:pt x="595207" y="175184"/>
                    <a:pt x="596950" y="176928"/>
                  </a:cubicBezTo>
                  <a:cubicBezTo>
                    <a:pt x="598693" y="178673"/>
                    <a:pt x="599347" y="178455"/>
                    <a:pt x="599347" y="175838"/>
                  </a:cubicBezTo>
                  <a:cubicBezTo>
                    <a:pt x="599347" y="171914"/>
                    <a:pt x="605231" y="168862"/>
                    <a:pt x="606974" y="171914"/>
                  </a:cubicBezTo>
                  <a:cubicBezTo>
                    <a:pt x="607628" y="173004"/>
                    <a:pt x="607192" y="176056"/>
                    <a:pt x="605884" y="178455"/>
                  </a:cubicBezTo>
                  <a:cubicBezTo>
                    <a:pt x="604141" y="181943"/>
                    <a:pt x="604359" y="183469"/>
                    <a:pt x="608063" y="186521"/>
                  </a:cubicBezTo>
                  <a:cubicBezTo>
                    <a:pt x="613511" y="191317"/>
                    <a:pt x="613729" y="193715"/>
                    <a:pt x="608281" y="193715"/>
                  </a:cubicBezTo>
                  <a:cubicBezTo>
                    <a:pt x="600873" y="193715"/>
                    <a:pt x="599347" y="198511"/>
                    <a:pt x="603923" y="208322"/>
                  </a:cubicBezTo>
                  <a:cubicBezTo>
                    <a:pt x="608281" y="217696"/>
                    <a:pt x="611332" y="220748"/>
                    <a:pt x="616780" y="220966"/>
                  </a:cubicBezTo>
                  <a:cubicBezTo>
                    <a:pt x="618523" y="220966"/>
                    <a:pt x="620484" y="223364"/>
                    <a:pt x="621138" y="226416"/>
                  </a:cubicBezTo>
                  <a:cubicBezTo>
                    <a:pt x="622010" y="229686"/>
                    <a:pt x="623971" y="231648"/>
                    <a:pt x="626150" y="231648"/>
                  </a:cubicBezTo>
                  <a:cubicBezTo>
                    <a:pt x="630508" y="231212"/>
                    <a:pt x="630944" y="233174"/>
                    <a:pt x="627457" y="236663"/>
                  </a:cubicBezTo>
                  <a:cubicBezTo>
                    <a:pt x="623971" y="240151"/>
                    <a:pt x="626586" y="243203"/>
                    <a:pt x="633559" y="244293"/>
                  </a:cubicBezTo>
                  <a:cubicBezTo>
                    <a:pt x="637045" y="244947"/>
                    <a:pt x="641403" y="246255"/>
                    <a:pt x="643582" y="247127"/>
                  </a:cubicBezTo>
                  <a:cubicBezTo>
                    <a:pt x="650338" y="249961"/>
                    <a:pt x="647941" y="241241"/>
                    <a:pt x="639660" y="233392"/>
                  </a:cubicBezTo>
                  <a:cubicBezTo>
                    <a:pt x="632687" y="226416"/>
                    <a:pt x="632469" y="225762"/>
                    <a:pt x="635520" y="220966"/>
                  </a:cubicBezTo>
                  <a:cubicBezTo>
                    <a:pt x="637699" y="217696"/>
                    <a:pt x="640096" y="216388"/>
                    <a:pt x="643147" y="217042"/>
                  </a:cubicBezTo>
                  <a:cubicBezTo>
                    <a:pt x="648812" y="218568"/>
                    <a:pt x="650338" y="221620"/>
                    <a:pt x="647505" y="225108"/>
                  </a:cubicBezTo>
                  <a:cubicBezTo>
                    <a:pt x="645761" y="227288"/>
                    <a:pt x="645761" y="228596"/>
                    <a:pt x="648158" y="230558"/>
                  </a:cubicBezTo>
                  <a:cubicBezTo>
                    <a:pt x="650555" y="232520"/>
                    <a:pt x="652952" y="232520"/>
                    <a:pt x="659054" y="229904"/>
                  </a:cubicBezTo>
                  <a:cubicBezTo>
                    <a:pt x="666245" y="226852"/>
                    <a:pt x="666898" y="227070"/>
                    <a:pt x="667988" y="230776"/>
                  </a:cubicBezTo>
                  <a:cubicBezTo>
                    <a:pt x="671257" y="240805"/>
                    <a:pt x="681716" y="235572"/>
                    <a:pt x="679101" y="225108"/>
                  </a:cubicBezTo>
                  <a:cubicBezTo>
                    <a:pt x="677794" y="219876"/>
                    <a:pt x="678012" y="219440"/>
                    <a:pt x="683024" y="220748"/>
                  </a:cubicBezTo>
                  <a:cubicBezTo>
                    <a:pt x="686074" y="221402"/>
                    <a:pt x="689125" y="220966"/>
                    <a:pt x="689997" y="219658"/>
                  </a:cubicBezTo>
                  <a:cubicBezTo>
                    <a:pt x="690650" y="218350"/>
                    <a:pt x="693265" y="217696"/>
                    <a:pt x="695444" y="218350"/>
                  </a:cubicBezTo>
                  <a:cubicBezTo>
                    <a:pt x="697841" y="219004"/>
                    <a:pt x="701764" y="217696"/>
                    <a:pt x="704379" y="215516"/>
                  </a:cubicBezTo>
                  <a:cubicBezTo>
                    <a:pt x="708519" y="212246"/>
                    <a:pt x="708737" y="211156"/>
                    <a:pt x="706340" y="208322"/>
                  </a:cubicBezTo>
                  <a:cubicBezTo>
                    <a:pt x="703071" y="204397"/>
                    <a:pt x="704814" y="200255"/>
                    <a:pt x="709608" y="200255"/>
                  </a:cubicBezTo>
                  <a:cubicBezTo>
                    <a:pt x="711569" y="200255"/>
                    <a:pt x="712659" y="198729"/>
                    <a:pt x="712223" y="196549"/>
                  </a:cubicBezTo>
                  <a:cubicBezTo>
                    <a:pt x="711787" y="193933"/>
                    <a:pt x="709390" y="192625"/>
                    <a:pt x="705686" y="192625"/>
                  </a:cubicBezTo>
                  <a:cubicBezTo>
                    <a:pt x="702199" y="192625"/>
                    <a:pt x="697841" y="190227"/>
                    <a:pt x="694355" y="186521"/>
                  </a:cubicBezTo>
                  <a:cubicBezTo>
                    <a:pt x="691086" y="183033"/>
                    <a:pt x="687164" y="180853"/>
                    <a:pt x="685421" y="181289"/>
                  </a:cubicBezTo>
                  <a:cubicBezTo>
                    <a:pt x="681280" y="183033"/>
                    <a:pt x="677576" y="178019"/>
                    <a:pt x="678230" y="171696"/>
                  </a:cubicBezTo>
                  <a:cubicBezTo>
                    <a:pt x="679101" y="164938"/>
                    <a:pt x="670603" y="164066"/>
                    <a:pt x="669513" y="170824"/>
                  </a:cubicBezTo>
                  <a:cubicBezTo>
                    <a:pt x="669078" y="173222"/>
                    <a:pt x="666681" y="176274"/>
                    <a:pt x="664066" y="177364"/>
                  </a:cubicBezTo>
                  <a:cubicBezTo>
                    <a:pt x="661233" y="178673"/>
                    <a:pt x="659054" y="181943"/>
                    <a:pt x="658618" y="185431"/>
                  </a:cubicBezTo>
                  <a:cubicBezTo>
                    <a:pt x="657746" y="191971"/>
                    <a:pt x="650555" y="195677"/>
                    <a:pt x="646633" y="191753"/>
                  </a:cubicBezTo>
                  <a:cubicBezTo>
                    <a:pt x="640967" y="186085"/>
                    <a:pt x="634648" y="193279"/>
                    <a:pt x="638788" y="200909"/>
                  </a:cubicBezTo>
                  <a:cubicBezTo>
                    <a:pt x="640750" y="204397"/>
                    <a:pt x="636174" y="206141"/>
                    <a:pt x="623099" y="206577"/>
                  </a:cubicBezTo>
                  <a:cubicBezTo>
                    <a:pt x="616344" y="206796"/>
                    <a:pt x="613511" y="200037"/>
                    <a:pt x="615908" y="190227"/>
                  </a:cubicBezTo>
                  <a:cubicBezTo>
                    <a:pt x="616780" y="187175"/>
                    <a:pt x="616126" y="182379"/>
                    <a:pt x="614601" y="179327"/>
                  </a:cubicBezTo>
                  <a:cubicBezTo>
                    <a:pt x="612204" y="174966"/>
                    <a:pt x="612204" y="173440"/>
                    <a:pt x="615254" y="170170"/>
                  </a:cubicBezTo>
                  <a:cubicBezTo>
                    <a:pt x="617433" y="167990"/>
                    <a:pt x="618959" y="164720"/>
                    <a:pt x="618959" y="162976"/>
                  </a:cubicBezTo>
                  <a:cubicBezTo>
                    <a:pt x="618959" y="161232"/>
                    <a:pt x="620048" y="158616"/>
                    <a:pt x="621138" y="157526"/>
                  </a:cubicBezTo>
                  <a:cubicBezTo>
                    <a:pt x="622881" y="155782"/>
                    <a:pt x="622445" y="154256"/>
                    <a:pt x="620048" y="152294"/>
                  </a:cubicBezTo>
                  <a:cubicBezTo>
                    <a:pt x="618305" y="150768"/>
                    <a:pt x="616780" y="147715"/>
                    <a:pt x="616780" y="145535"/>
                  </a:cubicBezTo>
                  <a:cubicBezTo>
                    <a:pt x="616780" y="143137"/>
                    <a:pt x="614383" y="140303"/>
                    <a:pt x="611332" y="138777"/>
                  </a:cubicBezTo>
                  <a:cubicBezTo>
                    <a:pt x="605449" y="136161"/>
                    <a:pt x="604359" y="132891"/>
                    <a:pt x="608281" y="128967"/>
                  </a:cubicBezTo>
                  <a:cubicBezTo>
                    <a:pt x="611768" y="125479"/>
                    <a:pt x="616780" y="127877"/>
                    <a:pt x="616780" y="133109"/>
                  </a:cubicBezTo>
                  <a:cubicBezTo>
                    <a:pt x="616780" y="136161"/>
                    <a:pt x="618087" y="137251"/>
                    <a:pt x="621792" y="136597"/>
                  </a:cubicBezTo>
                  <a:cubicBezTo>
                    <a:pt x="626150" y="135943"/>
                    <a:pt x="626586" y="134635"/>
                    <a:pt x="627239" y="119811"/>
                  </a:cubicBezTo>
                  <a:lnTo>
                    <a:pt x="627893" y="103678"/>
                  </a:lnTo>
                  <a:lnTo>
                    <a:pt x="622227" y="104768"/>
                  </a:lnTo>
                  <a:cubicBezTo>
                    <a:pt x="618305" y="105640"/>
                    <a:pt x="616780" y="104986"/>
                    <a:pt x="616780" y="102588"/>
                  </a:cubicBezTo>
                  <a:cubicBezTo>
                    <a:pt x="616780" y="99972"/>
                    <a:pt x="615908" y="99972"/>
                    <a:pt x="611332" y="103024"/>
                  </a:cubicBezTo>
                  <a:cubicBezTo>
                    <a:pt x="608499" y="104986"/>
                    <a:pt x="605013" y="106512"/>
                    <a:pt x="603705" y="106512"/>
                  </a:cubicBezTo>
                  <a:cubicBezTo>
                    <a:pt x="600219" y="106512"/>
                    <a:pt x="601090" y="99754"/>
                    <a:pt x="605013" y="95176"/>
                  </a:cubicBezTo>
                  <a:cubicBezTo>
                    <a:pt x="607846" y="92342"/>
                    <a:pt x="608063" y="90598"/>
                    <a:pt x="606102" y="88417"/>
                  </a:cubicBezTo>
                  <a:cubicBezTo>
                    <a:pt x="604141" y="86019"/>
                    <a:pt x="604359" y="84711"/>
                    <a:pt x="606756" y="82531"/>
                  </a:cubicBezTo>
                  <a:cubicBezTo>
                    <a:pt x="612640" y="77953"/>
                    <a:pt x="613075" y="71849"/>
                    <a:pt x="608281" y="67707"/>
                  </a:cubicBezTo>
                  <a:cubicBezTo>
                    <a:pt x="605231" y="65309"/>
                    <a:pt x="603705" y="61384"/>
                    <a:pt x="603487" y="56370"/>
                  </a:cubicBezTo>
                  <a:cubicBezTo>
                    <a:pt x="603270" y="44816"/>
                    <a:pt x="605013" y="34570"/>
                    <a:pt x="607628" y="31953"/>
                  </a:cubicBezTo>
                  <a:cubicBezTo>
                    <a:pt x="609153" y="30427"/>
                    <a:pt x="609371" y="28247"/>
                    <a:pt x="608063" y="25849"/>
                  </a:cubicBezTo>
                  <a:cubicBezTo>
                    <a:pt x="605013" y="20181"/>
                    <a:pt x="611114" y="15385"/>
                    <a:pt x="615908" y="19527"/>
                  </a:cubicBezTo>
                  <a:cubicBezTo>
                    <a:pt x="618959" y="22143"/>
                    <a:pt x="620048" y="21707"/>
                    <a:pt x="624189" y="16475"/>
                  </a:cubicBezTo>
                  <a:cubicBezTo>
                    <a:pt x="628329" y="11461"/>
                    <a:pt x="630508" y="10589"/>
                    <a:pt x="640314" y="10589"/>
                  </a:cubicBezTo>
                  <a:cubicBezTo>
                    <a:pt x="652517" y="10589"/>
                    <a:pt x="651645" y="9935"/>
                    <a:pt x="652517" y="24105"/>
                  </a:cubicBezTo>
                  <a:cubicBezTo>
                    <a:pt x="652734" y="26285"/>
                    <a:pt x="654042" y="29119"/>
                    <a:pt x="655567" y="30645"/>
                  </a:cubicBezTo>
                  <a:cubicBezTo>
                    <a:pt x="659272" y="34352"/>
                    <a:pt x="658836" y="38930"/>
                    <a:pt x="654914" y="38930"/>
                  </a:cubicBezTo>
                  <a:cubicBezTo>
                    <a:pt x="653170" y="38930"/>
                    <a:pt x="651645" y="37404"/>
                    <a:pt x="651645" y="35660"/>
                  </a:cubicBezTo>
                  <a:cubicBezTo>
                    <a:pt x="651645" y="30427"/>
                    <a:pt x="647723" y="31735"/>
                    <a:pt x="642493" y="38930"/>
                  </a:cubicBezTo>
                  <a:cubicBezTo>
                    <a:pt x="637917" y="45252"/>
                    <a:pt x="632033" y="47650"/>
                    <a:pt x="632033" y="43290"/>
                  </a:cubicBezTo>
                  <a:cubicBezTo>
                    <a:pt x="632033" y="42200"/>
                    <a:pt x="630944" y="41110"/>
                    <a:pt x="629854" y="41110"/>
                  </a:cubicBezTo>
                  <a:cubicBezTo>
                    <a:pt x="628547" y="41110"/>
                    <a:pt x="627675" y="43290"/>
                    <a:pt x="627893" y="46124"/>
                  </a:cubicBezTo>
                  <a:cubicBezTo>
                    <a:pt x="628983" y="57896"/>
                    <a:pt x="628111" y="59204"/>
                    <a:pt x="620048" y="57896"/>
                  </a:cubicBezTo>
                  <a:cubicBezTo>
                    <a:pt x="611768" y="56588"/>
                    <a:pt x="609153" y="58550"/>
                    <a:pt x="611332" y="65091"/>
                  </a:cubicBezTo>
                  <a:cubicBezTo>
                    <a:pt x="612422" y="68579"/>
                    <a:pt x="614601" y="69451"/>
                    <a:pt x="622227" y="69451"/>
                  </a:cubicBezTo>
                  <a:cubicBezTo>
                    <a:pt x="636174" y="69451"/>
                    <a:pt x="638571" y="67925"/>
                    <a:pt x="638571" y="59422"/>
                  </a:cubicBezTo>
                  <a:cubicBezTo>
                    <a:pt x="638571" y="53536"/>
                    <a:pt x="639442" y="52010"/>
                    <a:pt x="642929" y="52010"/>
                  </a:cubicBezTo>
                  <a:cubicBezTo>
                    <a:pt x="645761" y="52010"/>
                    <a:pt x="647287" y="50484"/>
                    <a:pt x="647287" y="47650"/>
                  </a:cubicBezTo>
                  <a:cubicBezTo>
                    <a:pt x="647287" y="42200"/>
                    <a:pt x="652734" y="39584"/>
                    <a:pt x="656875" y="43072"/>
                  </a:cubicBezTo>
                  <a:cubicBezTo>
                    <a:pt x="658400" y="44380"/>
                    <a:pt x="665155" y="45688"/>
                    <a:pt x="672128" y="45688"/>
                  </a:cubicBezTo>
                  <a:cubicBezTo>
                    <a:pt x="678883" y="45906"/>
                    <a:pt x="684331" y="46342"/>
                    <a:pt x="684331" y="46996"/>
                  </a:cubicBezTo>
                  <a:cubicBezTo>
                    <a:pt x="684331" y="47432"/>
                    <a:pt x="681934" y="48740"/>
                    <a:pt x="678883" y="49830"/>
                  </a:cubicBezTo>
                  <a:cubicBezTo>
                    <a:pt x="672128" y="52446"/>
                    <a:pt x="671692" y="58114"/>
                    <a:pt x="678448" y="58986"/>
                  </a:cubicBezTo>
                  <a:cubicBezTo>
                    <a:pt x="681498" y="59422"/>
                    <a:pt x="683459" y="61384"/>
                    <a:pt x="683895" y="64219"/>
                  </a:cubicBezTo>
                  <a:cubicBezTo>
                    <a:pt x="684331" y="67925"/>
                    <a:pt x="683242" y="69015"/>
                    <a:pt x="677794" y="69887"/>
                  </a:cubicBezTo>
                  <a:cubicBezTo>
                    <a:pt x="674089" y="70541"/>
                    <a:pt x="669295" y="69451"/>
                    <a:pt x="666898" y="67925"/>
                  </a:cubicBezTo>
                  <a:cubicBezTo>
                    <a:pt x="660797" y="63565"/>
                    <a:pt x="657528" y="66399"/>
                    <a:pt x="659054" y="74901"/>
                  </a:cubicBezTo>
                  <a:cubicBezTo>
                    <a:pt x="659925" y="79479"/>
                    <a:pt x="659490" y="82531"/>
                    <a:pt x="657964" y="82967"/>
                  </a:cubicBezTo>
                  <a:cubicBezTo>
                    <a:pt x="656221" y="83621"/>
                    <a:pt x="656221" y="86673"/>
                    <a:pt x="657528" y="93432"/>
                  </a:cubicBezTo>
                  <a:lnTo>
                    <a:pt x="659272" y="102806"/>
                  </a:lnTo>
                  <a:lnTo>
                    <a:pt x="670167" y="91688"/>
                  </a:lnTo>
                  <a:cubicBezTo>
                    <a:pt x="676704" y="84929"/>
                    <a:pt x="683024" y="80351"/>
                    <a:pt x="685856" y="80351"/>
                  </a:cubicBezTo>
                  <a:cubicBezTo>
                    <a:pt x="692394" y="80351"/>
                    <a:pt x="698713" y="89289"/>
                    <a:pt x="700456" y="101062"/>
                  </a:cubicBezTo>
                  <a:cubicBezTo>
                    <a:pt x="702199" y="111962"/>
                    <a:pt x="705686" y="115886"/>
                    <a:pt x="707647" y="108910"/>
                  </a:cubicBezTo>
                  <a:cubicBezTo>
                    <a:pt x="709390" y="102152"/>
                    <a:pt x="713095" y="106076"/>
                    <a:pt x="711569" y="113052"/>
                  </a:cubicBezTo>
                  <a:cubicBezTo>
                    <a:pt x="710916" y="116540"/>
                    <a:pt x="711352" y="121119"/>
                    <a:pt x="712659" y="123299"/>
                  </a:cubicBezTo>
                  <a:cubicBezTo>
                    <a:pt x="714402" y="126133"/>
                    <a:pt x="714620" y="128967"/>
                    <a:pt x="712877" y="133545"/>
                  </a:cubicBezTo>
                  <a:cubicBezTo>
                    <a:pt x="710480" y="139649"/>
                    <a:pt x="710262" y="139649"/>
                    <a:pt x="704814" y="135943"/>
                  </a:cubicBezTo>
                  <a:cubicBezTo>
                    <a:pt x="698713" y="132019"/>
                    <a:pt x="695444" y="133109"/>
                    <a:pt x="699149" y="137687"/>
                  </a:cubicBezTo>
                  <a:cubicBezTo>
                    <a:pt x="701110" y="139867"/>
                    <a:pt x="700892" y="141611"/>
                    <a:pt x="698495" y="144881"/>
                  </a:cubicBezTo>
                  <a:cubicBezTo>
                    <a:pt x="693701" y="151204"/>
                    <a:pt x="694573" y="153820"/>
                    <a:pt x="701982" y="156436"/>
                  </a:cubicBezTo>
                  <a:cubicBezTo>
                    <a:pt x="710916" y="159488"/>
                    <a:pt x="712877" y="157962"/>
                    <a:pt x="712223" y="148369"/>
                  </a:cubicBezTo>
                  <a:cubicBezTo>
                    <a:pt x="711787" y="142047"/>
                    <a:pt x="712441" y="140303"/>
                    <a:pt x="715710" y="139649"/>
                  </a:cubicBezTo>
                  <a:cubicBezTo>
                    <a:pt x="718760" y="138995"/>
                    <a:pt x="719414" y="139649"/>
                    <a:pt x="718543" y="142265"/>
                  </a:cubicBezTo>
                  <a:cubicBezTo>
                    <a:pt x="717671" y="144227"/>
                    <a:pt x="718107" y="147715"/>
                    <a:pt x="719632" y="149896"/>
                  </a:cubicBezTo>
                  <a:cubicBezTo>
                    <a:pt x="722683" y="154910"/>
                    <a:pt x="720504" y="161014"/>
                    <a:pt x="714838" y="162540"/>
                  </a:cubicBezTo>
                  <a:cubicBezTo>
                    <a:pt x="712441" y="163194"/>
                    <a:pt x="710480" y="165374"/>
                    <a:pt x="710480" y="167336"/>
                  </a:cubicBezTo>
                  <a:cubicBezTo>
                    <a:pt x="710480" y="173004"/>
                    <a:pt x="708301" y="174312"/>
                    <a:pt x="703289" y="171478"/>
                  </a:cubicBezTo>
                  <a:cubicBezTo>
                    <a:pt x="699802" y="169734"/>
                    <a:pt x="698277" y="169952"/>
                    <a:pt x="695880" y="173222"/>
                  </a:cubicBezTo>
                  <a:cubicBezTo>
                    <a:pt x="694355" y="175402"/>
                    <a:pt x="693265" y="178237"/>
                    <a:pt x="693701" y="179545"/>
                  </a:cubicBezTo>
                  <a:cubicBezTo>
                    <a:pt x="694791" y="181943"/>
                    <a:pt x="696316" y="181943"/>
                    <a:pt x="711352" y="179763"/>
                  </a:cubicBezTo>
                  <a:lnTo>
                    <a:pt x="721375" y="178237"/>
                  </a:lnTo>
                  <a:lnTo>
                    <a:pt x="720940" y="185431"/>
                  </a:lnTo>
                  <a:cubicBezTo>
                    <a:pt x="720286" y="191753"/>
                    <a:pt x="720940" y="192625"/>
                    <a:pt x="726169" y="193279"/>
                  </a:cubicBezTo>
                  <a:cubicBezTo>
                    <a:pt x="730963" y="193933"/>
                    <a:pt x="732707" y="192843"/>
                    <a:pt x="734450" y="188483"/>
                  </a:cubicBezTo>
                  <a:cubicBezTo>
                    <a:pt x="736629" y="182815"/>
                    <a:pt x="743820" y="180635"/>
                    <a:pt x="746435" y="184995"/>
                  </a:cubicBezTo>
                  <a:cubicBezTo>
                    <a:pt x="748832" y="188919"/>
                    <a:pt x="740333" y="200255"/>
                    <a:pt x="735103" y="200255"/>
                  </a:cubicBezTo>
                  <a:cubicBezTo>
                    <a:pt x="729874" y="200255"/>
                    <a:pt x="728348" y="203307"/>
                    <a:pt x="732271" y="205705"/>
                  </a:cubicBezTo>
                  <a:cubicBezTo>
                    <a:pt x="735757" y="207886"/>
                    <a:pt x="734886" y="215734"/>
                    <a:pt x="730745" y="220312"/>
                  </a:cubicBezTo>
                  <a:cubicBezTo>
                    <a:pt x="727259" y="224236"/>
                    <a:pt x="727259" y="224890"/>
                    <a:pt x="730963" y="230776"/>
                  </a:cubicBezTo>
                  <a:cubicBezTo>
                    <a:pt x="732924" y="234482"/>
                    <a:pt x="734014" y="238407"/>
                    <a:pt x="733360" y="239497"/>
                  </a:cubicBezTo>
                  <a:cubicBezTo>
                    <a:pt x="731399" y="242767"/>
                    <a:pt x="736411" y="248217"/>
                    <a:pt x="739897" y="246909"/>
                  </a:cubicBezTo>
                  <a:cubicBezTo>
                    <a:pt x="743820" y="245383"/>
                    <a:pt x="746435" y="233174"/>
                    <a:pt x="743384" y="230122"/>
                  </a:cubicBezTo>
                  <a:cubicBezTo>
                    <a:pt x="739897" y="226634"/>
                    <a:pt x="740333" y="219876"/>
                    <a:pt x="744038" y="219876"/>
                  </a:cubicBezTo>
                  <a:cubicBezTo>
                    <a:pt x="747524" y="219876"/>
                    <a:pt x="752972" y="208104"/>
                    <a:pt x="751011" y="204833"/>
                  </a:cubicBezTo>
                  <a:cubicBezTo>
                    <a:pt x="750139" y="203743"/>
                    <a:pt x="750575" y="202217"/>
                    <a:pt x="751882" y="201345"/>
                  </a:cubicBezTo>
                  <a:cubicBezTo>
                    <a:pt x="753190" y="200473"/>
                    <a:pt x="753626" y="195459"/>
                    <a:pt x="752754" y="188047"/>
                  </a:cubicBezTo>
                  <a:cubicBezTo>
                    <a:pt x="751882" y="180635"/>
                    <a:pt x="752100" y="176274"/>
                    <a:pt x="753408" y="176274"/>
                  </a:cubicBezTo>
                  <a:cubicBezTo>
                    <a:pt x="757984" y="176274"/>
                    <a:pt x="760599" y="182815"/>
                    <a:pt x="762778" y="199165"/>
                  </a:cubicBezTo>
                  <a:cubicBezTo>
                    <a:pt x="763867" y="208540"/>
                    <a:pt x="765393" y="216606"/>
                    <a:pt x="766046" y="217260"/>
                  </a:cubicBezTo>
                  <a:cubicBezTo>
                    <a:pt x="766482" y="217914"/>
                    <a:pt x="768443" y="217042"/>
                    <a:pt x="770404" y="215516"/>
                  </a:cubicBezTo>
                  <a:cubicBezTo>
                    <a:pt x="772584" y="213772"/>
                    <a:pt x="773673" y="208976"/>
                    <a:pt x="773673" y="201563"/>
                  </a:cubicBezTo>
                  <a:cubicBezTo>
                    <a:pt x="773673" y="195241"/>
                    <a:pt x="774763" y="189137"/>
                    <a:pt x="776070" y="187829"/>
                  </a:cubicBezTo>
                  <a:cubicBezTo>
                    <a:pt x="777595" y="186303"/>
                    <a:pt x="777160" y="184559"/>
                    <a:pt x="774545" y="181725"/>
                  </a:cubicBezTo>
                  <a:cubicBezTo>
                    <a:pt x="771276" y="178673"/>
                    <a:pt x="771058" y="176928"/>
                    <a:pt x="773237" y="171042"/>
                  </a:cubicBezTo>
                  <a:cubicBezTo>
                    <a:pt x="774763" y="167118"/>
                    <a:pt x="775852" y="160796"/>
                    <a:pt x="775852" y="156872"/>
                  </a:cubicBezTo>
                  <a:cubicBezTo>
                    <a:pt x="775852" y="151204"/>
                    <a:pt x="776506" y="149896"/>
                    <a:pt x="779339" y="150986"/>
                  </a:cubicBezTo>
                  <a:cubicBezTo>
                    <a:pt x="781300" y="151640"/>
                    <a:pt x="783915" y="152294"/>
                    <a:pt x="785440" y="152294"/>
                  </a:cubicBezTo>
                  <a:cubicBezTo>
                    <a:pt x="787183" y="152294"/>
                    <a:pt x="787837" y="154474"/>
                    <a:pt x="787183" y="158834"/>
                  </a:cubicBezTo>
                  <a:cubicBezTo>
                    <a:pt x="786312" y="164284"/>
                    <a:pt x="787183" y="165592"/>
                    <a:pt x="792195" y="167554"/>
                  </a:cubicBezTo>
                  <a:cubicBezTo>
                    <a:pt x="796335" y="169080"/>
                    <a:pt x="798950" y="169080"/>
                    <a:pt x="800912" y="167554"/>
                  </a:cubicBezTo>
                  <a:cubicBezTo>
                    <a:pt x="807231" y="162322"/>
                    <a:pt x="805705" y="169516"/>
                    <a:pt x="798950" y="177582"/>
                  </a:cubicBezTo>
                  <a:cubicBezTo>
                    <a:pt x="795028" y="182161"/>
                    <a:pt x="792195" y="187175"/>
                    <a:pt x="792631" y="188483"/>
                  </a:cubicBezTo>
                  <a:cubicBezTo>
                    <a:pt x="793067" y="189791"/>
                    <a:pt x="791759" y="192189"/>
                    <a:pt x="790016" y="193715"/>
                  </a:cubicBezTo>
                  <a:cubicBezTo>
                    <a:pt x="786965" y="196331"/>
                    <a:pt x="786094" y="196113"/>
                    <a:pt x="784568" y="193715"/>
                  </a:cubicBezTo>
                  <a:cubicBezTo>
                    <a:pt x="783479" y="191971"/>
                    <a:pt x="783479" y="189573"/>
                    <a:pt x="784568" y="188265"/>
                  </a:cubicBezTo>
                  <a:cubicBezTo>
                    <a:pt x="785658" y="186957"/>
                    <a:pt x="785658" y="184559"/>
                    <a:pt x="784786" y="183033"/>
                  </a:cubicBezTo>
                  <a:cubicBezTo>
                    <a:pt x="783261" y="180853"/>
                    <a:pt x="782607" y="181289"/>
                    <a:pt x="781300" y="184777"/>
                  </a:cubicBezTo>
                  <a:cubicBezTo>
                    <a:pt x="779339" y="191099"/>
                    <a:pt x="781518" y="199819"/>
                    <a:pt x="785004" y="199601"/>
                  </a:cubicBezTo>
                  <a:cubicBezTo>
                    <a:pt x="792195" y="199383"/>
                    <a:pt x="794592" y="200691"/>
                    <a:pt x="797207" y="206141"/>
                  </a:cubicBezTo>
                  <a:cubicBezTo>
                    <a:pt x="800912" y="214426"/>
                    <a:pt x="800476" y="217260"/>
                    <a:pt x="795464" y="218786"/>
                  </a:cubicBezTo>
                  <a:cubicBezTo>
                    <a:pt x="793067" y="219440"/>
                    <a:pt x="791106" y="221402"/>
                    <a:pt x="791106" y="223146"/>
                  </a:cubicBezTo>
                  <a:cubicBezTo>
                    <a:pt x="791106" y="226634"/>
                    <a:pt x="796989" y="232956"/>
                    <a:pt x="800040" y="232956"/>
                  </a:cubicBezTo>
                  <a:cubicBezTo>
                    <a:pt x="801129" y="232956"/>
                    <a:pt x="800476" y="235354"/>
                    <a:pt x="798515" y="238407"/>
                  </a:cubicBezTo>
                  <a:cubicBezTo>
                    <a:pt x="796335" y="241677"/>
                    <a:pt x="792849" y="243857"/>
                    <a:pt x="789798" y="243857"/>
                  </a:cubicBezTo>
                  <a:cubicBezTo>
                    <a:pt x="783915" y="243857"/>
                    <a:pt x="783261" y="246037"/>
                    <a:pt x="787183" y="249961"/>
                  </a:cubicBezTo>
                  <a:cubicBezTo>
                    <a:pt x="789362" y="252141"/>
                    <a:pt x="789362" y="253231"/>
                    <a:pt x="786748" y="254757"/>
                  </a:cubicBezTo>
                  <a:cubicBezTo>
                    <a:pt x="781736" y="258027"/>
                    <a:pt x="780428" y="257373"/>
                    <a:pt x="778903" y="251705"/>
                  </a:cubicBezTo>
                  <a:cubicBezTo>
                    <a:pt x="778249" y="248653"/>
                    <a:pt x="775852" y="244729"/>
                    <a:pt x="773455" y="242549"/>
                  </a:cubicBezTo>
                  <a:cubicBezTo>
                    <a:pt x="768443" y="237971"/>
                    <a:pt x="771494" y="230776"/>
                    <a:pt x="778249" y="230776"/>
                  </a:cubicBezTo>
                  <a:cubicBezTo>
                    <a:pt x="781300" y="230776"/>
                    <a:pt x="782389" y="229686"/>
                    <a:pt x="781736" y="227724"/>
                  </a:cubicBezTo>
                  <a:cubicBezTo>
                    <a:pt x="781082" y="226198"/>
                    <a:pt x="783043" y="221184"/>
                    <a:pt x="786094" y="216606"/>
                  </a:cubicBezTo>
                  <a:cubicBezTo>
                    <a:pt x="790016" y="210720"/>
                    <a:pt x="790888" y="207886"/>
                    <a:pt x="789145" y="206141"/>
                  </a:cubicBezTo>
                  <a:cubicBezTo>
                    <a:pt x="787401" y="204397"/>
                    <a:pt x="785222" y="205269"/>
                    <a:pt x="781300" y="208976"/>
                  </a:cubicBezTo>
                  <a:cubicBezTo>
                    <a:pt x="774327" y="215516"/>
                    <a:pt x="762778" y="233392"/>
                    <a:pt x="762778" y="237535"/>
                  </a:cubicBezTo>
                  <a:cubicBezTo>
                    <a:pt x="762778" y="239279"/>
                    <a:pt x="759727" y="241895"/>
                    <a:pt x="756241" y="243203"/>
                  </a:cubicBezTo>
                  <a:cubicBezTo>
                    <a:pt x="749050" y="245819"/>
                    <a:pt x="747524" y="252359"/>
                    <a:pt x="752972" y="256937"/>
                  </a:cubicBezTo>
                  <a:cubicBezTo>
                    <a:pt x="755587" y="259117"/>
                    <a:pt x="757548" y="259117"/>
                    <a:pt x="762560" y="256937"/>
                  </a:cubicBezTo>
                  <a:cubicBezTo>
                    <a:pt x="771712" y="253231"/>
                    <a:pt x="778467" y="255847"/>
                    <a:pt x="776724" y="262387"/>
                  </a:cubicBezTo>
                  <a:cubicBezTo>
                    <a:pt x="775634" y="266530"/>
                    <a:pt x="776506" y="267620"/>
                    <a:pt x="780646" y="268274"/>
                  </a:cubicBezTo>
                  <a:cubicBezTo>
                    <a:pt x="785004" y="268928"/>
                    <a:pt x="785658" y="270018"/>
                    <a:pt x="785658" y="279610"/>
                  </a:cubicBezTo>
                  <a:cubicBezTo>
                    <a:pt x="785876" y="288548"/>
                    <a:pt x="785004" y="290292"/>
                    <a:pt x="780864" y="292036"/>
                  </a:cubicBezTo>
                  <a:cubicBezTo>
                    <a:pt x="778031" y="293126"/>
                    <a:pt x="775852" y="295743"/>
                    <a:pt x="775852" y="297705"/>
                  </a:cubicBezTo>
                  <a:cubicBezTo>
                    <a:pt x="775852" y="302065"/>
                    <a:pt x="768008" y="307951"/>
                    <a:pt x="764957" y="305989"/>
                  </a:cubicBezTo>
                  <a:cubicBezTo>
                    <a:pt x="763867" y="305335"/>
                    <a:pt x="763431" y="301847"/>
                    <a:pt x="764303" y="298359"/>
                  </a:cubicBezTo>
                  <a:cubicBezTo>
                    <a:pt x="765828" y="289856"/>
                    <a:pt x="760599" y="287676"/>
                    <a:pt x="752754" y="293781"/>
                  </a:cubicBezTo>
                  <a:cubicBezTo>
                    <a:pt x="746870" y="298359"/>
                    <a:pt x="743166" y="298141"/>
                    <a:pt x="743166" y="292908"/>
                  </a:cubicBezTo>
                  <a:cubicBezTo>
                    <a:pt x="743166" y="287894"/>
                    <a:pt x="738808" y="286804"/>
                    <a:pt x="734232" y="290946"/>
                  </a:cubicBezTo>
                  <a:cubicBezTo>
                    <a:pt x="732053" y="292908"/>
                    <a:pt x="730092" y="296833"/>
                    <a:pt x="730092" y="299449"/>
                  </a:cubicBezTo>
                  <a:cubicBezTo>
                    <a:pt x="730092" y="304899"/>
                    <a:pt x="722247" y="308387"/>
                    <a:pt x="718107" y="304899"/>
                  </a:cubicBezTo>
                  <a:cubicBezTo>
                    <a:pt x="715056" y="302501"/>
                    <a:pt x="712659" y="304245"/>
                    <a:pt x="712659" y="308823"/>
                  </a:cubicBezTo>
                  <a:cubicBezTo>
                    <a:pt x="712659" y="310567"/>
                    <a:pt x="713966" y="311439"/>
                    <a:pt x="715492" y="310785"/>
                  </a:cubicBezTo>
                  <a:cubicBezTo>
                    <a:pt x="717235" y="310131"/>
                    <a:pt x="719850" y="310567"/>
                    <a:pt x="721375" y="311439"/>
                  </a:cubicBezTo>
                  <a:cubicBezTo>
                    <a:pt x="723990" y="312965"/>
                    <a:pt x="723990" y="314273"/>
                    <a:pt x="721375" y="319069"/>
                  </a:cubicBezTo>
                  <a:cubicBezTo>
                    <a:pt x="718760" y="323866"/>
                    <a:pt x="718978" y="325610"/>
                    <a:pt x="722029" y="332150"/>
                  </a:cubicBezTo>
                  <a:cubicBezTo>
                    <a:pt x="727695" y="344140"/>
                    <a:pt x="726169" y="345448"/>
                    <a:pt x="716363" y="336510"/>
                  </a:cubicBezTo>
                  <a:cubicBezTo>
                    <a:pt x="712005" y="332368"/>
                    <a:pt x="710698" y="329534"/>
                    <a:pt x="711787" y="325828"/>
                  </a:cubicBezTo>
                  <a:cubicBezTo>
                    <a:pt x="712441" y="322557"/>
                    <a:pt x="711569" y="319505"/>
                    <a:pt x="709173" y="317107"/>
                  </a:cubicBezTo>
                  <a:cubicBezTo>
                    <a:pt x="704379" y="312311"/>
                    <a:pt x="700892" y="315581"/>
                    <a:pt x="700674" y="324956"/>
                  </a:cubicBezTo>
                  <a:cubicBezTo>
                    <a:pt x="700674" y="328880"/>
                    <a:pt x="699149" y="332586"/>
                    <a:pt x="696970" y="334112"/>
                  </a:cubicBezTo>
                  <a:cubicBezTo>
                    <a:pt x="691740" y="337382"/>
                    <a:pt x="689561" y="334112"/>
                    <a:pt x="693047" y="327790"/>
                  </a:cubicBezTo>
                  <a:cubicBezTo>
                    <a:pt x="697188" y="319941"/>
                    <a:pt x="693265" y="316017"/>
                    <a:pt x="685421" y="320159"/>
                  </a:cubicBezTo>
                  <a:cubicBezTo>
                    <a:pt x="679101" y="323648"/>
                    <a:pt x="676051" y="321685"/>
                    <a:pt x="679973" y="316889"/>
                  </a:cubicBezTo>
                  <a:cubicBezTo>
                    <a:pt x="681716" y="314709"/>
                    <a:pt x="681934" y="313619"/>
                    <a:pt x="680191" y="313619"/>
                  </a:cubicBezTo>
                  <a:cubicBezTo>
                    <a:pt x="678883" y="313619"/>
                    <a:pt x="677794" y="314709"/>
                    <a:pt x="677794" y="315799"/>
                  </a:cubicBezTo>
                  <a:cubicBezTo>
                    <a:pt x="677794" y="317107"/>
                    <a:pt x="674307" y="317979"/>
                    <a:pt x="670167" y="317979"/>
                  </a:cubicBezTo>
                  <a:cubicBezTo>
                    <a:pt x="661233" y="317979"/>
                    <a:pt x="660361" y="321249"/>
                    <a:pt x="667116" y="329534"/>
                  </a:cubicBezTo>
                  <a:cubicBezTo>
                    <a:pt x="670603" y="334330"/>
                    <a:pt x="671039" y="336074"/>
                    <a:pt x="669078" y="339780"/>
                  </a:cubicBezTo>
                  <a:cubicBezTo>
                    <a:pt x="666027" y="345666"/>
                    <a:pt x="661669" y="344358"/>
                    <a:pt x="660797" y="337382"/>
                  </a:cubicBezTo>
                  <a:cubicBezTo>
                    <a:pt x="660361" y="334548"/>
                    <a:pt x="658618" y="330624"/>
                    <a:pt x="656875" y="328662"/>
                  </a:cubicBezTo>
                  <a:cubicBezTo>
                    <a:pt x="654914" y="326482"/>
                    <a:pt x="654696" y="324520"/>
                    <a:pt x="656221" y="322994"/>
                  </a:cubicBezTo>
                  <a:cubicBezTo>
                    <a:pt x="657528" y="321685"/>
                    <a:pt x="657528" y="319069"/>
                    <a:pt x="656221" y="315145"/>
                  </a:cubicBezTo>
                  <a:cubicBezTo>
                    <a:pt x="654260" y="310349"/>
                    <a:pt x="654696" y="309041"/>
                    <a:pt x="658182" y="307079"/>
                  </a:cubicBezTo>
                  <a:cubicBezTo>
                    <a:pt x="660361" y="305989"/>
                    <a:pt x="663848" y="304899"/>
                    <a:pt x="665591" y="304899"/>
                  </a:cubicBezTo>
                  <a:cubicBezTo>
                    <a:pt x="667988" y="304899"/>
                    <a:pt x="669078" y="302937"/>
                    <a:pt x="669078" y="298577"/>
                  </a:cubicBezTo>
                  <a:cubicBezTo>
                    <a:pt x="669078" y="295089"/>
                    <a:pt x="668424" y="291818"/>
                    <a:pt x="667552" y="291164"/>
                  </a:cubicBezTo>
                  <a:cubicBezTo>
                    <a:pt x="666463" y="290728"/>
                    <a:pt x="667116" y="290728"/>
                    <a:pt x="668642" y="290946"/>
                  </a:cubicBezTo>
                  <a:cubicBezTo>
                    <a:pt x="670167" y="291382"/>
                    <a:pt x="673436" y="289202"/>
                    <a:pt x="676051" y="286368"/>
                  </a:cubicBezTo>
                  <a:cubicBezTo>
                    <a:pt x="678883" y="283098"/>
                    <a:pt x="683024" y="280918"/>
                    <a:pt x="686510" y="280918"/>
                  </a:cubicBezTo>
                  <a:cubicBezTo>
                    <a:pt x="698931" y="280918"/>
                    <a:pt x="706558" y="263477"/>
                    <a:pt x="698931" y="251923"/>
                  </a:cubicBezTo>
                  <a:cubicBezTo>
                    <a:pt x="695662" y="246909"/>
                    <a:pt x="695662" y="246255"/>
                    <a:pt x="698713" y="243639"/>
                  </a:cubicBezTo>
                  <a:cubicBezTo>
                    <a:pt x="700674" y="242113"/>
                    <a:pt x="703071" y="238625"/>
                    <a:pt x="704161" y="235791"/>
                  </a:cubicBezTo>
                  <a:cubicBezTo>
                    <a:pt x="706122" y="230558"/>
                    <a:pt x="711352" y="229032"/>
                    <a:pt x="713749" y="232956"/>
                  </a:cubicBezTo>
                  <a:cubicBezTo>
                    <a:pt x="714402" y="234046"/>
                    <a:pt x="713966" y="237099"/>
                    <a:pt x="712659" y="239497"/>
                  </a:cubicBezTo>
                  <a:cubicBezTo>
                    <a:pt x="710916" y="242549"/>
                    <a:pt x="710916" y="245165"/>
                    <a:pt x="712877" y="248435"/>
                  </a:cubicBezTo>
                  <a:cubicBezTo>
                    <a:pt x="714620" y="251705"/>
                    <a:pt x="714620" y="253667"/>
                    <a:pt x="712877" y="255411"/>
                  </a:cubicBezTo>
                  <a:cubicBezTo>
                    <a:pt x="708519" y="259771"/>
                    <a:pt x="710262" y="263477"/>
                    <a:pt x="717017" y="263477"/>
                  </a:cubicBezTo>
                  <a:cubicBezTo>
                    <a:pt x="723990" y="263477"/>
                    <a:pt x="724862" y="264786"/>
                    <a:pt x="721375" y="270018"/>
                  </a:cubicBezTo>
                  <a:cubicBezTo>
                    <a:pt x="719632" y="272852"/>
                    <a:pt x="718543" y="272852"/>
                    <a:pt x="714620" y="270454"/>
                  </a:cubicBezTo>
                  <a:cubicBezTo>
                    <a:pt x="711787" y="268710"/>
                    <a:pt x="709173" y="268274"/>
                    <a:pt x="707865" y="269582"/>
                  </a:cubicBezTo>
                  <a:cubicBezTo>
                    <a:pt x="705250" y="272198"/>
                    <a:pt x="715056" y="290510"/>
                    <a:pt x="719850" y="291382"/>
                  </a:cubicBezTo>
                  <a:cubicBezTo>
                    <a:pt x="722901" y="292036"/>
                    <a:pt x="723554" y="290510"/>
                    <a:pt x="723554" y="283316"/>
                  </a:cubicBezTo>
                  <a:cubicBezTo>
                    <a:pt x="723554" y="275250"/>
                    <a:pt x="724208" y="274378"/>
                    <a:pt x="728784" y="274378"/>
                  </a:cubicBezTo>
                  <a:cubicBezTo>
                    <a:pt x="731617" y="274378"/>
                    <a:pt x="734668" y="275904"/>
                    <a:pt x="735321" y="277866"/>
                  </a:cubicBezTo>
                  <a:cubicBezTo>
                    <a:pt x="736411" y="280482"/>
                    <a:pt x="738372" y="281136"/>
                    <a:pt x="743166" y="280046"/>
                  </a:cubicBezTo>
                  <a:cubicBezTo>
                    <a:pt x="747960" y="279174"/>
                    <a:pt x="751011" y="280046"/>
                    <a:pt x="754061" y="283098"/>
                  </a:cubicBezTo>
                  <a:cubicBezTo>
                    <a:pt x="756458" y="285496"/>
                    <a:pt x="759727" y="286804"/>
                    <a:pt x="761688" y="286150"/>
                  </a:cubicBezTo>
                  <a:cubicBezTo>
                    <a:pt x="763431" y="285278"/>
                    <a:pt x="764957" y="285932"/>
                    <a:pt x="764957" y="287240"/>
                  </a:cubicBezTo>
                  <a:cubicBezTo>
                    <a:pt x="764957" y="288984"/>
                    <a:pt x="766264" y="288766"/>
                    <a:pt x="769315" y="287022"/>
                  </a:cubicBezTo>
                  <a:cubicBezTo>
                    <a:pt x="774981" y="283316"/>
                    <a:pt x="774763" y="281354"/>
                    <a:pt x="768225" y="278302"/>
                  </a:cubicBezTo>
                  <a:cubicBezTo>
                    <a:pt x="765175" y="276994"/>
                    <a:pt x="762778" y="274378"/>
                    <a:pt x="762778" y="272416"/>
                  </a:cubicBezTo>
                  <a:cubicBezTo>
                    <a:pt x="762778" y="264786"/>
                    <a:pt x="759509" y="263041"/>
                    <a:pt x="753626" y="267620"/>
                  </a:cubicBezTo>
                  <a:cubicBezTo>
                    <a:pt x="747960" y="272198"/>
                    <a:pt x="743166" y="270454"/>
                    <a:pt x="743166" y="264131"/>
                  </a:cubicBezTo>
                  <a:cubicBezTo>
                    <a:pt x="743166" y="262605"/>
                    <a:pt x="741859" y="261297"/>
                    <a:pt x="740115" y="261297"/>
                  </a:cubicBezTo>
                  <a:cubicBezTo>
                    <a:pt x="738590" y="261297"/>
                    <a:pt x="735975" y="259771"/>
                    <a:pt x="734450" y="258027"/>
                  </a:cubicBezTo>
                  <a:cubicBezTo>
                    <a:pt x="732924" y="256283"/>
                    <a:pt x="729656" y="254757"/>
                    <a:pt x="727041" y="254757"/>
                  </a:cubicBezTo>
                  <a:cubicBezTo>
                    <a:pt x="724426" y="254757"/>
                    <a:pt x="720504" y="253449"/>
                    <a:pt x="718325" y="251923"/>
                  </a:cubicBezTo>
                  <a:cubicBezTo>
                    <a:pt x="714838" y="249307"/>
                    <a:pt x="715056" y="248871"/>
                    <a:pt x="720068" y="244075"/>
                  </a:cubicBezTo>
                  <a:cubicBezTo>
                    <a:pt x="724426" y="239933"/>
                    <a:pt x="725080" y="237971"/>
                    <a:pt x="723336" y="233610"/>
                  </a:cubicBezTo>
                  <a:cubicBezTo>
                    <a:pt x="722247" y="230776"/>
                    <a:pt x="721375" y="223800"/>
                    <a:pt x="721375" y="218132"/>
                  </a:cubicBezTo>
                  <a:cubicBezTo>
                    <a:pt x="721375" y="212464"/>
                    <a:pt x="720286" y="206359"/>
                    <a:pt x="719196" y="204615"/>
                  </a:cubicBezTo>
                  <a:cubicBezTo>
                    <a:pt x="717453" y="201781"/>
                    <a:pt x="716799" y="201781"/>
                    <a:pt x="713313" y="205051"/>
                  </a:cubicBezTo>
                  <a:cubicBezTo>
                    <a:pt x="710480" y="208104"/>
                    <a:pt x="710044" y="209630"/>
                    <a:pt x="712223" y="211592"/>
                  </a:cubicBezTo>
                  <a:cubicBezTo>
                    <a:pt x="716363" y="215734"/>
                    <a:pt x="715492" y="220312"/>
                    <a:pt x="710698" y="218786"/>
                  </a:cubicBezTo>
                  <a:cubicBezTo>
                    <a:pt x="708519" y="218132"/>
                    <a:pt x="705468" y="219004"/>
                    <a:pt x="703943" y="220966"/>
                  </a:cubicBezTo>
                  <a:cubicBezTo>
                    <a:pt x="702417" y="222710"/>
                    <a:pt x="698931" y="224236"/>
                    <a:pt x="696098" y="224236"/>
                  </a:cubicBezTo>
                  <a:cubicBezTo>
                    <a:pt x="692829" y="224236"/>
                    <a:pt x="690868" y="225544"/>
                    <a:pt x="690868" y="227506"/>
                  </a:cubicBezTo>
                  <a:cubicBezTo>
                    <a:pt x="690868" y="229250"/>
                    <a:pt x="692829" y="230776"/>
                    <a:pt x="695226" y="230776"/>
                  </a:cubicBezTo>
                  <a:cubicBezTo>
                    <a:pt x="700456" y="230776"/>
                    <a:pt x="700892" y="234482"/>
                    <a:pt x="695880" y="239933"/>
                  </a:cubicBezTo>
                  <a:cubicBezTo>
                    <a:pt x="693701" y="242331"/>
                    <a:pt x="689343" y="243857"/>
                    <a:pt x="684113" y="243857"/>
                  </a:cubicBezTo>
                  <a:cubicBezTo>
                    <a:pt x="670385" y="243857"/>
                    <a:pt x="670603" y="252795"/>
                    <a:pt x="684331" y="255629"/>
                  </a:cubicBezTo>
                  <a:cubicBezTo>
                    <a:pt x="691958" y="257155"/>
                    <a:pt x="694791" y="261951"/>
                    <a:pt x="690650" y="266966"/>
                  </a:cubicBezTo>
                  <a:cubicBezTo>
                    <a:pt x="688689" y="269364"/>
                    <a:pt x="684985" y="270236"/>
                    <a:pt x="678012" y="269582"/>
                  </a:cubicBezTo>
                  <a:cubicBezTo>
                    <a:pt x="668424" y="268928"/>
                    <a:pt x="667988" y="269146"/>
                    <a:pt x="667988" y="274814"/>
                  </a:cubicBezTo>
                  <a:cubicBezTo>
                    <a:pt x="667988" y="281790"/>
                    <a:pt x="665373" y="285060"/>
                    <a:pt x="663412" y="280046"/>
                  </a:cubicBezTo>
                  <a:cubicBezTo>
                    <a:pt x="661015" y="273506"/>
                    <a:pt x="657746" y="276558"/>
                    <a:pt x="658618" y="284842"/>
                  </a:cubicBezTo>
                  <a:cubicBezTo>
                    <a:pt x="659272" y="291818"/>
                    <a:pt x="658618" y="292908"/>
                    <a:pt x="654478" y="292908"/>
                  </a:cubicBezTo>
                  <a:cubicBezTo>
                    <a:pt x="652081" y="292908"/>
                    <a:pt x="649030" y="293562"/>
                    <a:pt x="648158" y="294653"/>
                  </a:cubicBezTo>
                  <a:cubicBezTo>
                    <a:pt x="645544" y="297269"/>
                    <a:pt x="642929" y="296397"/>
                    <a:pt x="642929" y="292908"/>
                  </a:cubicBezTo>
                  <a:cubicBezTo>
                    <a:pt x="642929" y="291164"/>
                    <a:pt x="642057" y="289638"/>
                    <a:pt x="640967" y="289638"/>
                  </a:cubicBezTo>
                  <a:cubicBezTo>
                    <a:pt x="637917" y="289638"/>
                    <a:pt x="636174" y="295961"/>
                    <a:pt x="637699" y="301847"/>
                  </a:cubicBezTo>
                  <a:cubicBezTo>
                    <a:pt x="638788" y="305989"/>
                    <a:pt x="640096" y="306861"/>
                    <a:pt x="643147" y="305989"/>
                  </a:cubicBezTo>
                  <a:cubicBezTo>
                    <a:pt x="645544" y="305117"/>
                    <a:pt x="647287" y="305553"/>
                    <a:pt x="647287" y="306861"/>
                  </a:cubicBezTo>
                  <a:cubicBezTo>
                    <a:pt x="647287" y="308169"/>
                    <a:pt x="645979" y="309259"/>
                    <a:pt x="644236" y="309259"/>
                  </a:cubicBezTo>
                  <a:cubicBezTo>
                    <a:pt x="642493" y="309259"/>
                    <a:pt x="639878" y="312529"/>
                    <a:pt x="638353" y="316453"/>
                  </a:cubicBezTo>
                  <a:cubicBezTo>
                    <a:pt x="637045" y="320159"/>
                    <a:pt x="633123" y="325610"/>
                    <a:pt x="629854" y="328226"/>
                  </a:cubicBezTo>
                  <a:cubicBezTo>
                    <a:pt x="624407" y="332586"/>
                    <a:pt x="623535" y="332804"/>
                    <a:pt x="619177" y="329752"/>
                  </a:cubicBezTo>
                  <a:cubicBezTo>
                    <a:pt x="616126" y="327572"/>
                    <a:pt x="614819" y="324956"/>
                    <a:pt x="615690" y="322557"/>
                  </a:cubicBezTo>
                  <a:cubicBezTo>
                    <a:pt x="616344" y="320377"/>
                    <a:pt x="614819" y="316235"/>
                    <a:pt x="612422" y="312965"/>
                  </a:cubicBezTo>
                  <a:cubicBezTo>
                    <a:pt x="607410" y="306643"/>
                    <a:pt x="606756" y="302719"/>
                    <a:pt x="610896" y="302719"/>
                  </a:cubicBezTo>
                  <a:cubicBezTo>
                    <a:pt x="614383" y="302719"/>
                    <a:pt x="619830" y="308605"/>
                    <a:pt x="622010" y="314491"/>
                  </a:cubicBezTo>
                  <a:cubicBezTo>
                    <a:pt x="623317" y="318415"/>
                    <a:pt x="623753" y="318415"/>
                    <a:pt x="627239" y="315145"/>
                  </a:cubicBezTo>
                  <a:cubicBezTo>
                    <a:pt x="630508" y="311657"/>
                    <a:pt x="630508" y="311003"/>
                    <a:pt x="627021" y="305117"/>
                  </a:cubicBezTo>
                  <a:cubicBezTo>
                    <a:pt x="625060" y="301629"/>
                    <a:pt x="623317" y="298141"/>
                    <a:pt x="623317" y="297487"/>
                  </a:cubicBezTo>
                  <a:cubicBezTo>
                    <a:pt x="623317" y="294435"/>
                    <a:pt x="638135" y="283098"/>
                    <a:pt x="642493" y="283098"/>
                  </a:cubicBezTo>
                  <a:cubicBezTo>
                    <a:pt x="648376" y="283098"/>
                    <a:pt x="648812" y="277648"/>
                    <a:pt x="643582" y="271544"/>
                  </a:cubicBezTo>
                  <a:cubicBezTo>
                    <a:pt x="639660" y="267402"/>
                    <a:pt x="639878" y="267402"/>
                    <a:pt x="647505" y="268274"/>
                  </a:cubicBezTo>
                  <a:cubicBezTo>
                    <a:pt x="654914" y="268928"/>
                    <a:pt x="655349" y="268710"/>
                    <a:pt x="653824" y="263477"/>
                  </a:cubicBezTo>
                  <a:cubicBezTo>
                    <a:pt x="652952" y="259771"/>
                    <a:pt x="650773" y="257809"/>
                    <a:pt x="646851" y="257373"/>
                  </a:cubicBezTo>
                  <a:cubicBezTo>
                    <a:pt x="643582" y="256937"/>
                    <a:pt x="639878" y="255193"/>
                    <a:pt x="638571" y="253449"/>
                  </a:cubicBezTo>
                  <a:cubicBezTo>
                    <a:pt x="637045" y="251705"/>
                    <a:pt x="633994" y="250397"/>
                    <a:pt x="631597" y="250397"/>
                  </a:cubicBezTo>
                  <a:cubicBezTo>
                    <a:pt x="628111" y="250397"/>
                    <a:pt x="627457" y="251705"/>
                    <a:pt x="627893" y="257591"/>
                  </a:cubicBezTo>
                  <a:cubicBezTo>
                    <a:pt x="628547" y="262823"/>
                    <a:pt x="627893" y="264349"/>
                    <a:pt x="625496" y="263913"/>
                  </a:cubicBezTo>
                  <a:cubicBezTo>
                    <a:pt x="618305" y="262169"/>
                    <a:pt x="616562" y="258463"/>
                    <a:pt x="616998" y="245383"/>
                  </a:cubicBezTo>
                  <a:cubicBezTo>
                    <a:pt x="617651" y="231212"/>
                    <a:pt x="614165" y="226416"/>
                    <a:pt x="606320" y="230558"/>
                  </a:cubicBezTo>
                  <a:cubicBezTo>
                    <a:pt x="598040" y="234918"/>
                    <a:pt x="589106" y="228814"/>
                    <a:pt x="595207" y="222710"/>
                  </a:cubicBezTo>
                  <a:cubicBezTo>
                    <a:pt x="598911" y="219004"/>
                    <a:pt x="593246" y="191971"/>
                    <a:pt x="588234" y="189137"/>
                  </a:cubicBezTo>
                  <a:cubicBezTo>
                    <a:pt x="584747" y="187393"/>
                    <a:pt x="584312" y="185431"/>
                    <a:pt x="585183" y="179763"/>
                  </a:cubicBezTo>
                  <a:cubicBezTo>
                    <a:pt x="586491" y="173440"/>
                    <a:pt x="585837" y="171914"/>
                    <a:pt x="578646" y="166682"/>
                  </a:cubicBezTo>
                  <a:cubicBezTo>
                    <a:pt x="571237" y="161014"/>
                    <a:pt x="570583" y="160796"/>
                    <a:pt x="566661" y="164284"/>
                  </a:cubicBezTo>
                  <a:cubicBezTo>
                    <a:pt x="563828" y="166900"/>
                    <a:pt x="562521" y="167118"/>
                    <a:pt x="561867" y="165156"/>
                  </a:cubicBezTo>
                  <a:cubicBezTo>
                    <a:pt x="561431" y="163630"/>
                    <a:pt x="559470" y="162976"/>
                    <a:pt x="557073" y="163848"/>
                  </a:cubicBezTo>
                  <a:cubicBezTo>
                    <a:pt x="554240" y="164938"/>
                    <a:pt x="553587" y="166900"/>
                    <a:pt x="554894" y="173004"/>
                  </a:cubicBezTo>
                  <a:cubicBezTo>
                    <a:pt x="555984" y="179545"/>
                    <a:pt x="555766" y="180635"/>
                    <a:pt x="552061" y="180635"/>
                  </a:cubicBezTo>
                  <a:cubicBezTo>
                    <a:pt x="549882" y="180635"/>
                    <a:pt x="546831" y="179545"/>
                    <a:pt x="545306" y="178019"/>
                  </a:cubicBezTo>
                  <a:cubicBezTo>
                    <a:pt x="540948" y="173658"/>
                    <a:pt x="542255" y="179109"/>
                    <a:pt x="547703" y="186957"/>
                  </a:cubicBezTo>
                  <a:cubicBezTo>
                    <a:pt x="550318" y="191099"/>
                    <a:pt x="554022" y="196985"/>
                    <a:pt x="555984" y="200037"/>
                  </a:cubicBezTo>
                  <a:cubicBezTo>
                    <a:pt x="558163" y="203961"/>
                    <a:pt x="561649" y="205923"/>
                    <a:pt x="566225" y="206359"/>
                  </a:cubicBezTo>
                  <a:cubicBezTo>
                    <a:pt x="570801" y="206796"/>
                    <a:pt x="573198" y="208322"/>
                    <a:pt x="573198" y="210502"/>
                  </a:cubicBezTo>
                  <a:cubicBezTo>
                    <a:pt x="573198" y="212464"/>
                    <a:pt x="573634" y="213554"/>
                    <a:pt x="574288" y="213118"/>
                  </a:cubicBezTo>
                  <a:cubicBezTo>
                    <a:pt x="574724" y="212464"/>
                    <a:pt x="574724" y="208322"/>
                    <a:pt x="573852" y="203743"/>
                  </a:cubicBezTo>
                  <a:cubicBezTo>
                    <a:pt x="572980" y="198511"/>
                    <a:pt x="571673" y="196113"/>
                    <a:pt x="569712" y="196767"/>
                  </a:cubicBezTo>
                  <a:cubicBezTo>
                    <a:pt x="566225" y="198075"/>
                    <a:pt x="559470" y="187829"/>
                    <a:pt x="560995" y="183687"/>
                  </a:cubicBezTo>
                  <a:cubicBezTo>
                    <a:pt x="563175" y="178237"/>
                    <a:pt x="579736" y="181507"/>
                    <a:pt x="579736" y="187393"/>
                  </a:cubicBezTo>
                  <a:cubicBezTo>
                    <a:pt x="579736" y="188701"/>
                    <a:pt x="582132" y="191753"/>
                    <a:pt x="585401" y="194151"/>
                  </a:cubicBezTo>
                  <a:cubicBezTo>
                    <a:pt x="590413" y="198075"/>
                    <a:pt x="590631" y="198947"/>
                    <a:pt x="587580" y="202217"/>
                  </a:cubicBezTo>
                  <a:cubicBezTo>
                    <a:pt x="585183" y="204833"/>
                    <a:pt x="584312" y="210284"/>
                    <a:pt x="584312" y="219658"/>
                  </a:cubicBezTo>
                  <a:cubicBezTo>
                    <a:pt x="584529" y="229686"/>
                    <a:pt x="583658" y="234264"/>
                    <a:pt x="580607" y="237535"/>
                  </a:cubicBezTo>
                  <a:cubicBezTo>
                    <a:pt x="577774" y="240805"/>
                    <a:pt x="577339" y="242331"/>
                    <a:pt x="579300" y="244293"/>
                  </a:cubicBezTo>
                  <a:cubicBezTo>
                    <a:pt x="581043" y="246037"/>
                    <a:pt x="582132" y="246037"/>
                    <a:pt x="583004" y="243421"/>
                  </a:cubicBezTo>
                  <a:cubicBezTo>
                    <a:pt x="584312" y="240151"/>
                    <a:pt x="587362" y="240151"/>
                    <a:pt x="601308" y="242985"/>
                  </a:cubicBezTo>
                  <a:cubicBezTo>
                    <a:pt x="605231" y="243857"/>
                    <a:pt x="606102" y="245165"/>
                    <a:pt x="605013" y="248871"/>
                  </a:cubicBezTo>
                  <a:cubicBezTo>
                    <a:pt x="604359" y="251487"/>
                    <a:pt x="605231" y="254975"/>
                    <a:pt x="607192" y="257155"/>
                  </a:cubicBezTo>
                  <a:cubicBezTo>
                    <a:pt x="611114" y="261515"/>
                    <a:pt x="609153" y="268056"/>
                    <a:pt x="604359" y="266312"/>
                  </a:cubicBezTo>
                  <a:cubicBezTo>
                    <a:pt x="602398" y="265440"/>
                    <a:pt x="601526" y="263259"/>
                    <a:pt x="602180" y="259771"/>
                  </a:cubicBezTo>
                  <a:cubicBezTo>
                    <a:pt x="602834" y="255847"/>
                    <a:pt x="602180" y="254757"/>
                    <a:pt x="599565" y="255193"/>
                  </a:cubicBezTo>
                  <a:cubicBezTo>
                    <a:pt x="596732" y="255847"/>
                    <a:pt x="596296" y="258245"/>
                    <a:pt x="596732" y="267620"/>
                  </a:cubicBezTo>
                  <a:cubicBezTo>
                    <a:pt x="597386" y="279392"/>
                    <a:pt x="595425" y="282880"/>
                    <a:pt x="589106" y="283098"/>
                  </a:cubicBezTo>
                  <a:cubicBezTo>
                    <a:pt x="587144" y="283098"/>
                    <a:pt x="586709" y="280918"/>
                    <a:pt x="587580" y="276558"/>
                  </a:cubicBezTo>
                  <a:cubicBezTo>
                    <a:pt x="588452" y="272852"/>
                    <a:pt x="587798" y="268710"/>
                    <a:pt x="586491" y="266966"/>
                  </a:cubicBezTo>
                  <a:cubicBezTo>
                    <a:pt x="584747" y="264786"/>
                    <a:pt x="584529" y="263477"/>
                    <a:pt x="586273" y="262387"/>
                  </a:cubicBezTo>
                  <a:cubicBezTo>
                    <a:pt x="591067" y="259335"/>
                    <a:pt x="588234" y="256719"/>
                    <a:pt x="581697" y="258027"/>
                  </a:cubicBezTo>
                  <a:cubicBezTo>
                    <a:pt x="575159" y="259553"/>
                    <a:pt x="574942" y="259335"/>
                    <a:pt x="575595" y="251923"/>
                  </a:cubicBezTo>
                  <a:cubicBezTo>
                    <a:pt x="576031" y="247563"/>
                    <a:pt x="575595" y="243421"/>
                    <a:pt x="574724" y="242549"/>
                  </a:cubicBezTo>
                  <a:cubicBezTo>
                    <a:pt x="573852" y="241677"/>
                    <a:pt x="573198" y="239061"/>
                    <a:pt x="573198" y="236881"/>
                  </a:cubicBezTo>
                  <a:cubicBezTo>
                    <a:pt x="573198" y="234482"/>
                    <a:pt x="571673" y="232956"/>
                    <a:pt x="569058" y="232956"/>
                  </a:cubicBezTo>
                  <a:cubicBezTo>
                    <a:pt x="566661" y="232956"/>
                    <a:pt x="564046" y="231866"/>
                    <a:pt x="563175" y="230558"/>
                  </a:cubicBezTo>
                  <a:cubicBezTo>
                    <a:pt x="562521" y="229250"/>
                    <a:pt x="559470" y="228814"/>
                    <a:pt x="556637" y="229468"/>
                  </a:cubicBezTo>
                  <a:cubicBezTo>
                    <a:pt x="550972" y="230994"/>
                    <a:pt x="549446" y="227724"/>
                    <a:pt x="554894" y="225544"/>
                  </a:cubicBezTo>
                  <a:cubicBezTo>
                    <a:pt x="557945" y="224454"/>
                    <a:pt x="557945" y="223800"/>
                    <a:pt x="554894" y="219658"/>
                  </a:cubicBezTo>
                  <a:cubicBezTo>
                    <a:pt x="552933" y="216824"/>
                    <a:pt x="552061" y="212464"/>
                    <a:pt x="552715" y="208976"/>
                  </a:cubicBezTo>
                  <a:cubicBezTo>
                    <a:pt x="553805" y="204397"/>
                    <a:pt x="552715" y="201999"/>
                    <a:pt x="548139" y="198293"/>
                  </a:cubicBezTo>
                  <a:cubicBezTo>
                    <a:pt x="542038" y="193715"/>
                    <a:pt x="533103" y="192189"/>
                    <a:pt x="530924" y="195459"/>
                  </a:cubicBezTo>
                  <a:cubicBezTo>
                    <a:pt x="529181" y="198511"/>
                    <a:pt x="536154" y="206796"/>
                    <a:pt x="540294" y="206796"/>
                  </a:cubicBezTo>
                  <a:cubicBezTo>
                    <a:pt x="545088" y="206796"/>
                    <a:pt x="547485" y="211374"/>
                    <a:pt x="544652" y="215734"/>
                  </a:cubicBezTo>
                  <a:cubicBezTo>
                    <a:pt x="543563" y="217478"/>
                    <a:pt x="543345" y="220530"/>
                    <a:pt x="543999" y="222492"/>
                  </a:cubicBezTo>
                  <a:cubicBezTo>
                    <a:pt x="544652" y="224672"/>
                    <a:pt x="543345" y="227070"/>
                    <a:pt x="540730" y="228378"/>
                  </a:cubicBezTo>
                  <a:cubicBezTo>
                    <a:pt x="538333" y="229686"/>
                    <a:pt x="536154" y="232956"/>
                    <a:pt x="535718" y="235572"/>
                  </a:cubicBezTo>
                  <a:cubicBezTo>
                    <a:pt x="534847" y="242331"/>
                    <a:pt x="530053" y="242985"/>
                    <a:pt x="528309" y="236445"/>
                  </a:cubicBezTo>
                  <a:cubicBezTo>
                    <a:pt x="527438" y="232956"/>
                    <a:pt x="528309" y="227724"/>
                    <a:pt x="530488" y="223364"/>
                  </a:cubicBezTo>
                  <a:cubicBezTo>
                    <a:pt x="535064" y="213772"/>
                    <a:pt x="534847" y="207450"/>
                    <a:pt x="530271" y="206359"/>
                  </a:cubicBezTo>
                  <a:cubicBezTo>
                    <a:pt x="524823" y="204833"/>
                    <a:pt x="521118" y="206577"/>
                    <a:pt x="518504" y="211374"/>
                  </a:cubicBezTo>
                  <a:cubicBezTo>
                    <a:pt x="516760" y="214862"/>
                    <a:pt x="517196" y="216388"/>
                    <a:pt x="520900" y="219440"/>
                  </a:cubicBezTo>
                  <a:cubicBezTo>
                    <a:pt x="525041" y="222710"/>
                    <a:pt x="525259" y="224018"/>
                    <a:pt x="522862" y="230558"/>
                  </a:cubicBezTo>
                  <a:cubicBezTo>
                    <a:pt x="520683" y="236445"/>
                    <a:pt x="520900" y="239061"/>
                    <a:pt x="523951" y="245165"/>
                  </a:cubicBezTo>
                  <a:cubicBezTo>
                    <a:pt x="525912" y="249307"/>
                    <a:pt x="527438" y="253667"/>
                    <a:pt x="527438" y="254757"/>
                  </a:cubicBezTo>
                  <a:cubicBezTo>
                    <a:pt x="527438" y="257809"/>
                    <a:pt x="521554" y="257373"/>
                    <a:pt x="520029" y="254321"/>
                  </a:cubicBezTo>
                  <a:cubicBezTo>
                    <a:pt x="519375" y="252141"/>
                    <a:pt x="518286" y="252359"/>
                    <a:pt x="516107" y="254975"/>
                  </a:cubicBezTo>
                  <a:cubicBezTo>
                    <a:pt x="514581" y="256937"/>
                    <a:pt x="510659" y="258899"/>
                    <a:pt x="507172" y="259553"/>
                  </a:cubicBezTo>
                  <a:cubicBezTo>
                    <a:pt x="501507" y="260643"/>
                    <a:pt x="501289" y="260207"/>
                    <a:pt x="501289" y="252577"/>
                  </a:cubicBezTo>
                  <a:cubicBezTo>
                    <a:pt x="501289" y="247781"/>
                    <a:pt x="499546" y="242113"/>
                    <a:pt x="496931" y="238843"/>
                  </a:cubicBezTo>
                  <a:cubicBezTo>
                    <a:pt x="494534" y="235791"/>
                    <a:pt x="492573" y="232738"/>
                    <a:pt x="492573" y="232084"/>
                  </a:cubicBezTo>
                  <a:cubicBezTo>
                    <a:pt x="492573" y="229250"/>
                    <a:pt x="504557" y="230994"/>
                    <a:pt x="508262" y="234482"/>
                  </a:cubicBezTo>
                  <a:cubicBezTo>
                    <a:pt x="512838" y="238625"/>
                    <a:pt x="516107" y="236663"/>
                    <a:pt x="512402" y="232084"/>
                  </a:cubicBezTo>
                  <a:cubicBezTo>
                    <a:pt x="510659" y="230122"/>
                    <a:pt x="510223" y="226852"/>
                    <a:pt x="511313" y="223800"/>
                  </a:cubicBezTo>
                  <a:cubicBezTo>
                    <a:pt x="512620" y="219440"/>
                    <a:pt x="512402" y="219222"/>
                    <a:pt x="509351" y="221620"/>
                  </a:cubicBezTo>
                  <a:cubicBezTo>
                    <a:pt x="507390" y="223364"/>
                    <a:pt x="504775" y="224018"/>
                    <a:pt x="503468" y="223146"/>
                  </a:cubicBezTo>
                  <a:cubicBezTo>
                    <a:pt x="499763" y="220966"/>
                    <a:pt x="501071" y="215080"/>
                    <a:pt x="505429" y="213990"/>
                  </a:cubicBezTo>
                  <a:cubicBezTo>
                    <a:pt x="510223" y="212682"/>
                    <a:pt x="512620" y="206577"/>
                    <a:pt x="509787" y="202217"/>
                  </a:cubicBezTo>
                  <a:cubicBezTo>
                    <a:pt x="508480" y="199819"/>
                    <a:pt x="507390" y="200037"/>
                    <a:pt x="503904" y="203089"/>
                  </a:cubicBezTo>
                  <a:cubicBezTo>
                    <a:pt x="501725" y="205051"/>
                    <a:pt x="499110" y="206796"/>
                    <a:pt x="498238" y="206796"/>
                  </a:cubicBezTo>
                  <a:cubicBezTo>
                    <a:pt x="495841" y="206796"/>
                    <a:pt x="488432" y="215952"/>
                    <a:pt x="488214" y="219004"/>
                  </a:cubicBezTo>
                  <a:cubicBezTo>
                    <a:pt x="488214" y="220094"/>
                    <a:pt x="485382" y="224236"/>
                    <a:pt x="481677" y="227724"/>
                  </a:cubicBezTo>
                  <a:cubicBezTo>
                    <a:pt x="477101" y="232520"/>
                    <a:pt x="475794" y="235791"/>
                    <a:pt x="476665" y="239279"/>
                  </a:cubicBezTo>
                  <a:cubicBezTo>
                    <a:pt x="477755" y="243203"/>
                    <a:pt x="478844" y="243857"/>
                    <a:pt x="484074" y="242767"/>
                  </a:cubicBezTo>
                  <a:cubicBezTo>
                    <a:pt x="487561" y="241895"/>
                    <a:pt x="490393" y="242113"/>
                    <a:pt x="490393" y="243203"/>
                  </a:cubicBezTo>
                  <a:cubicBezTo>
                    <a:pt x="490393" y="244075"/>
                    <a:pt x="491047" y="247127"/>
                    <a:pt x="491701" y="249961"/>
                  </a:cubicBezTo>
                  <a:cubicBezTo>
                    <a:pt x="492790" y="254103"/>
                    <a:pt x="492137" y="254757"/>
                    <a:pt x="487343" y="254757"/>
                  </a:cubicBezTo>
                  <a:cubicBezTo>
                    <a:pt x="482985" y="254757"/>
                    <a:pt x="482113" y="255629"/>
                    <a:pt x="483203" y="258681"/>
                  </a:cubicBezTo>
                  <a:cubicBezTo>
                    <a:pt x="483856" y="260643"/>
                    <a:pt x="486907" y="264567"/>
                    <a:pt x="489522" y="266966"/>
                  </a:cubicBezTo>
                  <a:cubicBezTo>
                    <a:pt x="495841" y="272634"/>
                    <a:pt x="496277" y="280046"/>
                    <a:pt x="490393" y="281572"/>
                  </a:cubicBezTo>
                  <a:cubicBezTo>
                    <a:pt x="487779" y="282226"/>
                    <a:pt x="486035" y="284624"/>
                    <a:pt x="486035" y="287022"/>
                  </a:cubicBezTo>
                  <a:cubicBezTo>
                    <a:pt x="486035" y="297487"/>
                    <a:pt x="499328" y="295525"/>
                    <a:pt x="504775" y="284188"/>
                  </a:cubicBezTo>
                  <a:cubicBezTo>
                    <a:pt x="508262" y="276558"/>
                    <a:pt x="507608" y="268492"/>
                    <a:pt x="503468" y="271108"/>
                  </a:cubicBezTo>
                  <a:cubicBezTo>
                    <a:pt x="502378" y="271762"/>
                    <a:pt x="501289" y="271544"/>
                    <a:pt x="501289" y="270454"/>
                  </a:cubicBezTo>
                  <a:cubicBezTo>
                    <a:pt x="501289" y="267838"/>
                    <a:pt x="512402" y="267184"/>
                    <a:pt x="537026" y="268492"/>
                  </a:cubicBezTo>
                  <a:cubicBezTo>
                    <a:pt x="540512" y="268710"/>
                    <a:pt x="543781" y="267620"/>
                    <a:pt x="544217" y="266312"/>
                  </a:cubicBezTo>
                  <a:cubicBezTo>
                    <a:pt x="544870" y="264786"/>
                    <a:pt x="543999" y="263477"/>
                    <a:pt x="542473" y="263477"/>
                  </a:cubicBezTo>
                  <a:cubicBezTo>
                    <a:pt x="538115" y="263477"/>
                    <a:pt x="532014" y="256719"/>
                    <a:pt x="533321" y="253449"/>
                  </a:cubicBezTo>
                  <a:cubicBezTo>
                    <a:pt x="534847" y="249089"/>
                    <a:pt x="539205" y="249743"/>
                    <a:pt x="543563" y="254539"/>
                  </a:cubicBezTo>
                  <a:cubicBezTo>
                    <a:pt x="545742" y="256937"/>
                    <a:pt x="548793" y="258245"/>
                    <a:pt x="550318" y="257809"/>
                  </a:cubicBezTo>
                  <a:cubicBezTo>
                    <a:pt x="551843" y="257155"/>
                    <a:pt x="555112" y="258899"/>
                    <a:pt x="557727" y="261515"/>
                  </a:cubicBezTo>
                  <a:cubicBezTo>
                    <a:pt x="561867" y="265876"/>
                    <a:pt x="562739" y="266094"/>
                    <a:pt x="567751" y="263477"/>
                  </a:cubicBezTo>
                  <a:cubicBezTo>
                    <a:pt x="570801" y="261951"/>
                    <a:pt x="573852" y="261297"/>
                    <a:pt x="574724" y="261951"/>
                  </a:cubicBezTo>
                  <a:cubicBezTo>
                    <a:pt x="575813" y="263259"/>
                    <a:pt x="574942" y="265658"/>
                    <a:pt x="569276" y="276994"/>
                  </a:cubicBezTo>
                  <a:cubicBezTo>
                    <a:pt x="568840" y="277648"/>
                    <a:pt x="570801" y="278738"/>
                    <a:pt x="573634" y="279174"/>
                  </a:cubicBezTo>
                  <a:cubicBezTo>
                    <a:pt x="576467" y="279610"/>
                    <a:pt x="579736" y="282444"/>
                    <a:pt x="581479" y="285932"/>
                  </a:cubicBezTo>
                  <a:cubicBezTo>
                    <a:pt x="583658" y="290510"/>
                    <a:pt x="585183" y="291382"/>
                    <a:pt x="587144" y="289856"/>
                  </a:cubicBezTo>
                  <a:cubicBezTo>
                    <a:pt x="589106" y="288112"/>
                    <a:pt x="591067" y="288548"/>
                    <a:pt x="594117" y="290728"/>
                  </a:cubicBezTo>
                  <a:cubicBezTo>
                    <a:pt x="600001" y="295089"/>
                    <a:pt x="603705" y="294653"/>
                    <a:pt x="603705" y="289638"/>
                  </a:cubicBezTo>
                  <a:cubicBezTo>
                    <a:pt x="603705" y="282662"/>
                    <a:pt x="610678" y="270236"/>
                    <a:pt x="615472" y="268710"/>
                  </a:cubicBezTo>
                  <a:cubicBezTo>
                    <a:pt x="618305" y="267838"/>
                    <a:pt x="620702" y="268710"/>
                    <a:pt x="622663" y="271326"/>
                  </a:cubicBezTo>
                  <a:cubicBezTo>
                    <a:pt x="626804" y="276994"/>
                    <a:pt x="626150" y="280482"/>
                    <a:pt x="620702" y="282226"/>
                  </a:cubicBezTo>
                  <a:cubicBezTo>
                    <a:pt x="614601" y="283970"/>
                    <a:pt x="612422" y="287022"/>
                    <a:pt x="612422" y="293562"/>
                  </a:cubicBezTo>
                  <a:cubicBezTo>
                    <a:pt x="612422" y="296833"/>
                    <a:pt x="611114" y="298359"/>
                    <a:pt x="608499" y="298359"/>
                  </a:cubicBezTo>
                  <a:cubicBezTo>
                    <a:pt x="603487" y="298359"/>
                    <a:pt x="586273" y="311439"/>
                    <a:pt x="586273" y="315145"/>
                  </a:cubicBezTo>
                  <a:cubicBezTo>
                    <a:pt x="586273" y="317107"/>
                    <a:pt x="589541" y="317979"/>
                    <a:pt x="596079" y="317979"/>
                  </a:cubicBezTo>
                  <a:cubicBezTo>
                    <a:pt x="602398" y="317979"/>
                    <a:pt x="605884" y="319069"/>
                    <a:pt x="606102" y="320813"/>
                  </a:cubicBezTo>
                  <a:cubicBezTo>
                    <a:pt x="606538" y="325392"/>
                    <a:pt x="607192" y="327572"/>
                    <a:pt x="608935" y="331714"/>
                  </a:cubicBezTo>
                  <a:cubicBezTo>
                    <a:pt x="610025" y="333894"/>
                    <a:pt x="609589" y="336728"/>
                    <a:pt x="608063" y="338690"/>
                  </a:cubicBezTo>
                  <a:cubicBezTo>
                    <a:pt x="603923" y="343486"/>
                    <a:pt x="602180" y="342614"/>
                    <a:pt x="600655" y="334984"/>
                  </a:cubicBezTo>
                  <a:cubicBezTo>
                    <a:pt x="599347" y="328662"/>
                    <a:pt x="599129" y="328444"/>
                    <a:pt x="595425" y="331714"/>
                  </a:cubicBezTo>
                  <a:cubicBezTo>
                    <a:pt x="589759" y="336946"/>
                    <a:pt x="587144" y="336292"/>
                    <a:pt x="584094" y="328880"/>
                  </a:cubicBezTo>
                  <a:cubicBezTo>
                    <a:pt x="580171" y="319505"/>
                    <a:pt x="569712" y="312311"/>
                    <a:pt x="565354" y="315799"/>
                  </a:cubicBezTo>
                  <a:cubicBezTo>
                    <a:pt x="563610" y="317325"/>
                    <a:pt x="562521" y="321031"/>
                    <a:pt x="562739" y="324302"/>
                  </a:cubicBezTo>
                  <a:cubicBezTo>
                    <a:pt x="563175" y="328662"/>
                    <a:pt x="562521" y="329752"/>
                    <a:pt x="559688" y="329316"/>
                  </a:cubicBezTo>
                  <a:cubicBezTo>
                    <a:pt x="557509" y="329098"/>
                    <a:pt x="553587" y="330842"/>
                    <a:pt x="550972" y="333240"/>
                  </a:cubicBezTo>
                  <a:cubicBezTo>
                    <a:pt x="548139" y="335856"/>
                    <a:pt x="544435" y="339126"/>
                    <a:pt x="542691" y="340652"/>
                  </a:cubicBezTo>
                  <a:cubicBezTo>
                    <a:pt x="540948" y="342178"/>
                    <a:pt x="534193" y="344140"/>
                    <a:pt x="528091" y="344576"/>
                  </a:cubicBezTo>
                  <a:cubicBezTo>
                    <a:pt x="518721" y="345448"/>
                    <a:pt x="515889" y="344794"/>
                    <a:pt x="513056" y="341742"/>
                  </a:cubicBezTo>
                  <a:cubicBezTo>
                    <a:pt x="510877" y="339344"/>
                    <a:pt x="506737" y="337600"/>
                    <a:pt x="503468" y="337600"/>
                  </a:cubicBezTo>
                  <a:cubicBezTo>
                    <a:pt x="496277" y="337600"/>
                    <a:pt x="486471" y="328008"/>
                    <a:pt x="489740" y="324084"/>
                  </a:cubicBezTo>
                  <a:cubicBezTo>
                    <a:pt x="492790" y="320159"/>
                    <a:pt x="490611" y="304899"/>
                    <a:pt x="487125" y="304899"/>
                  </a:cubicBezTo>
                  <a:cubicBezTo>
                    <a:pt x="483203" y="304899"/>
                    <a:pt x="477319" y="314709"/>
                    <a:pt x="477319" y="321031"/>
                  </a:cubicBezTo>
                  <a:cubicBezTo>
                    <a:pt x="477319" y="324084"/>
                    <a:pt x="478844" y="327354"/>
                    <a:pt x="480806" y="328444"/>
                  </a:cubicBezTo>
                  <a:cubicBezTo>
                    <a:pt x="486253" y="331496"/>
                    <a:pt x="483856" y="340652"/>
                    <a:pt x="477319" y="341524"/>
                  </a:cubicBezTo>
                  <a:cubicBezTo>
                    <a:pt x="474268" y="341960"/>
                    <a:pt x="471000" y="343050"/>
                    <a:pt x="469910" y="344140"/>
                  </a:cubicBezTo>
                  <a:cubicBezTo>
                    <a:pt x="468821" y="345230"/>
                    <a:pt x="566879" y="491295"/>
                    <a:pt x="689997" y="672460"/>
                  </a:cubicBezTo>
                  <a:cubicBezTo>
                    <a:pt x="812243" y="851880"/>
                    <a:pt x="914441" y="1002741"/>
                    <a:pt x="917492" y="1007755"/>
                  </a:cubicBezTo>
                  <a:cubicBezTo>
                    <a:pt x="927080" y="1023888"/>
                    <a:pt x="1478168" y="1834222"/>
                    <a:pt x="1480565" y="1835748"/>
                  </a:cubicBezTo>
                  <a:cubicBezTo>
                    <a:pt x="1483833" y="1837928"/>
                    <a:pt x="1496472" y="1835748"/>
                    <a:pt x="1505842" y="1831169"/>
                  </a:cubicBezTo>
                  <a:close/>
                  <a:moveTo>
                    <a:pt x="530271" y="326264"/>
                  </a:moveTo>
                  <a:cubicBezTo>
                    <a:pt x="529835" y="319505"/>
                    <a:pt x="530488" y="318197"/>
                    <a:pt x="534629" y="317543"/>
                  </a:cubicBezTo>
                  <a:cubicBezTo>
                    <a:pt x="538769" y="316889"/>
                    <a:pt x="539423" y="315581"/>
                    <a:pt x="538987" y="308169"/>
                  </a:cubicBezTo>
                  <a:cubicBezTo>
                    <a:pt x="538333" y="295743"/>
                    <a:pt x="536154" y="287022"/>
                    <a:pt x="532232" y="282662"/>
                  </a:cubicBezTo>
                  <a:cubicBezTo>
                    <a:pt x="527002" y="276558"/>
                    <a:pt x="523080" y="277866"/>
                    <a:pt x="523080" y="285496"/>
                  </a:cubicBezTo>
                  <a:cubicBezTo>
                    <a:pt x="523080" y="290292"/>
                    <a:pt x="521772" y="292472"/>
                    <a:pt x="518939" y="293344"/>
                  </a:cubicBezTo>
                  <a:cubicBezTo>
                    <a:pt x="515235" y="294217"/>
                    <a:pt x="512184" y="302065"/>
                    <a:pt x="512184" y="311003"/>
                  </a:cubicBezTo>
                  <a:cubicBezTo>
                    <a:pt x="512184" y="313837"/>
                    <a:pt x="512838" y="313837"/>
                    <a:pt x="516324" y="310567"/>
                  </a:cubicBezTo>
                  <a:cubicBezTo>
                    <a:pt x="519811" y="307297"/>
                    <a:pt x="521118" y="307297"/>
                    <a:pt x="525041" y="309695"/>
                  </a:cubicBezTo>
                  <a:cubicBezTo>
                    <a:pt x="530271" y="312965"/>
                    <a:pt x="530924" y="315799"/>
                    <a:pt x="526566" y="315799"/>
                  </a:cubicBezTo>
                  <a:cubicBezTo>
                    <a:pt x="525041" y="315799"/>
                    <a:pt x="522426" y="318851"/>
                    <a:pt x="520900" y="322339"/>
                  </a:cubicBezTo>
                  <a:cubicBezTo>
                    <a:pt x="518721" y="327572"/>
                    <a:pt x="518721" y="329534"/>
                    <a:pt x="520900" y="332150"/>
                  </a:cubicBezTo>
                  <a:cubicBezTo>
                    <a:pt x="525912" y="338254"/>
                    <a:pt x="530706" y="334984"/>
                    <a:pt x="530271" y="326264"/>
                  </a:cubicBezTo>
                  <a:close/>
                  <a:moveTo>
                    <a:pt x="474268" y="326046"/>
                  </a:moveTo>
                  <a:cubicBezTo>
                    <a:pt x="474922" y="319287"/>
                    <a:pt x="471000" y="317979"/>
                    <a:pt x="469256" y="324520"/>
                  </a:cubicBezTo>
                  <a:cubicBezTo>
                    <a:pt x="468603" y="326918"/>
                    <a:pt x="466206" y="328880"/>
                    <a:pt x="464027" y="328880"/>
                  </a:cubicBezTo>
                  <a:cubicBezTo>
                    <a:pt x="461630" y="328880"/>
                    <a:pt x="459886" y="329752"/>
                    <a:pt x="459886" y="331060"/>
                  </a:cubicBezTo>
                  <a:cubicBezTo>
                    <a:pt x="459886" y="332150"/>
                    <a:pt x="462937" y="333022"/>
                    <a:pt x="466642" y="332586"/>
                  </a:cubicBezTo>
                  <a:cubicBezTo>
                    <a:pt x="472307" y="332150"/>
                    <a:pt x="473615" y="331060"/>
                    <a:pt x="474268" y="326046"/>
                  </a:cubicBezTo>
                  <a:close/>
                  <a:moveTo>
                    <a:pt x="210382" y="320159"/>
                  </a:moveTo>
                  <a:cubicBezTo>
                    <a:pt x="211036" y="319069"/>
                    <a:pt x="210600" y="317979"/>
                    <a:pt x="209511" y="317979"/>
                  </a:cubicBezTo>
                  <a:cubicBezTo>
                    <a:pt x="208203" y="317979"/>
                    <a:pt x="207114" y="319069"/>
                    <a:pt x="207114" y="320159"/>
                  </a:cubicBezTo>
                  <a:cubicBezTo>
                    <a:pt x="207114" y="321467"/>
                    <a:pt x="207550" y="322339"/>
                    <a:pt x="207985" y="322339"/>
                  </a:cubicBezTo>
                  <a:cubicBezTo>
                    <a:pt x="208639" y="322339"/>
                    <a:pt x="209729" y="321467"/>
                    <a:pt x="210382" y="320159"/>
                  </a:cubicBezTo>
                  <a:close/>
                  <a:moveTo>
                    <a:pt x="222149" y="314491"/>
                  </a:moveTo>
                  <a:cubicBezTo>
                    <a:pt x="222585" y="312311"/>
                    <a:pt x="224764" y="307733"/>
                    <a:pt x="226943" y="304463"/>
                  </a:cubicBezTo>
                  <a:cubicBezTo>
                    <a:pt x="229340" y="301411"/>
                    <a:pt x="231084" y="297705"/>
                    <a:pt x="231084" y="296397"/>
                  </a:cubicBezTo>
                  <a:cubicBezTo>
                    <a:pt x="231084" y="295089"/>
                    <a:pt x="232609" y="293999"/>
                    <a:pt x="234352" y="293999"/>
                  </a:cubicBezTo>
                  <a:cubicBezTo>
                    <a:pt x="238492" y="293999"/>
                    <a:pt x="238710" y="286586"/>
                    <a:pt x="234570" y="283316"/>
                  </a:cubicBezTo>
                  <a:cubicBezTo>
                    <a:pt x="231955" y="281136"/>
                    <a:pt x="230866" y="281572"/>
                    <a:pt x="228905" y="285278"/>
                  </a:cubicBezTo>
                  <a:cubicBezTo>
                    <a:pt x="227597" y="287894"/>
                    <a:pt x="226943" y="291382"/>
                    <a:pt x="227597" y="293126"/>
                  </a:cubicBezTo>
                  <a:cubicBezTo>
                    <a:pt x="229122" y="296833"/>
                    <a:pt x="224329" y="297051"/>
                    <a:pt x="220406" y="293562"/>
                  </a:cubicBezTo>
                  <a:cubicBezTo>
                    <a:pt x="218009" y="291164"/>
                    <a:pt x="217791" y="292036"/>
                    <a:pt x="219099" y="297923"/>
                  </a:cubicBezTo>
                  <a:cubicBezTo>
                    <a:pt x="220188" y="303373"/>
                    <a:pt x="219752" y="304899"/>
                    <a:pt x="217138" y="304899"/>
                  </a:cubicBezTo>
                  <a:cubicBezTo>
                    <a:pt x="212126" y="304899"/>
                    <a:pt x="210600" y="309041"/>
                    <a:pt x="213869" y="314927"/>
                  </a:cubicBezTo>
                  <a:cubicBezTo>
                    <a:pt x="216920" y="321031"/>
                    <a:pt x="220842" y="320813"/>
                    <a:pt x="222149" y="314491"/>
                  </a:cubicBezTo>
                  <a:close/>
                  <a:moveTo>
                    <a:pt x="500853" y="313837"/>
                  </a:moveTo>
                  <a:cubicBezTo>
                    <a:pt x="501725" y="307515"/>
                    <a:pt x="498020" y="302937"/>
                    <a:pt x="494534" y="306425"/>
                  </a:cubicBezTo>
                  <a:cubicBezTo>
                    <a:pt x="491701" y="309259"/>
                    <a:pt x="494316" y="320595"/>
                    <a:pt x="497802" y="319505"/>
                  </a:cubicBezTo>
                  <a:cubicBezTo>
                    <a:pt x="499110" y="319069"/>
                    <a:pt x="500635" y="316453"/>
                    <a:pt x="500853" y="313837"/>
                  </a:cubicBezTo>
                  <a:close/>
                  <a:moveTo>
                    <a:pt x="564046" y="310131"/>
                  </a:moveTo>
                  <a:cubicBezTo>
                    <a:pt x="566225" y="308823"/>
                    <a:pt x="561649" y="300539"/>
                    <a:pt x="558816" y="300539"/>
                  </a:cubicBezTo>
                  <a:cubicBezTo>
                    <a:pt x="555766" y="300539"/>
                    <a:pt x="551408" y="308823"/>
                    <a:pt x="551408" y="314927"/>
                  </a:cubicBezTo>
                  <a:cubicBezTo>
                    <a:pt x="551408" y="317979"/>
                    <a:pt x="553587" y="317107"/>
                    <a:pt x="564046" y="310131"/>
                  </a:cubicBezTo>
                  <a:close/>
                  <a:moveTo>
                    <a:pt x="701110" y="303373"/>
                  </a:moveTo>
                  <a:cubicBezTo>
                    <a:pt x="701764" y="301847"/>
                    <a:pt x="703507" y="300539"/>
                    <a:pt x="705032" y="300539"/>
                  </a:cubicBezTo>
                  <a:cubicBezTo>
                    <a:pt x="706558" y="300539"/>
                    <a:pt x="708955" y="299231"/>
                    <a:pt x="710262" y="297487"/>
                  </a:cubicBezTo>
                  <a:cubicBezTo>
                    <a:pt x="712223" y="295089"/>
                    <a:pt x="712005" y="293562"/>
                    <a:pt x="709390" y="290946"/>
                  </a:cubicBezTo>
                  <a:cubicBezTo>
                    <a:pt x="705250" y="287022"/>
                    <a:pt x="701764" y="286368"/>
                    <a:pt x="701764" y="289856"/>
                  </a:cubicBezTo>
                  <a:cubicBezTo>
                    <a:pt x="701764" y="291164"/>
                    <a:pt x="698713" y="295307"/>
                    <a:pt x="694791" y="299013"/>
                  </a:cubicBezTo>
                  <a:lnTo>
                    <a:pt x="688035" y="305989"/>
                  </a:lnTo>
                  <a:lnTo>
                    <a:pt x="689561" y="299885"/>
                  </a:lnTo>
                  <a:cubicBezTo>
                    <a:pt x="691522" y="291600"/>
                    <a:pt x="687818" y="286586"/>
                    <a:pt x="681934" y="289856"/>
                  </a:cubicBezTo>
                  <a:cubicBezTo>
                    <a:pt x="676268" y="292690"/>
                    <a:pt x="676704" y="302283"/>
                    <a:pt x="682370" y="308605"/>
                  </a:cubicBezTo>
                  <a:cubicBezTo>
                    <a:pt x="686946" y="313401"/>
                    <a:pt x="687382" y="313401"/>
                    <a:pt x="693701" y="309695"/>
                  </a:cubicBezTo>
                  <a:cubicBezTo>
                    <a:pt x="697188" y="307733"/>
                    <a:pt x="700456" y="304681"/>
                    <a:pt x="701110" y="303373"/>
                  </a:cubicBezTo>
                  <a:close/>
                  <a:moveTo>
                    <a:pt x="456618" y="299231"/>
                  </a:moveTo>
                  <a:cubicBezTo>
                    <a:pt x="456618" y="294435"/>
                    <a:pt x="455528" y="292908"/>
                    <a:pt x="452260" y="292908"/>
                  </a:cubicBezTo>
                  <a:cubicBezTo>
                    <a:pt x="448773" y="292908"/>
                    <a:pt x="448119" y="291600"/>
                    <a:pt x="448555" y="286804"/>
                  </a:cubicBezTo>
                  <a:cubicBezTo>
                    <a:pt x="448991" y="282226"/>
                    <a:pt x="448337" y="280918"/>
                    <a:pt x="444633" y="280918"/>
                  </a:cubicBezTo>
                  <a:cubicBezTo>
                    <a:pt x="439403" y="280918"/>
                    <a:pt x="438967" y="276122"/>
                    <a:pt x="443543" y="272198"/>
                  </a:cubicBezTo>
                  <a:cubicBezTo>
                    <a:pt x="448773" y="267838"/>
                    <a:pt x="447466" y="265004"/>
                    <a:pt x="440928" y="266748"/>
                  </a:cubicBezTo>
                  <a:cubicBezTo>
                    <a:pt x="431994" y="268928"/>
                    <a:pt x="430905" y="270890"/>
                    <a:pt x="435481" y="276776"/>
                  </a:cubicBezTo>
                  <a:cubicBezTo>
                    <a:pt x="438314" y="280264"/>
                    <a:pt x="439185" y="283316"/>
                    <a:pt x="438096" y="286368"/>
                  </a:cubicBezTo>
                  <a:cubicBezTo>
                    <a:pt x="436135" y="291164"/>
                    <a:pt x="437442" y="300103"/>
                    <a:pt x="440711" y="304027"/>
                  </a:cubicBezTo>
                  <a:cubicBezTo>
                    <a:pt x="441582" y="305553"/>
                    <a:pt x="445722" y="306207"/>
                    <a:pt x="449645" y="305989"/>
                  </a:cubicBezTo>
                  <a:cubicBezTo>
                    <a:pt x="455746" y="305553"/>
                    <a:pt x="456618" y="304681"/>
                    <a:pt x="456618" y="299231"/>
                  </a:cubicBezTo>
                  <a:close/>
                  <a:moveTo>
                    <a:pt x="582786" y="305771"/>
                  </a:moveTo>
                  <a:cubicBezTo>
                    <a:pt x="588452" y="303591"/>
                    <a:pt x="584312" y="298141"/>
                    <a:pt x="577992" y="299885"/>
                  </a:cubicBezTo>
                  <a:cubicBezTo>
                    <a:pt x="573198" y="300975"/>
                    <a:pt x="572762" y="300539"/>
                    <a:pt x="573852" y="296397"/>
                  </a:cubicBezTo>
                  <a:cubicBezTo>
                    <a:pt x="575377" y="290292"/>
                    <a:pt x="569930" y="287676"/>
                    <a:pt x="565136" y="292472"/>
                  </a:cubicBezTo>
                  <a:cubicBezTo>
                    <a:pt x="561213" y="296397"/>
                    <a:pt x="562957" y="300539"/>
                    <a:pt x="568622" y="300539"/>
                  </a:cubicBezTo>
                  <a:cubicBezTo>
                    <a:pt x="570801" y="300539"/>
                    <a:pt x="573852" y="302065"/>
                    <a:pt x="575377" y="303809"/>
                  </a:cubicBezTo>
                  <a:cubicBezTo>
                    <a:pt x="578428" y="307515"/>
                    <a:pt x="578210" y="307515"/>
                    <a:pt x="582786" y="305771"/>
                  </a:cubicBezTo>
                  <a:close/>
                  <a:moveTo>
                    <a:pt x="472961" y="302719"/>
                  </a:moveTo>
                  <a:cubicBezTo>
                    <a:pt x="472961" y="301629"/>
                    <a:pt x="471871" y="300539"/>
                    <a:pt x="470564" y="300539"/>
                  </a:cubicBezTo>
                  <a:cubicBezTo>
                    <a:pt x="469474" y="300539"/>
                    <a:pt x="469039" y="301629"/>
                    <a:pt x="469692" y="302719"/>
                  </a:cubicBezTo>
                  <a:cubicBezTo>
                    <a:pt x="470346" y="304027"/>
                    <a:pt x="471436" y="304899"/>
                    <a:pt x="472089" y="304899"/>
                  </a:cubicBezTo>
                  <a:cubicBezTo>
                    <a:pt x="472525" y="304899"/>
                    <a:pt x="472961" y="304027"/>
                    <a:pt x="472961" y="302719"/>
                  </a:cubicBezTo>
                  <a:close/>
                  <a:moveTo>
                    <a:pt x="1444392" y="295961"/>
                  </a:moveTo>
                  <a:lnTo>
                    <a:pt x="1446135" y="291600"/>
                  </a:lnTo>
                  <a:lnTo>
                    <a:pt x="1450058" y="295961"/>
                  </a:lnTo>
                  <a:cubicBezTo>
                    <a:pt x="1456595" y="303155"/>
                    <a:pt x="1457902" y="301411"/>
                    <a:pt x="1457902" y="287240"/>
                  </a:cubicBezTo>
                  <a:cubicBezTo>
                    <a:pt x="1457902" y="275904"/>
                    <a:pt x="1457467" y="274160"/>
                    <a:pt x="1454416" y="275250"/>
                  </a:cubicBezTo>
                  <a:cubicBezTo>
                    <a:pt x="1452455" y="276122"/>
                    <a:pt x="1449404" y="275468"/>
                    <a:pt x="1447879" y="274160"/>
                  </a:cubicBezTo>
                  <a:cubicBezTo>
                    <a:pt x="1445700" y="272416"/>
                    <a:pt x="1443738" y="273288"/>
                    <a:pt x="1439598" y="278084"/>
                  </a:cubicBezTo>
                  <a:cubicBezTo>
                    <a:pt x="1436330" y="281790"/>
                    <a:pt x="1435022" y="285060"/>
                    <a:pt x="1436330" y="286368"/>
                  </a:cubicBezTo>
                  <a:cubicBezTo>
                    <a:pt x="1437419" y="287458"/>
                    <a:pt x="1438291" y="291164"/>
                    <a:pt x="1438291" y="294435"/>
                  </a:cubicBezTo>
                  <a:cubicBezTo>
                    <a:pt x="1438291" y="301629"/>
                    <a:pt x="1441995" y="302501"/>
                    <a:pt x="1444392" y="295961"/>
                  </a:cubicBezTo>
                  <a:close/>
                  <a:moveTo>
                    <a:pt x="474704" y="288984"/>
                  </a:moveTo>
                  <a:cubicBezTo>
                    <a:pt x="475140" y="286804"/>
                    <a:pt x="474050" y="285278"/>
                    <a:pt x="472089" y="285278"/>
                  </a:cubicBezTo>
                  <a:cubicBezTo>
                    <a:pt x="469910" y="285278"/>
                    <a:pt x="468603" y="287240"/>
                    <a:pt x="468603" y="289856"/>
                  </a:cubicBezTo>
                  <a:cubicBezTo>
                    <a:pt x="468603" y="295089"/>
                    <a:pt x="473615" y="294435"/>
                    <a:pt x="474704" y="288984"/>
                  </a:cubicBezTo>
                  <a:close/>
                  <a:moveTo>
                    <a:pt x="560342" y="287022"/>
                  </a:moveTo>
                  <a:cubicBezTo>
                    <a:pt x="565572" y="280482"/>
                    <a:pt x="565572" y="278084"/>
                    <a:pt x="559906" y="279828"/>
                  </a:cubicBezTo>
                  <a:cubicBezTo>
                    <a:pt x="556855" y="280918"/>
                    <a:pt x="553805" y="279828"/>
                    <a:pt x="550100" y="276340"/>
                  </a:cubicBezTo>
                  <a:lnTo>
                    <a:pt x="544870" y="271544"/>
                  </a:lnTo>
                  <a:lnTo>
                    <a:pt x="544870" y="276776"/>
                  </a:lnTo>
                  <a:cubicBezTo>
                    <a:pt x="544870" y="282662"/>
                    <a:pt x="550318" y="291818"/>
                    <a:pt x="553805" y="291818"/>
                  </a:cubicBezTo>
                  <a:cubicBezTo>
                    <a:pt x="555112" y="291818"/>
                    <a:pt x="557945" y="289638"/>
                    <a:pt x="560342" y="287022"/>
                  </a:cubicBezTo>
                  <a:close/>
                  <a:moveTo>
                    <a:pt x="431776" y="265440"/>
                  </a:moveTo>
                  <a:lnTo>
                    <a:pt x="438096" y="259553"/>
                  </a:lnTo>
                  <a:lnTo>
                    <a:pt x="434391" y="251705"/>
                  </a:lnTo>
                  <a:cubicBezTo>
                    <a:pt x="430905" y="244293"/>
                    <a:pt x="427418" y="242113"/>
                    <a:pt x="424368" y="245165"/>
                  </a:cubicBezTo>
                  <a:cubicBezTo>
                    <a:pt x="423714" y="246037"/>
                    <a:pt x="423932" y="248435"/>
                    <a:pt x="425239" y="250615"/>
                  </a:cubicBezTo>
                  <a:cubicBezTo>
                    <a:pt x="426982" y="254103"/>
                    <a:pt x="426547" y="254757"/>
                    <a:pt x="423060" y="254757"/>
                  </a:cubicBezTo>
                  <a:cubicBezTo>
                    <a:pt x="416741" y="254757"/>
                    <a:pt x="415215" y="262605"/>
                    <a:pt x="419791" y="271544"/>
                  </a:cubicBezTo>
                  <a:cubicBezTo>
                    <a:pt x="423060" y="277212"/>
                    <a:pt x="424150" y="278084"/>
                    <a:pt x="424803" y="275250"/>
                  </a:cubicBezTo>
                  <a:cubicBezTo>
                    <a:pt x="425239" y="273070"/>
                    <a:pt x="428290" y="268710"/>
                    <a:pt x="431776" y="265440"/>
                  </a:cubicBezTo>
                  <a:close/>
                  <a:moveTo>
                    <a:pt x="173556" y="270672"/>
                  </a:moveTo>
                  <a:cubicBezTo>
                    <a:pt x="171377" y="268492"/>
                    <a:pt x="169416" y="271762"/>
                    <a:pt x="171377" y="274596"/>
                  </a:cubicBezTo>
                  <a:cubicBezTo>
                    <a:pt x="172684" y="276994"/>
                    <a:pt x="173120" y="276994"/>
                    <a:pt x="173992" y="274596"/>
                  </a:cubicBezTo>
                  <a:cubicBezTo>
                    <a:pt x="174428" y="273070"/>
                    <a:pt x="174210" y="271326"/>
                    <a:pt x="173556" y="270672"/>
                  </a:cubicBezTo>
                  <a:close/>
                  <a:moveTo>
                    <a:pt x="159392" y="262387"/>
                  </a:moveTo>
                  <a:cubicBezTo>
                    <a:pt x="153073" y="254975"/>
                    <a:pt x="150458" y="245383"/>
                    <a:pt x="154380" y="242985"/>
                  </a:cubicBezTo>
                  <a:cubicBezTo>
                    <a:pt x="157867" y="240805"/>
                    <a:pt x="165711" y="248435"/>
                    <a:pt x="165711" y="253667"/>
                  </a:cubicBezTo>
                  <a:cubicBezTo>
                    <a:pt x="165711" y="256501"/>
                    <a:pt x="166801" y="259553"/>
                    <a:pt x="168108" y="260425"/>
                  </a:cubicBezTo>
                  <a:cubicBezTo>
                    <a:pt x="175299" y="264786"/>
                    <a:pt x="177478" y="245601"/>
                    <a:pt x="170723" y="236227"/>
                  </a:cubicBezTo>
                  <a:cubicBezTo>
                    <a:pt x="167891" y="232302"/>
                    <a:pt x="165058" y="230994"/>
                    <a:pt x="160917" y="231212"/>
                  </a:cubicBezTo>
                  <a:cubicBezTo>
                    <a:pt x="155470" y="231648"/>
                    <a:pt x="146100" y="225762"/>
                    <a:pt x="146100" y="221620"/>
                  </a:cubicBezTo>
                  <a:cubicBezTo>
                    <a:pt x="146100" y="220748"/>
                    <a:pt x="149804" y="219876"/>
                    <a:pt x="154598" y="219876"/>
                  </a:cubicBezTo>
                  <a:cubicBezTo>
                    <a:pt x="159392" y="219876"/>
                    <a:pt x="164186" y="218568"/>
                    <a:pt x="165711" y="216606"/>
                  </a:cubicBezTo>
                  <a:cubicBezTo>
                    <a:pt x="170505" y="210720"/>
                    <a:pt x="174428" y="212682"/>
                    <a:pt x="174428" y="220966"/>
                  </a:cubicBezTo>
                  <a:cubicBezTo>
                    <a:pt x="174428" y="225762"/>
                    <a:pt x="176171" y="230558"/>
                    <a:pt x="178786" y="233392"/>
                  </a:cubicBezTo>
                  <a:cubicBezTo>
                    <a:pt x="181183" y="236009"/>
                    <a:pt x="183144" y="237753"/>
                    <a:pt x="183362" y="237099"/>
                  </a:cubicBezTo>
                  <a:cubicBezTo>
                    <a:pt x="183362" y="236663"/>
                    <a:pt x="183798" y="230994"/>
                    <a:pt x="184016" y="224672"/>
                  </a:cubicBezTo>
                  <a:cubicBezTo>
                    <a:pt x="184669" y="214208"/>
                    <a:pt x="184234" y="213118"/>
                    <a:pt x="179440" y="212028"/>
                  </a:cubicBezTo>
                  <a:cubicBezTo>
                    <a:pt x="175081" y="210938"/>
                    <a:pt x="174428" y="209412"/>
                    <a:pt x="174864" y="203961"/>
                  </a:cubicBezTo>
                  <a:cubicBezTo>
                    <a:pt x="175517" y="198293"/>
                    <a:pt x="174646" y="197203"/>
                    <a:pt x="168980" y="195677"/>
                  </a:cubicBezTo>
                  <a:cubicBezTo>
                    <a:pt x="164186" y="194369"/>
                    <a:pt x="162007" y="194587"/>
                    <a:pt x="160700" y="196985"/>
                  </a:cubicBezTo>
                  <a:cubicBezTo>
                    <a:pt x="158085" y="201999"/>
                    <a:pt x="151983" y="201127"/>
                    <a:pt x="153291" y="195895"/>
                  </a:cubicBezTo>
                  <a:cubicBezTo>
                    <a:pt x="153944" y="193715"/>
                    <a:pt x="153073" y="190009"/>
                    <a:pt x="151330" y="187829"/>
                  </a:cubicBezTo>
                  <a:cubicBezTo>
                    <a:pt x="147843" y="183251"/>
                    <a:pt x="147407" y="178455"/>
                    <a:pt x="150458" y="178455"/>
                  </a:cubicBezTo>
                  <a:cubicBezTo>
                    <a:pt x="151765" y="178455"/>
                    <a:pt x="152637" y="180199"/>
                    <a:pt x="152637" y="182379"/>
                  </a:cubicBezTo>
                  <a:cubicBezTo>
                    <a:pt x="152637" y="186303"/>
                    <a:pt x="160046" y="192189"/>
                    <a:pt x="162225" y="190009"/>
                  </a:cubicBezTo>
                  <a:cubicBezTo>
                    <a:pt x="165276" y="186739"/>
                    <a:pt x="163097" y="176492"/>
                    <a:pt x="158303" y="171696"/>
                  </a:cubicBezTo>
                  <a:cubicBezTo>
                    <a:pt x="155470" y="168862"/>
                    <a:pt x="151547" y="163194"/>
                    <a:pt x="149586" y="159488"/>
                  </a:cubicBezTo>
                  <a:cubicBezTo>
                    <a:pt x="145228" y="150768"/>
                    <a:pt x="143049" y="150332"/>
                    <a:pt x="144574" y="158180"/>
                  </a:cubicBezTo>
                  <a:cubicBezTo>
                    <a:pt x="145228" y="161450"/>
                    <a:pt x="144139" y="166246"/>
                    <a:pt x="142395" y="169080"/>
                  </a:cubicBezTo>
                  <a:cubicBezTo>
                    <a:pt x="139563" y="173222"/>
                    <a:pt x="139345" y="175402"/>
                    <a:pt x="141524" y="179763"/>
                  </a:cubicBezTo>
                  <a:cubicBezTo>
                    <a:pt x="142831" y="182815"/>
                    <a:pt x="143921" y="188047"/>
                    <a:pt x="143921" y="191317"/>
                  </a:cubicBezTo>
                  <a:cubicBezTo>
                    <a:pt x="143921" y="195241"/>
                    <a:pt x="145664" y="198729"/>
                    <a:pt x="148715" y="200691"/>
                  </a:cubicBezTo>
                  <a:cubicBezTo>
                    <a:pt x="151983" y="202871"/>
                    <a:pt x="152855" y="205051"/>
                    <a:pt x="151983" y="207668"/>
                  </a:cubicBezTo>
                  <a:cubicBezTo>
                    <a:pt x="150458" y="211374"/>
                    <a:pt x="150022" y="211374"/>
                    <a:pt x="145446" y="208322"/>
                  </a:cubicBezTo>
                  <a:cubicBezTo>
                    <a:pt x="141742" y="205923"/>
                    <a:pt x="139345" y="205705"/>
                    <a:pt x="136512" y="207232"/>
                  </a:cubicBezTo>
                  <a:cubicBezTo>
                    <a:pt x="133243" y="209194"/>
                    <a:pt x="132807" y="208758"/>
                    <a:pt x="133897" y="204833"/>
                  </a:cubicBezTo>
                  <a:cubicBezTo>
                    <a:pt x="134551" y="202217"/>
                    <a:pt x="135858" y="198293"/>
                    <a:pt x="136512" y="195895"/>
                  </a:cubicBezTo>
                  <a:cubicBezTo>
                    <a:pt x="137166" y="193497"/>
                    <a:pt x="136730" y="191535"/>
                    <a:pt x="135422" y="191535"/>
                  </a:cubicBezTo>
                  <a:cubicBezTo>
                    <a:pt x="134115" y="191535"/>
                    <a:pt x="133025" y="193061"/>
                    <a:pt x="133025" y="195023"/>
                  </a:cubicBezTo>
                  <a:cubicBezTo>
                    <a:pt x="133025" y="196767"/>
                    <a:pt x="130193" y="199165"/>
                    <a:pt x="126924" y="200473"/>
                  </a:cubicBezTo>
                  <a:cubicBezTo>
                    <a:pt x="123219" y="201781"/>
                    <a:pt x="119951" y="205051"/>
                    <a:pt x="118208" y="209412"/>
                  </a:cubicBezTo>
                  <a:cubicBezTo>
                    <a:pt x="115157" y="217696"/>
                    <a:pt x="116464" y="220312"/>
                    <a:pt x="122784" y="217914"/>
                  </a:cubicBezTo>
                  <a:cubicBezTo>
                    <a:pt x="127578" y="215952"/>
                    <a:pt x="141960" y="221838"/>
                    <a:pt x="141960" y="225762"/>
                  </a:cubicBezTo>
                  <a:cubicBezTo>
                    <a:pt x="141960" y="226634"/>
                    <a:pt x="143485" y="229250"/>
                    <a:pt x="145446" y="231212"/>
                  </a:cubicBezTo>
                  <a:cubicBezTo>
                    <a:pt x="148497" y="234482"/>
                    <a:pt x="148279" y="235572"/>
                    <a:pt x="144139" y="240805"/>
                  </a:cubicBezTo>
                  <a:cubicBezTo>
                    <a:pt x="140652" y="245165"/>
                    <a:pt x="139780" y="248435"/>
                    <a:pt x="140870" y="253885"/>
                  </a:cubicBezTo>
                  <a:cubicBezTo>
                    <a:pt x="141960" y="259553"/>
                    <a:pt x="141306" y="261515"/>
                    <a:pt x="137601" y="263913"/>
                  </a:cubicBezTo>
                  <a:cubicBezTo>
                    <a:pt x="132807" y="266748"/>
                    <a:pt x="131282" y="272198"/>
                    <a:pt x="135204" y="272198"/>
                  </a:cubicBezTo>
                  <a:cubicBezTo>
                    <a:pt x="136512" y="272198"/>
                    <a:pt x="137383" y="271326"/>
                    <a:pt x="137383" y="270236"/>
                  </a:cubicBezTo>
                  <a:cubicBezTo>
                    <a:pt x="137383" y="267184"/>
                    <a:pt x="153073" y="268056"/>
                    <a:pt x="157867" y="271326"/>
                  </a:cubicBezTo>
                  <a:cubicBezTo>
                    <a:pt x="165711" y="276776"/>
                    <a:pt x="166801" y="270890"/>
                    <a:pt x="159392" y="262387"/>
                  </a:cubicBezTo>
                  <a:close/>
                  <a:moveTo>
                    <a:pt x="1438073" y="268710"/>
                  </a:moveTo>
                  <a:cubicBezTo>
                    <a:pt x="1436765" y="266966"/>
                    <a:pt x="1434804" y="265658"/>
                    <a:pt x="1433715" y="265658"/>
                  </a:cubicBezTo>
                  <a:cubicBezTo>
                    <a:pt x="1430664" y="265658"/>
                    <a:pt x="1431318" y="271762"/>
                    <a:pt x="1434586" y="272852"/>
                  </a:cubicBezTo>
                  <a:cubicBezTo>
                    <a:pt x="1438944" y="274378"/>
                    <a:pt x="1440906" y="271980"/>
                    <a:pt x="1438073" y="268710"/>
                  </a:cubicBezTo>
                  <a:close/>
                  <a:moveTo>
                    <a:pt x="189899" y="263041"/>
                  </a:moveTo>
                  <a:cubicBezTo>
                    <a:pt x="191207" y="260207"/>
                    <a:pt x="194257" y="256283"/>
                    <a:pt x="196436" y="254103"/>
                  </a:cubicBezTo>
                  <a:cubicBezTo>
                    <a:pt x="201012" y="249743"/>
                    <a:pt x="202102" y="240805"/>
                    <a:pt x="197962" y="242113"/>
                  </a:cubicBezTo>
                  <a:cubicBezTo>
                    <a:pt x="196436" y="242767"/>
                    <a:pt x="194039" y="245383"/>
                    <a:pt x="192732" y="247999"/>
                  </a:cubicBezTo>
                  <a:cubicBezTo>
                    <a:pt x="191425" y="250615"/>
                    <a:pt x="188156" y="254321"/>
                    <a:pt x="185541" y="256065"/>
                  </a:cubicBezTo>
                  <a:cubicBezTo>
                    <a:pt x="180311" y="259771"/>
                    <a:pt x="179440" y="267838"/>
                    <a:pt x="184234" y="267838"/>
                  </a:cubicBezTo>
                  <a:cubicBezTo>
                    <a:pt x="185977" y="267838"/>
                    <a:pt x="188592" y="265658"/>
                    <a:pt x="189899" y="263041"/>
                  </a:cubicBezTo>
                  <a:close/>
                  <a:moveTo>
                    <a:pt x="553587" y="266966"/>
                  </a:moveTo>
                  <a:cubicBezTo>
                    <a:pt x="553587" y="266312"/>
                    <a:pt x="552715" y="265222"/>
                    <a:pt x="551408" y="264567"/>
                  </a:cubicBezTo>
                  <a:cubicBezTo>
                    <a:pt x="550318" y="263913"/>
                    <a:pt x="549228" y="264349"/>
                    <a:pt x="549228" y="265440"/>
                  </a:cubicBezTo>
                  <a:cubicBezTo>
                    <a:pt x="549228" y="266748"/>
                    <a:pt x="550318" y="267838"/>
                    <a:pt x="551408" y="267838"/>
                  </a:cubicBezTo>
                  <a:cubicBezTo>
                    <a:pt x="552715" y="267838"/>
                    <a:pt x="553587" y="267402"/>
                    <a:pt x="553587" y="266966"/>
                  </a:cubicBezTo>
                  <a:close/>
                  <a:moveTo>
                    <a:pt x="671257" y="258027"/>
                  </a:moveTo>
                  <a:cubicBezTo>
                    <a:pt x="671257" y="256283"/>
                    <a:pt x="670167" y="254757"/>
                    <a:pt x="668860" y="254757"/>
                  </a:cubicBezTo>
                  <a:cubicBezTo>
                    <a:pt x="667334" y="254757"/>
                    <a:pt x="666898" y="252577"/>
                    <a:pt x="667770" y="249307"/>
                  </a:cubicBezTo>
                  <a:cubicBezTo>
                    <a:pt x="669731" y="241895"/>
                    <a:pt x="664066" y="241895"/>
                    <a:pt x="660797" y="249307"/>
                  </a:cubicBezTo>
                  <a:cubicBezTo>
                    <a:pt x="656657" y="258463"/>
                    <a:pt x="657528" y="261297"/>
                    <a:pt x="664719" y="261297"/>
                  </a:cubicBezTo>
                  <a:cubicBezTo>
                    <a:pt x="669078" y="261297"/>
                    <a:pt x="671257" y="260207"/>
                    <a:pt x="671257" y="258027"/>
                  </a:cubicBezTo>
                  <a:close/>
                  <a:moveTo>
                    <a:pt x="512184" y="251269"/>
                  </a:moveTo>
                  <a:cubicBezTo>
                    <a:pt x="512184" y="249525"/>
                    <a:pt x="513274" y="248217"/>
                    <a:pt x="514363" y="248217"/>
                  </a:cubicBezTo>
                  <a:cubicBezTo>
                    <a:pt x="515671" y="248217"/>
                    <a:pt x="516542" y="246691"/>
                    <a:pt x="516542" y="244947"/>
                  </a:cubicBezTo>
                  <a:cubicBezTo>
                    <a:pt x="516542" y="243203"/>
                    <a:pt x="515889" y="241677"/>
                    <a:pt x="515017" y="241677"/>
                  </a:cubicBezTo>
                  <a:cubicBezTo>
                    <a:pt x="511966" y="241895"/>
                    <a:pt x="505429" y="252577"/>
                    <a:pt x="506737" y="254757"/>
                  </a:cubicBezTo>
                  <a:cubicBezTo>
                    <a:pt x="508480" y="257591"/>
                    <a:pt x="512184" y="255411"/>
                    <a:pt x="512184" y="251269"/>
                  </a:cubicBezTo>
                  <a:close/>
                  <a:moveTo>
                    <a:pt x="183580" y="243421"/>
                  </a:moveTo>
                  <a:cubicBezTo>
                    <a:pt x="182054" y="241895"/>
                    <a:pt x="180965" y="241677"/>
                    <a:pt x="180965" y="242985"/>
                  </a:cubicBezTo>
                  <a:cubicBezTo>
                    <a:pt x="180965" y="246037"/>
                    <a:pt x="183580" y="248653"/>
                    <a:pt x="185105" y="247127"/>
                  </a:cubicBezTo>
                  <a:cubicBezTo>
                    <a:pt x="185541" y="246473"/>
                    <a:pt x="184887" y="244729"/>
                    <a:pt x="183580" y="243421"/>
                  </a:cubicBezTo>
                  <a:close/>
                  <a:moveTo>
                    <a:pt x="404102" y="238625"/>
                  </a:moveTo>
                  <a:cubicBezTo>
                    <a:pt x="403231" y="232956"/>
                    <a:pt x="403666" y="230994"/>
                    <a:pt x="406499" y="229904"/>
                  </a:cubicBezTo>
                  <a:cubicBezTo>
                    <a:pt x="411293" y="228160"/>
                    <a:pt x="416305" y="232084"/>
                    <a:pt x="416305" y="237535"/>
                  </a:cubicBezTo>
                  <a:cubicBezTo>
                    <a:pt x="416305" y="239715"/>
                    <a:pt x="417394" y="242113"/>
                    <a:pt x="418484" y="242767"/>
                  </a:cubicBezTo>
                  <a:cubicBezTo>
                    <a:pt x="419791" y="243421"/>
                    <a:pt x="420663" y="242985"/>
                    <a:pt x="420663" y="241677"/>
                  </a:cubicBezTo>
                  <a:cubicBezTo>
                    <a:pt x="420663" y="240369"/>
                    <a:pt x="423060" y="236009"/>
                    <a:pt x="426111" y="232084"/>
                  </a:cubicBezTo>
                  <a:cubicBezTo>
                    <a:pt x="431776" y="224672"/>
                    <a:pt x="433084" y="219876"/>
                    <a:pt x="429379" y="219876"/>
                  </a:cubicBezTo>
                  <a:cubicBezTo>
                    <a:pt x="424803" y="219876"/>
                    <a:pt x="427418" y="214644"/>
                    <a:pt x="435263" y="207886"/>
                  </a:cubicBezTo>
                  <a:cubicBezTo>
                    <a:pt x="441146" y="202871"/>
                    <a:pt x="442890" y="200037"/>
                    <a:pt x="441800" y="197203"/>
                  </a:cubicBezTo>
                  <a:cubicBezTo>
                    <a:pt x="440493" y="194151"/>
                    <a:pt x="438749" y="193497"/>
                    <a:pt x="434173" y="194369"/>
                  </a:cubicBezTo>
                  <a:cubicBezTo>
                    <a:pt x="430687" y="195023"/>
                    <a:pt x="426547" y="194369"/>
                    <a:pt x="423932" y="192407"/>
                  </a:cubicBezTo>
                  <a:cubicBezTo>
                    <a:pt x="420009" y="189573"/>
                    <a:pt x="419356" y="189791"/>
                    <a:pt x="416087" y="193933"/>
                  </a:cubicBezTo>
                  <a:cubicBezTo>
                    <a:pt x="411511" y="200037"/>
                    <a:pt x="405410" y="198075"/>
                    <a:pt x="405410" y="190445"/>
                  </a:cubicBezTo>
                  <a:cubicBezTo>
                    <a:pt x="405410" y="186521"/>
                    <a:pt x="404320" y="184995"/>
                    <a:pt x="401269" y="184995"/>
                  </a:cubicBezTo>
                  <a:cubicBezTo>
                    <a:pt x="397565" y="184995"/>
                    <a:pt x="394514" y="181071"/>
                    <a:pt x="394514" y="176056"/>
                  </a:cubicBezTo>
                  <a:cubicBezTo>
                    <a:pt x="394514" y="174966"/>
                    <a:pt x="396257" y="174094"/>
                    <a:pt x="398437" y="174094"/>
                  </a:cubicBezTo>
                  <a:cubicBezTo>
                    <a:pt x="404538" y="173876"/>
                    <a:pt x="412818" y="166464"/>
                    <a:pt x="411293" y="162322"/>
                  </a:cubicBezTo>
                  <a:cubicBezTo>
                    <a:pt x="409114" y="157090"/>
                    <a:pt x="403231" y="158834"/>
                    <a:pt x="399090" y="165810"/>
                  </a:cubicBezTo>
                  <a:cubicBezTo>
                    <a:pt x="395822" y="171260"/>
                    <a:pt x="383401" y="182815"/>
                    <a:pt x="380568" y="182815"/>
                  </a:cubicBezTo>
                  <a:cubicBezTo>
                    <a:pt x="379914" y="182815"/>
                    <a:pt x="379261" y="179981"/>
                    <a:pt x="379261" y="176710"/>
                  </a:cubicBezTo>
                  <a:cubicBezTo>
                    <a:pt x="379261" y="171914"/>
                    <a:pt x="377735" y="169734"/>
                    <a:pt x="373377" y="167772"/>
                  </a:cubicBezTo>
                  <a:cubicBezTo>
                    <a:pt x="367930" y="165156"/>
                    <a:pt x="367058" y="165592"/>
                    <a:pt x="362482" y="171260"/>
                  </a:cubicBezTo>
                  <a:cubicBezTo>
                    <a:pt x="357252" y="177582"/>
                    <a:pt x="355945" y="182815"/>
                    <a:pt x="359431" y="182815"/>
                  </a:cubicBezTo>
                  <a:cubicBezTo>
                    <a:pt x="360739" y="182815"/>
                    <a:pt x="362264" y="181725"/>
                    <a:pt x="362918" y="180417"/>
                  </a:cubicBezTo>
                  <a:cubicBezTo>
                    <a:pt x="365968" y="175838"/>
                    <a:pt x="371634" y="179545"/>
                    <a:pt x="371634" y="186085"/>
                  </a:cubicBezTo>
                  <a:cubicBezTo>
                    <a:pt x="371634" y="191971"/>
                    <a:pt x="372288" y="192625"/>
                    <a:pt x="378389" y="192189"/>
                  </a:cubicBezTo>
                  <a:cubicBezTo>
                    <a:pt x="382965" y="191753"/>
                    <a:pt x="385798" y="192625"/>
                    <a:pt x="386670" y="195023"/>
                  </a:cubicBezTo>
                  <a:cubicBezTo>
                    <a:pt x="387541" y="197639"/>
                    <a:pt x="388849" y="197857"/>
                    <a:pt x="392335" y="195895"/>
                  </a:cubicBezTo>
                  <a:cubicBezTo>
                    <a:pt x="399308" y="192189"/>
                    <a:pt x="406063" y="197421"/>
                    <a:pt x="404538" y="205487"/>
                  </a:cubicBezTo>
                  <a:cubicBezTo>
                    <a:pt x="403666" y="208976"/>
                    <a:pt x="404102" y="212900"/>
                    <a:pt x="405410" y="214426"/>
                  </a:cubicBezTo>
                  <a:cubicBezTo>
                    <a:pt x="406935" y="216170"/>
                    <a:pt x="406281" y="218350"/>
                    <a:pt x="403013" y="221184"/>
                  </a:cubicBezTo>
                  <a:cubicBezTo>
                    <a:pt x="399308" y="224672"/>
                    <a:pt x="398219" y="224672"/>
                    <a:pt x="396693" y="222056"/>
                  </a:cubicBezTo>
                  <a:cubicBezTo>
                    <a:pt x="395386" y="220312"/>
                    <a:pt x="394514" y="215734"/>
                    <a:pt x="394514" y="212028"/>
                  </a:cubicBezTo>
                  <a:cubicBezTo>
                    <a:pt x="394514" y="208322"/>
                    <a:pt x="392771" y="203743"/>
                    <a:pt x="390592" y="201781"/>
                  </a:cubicBezTo>
                  <a:cubicBezTo>
                    <a:pt x="387105" y="198511"/>
                    <a:pt x="386234" y="198511"/>
                    <a:pt x="381876" y="201563"/>
                  </a:cubicBezTo>
                  <a:cubicBezTo>
                    <a:pt x="375556" y="205923"/>
                    <a:pt x="375774" y="208758"/>
                    <a:pt x="382747" y="208322"/>
                  </a:cubicBezTo>
                  <a:cubicBezTo>
                    <a:pt x="390374" y="207668"/>
                    <a:pt x="394950" y="214644"/>
                    <a:pt x="389720" y="218568"/>
                  </a:cubicBezTo>
                  <a:cubicBezTo>
                    <a:pt x="385362" y="221838"/>
                    <a:pt x="386670" y="224236"/>
                    <a:pt x="392771" y="224236"/>
                  </a:cubicBezTo>
                  <a:cubicBezTo>
                    <a:pt x="395386" y="224236"/>
                    <a:pt x="396693" y="225762"/>
                    <a:pt x="396693" y="229468"/>
                  </a:cubicBezTo>
                  <a:cubicBezTo>
                    <a:pt x="396693" y="236881"/>
                    <a:pt x="401051" y="248435"/>
                    <a:pt x="403448" y="246909"/>
                  </a:cubicBezTo>
                  <a:cubicBezTo>
                    <a:pt x="404538" y="246255"/>
                    <a:pt x="404974" y="242549"/>
                    <a:pt x="404102" y="238625"/>
                  </a:cubicBezTo>
                  <a:close/>
                  <a:moveTo>
                    <a:pt x="195347" y="224890"/>
                  </a:moveTo>
                  <a:cubicBezTo>
                    <a:pt x="193168" y="222710"/>
                    <a:pt x="191207" y="225980"/>
                    <a:pt x="193168" y="228814"/>
                  </a:cubicBezTo>
                  <a:cubicBezTo>
                    <a:pt x="194475" y="231212"/>
                    <a:pt x="194911" y="231212"/>
                    <a:pt x="195783" y="228814"/>
                  </a:cubicBezTo>
                  <a:cubicBezTo>
                    <a:pt x="196218" y="227288"/>
                    <a:pt x="196001" y="225544"/>
                    <a:pt x="195347" y="224890"/>
                  </a:cubicBezTo>
                  <a:close/>
                  <a:moveTo>
                    <a:pt x="757330" y="226416"/>
                  </a:moveTo>
                  <a:cubicBezTo>
                    <a:pt x="759291" y="220530"/>
                    <a:pt x="757112" y="217914"/>
                    <a:pt x="751882" y="219222"/>
                  </a:cubicBezTo>
                  <a:cubicBezTo>
                    <a:pt x="746870" y="220530"/>
                    <a:pt x="746653" y="220966"/>
                    <a:pt x="749703" y="226634"/>
                  </a:cubicBezTo>
                  <a:cubicBezTo>
                    <a:pt x="752754" y="232084"/>
                    <a:pt x="755587" y="231866"/>
                    <a:pt x="757330" y="226416"/>
                  </a:cubicBezTo>
                  <a:close/>
                  <a:moveTo>
                    <a:pt x="569712" y="215080"/>
                  </a:moveTo>
                  <a:cubicBezTo>
                    <a:pt x="567751" y="212028"/>
                    <a:pt x="564482" y="215516"/>
                    <a:pt x="564482" y="220530"/>
                  </a:cubicBezTo>
                  <a:cubicBezTo>
                    <a:pt x="564700" y="225108"/>
                    <a:pt x="564700" y="225108"/>
                    <a:pt x="567751" y="221184"/>
                  </a:cubicBezTo>
                  <a:cubicBezTo>
                    <a:pt x="569494" y="219004"/>
                    <a:pt x="570365" y="216170"/>
                    <a:pt x="569712" y="215080"/>
                  </a:cubicBezTo>
                  <a:close/>
                  <a:moveTo>
                    <a:pt x="1455723" y="205487"/>
                  </a:moveTo>
                  <a:cubicBezTo>
                    <a:pt x="1455723" y="201563"/>
                    <a:pt x="1452673" y="201563"/>
                    <a:pt x="1449186" y="205705"/>
                  </a:cubicBezTo>
                  <a:cubicBezTo>
                    <a:pt x="1445700" y="209848"/>
                    <a:pt x="1448532" y="214426"/>
                    <a:pt x="1452673" y="210938"/>
                  </a:cubicBezTo>
                  <a:cubicBezTo>
                    <a:pt x="1454416" y="209630"/>
                    <a:pt x="1455723" y="207014"/>
                    <a:pt x="1455723" y="205487"/>
                  </a:cubicBezTo>
                  <a:close/>
                  <a:moveTo>
                    <a:pt x="629418" y="196331"/>
                  </a:moveTo>
                  <a:cubicBezTo>
                    <a:pt x="629854" y="194805"/>
                    <a:pt x="628765" y="193715"/>
                    <a:pt x="626804" y="193715"/>
                  </a:cubicBezTo>
                  <a:cubicBezTo>
                    <a:pt x="624842" y="193715"/>
                    <a:pt x="623317" y="195241"/>
                    <a:pt x="623317" y="197203"/>
                  </a:cubicBezTo>
                  <a:cubicBezTo>
                    <a:pt x="623317" y="200909"/>
                    <a:pt x="628111" y="200255"/>
                    <a:pt x="629418" y="196331"/>
                  </a:cubicBezTo>
                  <a:close/>
                  <a:moveTo>
                    <a:pt x="1448314" y="197857"/>
                  </a:moveTo>
                  <a:cubicBezTo>
                    <a:pt x="1448968" y="196549"/>
                    <a:pt x="1448750" y="194587"/>
                    <a:pt x="1447879" y="193715"/>
                  </a:cubicBezTo>
                  <a:cubicBezTo>
                    <a:pt x="1445264" y="191099"/>
                    <a:pt x="1439598" y="194805"/>
                    <a:pt x="1441341" y="197857"/>
                  </a:cubicBezTo>
                  <a:cubicBezTo>
                    <a:pt x="1443303" y="200909"/>
                    <a:pt x="1446353" y="200909"/>
                    <a:pt x="1448314" y="197857"/>
                  </a:cubicBezTo>
                  <a:close/>
                  <a:moveTo>
                    <a:pt x="599347" y="184777"/>
                  </a:moveTo>
                  <a:cubicBezTo>
                    <a:pt x="599347" y="182379"/>
                    <a:pt x="598476" y="181071"/>
                    <a:pt x="597168" y="181725"/>
                  </a:cubicBezTo>
                  <a:cubicBezTo>
                    <a:pt x="596079" y="182379"/>
                    <a:pt x="594989" y="184559"/>
                    <a:pt x="594989" y="186303"/>
                  </a:cubicBezTo>
                  <a:cubicBezTo>
                    <a:pt x="594989" y="188047"/>
                    <a:pt x="596079" y="189355"/>
                    <a:pt x="597168" y="189355"/>
                  </a:cubicBezTo>
                  <a:cubicBezTo>
                    <a:pt x="598476" y="189355"/>
                    <a:pt x="599347" y="187393"/>
                    <a:pt x="599347" y="184777"/>
                  </a:cubicBezTo>
                  <a:close/>
                  <a:moveTo>
                    <a:pt x="1452237" y="188047"/>
                  </a:moveTo>
                  <a:cubicBezTo>
                    <a:pt x="1456595" y="186303"/>
                    <a:pt x="1454634" y="182815"/>
                    <a:pt x="1448968" y="182815"/>
                  </a:cubicBezTo>
                  <a:cubicBezTo>
                    <a:pt x="1446789" y="182815"/>
                    <a:pt x="1444828" y="184341"/>
                    <a:pt x="1444828" y="186085"/>
                  </a:cubicBezTo>
                  <a:cubicBezTo>
                    <a:pt x="1444828" y="189573"/>
                    <a:pt x="1446789" y="190227"/>
                    <a:pt x="1452237" y="188047"/>
                  </a:cubicBezTo>
                  <a:close/>
                  <a:moveTo>
                    <a:pt x="626368" y="183687"/>
                  </a:moveTo>
                  <a:cubicBezTo>
                    <a:pt x="627239" y="181725"/>
                    <a:pt x="627239" y="179545"/>
                    <a:pt x="626586" y="178891"/>
                  </a:cubicBezTo>
                  <a:cubicBezTo>
                    <a:pt x="625060" y="177146"/>
                    <a:pt x="618959" y="183033"/>
                    <a:pt x="620266" y="185213"/>
                  </a:cubicBezTo>
                  <a:cubicBezTo>
                    <a:pt x="622010" y="188265"/>
                    <a:pt x="624842" y="187611"/>
                    <a:pt x="626368" y="183687"/>
                  </a:cubicBezTo>
                  <a:close/>
                  <a:moveTo>
                    <a:pt x="651645" y="173876"/>
                  </a:moveTo>
                  <a:cubicBezTo>
                    <a:pt x="651645" y="171696"/>
                    <a:pt x="650555" y="169298"/>
                    <a:pt x="649466" y="168644"/>
                  </a:cubicBezTo>
                  <a:cubicBezTo>
                    <a:pt x="648158" y="167772"/>
                    <a:pt x="647941" y="166246"/>
                    <a:pt x="648594" y="164938"/>
                  </a:cubicBezTo>
                  <a:cubicBezTo>
                    <a:pt x="649684" y="163412"/>
                    <a:pt x="651209" y="164066"/>
                    <a:pt x="653170" y="166682"/>
                  </a:cubicBezTo>
                  <a:cubicBezTo>
                    <a:pt x="655785" y="170170"/>
                    <a:pt x="656439" y="170388"/>
                    <a:pt x="658400" y="167554"/>
                  </a:cubicBezTo>
                  <a:cubicBezTo>
                    <a:pt x="660361" y="164284"/>
                    <a:pt x="660143" y="160796"/>
                    <a:pt x="657093" y="150768"/>
                  </a:cubicBezTo>
                  <a:cubicBezTo>
                    <a:pt x="654914" y="144009"/>
                    <a:pt x="659054" y="144445"/>
                    <a:pt x="662105" y="151204"/>
                  </a:cubicBezTo>
                  <a:cubicBezTo>
                    <a:pt x="664937" y="157526"/>
                    <a:pt x="667334" y="157962"/>
                    <a:pt x="671257" y="153384"/>
                  </a:cubicBezTo>
                  <a:cubicBezTo>
                    <a:pt x="675397" y="148369"/>
                    <a:pt x="676704" y="149242"/>
                    <a:pt x="681280" y="159924"/>
                  </a:cubicBezTo>
                  <a:cubicBezTo>
                    <a:pt x="683895" y="166464"/>
                    <a:pt x="686510" y="169734"/>
                    <a:pt x="688689" y="169298"/>
                  </a:cubicBezTo>
                  <a:cubicBezTo>
                    <a:pt x="692394" y="168426"/>
                    <a:pt x="694137" y="162322"/>
                    <a:pt x="691740" y="157090"/>
                  </a:cubicBezTo>
                  <a:cubicBezTo>
                    <a:pt x="690868" y="155128"/>
                    <a:pt x="690432" y="151640"/>
                    <a:pt x="690650" y="149460"/>
                  </a:cubicBezTo>
                  <a:cubicBezTo>
                    <a:pt x="690868" y="147279"/>
                    <a:pt x="689997" y="144227"/>
                    <a:pt x="688689" y="142483"/>
                  </a:cubicBezTo>
                  <a:cubicBezTo>
                    <a:pt x="686728" y="140303"/>
                    <a:pt x="686946" y="138341"/>
                    <a:pt x="688689" y="134635"/>
                  </a:cubicBezTo>
                  <a:cubicBezTo>
                    <a:pt x="691958" y="128531"/>
                    <a:pt x="689997" y="116104"/>
                    <a:pt x="684985" y="110218"/>
                  </a:cubicBezTo>
                  <a:cubicBezTo>
                    <a:pt x="682806" y="107820"/>
                    <a:pt x="682152" y="106294"/>
                    <a:pt x="683459" y="107166"/>
                  </a:cubicBezTo>
                  <a:cubicBezTo>
                    <a:pt x="684767" y="107820"/>
                    <a:pt x="688035" y="106294"/>
                    <a:pt x="690650" y="103460"/>
                  </a:cubicBezTo>
                  <a:cubicBezTo>
                    <a:pt x="695226" y="98446"/>
                    <a:pt x="695226" y="98446"/>
                    <a:pt x="691086" y="94522"/>
                  </a:cubicBezTo>
                  <a:cubicBezTo>
                    <a:pt x="686510" y="90598"/>
                    <a:pt x="679973" y="91470"/>
                    <a:pt x="679973" y="96048"/>
                  </a:cubicBezTo>
                  <a:cubicBezTo>
                    <a:pt x="679973" y="97574"/>
                    <a:pt x="676486" y="101280"/>
                    <a:pt x="672346" y="104332"/>
                  </a:cubicBezTo>
                  <a:cubicBezTo>
                    <a:pt x="667770" y="107602"/>
                    <a:pt x="664719" y="111744"/>
                    <a:pt x="664719" y="114796"/>
                  </a:cubicBezTo>
                  <a:cubicBezTo>
                    <a:pt x="664719" y="118938"/>
                    <a:pt x="663630" y="119593"/>
                    <a:pt x="655785" y="119593"/>
                  </a:cubicBezTo>
                  <a:cubicBezTo>
                    <a:pt x="647069" y="119593"/>
                    <a:pt x="646851" y="119593"/>
                    <a:pt x="648376" y="112834"/>
                  </a:cubicBezTo>
                  <a:cubicBezTo>
                    <a:pt x="649902" y="106294"/>
                    <a:pt x="649684" y="105858"/>
                    <a:pt x="644890" y="107166"/>
                  </a:cubicBezTo>
                  <a:cubicBezTo>
                    <a:pt x="642057" y="108038"/>
                    <a:pt x="637917" y="108692"/>
                    <a:pt x="635956" y="108692"/>
                  </a:cubicBezTo>
                  <a:cubicBezTo>
                    <a:pt x="633777" y="108692"/>
                    <a:pt x="632033" y="109782"/>
                    <a:pt x="632033" y="110872"/>
                  </a:cubicBezTo>
                  <a:cubicBezTo>
                    <a:pt x="632033" y="112180"/>
                    <a:pt x="633994" y="113052"/>
                    <a:pt x="636391" y="113052"/>
                  </a:cubicBezTo>
                  <a:cubicBezTo>
                    <a:pt x="638788" y="113052"/>
                    <a:pt x="640750" y="113706"/>
                    <a:pt x="640750" y="114360"/>
                  </a:cubicBezTo>
                  <a:cubicBezTo>
                    <a:pt x="640750" y="115014"/>
                    <a:pt x="638788" y="118066"/>
                    <a:pt x="636391" y="121119"/>
                  </a:cubicBezTo>
                  <a:cubicBezTo>
                    <a:pt x="633994" y="124171"/>
                    <a:pt x="632033" y="129185"/>
                    <a:pt x="632033" y="132237"/>
                  </a:cubicBezTo>
                  <a:cubicBezTo>
                    <a:pt x="632033" y="137687"/>
                    <a:pt x="632033" y="137687"/>
                    <a:pt x="636609" y="133545"/>
                  </a:cubicBezTo>
                  <a:cubicBezTo>
                    <a:pt x="640750" y="129839"/>
                    <a:pt x="641185" y="129621"/>
                    <a:pt x="643147" y="133327"/>
                  </a:cubicBezTo>
                  <a:cubicBezTo>
                    <a:pt x="644454" y="135289"/>
                    <a:pt x="646851" y="137033"/>
                    <a:pt x="648594" y="137033"/>
                  </a:cubicBezTo>
                  <a:cubicBezTo>
                    <a:pt x="650991" y="137033"/>
                    <a:pt x="651427" y="138559"/>
                    <a:pt x="650338" y="142701"/>
                  </a:cubicBezTo>
                  <a:cubicBezTo>
                    <a:pt x="649466" y="146407"/>
                    <a:pt x="649902" y="149024"/>
                    <a:pt x="651863" y="150550"/>
                  </a:cubicBezTo>
                  <a:cubicBezTo>
                    <a:pt x="654260" y="152076"/>
                    <a:pt x="654260" y="152948"/>
                    <a:pt x="652299" y="153820"/>
                  </a:cubicBezTo>
                  <a:cubicBezTo>
                    <a:pt x="650773" y="154256"/>
                    <a:pt x="649466" y="156218"/>
                    <a:pt x="649466" y="157962"/>
                  </a:cubicBezTo>
                  <a:cubicBezTo>
                    <a:pt x="649466" y="159706"/>
                    <a:pt x="648158" y="161014"/>
                    <a:pt x="646633" y="161014"/>
                  </a:cubicBezTo>
                  <a:cubicBezTo>
                    <a:pt x="645108" y="161014"/>
                    <a:pt x="642057" y="162322"/>
                    <a:pt x="639878" y="163848"/>
                  </a:cubicBezTo>
                  <a:cubicBezTo>
                    <a:pt x="636174" y="166682"/>
                    <a:pt x="636609" y="169298"/>
                    <a:pt x="643582" y="180199"/>
                  </a:cubicBezTo>
                  <a:cubicBezTo>
                    <a:pt x="645979" y="183905"/>
                    <a:pt x="651645" y="179545"/>
                    <a:pt x="651645" y="173876"/>
                  </a:cubicBezTo>
                  <a:close/>
                  <a:moveTo>
                    <a:pt x="632033" y="171696"/>
                  </a:moveTo>
                  <a:cubicBezTo>
                    <a:pt x="632033" y="170388"/>
                    <a:pt x="631162" y="170170"/>
                    <a:pt x="629854" y="170824"/>
                  </a:cubicBezTo>
                  <a:cubicBezTo>
                    <a:pt x="628765" y="171478"/>
                    <a:pt x="627675" y="173222"/>
                    <a:pt x="627675" y="174312"/>
                  </a:cubicBezTo>
                  <a:cubicBezTo>
                    <a:pt x="627675" y="175620"/>
                    <a:pt x="628765" y="175838"/>
                    <a:pt x="629854" y="175184"/>
                  </a:cubicBezTo>
                  <a:cubicBezTo>
                    <a:pt x="631162" y="174530"/>
                    <a:pt x="632033" y="172786"/>
                    <a:pt x="632033" y="171696"/>
                  </a:cubicBezTo>
                  <a:close/>
                  <a:moveTo>
                    <a:pt x="786094" y="171478"/>
                  </a:moveTo>
                  <a:cubicBezTo>
                    <a:pt x="785440" y="169734"/>
                    <a:pt x="784786" y="170388"/>
                    <a:pt x="784786" y="172786"/>
                  </a:cubicBezTo>
                  <a:cubicBezTo>
                    <a:pt x="784568" y="175184"/>
                    <a:pt x="785222" y="176492"/>
                    <a:pt x="785876" y="175620"/>
                  </a:cubicBezTo>
                  <a:cubicBezTo>
                    <a:pt x="786530" y="174966"/>
                    <a:pt x="786748" y="173004"/>
                    <a:pt x="786094" y="171478"/>
                  </a:cubicBezTo>
                  <a:close/>
                  <a:moveTo>
                    <a:pt x="1456595" y="170606"/>
                  </a:moveTo>
                  <a:cubicBezTo>
                    <a:pt x="1458992" y="164284"/>
                    <a:pt x="1457902" y="162540"/>
                    <a:pt x="1453980" y="166028"/>
                  </a:cubicBezTo>
                  <a:cubicBezTo>
                    <a:pt x="1451801" y="168208"/>
                    <a:pt x="1448750" y="169734"/>
                    <a:pt x="1447443" y="169734"/>
                  </a:cubicBezTo>
                  <a:cubicBezTo>
                    <a:pt x="1445917" y="169734"/>
                    <a:pt x="1444828" y="170824"/>
                    <a:pt x="1444828" y="171914"/>
                  </a:cubicBezTo>
                  <a:cubicBezTo>
                    <a:pt x="1444828" y="175402"/>
                    <a:pt x="1455070" y="174312"/>
                    <a:pt x="1456595" y="170606"/>
                  </a:cubicBezTo>
                  <a:close/>
                  <a:moveTo>
                    <a:pt x="638788" y="156000"/>
                  </a:moveTo>
                  <a:cubicBezTo>
                    <a:pt x="641839" y="148588"/>
                    <a:pt x="639442" y="142919"/>
                    <a:pt x="632687" y="141829"/>
                  </a:cubicBezTo>
                  <a:cubicBezTo>
                    <a:pt x="627457" y="140957"/>
                    <a:pt x="625278" y="148806"/>
                    <a:pt x="627021" y="160142"/>
                  </a:cubicBezTo>
                  <a:cubicBezTo>
                    <a:pt x="628111" y="166464"/>
                    <a:pt x="628765" y="166900"/>
                    <a:pt x="632251" y="164720"/>
                  </a:cubicBezTo>
                  <a:cubicBezTo>
                    <a:pt x="634430" y="163412"/>
                    <a:pt x="637481" y="159488"/>
                    <a:pt x="638788" y="156000"/>
                  </a:cubicBezTo>
                  <a:close/>
                  <a:moveTo>
                    <a:pt x="1375098" y="141393"/>
                  </a:moveTo>
                  <a:cubicBezTo>
                    <a:pt x="1375098" y="140303"/>
                    <a:pt x="1374226" y="139213"/>
                    <a:pt x="1373136" y="139213"/>
                  </a:cubicBezTo>
                  <a:cubicBezTo>
                    <a:pt x="1371829" y="139213"/>
                    <a:pt x="1370304" y="140303"/>
                    <a:pt x="1369650" y="141393"/>
                  </a:cubicBezTo>
                  <a:cubicBezTo>
                    <a:pt x="1368996" y="142701"/>
                    <a:pt x="1369868" y="143573"/>
                    <a:pt x="1371611" y="143573"/>
                  </a:cubicBezTo>
                  <a:cubicBezTo>
                    <a:pt x="1373572" y="143573"/>
                    <a:pt x="1375098" y="142701"/>
                    <a:pt x="1375098" y="141393"/>
                  </a:cubicBezTo>
                  <a:close/>
                  <a:moveTo>
                    <a:pt x="1453544" y="124607"/>
                  </a:moveTo>
                  <a:cubicBezTo>
                    <a:pt x="1458120" y="116758"/>
                    <a:pt x="1458120" y="116322"/>
                    <a:pt x="1454198" y="113706"/>
                  </a:cubicBezTo>
                  <a:cubicBezTo>
                    <a:pt x="1450711" y="111090"/>
                    <a:pt x="1450276" y="111308"/>
                    <a:pt x="1448968" y="115886"/>
                  </a:cubicBezTo>
                  <a:cubicBezTo>
                    <a:pt x="1448314" y="118720"/>
                    <a:pt x="1446571" y="122863"/>
                    <a:pt x="1445264" y="125479"/>
                  </a:cubicBezTo>
                  <a:cubicBezTo>
                    <a:pt x="1442867" y="129621"/>
                    <a:pt x="1443738" y="132673"/>
                    <a:pt x="1447225" y="132673"/>
                  </a:cubicBezTo>
                  <a:cubicBezTo>
                    <a:pt x="1448097" y="132673"/>
                    <a:pt x="1450929" y="128967"/>
                    <a:pt x="1453544" y="124607"/>
                  </a:cubicBezTo>
                  <a:close/>
                  <a:moveTo>
                    <a:pt x="705032" y="121773"/>
                  </a:moveTo>
                  <a:cubicBezTo>
                    <a:pt x="705686" y="120683"/>
                    <a:pt x="705250" y="119593"/>
                    <a:pt x="704161" y="119593"/>
                  </a:cubicBezTo>
                  <a:cubicBezTo>
                    <a:pt x="702853" y="119593"/>
                    <a:pt x="701764" y="120683"/>
                    <a:pt x="701764" y="121773"/>
                  </a:cubicBezTo>
                  <a:cubicBezTo>
                    <a:pt x="701764" y="123081"/>
                    <a:pt x="702199" y="123953"/>
                    <a:pt x="702635" y="123953"/>
                  </a:cubicBezTo>
                  <a:cubicBezTo>
                    <a:pt x="703289" y="123953"/>
                    <a:pt x="704379" y="123081"/>
                    <a:pt x="705032" y="121773"/>
                  </a:cubicBezTo>
                  <a:close/>
                  <a:moveTo>
                    <a:pt x="1375098" y="116322"/>
                  </a:moveTo>
                  <a:cubicBezTo>
                    <a:pt x="1375098" y="114578"/>
                    <a:pt x="1374226" y="113052"/>
                    <a:pt x="1372918" y="113052"/>
                  </a:cubicBezTo>
                  <a:cubicBezTo>
                    <a:pt x="1371829" y="113052"/>
                    <a:pt x="1370739" y="114578"/>
                    <a:pt x="1370739" y="116322"/>
                  </a:cubicBezTo>
                  <a:cubicBezTo>
                    <a:pt x="1370739" y="118066"/>
                    <a:pt x="1371829" y="119593"/>
                    <a:pt x="1372918" y="119593"/>
                  </a:cubicBezTo>
                  <a:cubicBezTo>
                    <a:pt x="1374226" y="119593"/>
                    <a:pt x="1375098" y="118066"/>
                    <a:pt x="1375098" y="116322"/>
                  </a:cubicBezTo>
                  <a:close/>
                  <a:moveTo>
                    <a:pt x="315632" y="112616"/>
                  </a:moveTo>
                  <a:cubicBezTo>
                    <a:pt x="310838" y="105422"/>
                    <a:pt x="306698" y="104768"/>
                    <a:pt x="309748" y="111744"/>
                  </a:cubicBezTo>
                  <a:cubicBezTo>
                    <a:pt x="311274" y="114796"/>
                    <a:pt x="313888" y="117412"/>
                    <a:pt x="315632" y="117412"/>
                  </a:cubicBezTo>
                  <a:cubicBezTo>
                    <a:pt x="318465" y="117412"/>
                    <a:pt x="318465" y="116758"/>
                    <a:pt x="315632" y="112616"/>
                  </a:cubicBezTo>
                  <a:close/>
                  <a:moveTo>
                    <a:pt x="1452673" y="96484"/>
                  </a:moveTo>
                  <a:cubicBezTo>
                    <a:pt x="1451365" y="92996"/>
                    <a:pt x="1450929" y="92996"/>
                    <a:pt x="1446571" y="97138"/>
                  </a:cubicBezTo>
                  <a:cubicBezTo>
                    <a:pt x="1443738" y="100190"/>
                    <a:pt x="1442649" y="103242"/>
                    <a:pt x="1443520" y="105640"/>
                  </a:cubicBezTo>
                  <a:cubicBezTo>
                    <a:pt x="1444828" y="109128"/>
                    <a:pt x="1445264" y="109128"/>
                    <a:pt x="1449622" y="104986"/>
                  </a:cubicBezTo>
                  <a:cubicBezTo>
                    <a:pt x="1452455" y="101934"/>
                    <a:pt x="1453544" y="98882"/>
                    <a:pt x="1452673" y="96484"/>
                  </a:cubicBezTo>
                  <a:close/>
                  <a:moveTo>
                    <a:pt x="1291421" y="98882"/>
                  </a:moveTo>
                  <a:cubicBezTo>
                    <a:pt x="1292293" y="95176"/>
                    <a:pt x="1294036" y="93650"/>
                    <a:pt x="1297305" y="94086"/>
                  </a:cubicBezTo>
                  <a:cubicBezTo>
                    <a:pt x="1300137" y="94304"/>
                    <a:pt x="1302316" y="92996"/>
                    <a:pt x="1302752" y="90816"/>
                  </a:cubicBezTo>
                  <a:cubicBezTo>
                    <a:pt x="1303188" y="87981"/>
                    <a:pt x="1302099" y="86891"/>
                    <a:pt x="1299048" y="86891"/>
                  </a:cubicBezTo>
                  <a:cubicBezTo>
                    <a:pt x="1296433" y="86891"/>
                    <a:pt x="1294472" y="86019"/>
                    <a:pt x="1294472" y="84711"/>
                  </a:cubicBezTo>
                  <a:cubicBezTo>
                    <a:pt x="1294472" y="83621"/>
                    <a:pt x="1293600" y="82531"/>
                    <a:pt x="1292293" y="82531"/>
                  </a:cubicBezTo>
                  <a:cubicBezTo>
                    <a:pt x="1291203" y="82531"/>
                    <a:pt x="1290114" y="84057"/>
                    <a:pt x="1290114" y="85801"/>
                  </a:cubicBezTo>
                  <a:cubicBezTo>
                    <a:pt x="1290114" y="87545"/>
                    <a:pt x="1288806" y="89071"/>
                    <a:pt x="1287063" y="89071"/>
                  </a:cubicBezTo>
                  <a:cubicBezTo>
                    <a:pt x="1282487" y="89071"/>
                    <a:pt x="1280744" y="92778"/>
                    <a:pt x="1282269" y="99100"/>
                  </a:cubicBezTo>
                  <a:cubicBezTo>
                    <a:pt x="1284012" y="105858"/>
                    <a:pt x="1289678" y="105858"/>
                    <a:pt x="1291421" y="98882"/>
                  </a:cubicBezTo>
                  <a:close/>
                  <a:moveTo>
                    <a:pt x="638571" y="94522"/>
                  </a:moveTo>
                  <a:cubicBezTo>
                    <a:pt x="638571" y="91470"/>
                    <a:pt x="639660" y="89071"/>
                    <a:pt x="640750" y="89071"/>
                  </a:cubicBezTo>
                  <a:cubicBezTo>
                    <a:pt x="642057" y="89071"/>
                    <a:pt x="642929" y="91034"/>
                    <a:pt x="642929" y="93432"/>
                  </a:cubicBezTo>
                  <a:cubicBezTo>
                    <a:pt x="642929" y="95830"/>
                    <a:pt x="644018" y="97792"/>
                    <a:pt x="645108" y="97792"/>
                  </a:cubicBezTo>
                  <a:cubicBezTo>
                    <a:pt x="646415" y="97792"/>
                    <a:pt x="647287" y="93868"/>
                    <a:pt x="647287" y="89071"/>
                  </a:cubicBezTo>
                  <a:cubicBezTo>
                    <a:pt x="647287" y="80787"/>
                    <a:pt x="645544" y="78389"/>
                    <a:pt x="642057" y="81877"/>
                  </a:cubicBezTo>
                  <a:cubicBezTo>
                    <a:pt x="641185" y="82749"/>
                    <a:pt x="636609" y="83185"/>
                    <a:pt x="631815" y="82749"/>
                  </a:cubicBezTo>
                  <a:cubicBezTo>
                    <a:pt x="622227" y="82095"/>
                    <a:pt x="616780" y="85147"/>
                    <a:pt x="616780" y="91688"/>
                  </a:cubicBezTo>
                  <a:cubicBezTo>
                    <a:pt x="616780" y="94958"/>
                    <a:pt x="617869" y="95612"/>
                    <a:pt x="620920" y="94522"/>
                  </a:cubicBezTo>
                  <a:cubicBezTo>
                    <a:pt x="623317" y="93868"/>
                    <a:pt x="626368" y="94522"/>
                    <a:pt x="628111" y="96484"/>
                  </a:cubicBezTo>
                  <a:cubicBezTo>
                    <a:pt x="632687" y="101934"/>
                    <a:pt x="638571" y="100844"/>
                    <a:pt x="638571" y="94522"/>
                  </a:cubicBezTo>
                  <a:close/>
                  <a:moveTo>
                    <a:pt x="1244353" y="97138"/>
                  </a:moveTo>
                  <a:cubicBezTo>
                    <a:pt x="1246096" y="95612"/>
                    <a:pt x="1249365" y="91906"/>
                    <a:pt x="1251326" y="88635"/>
                  </a:cubicBezTo>
                  <a:cubicBezTo>
                    <a:pt x="1254595" y="83621"/>
                    <a:pt x="1256556" y="82967"/>
                    <a:pt x="1266362" y="82967"/>
                  </a:cubicBezTo>
                  <a:cubicBezTo>
                    <a:pt x="1274642" y="82749"/>
                    <a:pt x="1278782" y="81659"/>
                    <a:pt x="1282269" y="78389"/>
                  </a:cubicBezTo>
                  <a:cubicBezTo>
                    <a:pt x="1284884" y="75773"/>
                    <a:pt x="1288370" y="73811"/>
                    <a:pt x="1289896" y="73811"/>
                  </a:cubicBezTo>
                  <a:cubicBezTo>
                    <a:pt x="1291421" y="73811"/>
                    <a:pt x="1292293" y="72503"/>
                    <a:pt x="1291639" y="71195"/>
                  </a:cubicBezTo>
                  <a:cubicBezTo>
                    <a:pt x="1291203" y="69669"/>
                    <a:pt x="1288152" y="68361"/>
                    <a:pt x="1284666" y="68361"/>
                  </a:cubicBezTo>
                  <a:cubicBezTo>
                    <a:pt x="1281179" y="68361"/>
                    <a:pt x="1277693" y="66617"/>
                    <a:pt x="1276168" y="64437"/>
                  </a:cubicBezTo>
                  <a:cubicBezTo>
                    <a:pt x="1274206" y="61166"/>
                    <a:pt x="1274642" y="59640"/>
                    <a:pt x="1278782" y="56370"/>
                  </a:cubicBezTo>
                  <a:cubicBezTo>
                    <a:pt x="1287063" y="49612"/>
                    <a:pt x="1290985" y="53318"/>
                    <a:pt x="1297087" y="73811"/>
                  </a:cubicBezTo>
                  <a:cubicBezTo>
                    <a:pt x="1299702" y="82531"/>
                    <a:pt x="1300573" y="83621"/>
                    <a:pt x="1306021" y="82967"/>
                  </a:cubicBezTo>
                  <a:cubicBezTo>
                    <a:pt x="1311033" y="82531"/>
                    <a:pt x="1311904" y="83185"/>
                    <a:pt x="1311904" y="87981"/>
                  </a:cubicBezTo>
                  <a:cubicBezTo>
                    <a:pt x="1311904" y="94958"/>
                    <a:pt x="1314955" y="94958"/>
                    <a:pt x="1318224" y="87763"/>
                  </a:cubicBezTo>
                  <a:cubicBezTo>
                    <a:pt x="1320185" y="83403"/>
                    <a:pt x="1321928" y="82313"/>
                    <a:pt x="1326068" y="82967"/>
                  </a:cubicBezTo>
                  <a:cubicBezTo>
                    <a:pt x="1330644" y="84057"/>
                    <a:pt x="1331080" y="83403"/>
                    <a:pt x="1329991" y="78171"/>
                  </a:cubicBezTo>
                  <a:cubicBezTo>
                    <a:pt x="1329119" y="73375"/>
                    <a:pt x="1329773" y="71849"/>
                    <a:pt x="1333477" y="70541"/>
                  </a:cubicBezTo>
                  <a:cubicBezTo>
                    <a:pt x="1341104" y="68143"/>
                    <a:pt x="1343283" y="61603"/>
                    <a:pt x="1339143" y="52882"/>
                  </a:cubicBezTo>
                  <a:cubicBezTo>
                    <a:pt x="1337182" y="48740"/>
                    <a:pt x="1335003" y="45470"/>
                    <a:pt x="1333913" y="45470"/>
                  </a:cubicBezTo>
                  <a:cubicBezTo>
                    <a:pt x="1330427" y="45470"/>
                    <a:pt x="1329337" y="48522"/>
                    <a:pt x="1331952" y="51356"/>
                  </a:cubicBezTo>
                  <a:cubicBezTo>
                    <a:pt x="1333913" y="53754"/>
                    <a:pt x="1332824" y="55716"/>
                    <a:pt x="1327594" y="60948"/>
                  </a:cubicBezTo>
                  <a:cubicBezTo>
                    <a:pt x="1323671" y="64655"/>
                    <a:pt x="1321057" y="68361"/>
                    <a:pt x="1321492" y="69233"/>
                  </a:cubicBezTo>
                  <a:cubicBezTo>
                    <a:pt x="1323453" y="72285"/>
                    <a:pt x="1318877" y="76645"/>
                    <a:pt x="1315391" y="75337"/>
                  </a:cubicBezTo>
                  <a:cubicBezTo>
                    <a:pt x="1312558" y="74247"/>
                    <a:pt x="1311904" y="72285"/>
                    <a:pt x="1312994" y="66399"/>
                  </a:cubicBezTo>
                  <a:cubicBezTo>
                    <a:pt x="1314301" y="60076"/>
                    <a:pt x="1313866" y="58768"/>
                    <a:pt x="1309943" y="57460"/>
                  </a:cubicBezTo>
                  <a:cubicBezTo>
                    <a:pt x="1307328" y="56806"/>
                    <a:pt x="1303624" y="56588"/>
                    <a:pt x="1301445" y="57242"/>
                  </a:cubicBezTo>
                  <a:cubicBezTo>
                    <a:pt x="1298612" y="58114"/>
                    <a:pt x="1296433" y="56370"/>
                    <a:pt x="1293382" y="50920"/>
                  </a:cubicBezTo>
                  <a:lnTo>
                    <a:pt x="1289242" y="43072"/>
                  </a:lnTo>
                  <a:lnTo>
                    <a:pt x="1296215" y="36750"/>
                  </a:lnTo>
                  <a:cubicBezTo>
                    <a:pt x="1302970" y="30645"/>
                    <a:pt x="1306021" y="19309"/>
                    <a:pt x="1301009" y="19309"/>
                  </a:cubicBezTo>
                  <a:cubicBezTo>
                    <a:pt x="1299919" y="19309"/>
                    <a:pt x="1298830" y="17347"/>
                    <a:pt x="1298830" y="14949"/>
                  </a:cubicBezTo>
                  <a:cubicBezTo>
                    <a:pt x="1298830" y="12551"/>
                    <a:pt x="1297305" y="10589"/>
                    <a:pt x="1295561" y="10589"/>
                  </a:cubicBezTo>
                  <a:cubicBezTo>
                    <a:pt x="1291857" y="10589"/>
                    <a:pt x="1289024" y="19527"/>
                    <a:pt x="1290767" y="25849"/>
                  </a:cubicBezTo>
                  <a:cubicBezTo>
                    <a:pt x="1291421" y="28029"/>
                    <a:pt x="1290549" y="31735"/>
                    <a:pt x="1289242" y="33698"/>
                  </a:cubicBezTo>
                  <a:cubicBezTo>
                    <a:pt x="1287063" y="36532"/>
                    <a:pt x="1285538" y="36750"/>
                    <a:pt x="1281833" y="34788"/>
                  </a:cubicBezTo>
                  <a:cubicBezTo>
                    <a:pt x="1277475" y="32389"/>
                    <a:pt x="1277257" y="32608"/>
                    <a:pt x="1278347" y="38712"/>
                  </a:cubicBezTo>
                  <a:cubicBezTo>
                    <a:pt x="1279654" y="44816"/>
                    <a:pt x="1274424" y="56370"/>
                    <a:pt x="1270284" y="56370"/>
                  </a:cubicBezTo>
                  <a:cubicBezTo>
                    <a:pt x="1267451" y="56370"/>
                    <a:pt x="1267887" y="46124"/>
                    <a:pt x="1270720" y="40892"/>
                  </a:cubicBezTo>
                  <a:cubicBezTo>
                    <a:pt x="1272463" y="37404"/>
                    <a:pt x="1272245" y="35442"/>
                    <a:pt x="1269630" y="32608"/>
                  </a:cubicBezTo>
                  <a:cubicBezTo>
                    <a:pt x="1263965" y="26285"/>
                    <a:pt x="1265272" y="21925"/>
                    <a:pt x="1273335" y="21053"/>
                  </a:cubicBezTo>
                  <a:cubicBezTo>
                    <a:pt x="1279218" y="20617"/>
                    <a:pt x="1280308" y="19527"/>
                    <a:pt x="1280308" y="14949"/>
                  </a:cubicBezTo>
                  <a:cubicBezTo>
                    <a:pt x="1280308" y="9935"/>
                    <a:pt x="1279436" y="9499"/>
                    <a:pt x="1270066" y="8845"/>
                  </a:cubicBezTo>
                  <a:cubicBezTo>
                    <a:pt x="1258953" y="8191"/>
                    <a:pt x="1259607" y="7319"/>
                    <a:pt x="1259171" y="24759"/>
                  </a:cubicBezTo>
                  <a:cubicBezTo>
                    <a:pt x="1258953" y="29555"/>
                    <a:pt x="1259825" y="35878"/>
                    <a:pt x="1260696" y="38712"/>
                  </a:cubicBezTo>
                  <a:cubicBezTo>
                    <a:pt x="1262222" y="43508"/>
                    <a:pt x="1262004" y="43726"/>
                    <a:pt x="1255684" y="42418"/>
                  </a:cubicBezTo>
                  <a:cubicBezTo>
                    <a:pt x="1249583" y="40892"/>
                    <a:pt x="1248929" y="41328"/>
                    <a:pt x="1247622" y="47432"/>
                  </a:cubicBezTo>
                  <a:cubicBezTo>
                    <a:pt x="1245878" y="55280"/>
                    <a:pt x="1247840" y="59422"/>
                    <a:pt x="1252416" y="57678"/>
                  </a:cubicBezTo>
                  <a:cubicBezTo>
                    <a:pt x="1254377" y="56806"/>
                    <a:pt x="1257863" y="58550"/>
                    <a:pt x="1260914" y="61821"/>
                  </a:cubicBezTo>
                  <a:cubicBezTo>
                    <a:pt x="1267015" y="68361"/>
                    <a:pt x="1267233" y="69451"/>
                    <a:pt x="1262875" y="69451"/>
                  </a:cubicBezTo>
                  <a:cubicBezTo>
                    <a:pt x="1258081" y="69451"/>
                    <a:pt x="1237816" y="91034"/>
                    <a:pt x="1237816" y="95830"/>
                  </a:cubicBezTo>
                  <a:cubicBezTo>
                    <a:pt x="1237816" y="100626"/>
                    <a:pt x="1239777" y="100844"/>
                    <a:pt x="1244353" y="97138"/>
                  </a:cubicBezTo>
                  <a:close/>
                  <a:moveTo>
                    <a:pt x="316068" y="91252"/>
                  </a:moveTo>
                  <a:cubicBezTo>
                    <a:pt x="316068" y="88853"/>
                    <a:pt x="315196" y="86891"/>
                    <a:pt x="313888" y="86891"/>
                  </a:cubicBezTo>
                  <a:cubicBezTo>
                    <a:pt x="312799" y="86891"/>
                    <a:pt x="311709" y="88853"/>
                    <a:pt x="311709" y="91252"/>
                  </a:cubicBezTo>
                  <a:cubicBezTo>
                    <a:pt x="311709" y="93650"/>
                    <a:pt x="312799" y="95612"/>
                    <a:pt x="313888" y="95612"/>
                  </a:cubicBezTo>
                  <a:cubicBezTo>
                    <a:pt x="315196" y="95612"/>
                    <a:pt x="316068" y="93650"/>
                    <a:pt x="316068" y="91252"/>
                  </a:cubicBezTo>
                  <a:close/>
                  <a:moveTo>
                    <a:pt x="1408873" y="93650"/>
                  </a:moveTo>
                  <a:cubicBezTo>
                    <a:pt x="1409527" y="92560"/>
                    <a:pt x="1409091" y="91034"/>
                    <a:pt x="1407784" y="90161"/>
                  </a:cubicBezTo>
                  <a:cubicBezTo>
                    <a:pt x="1406694" y="89507"/>
                    <a:pt x="1405605" y="90379"/>
                    <a:pt x="1405605" y="92124"/>
                  </a:cubicBezTo>
                  <a:cubicBezTo>
                    <a:pt x="1405605" y="96048"/>
                    <a:pt x="1406912" y="96702"/>
                    <a:pt x="1408873" y="93650"/>
                  </a:cubicBezTo>
                  <a:close/>
                  <a:moveTo>
                    <a:pt x="1457902" y="82749"/>
                  </a:moveTo>
                  <a:cubicBezTo>
                    <a:pt x="1457902" y="77735"/>
                    <a:pt x="1452455" y="75337"/>
                    <a:pt x="1449404" y="79043"/>
                  </a:cubicBezTo>
                  <a:cubicBezTo>
                    <a:pt x="1448097" y="80351"/>
                    <a:pt x="1447661" y="83839"/>
                    <a:pt x="1448532" y="86455"/>
                  </a:cubicBezTo>
                  <a:cubicBezTo>
                    <a:pt x="1449404" y="90379"/>
                    <a:pt x="1450494" y="90816"/>
                    <a:pt x="1453762" y="88853"/>
                  </a:cubicBezTo>
                  <a:cubicBezTo>
                    <a:pt x="1455941" y="87763"/>
                    <a:pt x="1457902" y="84929"/>
                    <a:pt x="1457902" y="82749"/>
                  </a:cubicBezTo>
                  <a:close/>
                  <a:moveTo>
                    <a:pt x="616780" y="83839"/>
                  </a:moveTo>
                  <a:cubicBezTo>
                    <a:pt x="616780" y="83185"/>
                    <a:pt x="615908" y="82095"/>
                    <a:pt x="614601" y="81441"/>
                  </a:cubicBezTo>
                  <a:cubicBezTo>
                    <a:pt x="613511" y="80787"/>
                    <a:pt x="612422" y="81223"/>
                    <a:pt x="612422" y="82313"/>
                  </a:cubicBezTo>
                  <a:cubicBezTo>
                    <a:pt x="612422" y="83621"/>
                    <a:pt x="613511" y="84711"/>
                    <a:pt x="614601" y="84711"/>
                  </a:cubicBezTo>
                  <a:cubicBezTo>
                    <a:pt x="615908" y="84711"/>
                    <a:pt x="616780" y="84275"/>
                    <a:pt x="616780" y="83839"/>
                  </a:cubicBezTo>
                  <a:close/>
                  <a:moveTo>
                    <a:pt x="427200" y="66835"/>
                  </a:moveTo>
                  <a:cubicBezTo>
                    <a:pt x="427200" y="60730"/>
                    <a:pt x="427200" y="60730"/>
                    <a:pt x="432648" y="64219"/>
                  </a:cubicBezTo>
                  <a:cubicBezTo>
                    <a:pt x="437660" y="67489"/>
                    <a:pt x="438096" y="67489"/>
                    <a:pt x="439403" y="64001"/>
                  </a:cubicBezTo>
                  <a:cubicBezTo>
                    <a:pt x="440275" y="62039"/>
                    <a:pt x="439839" y="59422"/>
                    <a:pt x="438314" y="57896"/>
                  </a:cubicBezTo>
                  <a:cubicBezTo>
                    <a:pt x="437006" y="56588"/>
                    <a:pt x="435917" y="53536"/>
                    <a:pt x="435917" y="51138"/>
                  </a:cubicBezTo>
                  <a:cubicBezTo>
                    <a:pt x="435917" y="47650"/>
                    <a:pt x="434827" y="48304"/>
                    <a:pt x="430469" y="54626"/>
                  </a:cubicBezTo>
                  <a:cubicBezTo>
                    <a:pt x="427418" y="59204"/>
                    <a:pt x="423060" y="63783"/>
                    <a:pt x="420663" y="65091"/>
                  </a:cubicBezTo>
                  <a:cubicBezTo>
                    <a:pt x="416523" y="67271"/>
                    <a:pt x="414780" y="75773"/>
                    <a:pt x="417830" y="78825"/>
                  </a:cubicBezTo>
                  <a:cubicBezTo>
                    <a:pt x="420445" y="81659"/>
                    <a:pt x="427200" y="73157"/>
                    <a:pt x="427200" y="66835"/>
                  </a:cubicBezTo>
                  <a:close/>
                  <a:moveTo>
                    <a:pt x="1374226" y="71195"/>
                  </a:moveTo>
                  <a:cubicBezTo>
                    <a:pt x="1370957" y="60948"/>
                    <a:pt x="1371611" y="59858"/>
                    <a:pt x="1381199" y="58114"/>
                  </a:cubicBezTo>
                  <a:cubicBezTo>
                    <a:pt x="1386429" y="57242"/>
                    <a:pt x="1392966" y="57460"/>
                    <a:pt x="1396017" y="58768"/>
                  </a:cubicBezTo>
                  <a:cubicBezTo>
                    <a:pt x="1403426" y="61384"/>
                    <a:pt x="1405605" y="59640"/>
                    <a:pt x="1405605" y="50702"/>
                  </a:cubicBezTo>
                  <a:cubicBezTo>
                    <a:pt x="1405605" y="44816"/>
                    <a:pt x="1404515" y="42636"/>
                    <a:pt x="1400157" y="40674"/>
                  </a:cubicBezTo>
                  <a:cubicBezTo>
                    <a:pt x="1391659" y="36968"/>
                    <a:pt x="1394055" y="29555"/>
                    <a:pt x="1404297" y="27811"/>
                  </a:cubicBezTo>
                  <a:cubicBezTo>
                    <a:pt x="1412578" y="26067"/>
                    <a:pt x="1410181" y="21925"/>
                    <a:pt x="1399067" y="19309"/>
                  </a:cubicBezTo>
                  <a:cubicBezTo>
                    <a:pt x="1390351" y="17129"/>
                    <a:pt x="1387300" y="17129"/>
                    <a:pt x="1384685" y="19527"/>
                  </a:cubicBezTo>
                  <a:cubicBezTo>
                    <a:pt x="1382506" y="21271"/>
                    <a:pt x="1380763" y="21489"/>
                    <a:pt x="1379238" y="19963"/>
                  </a:cubicBezTo>
                  <a:cubicBezTo>
                    <a:pt x="1377930" y="18655"/>
                    <a:pt x="1372483" y="18219"/>
                    <a:pt x="1367253" y="18873"/>
                  </a:cubicBezTo>
                  <a:cubicBezTo>
                    <a:pt x="1359626" y="19745"/>
                    <a:pt x="1357665" y="19309"/>
                    <a:pt x="1358101" y="16911"/>
                  </a:cubicBezTo>
                  <a:cubicBezTo>
                    <a:pt x="1359408" y="10589"/>
                    <a:pt x="1334131" y="12769"/>
                    <a:pt x="1331952" y="19091"/>
                  </a:cubicBezTo>
                  <a:cubicBezTo>
                    <a:pt x="1331298" y="21271"/>
                    <a:pt x="1332388" y="21707"/>
                    <a:pt x="1336528" y="20617"/>
                  </a:cubicBezTo>
                  <a:cubicBezTo>
                    <a:pt x="1341322" y="19527"/>
                    <a:pt x="1343283" y="20835"/>
                    <a:pt x="1349820" y="28901"/>
                  </a:cubicBezTo>
                  <a:cubicBezTo>
                    <a:pt x="1357447" y="37840"/>
                    <a:pt x="1359844" y="45470"/>
                    <a:pt x="1355486" y="45470"/>
                  </a:cubicBezTo>
                  <a:cubicBezTo>
                    <a:pt x="1354396" y="45470"/>
                    <a:pt x="1352217" y="43944"/>
                    <a:pt x="1350692" y="42200"/>
                  </a:cubicBezTo>
                  <a:cubicBezTo>
                    <a:pt x="1343283" y="33262"/>
                    <a:pt x="1341758" y="32171"/>
                    <a:pt x="1339797" y="34134"/>
                  </a:cubicBezTo>
                  <a:cubicBezTo>
                    <a:pt x="1334567" y="39366"/>
                    <a:pt x="1350910" y="58550"/>
                    <a:pt x="1360498" y="58550"/>
                  </a:cubicBezTo>
                  <a:cubicBezTo>
                    <a:pt x="1365945" y="58550"/>
                    <a:pt x="1366599" y="59204"/>
                    <a:pt x="1366381" y="64655"/>
                  </a:cubicBezTo>
                  <a:cubicBezTo>
                    <a:pt x="1365728" y="74683"/>
                    <a:pt x="1366163" y="75991"/>
                    <a:pt x="1370957" y="75991"/>
                  </a:cubicBezTo>
                  <a:cubicBezTo>
                    <a:pt x="1374662" y="75991"/>
                    <a:pt x="1375315" y="75119"/>
                    <a:pt x="1374226" y="71195"/>
                  </a:cubicBezTo>
                  <a:close/>
                  <a:moveTo>
                    <a:pt x="1453326" y="69451"/>
                  </a:moveTo>
                  <a:cubicBezTo>
                    <a:pt x="1457249" y="69451"/>
                    <a:pt x="1458120" y="68361"/>
                    <a:pt x="1457467" y="63565"/>
                  </a:cubicBezTo>
                  <a:cubicBezTo>
                    <a:pt x="1456813" y="57896"/>
                    <a:pt x="1456159" y="57460"/>
                    <a:pt x="1448750" y="58114"/>
                  </a:cubicBezTo>
                  <a:cubicBezTo>
                    <a:pt x="1444174" y="58550"/>
                    <a:pt x="1440470" y="57896"/>
                    <a:pt x="1440470" y="56806"/>
                  </a:cubicBezTo>
                  <a:cubicBezTo>
                    <a:pt x="1440470" y="55498"/>
                    <a:pt x="1438073" y="53100"/>
                    <a:pt x="1435022" y="51138"/>
                  </a:cubicBezTo>
                  <a:cubicBezTo>
                    <a:pt x="1430010" y="47868"/>
                    <a:pt x="1429574" y="47868"/>
                    <a:pt x="1427395" y="52228"/>
                  </a:cubicBezTo>
                  <a:cubicBezTo>
                    <a:pt x="1424345" y="57678"/>
                    <a:pt x="1427395" y="62257"/>
                    <a:pt x="1434586" y="63347"/>
                  </a:cubicBezTo>
                  <a:cubicBezTo>
                    <a:pt x="1437201" y="63783"/>
                    <a:pt x="1439162" y="65527"/>
                    <a:pt x="1438727" y="67053"/>
                  </a:cubicBezTo>
                  <a:cubicBezTo>
                    <a:pt x="1438291" y="68797"/>
                    <a:pt x="1438727" y="71631"/>
                    <a:pt x="1439380" y="73375"/>
                  </a:cubicBezTo>
                  <a:cubicBezTo>
                    <a:pt x="1440470" y="76209"/>
                    <a:pt x="1441123" y="76209"/>
                    <a:pt x="1444392" y="72939"/>
                  </a:cubicBezTo>
                  <a:cubicBezTo>
                    <a:pt x="1446571" y="70977"/>
                    <a:pt x="1450711" y="69451"/>
                    <a:pt x="1453326" y="69451"/>
                  </a:cubicBezTo>
                  <a:close/>
                  <a:moveTo>
                    <a:pt x="649466" y="65963"/>
                  </a:moveTo>
                  <a:cubicBezTo>
                    <a:pt x="649466" y="64219"/>
                    <a:pt x="648594" y="63347"/>
                    <a:pt x="647287" y="64001"/>
                  </a:cubicBezTo>
                  <a:cubicBezTo>
                    <a:pt x="646197" y="64655"/>
                    <a:pt x="645108" y="66181"/>
                    <a:pt x="645108" y="67489"/>
                  </a:cubicBezTo>
                  <a:cubicBezTo>
                    <a:pt x="645108" y="68579"/>
                    <a:pt x="646197" y="69451"/>
                    <a:pt x="647287" y="69451"/>
                  </a:cubicBezTo>
                  <a:cubicBezTo>
                    <a:pt x="648594" y="69451"/>
                    <a:pt x="649466" y="67925"/>
                    <a:pt x="649466" y="65963"/>
                  </a:cubicBezTo>
                  <a:close/>
                  <a:moveTo>
                    <a:pt x="1250890" y="65963"/>
                  </a:moveTo>
                  <a:cubicBezTo>
                    <a:pt x="1250890" y="64219"/>
                    <a:pt x="1250019" y="63347"/>
                    <a:pt x="1248711" y="64001"/>
                  </a:cubicBezTo>
                  <a:cubicBezTo>
                    <a:pt x="1247622" y="64655"/>
                    <a:pt x="1246532" y="66181"/>
                    <a:pt x="1246532" y="67489"/>
                  </a:cubicBezTo>
                  <a:cubicBezTo>
                    <a:pt x="1246532" y="68579"/>
                    <a:pt x="1247622" y="69451"/>
                    <a:pt x="1248711" y="69451"/>
                  </a:cubicBezTo>
                  <a:cubicBezTo>
                    <a:pt x="1250019" y="69451"/>
                    <a:pt x="1250890" y="67925"/>
                    <a:pt x="1250890" y="65963"/>
                  </a:cubicBezTo>
                  <a:close/>
                  <a:moveTo>
                    <a:pt x="450298" y="54844"/>
                  </a:moveTo>
                  <a:cubicBezTo>
                    <a:pt x="452695" y="52228"/>
                    <a:pt x="453131" y="50920"/>
                    <a:pt x="451388" y="50266"/>
                  </a:cubicBezTo>
                  <a:cubicBezTo>
                    <a:pt x="447248" y="48958"/>
                    <a:pt x="442454" y="51574"/>
                    <a:pt x="442454" y="55280"/>
                  </a:cubicBezTo>
                  <a:cubicBezTo>
                    <a:pt x="442454" y="59640"/>
                    <a:pt x="445505" y="59422"/>
                    <a:pt x="450298" y="54844"/>
                  </a:cubicBezTo>
                  <a:close/>
                  <a:moveTo>
                    <a:pt x="662540" y="55280"/>
                  </a:moveTo>
                  <a:cubicBezTo>
                    <a:pt x="662540" y="53536"/>
                    <a:pt x="661233" y="52010"/>
                    <a:pt x="659490" y="52010"/>
                  </a:cubicBezTo>
                  <a:cubicBezTo>
                    <a:pt x="655131" y="52010"/>
                    <a:pt x="653170" y="55716"/>
                    <a:pt x="656439" y="57024"/>
                  </a:cubicBezTo>
                  <a:cubicBezTo>
                    <a:pt x="661233" y="58986"/>
                    <a:pt x="662540" y="58550"/>
                    <a:pt x="662540" y="55280"/>
                  </a:cubicBezTo>
                  <a:close/>
                  <a:moveTo>
                    <a:pt x="1327158" y="54844"/>
                  </a:moveTo>
                  <a:cubicBezTo>
                    <a:pt x="1327158" y="52882"/>
                    <a:pt x="1325197" y="48958"/>
                    <a:pt x="1322582" y="46342"/>
                  </a:cubicBezTo>
                  <a:cubicBezTo>
                    <a:pt x="1318877" y="42418"/>
                    <a:pt x="1318442" y="40674"/>
                    <a:pt x="1320403" y="36968"/>
                  </a:cubicBezTo>
                  <a:cubicBezTo>
                    <a:pt x="1321710" y="34570"/>
                    <a:pt x="1322364" y="29991"/>
                    <a:pt x="1321492" y="27157"/>
                  </a:cubicBezTo>
                  <a:cubicBezTo>
                    <a:pt x="1320621" y="23233"/>
                    <a:pt x="1321274" y="21271"/>
                    <a:pt x="1324761" y="19309"/>
                  </a:cubicBezTo>
                  <a:cubicBezTo>
                    <a:pt x="1327376" y="18001"/>
                    <a:pt x="1329337" y="15603"/>
                    <a:pt x="1329337" y="13859"/>
                  </a:cubicBezTo>
                  <a:cubicBezTo>
                    <a:pt x="1329337" y="10371"/>
                    <a:pt x="1323453" y="9499"/>
                    <a:pt x="1319313" y="12333"/>
                  </a:cubicBezTo>
                  <a:cubicBezTo>
                    <a:pt x="1314955" y="15385"/>
                    <a:pt x="1309725" y="24541"/>
                    <a:pt x="1309725" y="29337"/>
                  </a:cubicBezTo>
                  <a:cubicBezTo>
                    <a:pt x="1309725" y="31953"/>
                    <a:pt x="1307764" y="36532"/>
                    <a:pt x="1305367" y="39584"/>
                  </a:cubicBezTo>
                  <a:cubicBezTo>
                    <a:pt x="1300573" y="45688"/>
                    <a:pt x="1299702" y="50920"/>
                    <a:pt x="1303842" y="49176"/>
                  </a:cubicBezTo>
                  <a:cubicBezTo>
                    <a:pt x="1305149" y="48522"/>
                    <a:pt x="1308200" y="47432"/>
                    <a:pt x="1310161" y="46560"/>
                  </a:cubicBezTo>
                  <a:cubicBezTo>
                    <a:pt x="1312776" y="45470"/>
                    <a:pt x="1314519" y="46342"/>
                    <a:pt x="1315391" y="48958"/>
                  </a:cubicBezTo>
                  <a:cubicBezTo>
                    <a:pt x="1318877" y="58332"/>
                    <a:pt x="1327158" y="62475"/>
                    <a:pt x="1327158" y="54844"/>
                  </a:cubicBezTo>
                  <a:close/>
                  <a:moveTo>
                    <a:pt x="283381" y="50048"/>
                  </a:moveTo>
                  <a:cubicBezTo>
                    <a:pt x="283381" y="47432"/>
                    <a:pt x="279023" y="44598"/>
                    <a:pt x="277498" y="46124"/>
                  </a:cubicBezTo>
                  <a:cubicBezTo>
                    <a:pt x="275973" y="47650"/>
                    <a:pt x="278805" y="52010"/>
                    <a:pt x="281420" y="52010"/>
                  </a:cubicBezTo>
                  <a:cubicBezTo>
                    <a:pt x="282510" y="52010"/>
                    <a:pt x="283381" y="51138"/>
                    <a:pt x="283381" y="50048"/>
                  </a:cubicBezTo>
                  <a:close/>
                  <a:moveTo>
                    <a:pt x="1237380" y="46124"/>
                  </a:moveTo>
                  <a:cubicBezTo>
                    <a:pt x="1236508" y="38712"/>
                    <a:pt x="1226921" y="35660"/>
                    <a:pt x="1226921" y="42636"/>
                  </a:cubicBezTo>
                  <a:cubicBezTo>
                    <a:pt x="1226921" y="47432"/>
                    <a:pt x="1230843" y="52010"/>
                    <a:pt x="1235201" y="52010"/>
                  </a:cubicBezTo>
                  <a:cubicBezTo>
                    <a:pt x="1237162" y="52010"/>
                    <a:pt x="1237816" y="50048"/>
                    <a:pt x="1237380" y="46124"/>
                  </a:cubicBezTo>
                  <a:close/>
                  <a:moveTo>
                    <a:pt x="620048" y="47650"/>
                  </a:moveTo>
                  <a:cubicBezTo>
                    <a:pt x="620702" y="46560"/>
                    <a:pt x="619830" y="45470"/>
                    <a:pt x="618087" y="45470"/>
                  </a:cubicBezTo>
                  <a:cubicBezTo>
                    <a:pt x="616126" y="45470"/>
                    <a:pt x="614601" y="46560"/>
                    <a:pt x="614601" y="47650"/>
                  </a:cubicBezTo>
                  <a:cubicBezTo>
                    <a:pt x="614601" y="48958"/>
                    <a:pt x="615472" y="49830"/>
                    <a:pt x="616562" y="49830"/>
                  </a:cubicBezTo>
                  <a:cubicBezTo>
                    <a:pt x="617869" y="49830"/>
                    <a:pt x="619395" y="48958"/>
                    <a:pt x="620048" y="47650"/>
                  </a:cubicBezTo>
                  <a:close/>
                  <a:moveTo>
                    <a:pt x="1133220" y="48958"/>
                  </a:moveTo>
                  <a:cubicBezTo>
                    <a:pt x="1133220" y="48304"/>
                    <a:pt x="1132349" y="47214"/>
                    <a:pt x="1131041" y="46560"/>
                  </a:cubicBezTo>
                  <a:cubicBezTo>
                    <a:pt x="1129952" y="45906"/>
                    <a:pt x="1128862" y="46342"/>
                    <a:pt x="1128862" y="47432"/>
                  </a:cubicBezTo>
                  <a:cubicBezTo>
                    <a:pt x="1128862" y="48740"/>
                    <a:pt x="1129952" y="49830"/>
                    <a:pt x="1131041" y="49830"/>
                  </a:cubicBezTo>
                  <a:cubicBezTo>
                    <a:pt x="1132349" y="49830"/>
                    <a:pt x="1133220" y="49394"/>
                    <a:pt x="1133220" y="48958"/>
                  </a:cubicBezTo>
                  <a:close/>
                  <a:moveTo>
                    <a:pt x="1447879" y="46560"/>
                  </a:moveTo>
                  <a:cubicBezTo>
                    <a:pt x="1451365" y="43944"/>
                    <a:pt x="1451583" y="42854"/>
                    <a:pt x="1449186" y="40020"/>
                  </a:cubicBezTo>
                  <a:cubicBezTo>
                    <a:pt x="1447661" y="38276"/>
                    <a:pt x="1445264" y="36750"/>
                    <a:pt x="1443956" y="36750"/>
                  </a:cubicBezTo>
                  <a:cubicBezTo>
                    <a:pt x="1442649" y="36750"/>
                    <a:pt x="1439816" y="34788"/>
                    <a:pt x="1437637" y="32389"/>
                  </a:cubicBezTo>
                  <a:cubicBezTo>
                    <a:pt x="1430882" y="24323"/>
                    <a:pt x="1415410" y="27375"/>
                    <a:pt x="1413449" y="37186"/>
                  </a:cubicBezTo>
                  <a:cubicBezTo>
                    <a:pt x="1411706" y="45688"/>
                    <a:pt x="1413231" y="47214"/>
                    <a:pt x="1418243" y="42636"/>
                  </a:cubicBezTo>
                  <a:cubicBezTo>
                    <a:pt x="1422166" y="39148"/>
                    <a:pt x="1422819" y="39148"/>
                    <a:pt x="1431971" y="44162"/>
                  </a:cubicBezTo>
                  <a:cubicBezTo>
                    <a:pt x="1443520" y="50484"/>
                    <a:pt x="1442649" y="50484"/>
                    <a:pt x="1447879" y="46560"/>
                  </a:cubicBezTo>
                  <a:close/>
                  <a:moveTo>
                    <a:pt x="271179" y="42200"/>
                  </a:moveTo>
                  <a:cubicBezTo>
                    <a:pt x="272486" y="38494"/>
                    <a:pt x="268564" y="28029"/>
                    <a:pt x="265731" y="28029"/>
                  </a:cubicBezTo>
                  <a:cubicBezTo>
                    <a:pt x="264859" y="28029"/>
                    <a:pt x="263334" y="29119"/>
                    <a:pt x="262680" y="30209"/>
                  </a:cubicBezTo>
                  <a:cubicBezTo>
                    <a:pt x="262026" y="31517"/>
                    <a:pt x="258976" y="32389"/>
                    <a:pt x="255925" y="32389"/>
                  </a:cubicBezTo>
                  <a:cubicBezTo>
                    <a:pt x="249170" y="32389"/>
                    <a:pt x="249170" y="36314"/>
                    <a:pt x="255925" y="38930"/>
                  </a:cubicBezTo>
                  <a:cubicBezTo>
                    <a:pt x="258758" y="40020"/>
                    <a:pt x="261809" y="41982"/>
                    <a:pt x="262680" y="43072"/>
                  </a:cubicBezTo>
                  <a:cubicBezTo>
                    <a:pt x="264641" y="46560"/>
                    <a:pt x="269653" y="45906"/>
                    <a:pt x="271179" y="42200"/>
                  </a:cubicBezTo>
                  <a:close/>
                  <a:moveTo>
                    <a:pt x="453349" y="43290"/>
                  </a:moveTo>
                  <a:cubicBezTo>
                    <a:pt x="453349" y="42200"/>
                    <a:pt x="452478" y="41110"/>
                    <a:pt x="451170" y="41110"/>
                  </a:cubicBezTo>
                  <a:cubicBezTo>
                    <a:pt x="450081" y="41110"/>
                    <a:pt x="448991" y="42200"/>
                    <a:pt x="448991" y="43290"/>
                  </a:cubicBezTo>
                  <a:cubicBezTo>
                    <a:pt x="448991" y="44598"/>
                    <a:pt x="450081" y="45470"/>
                    <a:pt x="451170" y="45470"/>
                  </a:cubicBezTo>
                  <a:cubicBezTo>
                    <a:pt x="452478" y="45470"/>
                    <a:pt x="453349" y="44598"/>
                    <a:pt x="453349" y="43290"/>
                  </a:cubicBezTo>
                  <a:close/>
                  <a:moveTo>
                    <a:pt x="483856" y="35442"/>
                  </a:moveTo>
                  <a:cubicBezTo>
                    <a:pt x="483856" y="33698"/>
                    <a:pt x="482767" y="32826"/>
                    <a:pt x="481677" y="33480"/>
                  </a:cubicBezTo>
                  <a:cubicBezTo>
                    <a:pt x="480370" y="34352"/>
                    <a:pt x="479934" y="35878"/>
                    <a:pt x="480588" y="36968"/>
                  </a:cubicBezTo>
                  <a:cubicBezTo>
                    <a:pt x="482549" y="40020"/>
                    <a:pt x="483856" y="39366"/>
                    <a:pt x="483856" y="35442"/>
                  </a:cubicBezTo>
                  <a:close/>
                  <a:moveTo>
                    <a:pt x="1247404" y="33044"/>
                  </a:moveTo>
                  <a:cubicBezTo>
                    <a:pt x="1249147" y="28683"/>
                    <a:pt x="1247186" y="25849"/>
                    <a:pt x="1242174" y="25849"/>
                  </a:cubicBezTo>
                  <a:cubicBezTo>
                    <a:pt x="1239995" y="25849"/>
                    <a:pt x="1237598" y="24977"/>
                    <a:pt x="1236944" y="23887"/>
                  </a:cubicBezTo>
                  <a:cubicBezTo>
                    <a:pt x="1235419" y="21489"/>
                    <a:pt x="1240649" y="19309"/>
                    <a:pt x="1248058" y="19309"/>
                  </a:cubicBezTo>
                  <a:cubicBezTo>
                    <a:pt x="1252416" y="19309"/>
                    <a:pt x="1253287" y="18437"/>
                    <a:pt x="1252634" y="14513"/>
                  </a:cubicBezTo>
                  <a:cubicBezTo>
                    <a:pt x="1252198" y="10589"/>
                    <a:pt x="1250455" y="9281"/>
                    <a:pt x="1244135" y="8845"/>
                  </a:cubicBezTo>
                  <a:cubicBezTo>
                    <a:pt x="1237162" y="8191"/>
                    <a:pt x="1236073" y="8845"/>
                    <a:pt x="1234765" y="13641"/>
                  </a:cubicBezTo>
                  <a:cubicBezTo>
                    <a:pt x="1232804" y="21489"/>
                    <a:pt x="1226485" y="21271"/>
                    <a:pt x="1227356" y="13423"/>
                  </a:cubicBezTo>
                  <a:lnTo>
                    <a:pt x="1228010" y="7319"/>
                  </a:lnTo>
                  <a:lnTo>
                    <a:pt x="1188351" y="6883"/>
                  </a:lnTo>
                  <a:cubicBezTo>
                    <a:pt x="1166342" y="6665"/>
                    <a:pt x="1148474" y="6883"/>
                    <a:pt x="1148474" y="7537"/>
                  </a:cubicBezTo>
                  <a:cubicBezTo>
                    <a:pt x="1148474" y="7973"/>
                    <a:pt x="1149781" y="10371"/>
                    <a:pt x="1151089" y="12769"/>
                  </a:cubicBezTo>
                  <a:cubicBezTo>
                    <a:pt x="1153268" y="16039"/>
                    <a:pt x="1153268" y="18219"/>
                    <a:pt x="1151525" y="21053"/>
                  </a:cubicBezTo>
                  <a:cubicBezTo>
                    <a:pt x="1149345" y="24541"/>
                    <a:pt x="1150217" y="27157"/>
                    <a:pt x="1156319" y="36532"/>
                  </a:cubicBezTo>
                  <a:cubicBezTo>
                    <a:pt x="1157844" y="38712"/>
                    <a:pt x="1170265" y="27157"/>
                    <a:pt x="1170265" y="23669"/>
                  </a:cubicBezTo>
                  <a:cubicBezTo>
                    <a:pt x="1170265" y="17783"/>
                    <a:pt x="1180942" y="15167"/>
                    <a:pt x="1183775" y="20181"/>
                  </a:cubicBezTo>
                  <a:cubicBezTo>
                    <a:pt x="1185300" y="22797"/>
                    <a:pt x="1186826" y="23233"/>
                    <a:pt x="1189223" y="21707"/>
                  </a:cubicBezTo>
                  <a:cubicBezTo>
                    <a:pt x="1191620" y="20617"/>
                    <a:pt x="1194234" y="20617"/>
                    <a:pt x="1196631" y="22143"/>
                  </a:cubicBezTo>
                  <a:cubicBezTo>
                    <a:pt x="1199246" y="23887"/>
                    <a:pt x="1201643" y="23233"/>
                    <a:pt x="1206655" y="19745"/>
                  </a:cubicBezTo>
                  <a:cubicBezTo>
                    <a:pt x="1212974" y="15385"/>
                    <a:pt x="1213192" y="15385"/>
                    <a:pt x="1216461" y="19091"/>
                  </a:cubicBezTo>
                  <a:cubicBezTo>
                    <a:pt x="1218422" y="21489"/>
                    <a:pt x="1220601" y="25195"/>
                    <a:pt x="1221473" y="27811"/>
                  </a:cubicBezTo>
                  <a:cubicBezTo>
                    <a:pt x="1222998" y="32608"/>
                    <a:pt x="1227792" y="33916"/>
                    <a:pt x="1230189" y="30209"/>
                  </a:cubicBezTo>
                  <a:cubicBezTo>
                    <a:pt x="1232586" y="26503"/>
                    <a:pt x="1235637" y="27811"/>
                    <a:pt x="1237816" y="33480"/>
                  </a:cubicBezTo>
                  <a:cubicBezTo>
                    <a:pt x="1239995" y="39148"/>
                    <a:pt x="1245225" y="38930"/>
                    <a:pt x="1247404" y="33044"/>
                  </a:cubicBezTo>
                  <a:close/>
                  <a:moveTo>
                    <a:pt x="281202" y="24977"/>
                  </a:moveTo>
                  <a:cubicBezTo>
                    <a:pt x="280984" y="19091"/>
                    <a:pt x="276190" y="12769"/>
                    <a:pt x="271614" y="12769"/>
                  </a:cubicBezTo>
                  <a:cubicBezTo>
                    <a:pt x="267038" y="12769"/>
                    <a:pt x="266603" y="26939"/>
                    <a:pt x="271397" y="28901"/>
                  </a:cubicBezTo>
                  <a:cubicBezTo>
                    <a:pt x="273140" y="29555"/>
                    <a:pt x="274665" y="31735"/>
                    <a:pt x="274665" y="33916"/>
                  </a:cubicBezTo>
                  <a:cubicBezTo>
                    <a:pt x="274883" y="37622"/>
                    <a:pt x="275101" y="37404"/>
                    <a:pt x="277934" y="33698"/>
                  </a:cubicBezTo>
                  <a:cubicBezTo>
                    <a:pt x="279677" y="31299"/>
                    <a:pt x="281202" y="27375"/>
                    <a:pt x="281202" y="24977"/>
                  </a:cubicBezTo>
                  <a:close/>
                  <a:moveTo>
                    <a:pt x="626150" y="33698"/>
                  </a:moveTo>
                  <a:cubicBezTo>
                    <a:pt x="627893" y="29555"/>
                    <a:pt x="622881" y="25631"/>
                    <a:pt x="619177" y="28029"/>
                  </a:cubicBezTo>
                  <a:cubicBezTo>
                    <a:pt x="615472" y="30209"/>
                    <a:pt x="617651" y="36750"/>
                    <a:pt x="622010" y="36750"/>
                  </a:cubicBezTo>
                  <a:cubicBezTo>
                    <a:pt x="623535" y="36750"/>
                    <a:pt x="625496" y="35442"/>
                    <a:pt x="626150" y="33698"/>
                  </a:cubicBezTo>
                  <a:close/>
                  <a:moveTo>
                    <a:pt x="190771" y="32389"/>
                  </a:moveTo>
                  <a:cubicBezTo>
                    <a:pt x="191425" y="31299"/>
                    <a:pt x="193821" y="30209"/>
                    <a:pt x="196001" y="30209"/>
                  </a:cubicBezTo>
                  <a:cubicBezTo>
                    <a:pt x="198180" y="30209"/>
                    <a:pt x="201012" y="27593"/>
                    <a:pt x="202320" y="24541"/>
                  </a:cubicBezTo>
                  <a:cubicBezTo>
                    <a:pt x="204717" y="19527"/>
                    <a:pt x="205588" y="19091"/>
                    <a:pt x="215394" y="20399"/>
                  </a:cubicBezTo>
                  <a:cubicBezTo>
                    <a:pt x="221060" y="21271"/>
                    <a:pt x="226725" y="23233"/>
                    <a:pt x="228033" y="24977"/>
                  </a:cubicBezTo>
                  <a:cubicBezTo>
                    <a:pt x="230866" y="28465"/>
                    <a:pt x="236749" y="29119"/>
                    <a:pt x="238710" y="26067"/>
                  </a:cubicBezTo>
                  <a:cubicBezTo>
                    <a:pt x="239364" y="24977"/>
                    <a:pt x="238710" y="21489"/>
                    <a:pt x="237185" y="18219"/>
                  </a:cubicBezTo>
                  <a:cubicBezTo>
                    <a:pt x="234570" y="12551"/>
                    <a:pt x="234570" y="12551"/>
                    <a:pt x="217138" y="13859"/>
                  </a:cubicBezTo>
                  <a:cubicBezTo>
                    <a:pt x="194693" y="15603"/>
                    <a:pt x="194039" y="15821"/>
                    <a:pt x="194039" y="22579"/>
                  </a:cubicBezTo>
                  <a:cubicBezTo>
                    <a:pt x="194039" y="26503"/>
                    <a:pt x="192950" y="28029"/>
                    <a:pt x="189681" y="28029"/>
                  </a:cubicBezTo>
                  <a:cubicBezTo>
                    <a:pt x="187284" y="28029"/>
                    <a:pt x="185323" y="29555"/>
                    <a:pt x="185323" y="31299"/>
                  </a:cubicBezTo>
                  <a:cubicBezTo>
                    <a:pt x="185323" y="35006"/>
                    <a:pt x="188810" y="35660"/>
                    <a:pt x="190771" y="32389"/>
                  </a:cubicBezTo>
                  <a:close/>
                  <a:moveTo>
                    <a:pt x="642057" y="27593"/>
                  </a:moveTo>
                  <a:cubicBezTo>
                    <a:pt x="642929" y="24759"/>
                    <a:pt x="644672" y="23669"/>
                    <a:pt x="647505" y="24323"/>
                  </a:cubicBezTo>
                  <a:cubicBezTo>
                    <a:pt x="650120" y="24977"/>
                    <a:pt x="651645" y="24323"/>
                    <a:pt x="651645" y="22361"/>
                  </a:cubicBezTo>
                  <a:cubicBezTo>
                    <a:pt x="651645" y="20181"/>
                    <a:pt x="648812" y="19309"/>
                    <a:pt x="641839" y="19309"/>
                  </a:cubicBezTo>
                  <a:cubicBezTo>
                    <a:pt x="632469" y="19309"/>
                    <a:pt x="632033" y="19527"/>
                    <a:pt x="632033" y="25413"/>
                  </a:cubicBezTo>
                  <a:cubicBezTo>
                    <a:pt x="632033" y="28901"/>
                    <a:pt x="632687" y="32171"/>
                    <a:pt x="633341" y="33044"/>
                  </a:cubicBezTo>
                  <a:cubicBezTo>
                    <a:pt x="635520" y="35224"/>
                    <a:pt x="640532" y="32171"/>
                    <a:pt x="642057" y="27593"/>
                  </a:cubicBezTo>
                  <a:close/>
                  <a:moveTo>
                    <a:pt x="259412" y="24759"/>
                  </a:moveTo>
                  <a:cubicBezTo>
                    <a:pt x="259412" y="21925"/>
                    <a:pt x="252221" y="12769"/>
                    <a:pt x="249824" y="12769"/>
                  </a:cubicBezTo>
                  <a:cubicBezTo>
                    <a:pt x="247863" y="12769"/>
                    <a:pt x="246991" y="20835"/>
                    <a:pt x="248298" y="25413"/>
                  </a:cubicBezTo>
                  <a:cubicBezTo>
                    <a:pt x="248734" y="26503"/>
                    <a:pt x="259412" y="25849"/>
                    <a:pt x="259412" y="24759"/>
                  </a:cubicBezTo>
                  <a:close/>
                </a:path>
              </a:pathLst>
            </a:custGeom>
            <a:grpFill/>
            <a:ln w="218" cap="flat">
              <a:noFill/>
              <a:prstDash val="solid"/>
              <a:miter/>
            </a:ln>
          </p:spPr>
          <p:txBody>
            <a:bodyPr rtlCol="0" anchor="ctr"/>
            <a:lstStyle/>
            <a:p>
              <a:endParaRPr lang="en-GB" dirty="0"/>
            </a:p>
          </p:txBody>
        </p:sp>
        <p:sp>
          <p:nvSpPr>
            <p:cNvPr id="9" name="Freihandform: Form 8">
              <a:extLst>
                <a:ext uri="{FF2B5EF4-FFF2-40B4-BE49-F238E27FC236}">
                  <a16:creationId xmlns:a16="http://schemas.microsoft.com/office/drawing/2014/main" xmlns="" id="{F0CE7A8B-1162-4282-AC2C-929D19ECE473}"/>
                </a:ext>
              </a:extLst>
            </p:cNvPr>
            <p:cNvSpPr/>
            <p:nvPr/>
          </p:nvSpPr>
          <p:spPr>
            <a:xfrm flipV="1">
              <a:off x="4303918" y="4044983"/>
              <a:ext cx="41402" cy="68702"/>
            </a:xfrm>
            <a:custGeom>
              <a:avLst/>
              <a:gdLst>
                <a:gd name="connsiteX0" fmla="*/ 8529 w 41402"/>
                <a:gd name="connsiteY0" fmla="*/ 62072 h 68702"/>
                <a:gd name="connsiteX1" fmla="*/ -1495 w 41402"/>
                <a:gd name="connsiteY1" fmla="*/ 53788 h 68702"/>
                <a:gd name="connsiteX2" fmla="*/ 7222 w 41402"/>
                <a:gd name="connsiteY2" fmla="*/ 55314 h 68702"/>
                <a:gd name="connsiteX3" fmla="*/ 29884 w 41402"/>
                <a:gd name="connsiteY3" fmla="*/ 49210 h 68702"/>
                <a:gd name="connsiteX4" fmla="*/ 13323 w 41402"/>
                <a:gd name="connsiteY4" fmla="*/ 15636 h 68702"/>
                <a:gd name="connsiteX5" fmla="*/ -1931 w 41402"/>
                <a:gd name="connsiteY5" fmla="*/ -3548 h 68702"/>
                <a:gd name="connsiteX6" fmla="*/ 18771 w 41402"/>
                <a:gd name="connsiteY6" fmla="*/ -6164 h 68702"/>
                <a:gd name="connsiteX7" fmla="*/ 39472 w 41402"/>
                <a:gd name="connsiteY7" fmla="*/ -3984 h 68702"/>
                <a:gd name="connsiteX8" fmla="*/ 27051 w 41402"/>
                <a:gd name="connsiteY8" fmla="*/ -1804 h 68702"/>
                <a:gd name="connsiteX9" fmla="*/ 22693 w 41402"/>
                <a:gd name="connsiteY9" fmla="*/ 17380 h 68702"/>
                <a:gd name="connsiteX10" fmla="*/ 38600 w 41402"/>
                <a:gd name="connsiteY10" fmla="*/ 49428 h 68702"/>
                <a:gd name="connsiteX11" fmla="*/ 8529 w 41402"/>
                <a:gd name="connsiteY11" fmla="*/ 62072 h 68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402" h="68702">
                  <a:moveTo>
                    <a:pt x="8529" y="62072"/>
                  </a:moveTo>
                  <a:cubicBezTo>
                    <a:pt x="3081" y="61200"/>
                    <a:pt x="-3674" y="55750"/>
                    <a:pt x="-1495" y="53788"/>
                  </a:cubicBezTo>
                  <a:cubicBezTo>
                    <a:pt x="-1059" y="53352"/>
                    <a:pt x="2863" y="54006"/>
                    <a:pt x="7222" y="55314"/>
                  </a:cubicBezTo>
                  <a:cubicBezTo>
                    <a:pt x="17245" y="58366"/>
                    <a:pt x="25308" y="56186"/>
                    <a:pt x="29884" y="49210"/>
                  </a:cubicBezTo>
                  <a:cubicBezTo>
                    <a:pt x="34896" y="41797"/>
                    <a:pt x="32281" y="36783"/>
                    <a:pt x="13323" y="15636"/>
                  </a:cubicBezTo>
                  <a:cubicBezTo>
                    <a:pt x="4825" y="6480"/>
                    <a:pt x="-1931" y="-2240"/>
                    <a:pt x="-1931" y="-3548"/>
                  </a:cubicBezTo>
                  <a:cubicBezTo>
                    <a:pt x="-1931" y="-5292"/>
                    <a:pt x="4607" y="-6164"/>
                    <a:pt x="18771" y="-6164"/>
                  </a:cubicBezTo>
                  <a:cubicBezTo>
                    <a:pt x="31191" y="-6164"/>
                    <a:pt x="39472" y="-5292"/>
                    <a:pt x="39472" y="-3984"/>
                  </a:cubicBezTo>
                  <a:cubicBezTo>
                    <a:pt x="39472" y="-2676"/>
                    <a:pt x="33806" y="-1804"/>
                    <a:pt x="27051" y="-1804"/>
                  </a:cubicBezTo>
                  <a:cubicBezTo>
                    <a:pt x="6786" y="-1804"/>
                    <a:pt x="6350" y="-60"/>
                    <a:pt x="22693" y="17380"/>
                  </a:cubicBezTo>
                  <a:cubicBezTo>
                    <a:pt x="37511" y="33077"/>
                    <a:pt x="40997" y="40053"/>
                    <a:pt x="38600" y="49428"/>
                  </a:cubicBezTo>
                  <a:cubicBezTo>
                    <a:pt x="36203" y="58584"/>
                    <a:pt x="22693" y="64252"/>
                    <a:pt x="8529" y="62072"/>
                  </a:cubicBezTo>
                  <a:close/>
                </a:path>
              </a:pathLst>
            </a:custGeom>
            <a:grpFill/>
            <a:ln w="218" cap="flat">
              <a:noFill/>
              <a:prstDash val="solid"/>
              <a:miter/>
            </a:ln>
          </p:spPr>
          <p:txBody>
            <a:bodyPr rtlCol="0" anchor="ctr"/>
            <a:lstStyle/>
            <a:p>
              <a:endParaRPr lang="en-GB" dirty="0"/>
            </a:p>
          </p:txBody>
        </p:sp>
        <p:sp>
          <p:nvSpPr>
            <p:cNvPr id="10" name="Freihandform: Form 9">
              <a:extLst>
                <a:ext uri="{FF2B5EF4-FFF2-40B4-BE49-F238E27FC236}">
                  <a16:creationId xmlns:a16="http://schemas.microsoft.com/office/drawing/2014/main" xmlns="" id="{7FC71376-26A1-4F1C-BDB2-F58DCB4ECEA9}"/>
                </a:ext>
              </a:extLst>
            </p:cNvPr>
            <p:cNvSpPr/>
            <p:nvPr/>
          </p:nvSpPr>
          <p:spPr>
            <a:xfrm flipV="1">
              <a:off x="4427035" y="4044194"/>
              <a:ext cx="44671" cy="71549"/>
            </a:xfrm>
            <a:custGeom>
              <a:avLst/>
              <a:gdLst>
                <a:gd name="connsiteX0" fmla="*/ 11936 w 44671"/>
                <a:gd name="connsiteY0" fmla="*/ 62824 h 71549"/>
                <a:gd name="connsiteX1" fmla="*/ -2446 w 44671"/>
                <a:gd name="connsiteY1" fmla="*/ 31213 h 71549"/>
                <a:gd name="connsiteX2" fmla="*/ 9757 w 44671"/>
                <a:gd name="connsiteY2" fmla="*/ -3014 h 71549"/>
                <a:gd name="connsiteX3" fmla="*/ 42225 w 44671"/>
                <a:gd name="connsiteY3" fmla="*/ 29687 h 71549"/>
                <a:gd name="connsiteX4" fmla="*/ 28279 w 44671"/>
                <a:gd name="connsiteY4" fmla="*/ 62388 h 71549"/>
                <a:gd name="connsiteX5" fmla="*/ 11936 w 44671"/>
                <a:gd name="connsiteY5" fmla="*/ 62824 h 71549"/>
                <a:gd name="connsiteX6" fmla="*/ 26972 w 44671"/>
                <a:gd name="connsiteY6" fmla="*/ 56938 h 71549"/>
                <a:gd name="connsiteX7" fmla="*/ 31766 w 44671"/>
                <a:gd name="connsiteY7" fmla="*/ 8977 h 71549"/>
                <a:gd name="connsiteX8" fmla="*/ 14987 w 44671"/>
                <a:gd name="connsiteY8" fmla="*/ 1128 h 71549"/>
                <a:gd name="connsiteX9" fmla="*/ 4963 w 44671"/>
                <a:gd name="connsiteY9" fmla="*/ 39280 h 71549"/>
                <a:gd name="connsiteX10" fmla="*/ 26972 w 44671"/>
                <a:gd name="connsiteY10" fmla="*/ 56938 h 71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671" h="71549">
                  <a:moveTo>
                    <a:pt x="11936" y="62824"/>
                  </a:moveTo>
                  <a:cubicBezTo>
                    <a:pt x="1259" y="57374"/>
                    <a:pt x="-2446" y="49308"/>
                    <a:pt x="-2446" y="31213"/>
                  </a:cubicBezTo>
                  <a:cubicBezTo>
                    <a:pt x="-2446" y="11593"/>
                    <a:pt x="1259" y="1346"/>
                    <a:pt x="9757" y="-3014"/>
                  </a:cubicBezTo>
                  <a:cubicBezTo>
                    <a:pt x="28715" y="-12824"/>
                    <a:pt x="42225" y="910"/>
                    <a:pt x="42225" y="29687"/>
                  </a:cubicBezTo>
                  <a:cubicBezTo>
                    <a:pt x="42225" y="48654"/>
                    <a:pt x="38085" y="58464"/>
                    <a:pt x="28279" y="62388"/>
                  </a:cubicBezTo>
                  <a:cubicBezTo>
                    <a:pt x="19127" y="66313"/>
                    <a:pt x="18473" y="66313"/>
                    <a:pt x="11936" y="62824"/>
                  </a:cubicBezTo>
                  <a:close/>
                  <a:moveTo>
                    <a:pt x="26972" y="56938"/>
                  </a:moveTo>
                  <a:cubicBezTo>
                    <a:pt x="35688" y="52360"/>
                    <a:pt x="38739" y="22493"/>
                    <a:pt x="31766" y="8977"/>
                  </a:cubicBezTo>
                  <a:cubicBezTo>
                    <a:pt x="27843" y="1128"/>
                    <a:pt x="23485" y="-1052"/>
                    <a:pt x="14987" y="1128"/>
                  </a:cubicBezTo>
                  <a:cubicBezTo>
                    <a:pt x="6706" y="3308"/>
                    <a:pt x="2130" y="20967"/>
                    <a:pt x="4963" y="39280"/>
                  </a:cubicBezTo>
                  <a:cubicBezTo>
                    <a:pt x="7578" y="56284"/>
                    <a:pt x="15858" y="62824"/>
                    <a:pt x="26972" y="56938"/>
                  </a:cubicBezTo>
                  <a:close/>
                </a:path>
              </a:pathLst>
            </a:custGeom>
            <a:grpFill/>
            <a:ln w="218" cap="flat">
              <a:noFill/>
              <a:prstDash val="solid"/>
              <a:miter/>
            </a:ln>
          </p:spPr>
          <p:txBody>
            <a:bodyPr rtlCol="0" anchor="ctr"/>
            <a:lstStyle/>
            <a:p>
              <a:endParaRPr lang="en-GB" dirty="0"/>
            </a:p>
          </p:txBody>
        </p:sp>
        <p:sp>
          <p:nvSpPr>
            <p:cNvPr id="11" name="Freihandform: Form 10">
              <a:extLst>
                <a:ext uri="{FF2B5EF4-FFF2-40B4-BE49-F238E27FC236}">
                  <a16:creationId xmlns:a16="http://schemas.microsoft.com/office/drawing/2014/main" xmlns="" id="{18B5298C-66D8-41D9-977F-276DB7D4D7FE}"/>
                </a:ext>
              </a:extLst>
            </p:cNvPr>
            <p:cNvSpPr/>
            <p:nvPr/>
          </p:nvSpPr>
          <p:spPr>
            <a:xfrm flipV="1">
              <a:off x="4365665" y="4045886"/>
              <a:ext cx="42690" cy="69899"/>
            </a:xfrm>
            <a:custGeom>
              <a:avLst/>
              <a:gdLst>
                <a:gd name="connsiteX0" fmla="*/ 1437 w 42690"/>
                <a:gd name="connsiteY0" fmla="*/ 48264 h 69899"/>
                <a:gd name="connsiteX1" fmla="*/ 1437 w 42690"/>
                <a:gd name="connsiteY1" fmla="*/ 33003 h 69899"/>
                <a:gd name="connsiteX2" fmla="*/ 12332 w 42690"/>
                <a:gd name="connsiteY2" fmla="*/ 33003 h 69899"/>
                <a:gd name="connsiteX3" fmla="*/ 29111 w 42690"/>
                <a:gd name="connsiteY3" fmla="*/ 27335 h 69899"/>
                <a:gd name="connsiteX4" fmla="*/ 33251 w 42690"/>
                <a:gd name="connsiteY4" fmla="*/ 14909 h 69899"/>
                <a:gd name="connsiteX5" fmla="*/ 10589 w 42690"/>
                <a:gd name="connsiteY5" fmla="*/ 738 h 69899"/>
                <a:gd name="connsiteX6" fmla="*/ 2527 w 42690"/>
                <a:gd name="connsiteY6" fmla="*/ -4058 h 69899"/>
                <a:gd name="connsiteX7" fmla="*/ 37392 w 42690"/>
                <a:gd name="connsiteY7" fmla="*/ 4880 h 69899"/>
                <a:gd name="connsiteX8" fmla="*/ 38481 w 42690"/>
                <a:gd name="connsiteY8" fmla="*/ 28861 h 69899"/>
                <a:gd name="connsiteX9" fmla="*/ 15601 w 42690"/>
                <a:gd name="connsiteY9" fmla="*/ 39543 h 69899"/>
                <a:gd name="connsiteX10" fmla="*/ 7974 w 42690"/>
                <a:gd name="connsiteY10" fmla="*/ 48264 h 69899"/>
                <a:gd name="connsiteX11" fmla="*/ 7974 w 42690"/>
                <a:gd name="connsiteY11" fmla="*/ 56766 h 69899"/>
                <a:gd name="connsiteX12" fmla="*/ 21702 w 42690"/>
                <a:gd name="connsiteY12" fmla="*/ 57420 h 69899"/>
                <a:gd name="connsiteX13" fmla="*/ 18434 w 42690"/>
                <a:gd name="connsiteY13" fmla="*/ 63088 h 69899"/>
                <a:gd name="connsiteX14" fmla="*/ 1437 w 42690"/>
                <a:gd name="connsiteY14" fmla="*/ 63742 h 69899"/>
                <a:gd name="connsiteX15" fmla="*/ 1437 w 42690"/>
                <a:gd name="connsiteY15" fmla="*/ 48264 h 6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690" h="69899">
                  <a:moveTo>
                    <a:pt x="1437" y="48264"/>
                  </a:moveTo>
                  <a:lnTo>
                    <a:pt x="1437" y="33003"/>
                  </a:lnTo>
                  <a:lnTo>
                    <a:pt x="12332" y="33003"/>
                  </a:lnTo>
                  <a:cubicBezTo>
                    <a:pt x="21267" y="33003"/>
                    <a:pt x="24535" y="31913"/>
                    <a:pt x="29111" y="27335"/>
                  </a:cubicBezTo>
                  <a:cubicBezTo>
                    <a:pt x="33469" y="22975"/>
                    <a:pt x="34341" y="20577"/>
                    <a:pt x="33251" y="14909"/>
                  </a:cubicBezTo>
                  <a:cubicBezTo>
                    <a:pt x="31072" y="4008"/>
                    <a:pt x="24317" y="-352"/>
                    <a:pt x="10589" y="738"/>
                  </a:cubicBezTo>
                  <a:cubicBezTo>
                    <a:pt x="-2050" y="1828"/>
                    <a:pt x="-6408" y="-570"/>
                    <a:pt x="2527" y="-4058"/>
                  </a:cubicBezTo>
                  <a:cubicBezTo>
                    <a:pt x="15601" y="-9072"/>
                    <a:pt x="32598" y="-4712"/>
                    <a:pt x="37392" y="4880"/>
                  </a:cubicBezTo>
                  <a:cubicBezTo>
                    <a:pt x="41096" y="12075"/>
                    <a:pt x="41532" y="22757"/>
                    <a:pt x="38481" y="28861"/>
                  </a:cubicBezTo>
                  <a:cubicBezTo>
                    <a:pt x="35213" y="34529"/>
                    <a:pt x="24971" y="39543"/>
                    <a:pt x="15601" y="39543"/>
                  </a:cubicBezTo>
                  <a:cubicBezTo>
                    <a:pt x="8192" y="39543"/>
                    <a:pt x="7974" y="39761"/>
                    <a:pt x="7974" y="48264"/>
                  </a:cubicBezTo>
                  <a:lnTo>
                    <a:pt x="7974" y="56766"/>
                  </a:lnTo>
                  <a:lnTo>
                    <a:pt x="21702" y="57420"/>
                  </a:lnTo>
                  <a:cubicBezTo>
                    <a:pt x="40878" y="58292"/>
                    <a:pt x="38481" y="62216"/>
                    <a:pt x="18434" y="63088"/>
                  </a:cubicBezTo>
                  <a:lnTo>
                    <a:pt x="1437" y="63742"/>
                  </a:lnTo>
                  <a:lnTo>
                    <a:pt x="1437" y="48264"/>
                  </a:lnTo>
                  <a:close/>
                </a:path>
              </a:pathLst>
            </a:custGeom>
            <a:grpFill/>
            <a:ln w="218" cap="flat">
              <a:noFill/>
              <a:prstDash val="solid"/>
              <a:miter/>
            </a:ln>
          </p:spPr>
          <p:txBody>
            <a:bodyPr rtlCol="0" anchor="ctr"/>
            <a:lstStyle/>
            <a:p>
              <a:endParaRPr lang="en-GB" dirty="0"/>
            </a:p>
          </p:txBody>
        </p:sp>
        <p:sp>
          <p:nvSpPr>
            <p:cNvPr id="12" name="Freihandform: Form 11">
              <a:extLst>
                <a:ext uri="{FF2B5EF4-FFF2-40B4-BE49-F238E27FC236}">
                  <a16:creationId xmlns:a16="http://schemas.microsoft.com/office/drawing/2014/main" xmlns="" id="{B6F475D8-0174-4FF6-A3CA-AA1166B7EBA4}"/>
                </a:ext>
              </a:extLst>
            </p:cNvPr>
            <p:cNvSpPr/>
            <p:nvPr/>
          </p:nvSpPr>
          <p:spPr>
            <a:xfrm flipV="1">
              <a:off x="4303918" y="4336054"/>
              <a:ext cx="41402" cy="67582"/>
            </a:xfrm>
            <a:custGeom>
              <a:avLst/>
              <a:gdLst>
                <a:gd name="connsiteX0" fmla="*/ 1120 w 41402"/>
                <a:gd name="connsiteY0" fmla="*/ 59832 h 67582"/>
                <a:gd name="connsiteX1" fmla="*/ 7875 w 41402"/>
                <a:gd name="connsiteY1" fmla="*/ 56344 h 67582"/>
                <a:gd name="connsiteX2" fmla="*/ 29884 w 41402"/>
                <a:gd name="connsiteY2" fmla="*/ 50675 h 67582"/>
                <a:gd name="connsiteX3" fmla="*/ 30320 w 41402"/>
                <a:gd name="connsiteY3" fmla="*/ 38249 h 67582"/>
                <a:gd name="connsiteX4" fmla="*/ 12451 w 41402"/>
                <a:gd name="connsiteY4" fmla="*/ 15794 h 67582"/>
                <a:gd name="connsiteX5" fmla="*/ -1931 w 41402"/>
                <a:gd name="connsiteY5" fmla="*/ -2300 h 67582"/>
                <a:gd name="connsiteX6" fmla="*/ 18771 w 41402"/>
                <a:gd name="connsiteY6" fmla="*/ -4699 h 67582"/>
                <a:gd name="connsiteX7" fmla="*/ 39472 w 41402"/>
                <a:gd name="connsiteY7" fmla="*/ -2518 h 67582"/>
                <a:gd name="connsiteX8" fmla="*/ 25526 w 41402"/>
                <a:gd name="connsiteY8" fmla="*/ -338 h 67582"/>
                <a:gd name="connsiteX9" fmla="*/ 10272 w 41402"/>
                <a:gd name="connsiteY9" fmla="*/ 1406 h 67582"/>
                <a:gd name="connsiteX10" fmla="*/ 21821 w 41402"/>
                <a:gd name="connsiteY10" fmla="*/ 17320 h 67582"/>
                <a:gd name="connsiteX11" fmla="*/ 36857 w 41402"/>
                <a:gd name="connsiteY11" fmla="*/ 36069 h 67582"/>
                <a:gd name="connsiteX12" fmla="*/ 34024 w 41402"/>
                <a:gd name="connsiteY12" fmla="*/ 57434 h 67582"/>
                <a:gd name="connsiteX13" fmla="*/ 17027 w 41402"/>
                <a:gd name="connsiteY13" fmla="*/ 62884 h 67582"/>
                <a:gd name="connsiteX14" fmla="*/ 1120 w 41402"/>
                <a:gd name="connsiteY14" fmla="*/ 59832 h 67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402" h="67582">
                  <a:moveTo>
                    <a:pt x="1120" y="59832"/>
                  </a:moveTo>
                  <a:cubicBezTo>
                    <a:pt x="-4981" y="55254"/>
                    <a:pt x="-1277" y="53291"/>
                    <a:pt x="7875" y="56344"/>
                  </a:cubicBezTo>
                  <a:cubicBezTo>
                    <a:pt x="17899" y="59614"/>
                    <a:pt x="25308" y="57652"/>
                    <a:pt x="29884" y="50675"/>
                  </a:cubicBezTo>
                  <a:cubicBezTo>
                    <a:pt x="33371" y="45661"/>
                    <a:pt x="33371" y="44571"/>
                    <a:pt x="30320" y="38249"/>
                  </a:cubicBezTo>
                  <a:cubicBezTo>
                    <a:pt x="28359" y="34325"/>
                    <a:pt x="20514" y="24296"/>
                    <a:pt x="12451" y="15794"/>
                  </a:cubicBezTo>
                  <a:cubicBezTo>
                    <a:pt x="4607" y="7074"/>
                    <a:pt x="-1931" y="-992"/>
                    <a:pt x="-1931" y="-2300"/>
                  </a:cubicBezTo>
                  <a:cubicBezTo>
                    <a:pt x="-1931" y="-3826"/>
                    <a:pt x="5260" y="-4699"/>
                    <a:pt x="18771" y="-4699"/>
                  </a:cubicBezTo>
                  <a:cubicBezTo>
                    <a:pt x="31191" y="-4699"/>
                    <a:pt x="39472" y="-3826"/>
                    <a:pt x="39472" y="-2518"/>
                  </a:cubicBezTo>
                  <a:cubicBezTo>
                    <a:pt x="39472" y="-1210"/>
                    <a:pt x="33371" y="-338"/>
                    <a:pt x="25526" y="-338"/>
                  </a:cubicBezTo>
                  <a:cubicBezTo>
                    <a:pt x="17681" y="-338"/>
                    <a:pt x="10926" y="534"/>
                    <a:pt x="10272" y="1406"/>
                  </a:cubicBezTo>
                  <a:cubicBezTo>
                    <a:pt x="9619" y="2496"/>
                    <a:pt x="14848" y="9472"/>
                    <a:pt x="21821" y="17320"/>
                  </a:cubicBezTo>
                  <a:cubicBezTo>
                    <a:pt x="28794" y="24951"/>
                    <a:pt x="35550" y="33453"/>
                    <a:pt x="36857" y="36069"/>
                  </a:cubicBezTo>
                  <a:cubicBezTo>
                    <a:pt x="40997" y="43699"/>
                    <a:pt x="39908" y="51765"/>
                    <a:pt x="34024" y="57434"/>
                  </a:cubicBezTo>
                  <a:cubicBezTo>
                    <a:pt x="29884" y="61794"/>
                    <a:pt x="26615" y="62884"/>
                    <a:pt x="17027" y="62884"/>
                  </a:cubicBezTo>
                  <a:cubicBezTo>
                    <a:pt x="10490" y="62884"/>
                    <a:pt x="3517" y="61576"/>
                    <a:pt x="1120" y="59832"/>
                  </a:cubicBezTo>
                  <a:close/>
                </a:path>
              </a:pathLst>
            </a:custGeom>
            <a:grpFill/>
            <a:ln w="218" cap="flat">
              <a:noFill/>
              <a:prstDash val="solid"/>
              <a:miter/>
            </a:ln>
          </p:spPr>
          <p:txBody>
            <a:bodyPr rtlCol="0" anchor="ctr"/>
            <a:lstStyle/>
            <a:p>
              <a:endParaRPr lang="en-GB" dirty="0"/>
            </a:p>
          </p:txBody>
        </p:sp>
        <p:sp>
          <p:nvSpPr>
            <p:cNvPr id="13" name="Freihandform: Form 12">
              <a:extLst>
                <a:ext uri="{FF2B5EF4-FFF2-40B4-BE49-F238E27FC236}">
                  <a16:creationId xmlns:a16="http://schemas.microsoft.com/office/drawing/2014/main" xmlns="" id="{F1863A37-63DB-4992-85BC-80B99EA87990}"/>
                </a:ext>
              </a:extLst>
            </p:cNvPr>
            <p:cNvSpPr/>
            <p:nvPr/>
          </p:nvSpPr>
          <p:spPr>
            <a:xfrm flipV="1">
              <a:off x="4364932" y="4336054"/>
              <a:ext cx="45760" cy="69762"/>
            </a:xfrm>
            <a:custGeom>
              <a:avLst/>
              <a:gdLst>
                <a:gd name="connsiteX0" fmla="*/ 8268 w 45760"/>
                <a:gd name="connsiteY0" fmla="*/ 62017 h 69762"/>
                <a:gd name="connsiteX1" fmla="*/ -2192 w 45760"/>
                <a:gd name="connsiteY1" fmla="*/ 30188 h 69762"/>
                <a:gd name="connsiteX2" fmla="*/ 20907 w 45760"/>
                <a:gd name="connsiteY2" fmla="*/ -4693 h 69762"/>
                <a:gd name="connsiteX3" fmla="*/ 43569 w 45760"/>
                <a:gd name="connsiteY3" fmla="*/ 31714 h 69762"/>
                <a:gd name="connsiteX4" fmla="*/ 20907 w 45760"/>
                <a:gd name="connsiteY4" fmla="*/ 65069 h 69762"/>
                <a:gd name="connsiteX5" fmla="*/ 8268 w 45760"/>
                <a:gd name="connsiteY5" fmla="*/ 62017 h 69762"/>
                <a:gd name="connsiteX6" fmla="*/ 30059 w 45760"/>
                <a:gd name="connsiteY6" fmla="*/ 55259 h 69762"/>
                <a:gd name="connsiteX7" fmla="*/ 30713 w 45760"/>
                <a:gd name="connsiteY7" fmla="*/ 5771 h 69762"/>
                <a:gd name="connsiteX8" fmla="*/ 10665 w 45760"/>
                <a:gd name="connsiteY8" fmla="*/ 5989 h 69762"/>
                <a:gd name="connsiteX9" fmla="*/ 5217 w 45760"/>
                <a:gd name="connsiteY9" fmla="*/ 39781 h 69762"/>
                <a:gd name="connsiteX10" fmla="*/ 30059 w 45760"/>
                <a:gd name="connsiteY10" fmla="*/ 55259 h 69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760" h="69762">
                  <a:moveTo>
                    <a:pt x="8268" y="62017"/>
                  </a:moveTo>
                  <a:cubicBezTo>
                    <a:pt x="1949" y="57439"/>
                    <a:pt x="-2192" y="44359"/>
                    <a:pt x="-2192" y="30188"/>
                  </a:cubicBezTo>
                  <a:cubicBezTo>
                    <a:pt x="-2192" y="7951"/>
                    <a:pt x="6089" y="-4693"/>
                    <a:pt x="20907" y="-4693"/>
                  </a:cubicBezTo>
                  <a:cubicBezTo>
                    <a:pt x="35289" y="-4693"/>
                    <a:pt x="43569" y="8387"/>
                    <a:pt x="43569" y="31714"/>
                  </a:cubicBezTo>
                  <a:cubicBezTo>
                    <a:pt x="43569" y="53079"/>
                    <a:pt x="35289" y="65069"/>
                    <a:pt x="20907" y="65069"/>
                  </a:cubicBezTo>
                  <a:cubicBezTo>
                    <a:pt x="15895" y="65069"/>
                    <a:pt x="10229" y="63543"/>
                    <a:pt x="8268" y="62017"/>
                  </a:cubicBezTo>
                  <a:close/>
                  <a:moveTo>
                    <a:pt x="30059" y="55259"/>
                  </a:moveTo>
                  <a:cubicBezTo>
                    <a:pt x="38339" y="44795"/>
                    <a:pt x="38557" y="15800"/>
                    <a:pt x="30713" y="5771"/>
                  </a:cubicBezTo>
                  <a:cubicBezTo>
                    <a:pt x="25701" y="-115"/>
                    <a:pt x="15459" y="-115"/>
                    <a:pt x="10665" y="5989"/>
                  </a:cubicBezTo>
                  <a:cubicBezTo>
                    <a:pt x="5871" y="11876"/>
                    <a:pt x="3474" y="27136"/>
                    <a:pt x="5217" y="39781"/>
                  </a:cubicBezTo>
                  <a:cubicBezTo>
                    <a:pt x="8050" y="58529"/>
                    <a:pt x="21125" y="66595"/>
                    <a:pt x="30059" y="55259"/>
                  </a:cubicBezTo>
                  <a:close/>
                </a:path>
              </a:pathLst>
            </a:custGeom>
            <a:grpFill/>
            <a:ln w="218" cap="flat">
              <a:noFill/>
              <a:prstDash val="solid"/>
              <a:miter/>
            </a:ln>
          </p:spPr>
          <p:txBody>
            <a:bodyPr rtlCol="0" anchor="ctr"/>
            <a:lstStyle/>
            <a:p>
              <a:endParaRPr lang="en-GB" dirty="0"/>
            </a:p>
          </p:txBody>
        </p:sp>
        <p:sp>
          <p:nvSpPr>
            <p:cNvPr id="14" name="Freihandform: Form 13">
              <a:extLst>
                <a:ext uri="{FF2B5EF4-FFF2-40B4-BE49-F238E27FC236}">
                  <a16:creationId xmlns:a16="http://schemas.microsoft.com/office/drawing/2014/main" xmlns="" id="{11F5EE1E-D74A-4771-89EC-B813EFE2BF65}"/>
                </a:ext>
              </a:extLst>
            </p:cNvPr>
            <p:cNvSpPr/>
            <p:nvPr/>
          </p:nvSpPr>
          <p:spPr>
            <a:xfrm flipV="1">
              <a:off x="4425918" y="4336054"/>
              <a:ext cx="45788" cy="69762"/>
            </a:xfrm>
            <a:custGeom>
              <a:avLst/>
              <a:gdLst>
                <a:gd name="connsiteX0" fmla="*/ 6736 w 45788"/>
                <a:gd name="connsiteY0" fmla="*/ 60055 h 69762"/>
                <a:gd name="connsiteX1" fmla="*/ 1724 w 45788"/>
                <a:gd name="connsiteY1" fmla="*/ 9041 h 69762"/>
                <a:gd name="connsiteX2" fmla="*/ 20900 w 45788"/>
                <a:gd name="connsiteY2" fmla="*/ -4693 h 69762"/>
                <a:gd name="connsiteX3" fmla="*/ 43345 w 45788"/>
                <a:gd name="connsiteY3" fmla="*/ 29970 h 69762"/>
                <a:gd name="connsiteX4" fmla="*/ 20900 w 45788"/>
                <a:gd name="connsiteY4" fmla="*/ 65069 h 69762"/>
                <a:gd name="connsiteX5" fmla="*/ 6736 w 45788"/>
                <a:gd name="connsiteY5" fmla="*/ 60055 h 69762"/>
                <a:gd name="connsiteX6" fmla="*/ 28091 w 45788"/>
                <a:gd name="connsiteY6" fmla="*/ 58529 h 69762"/>
                <a:gd name="connsiteX7" fmla="*/ 33539 w 45788"/>
                <a:gd name="connsiteY7" fmla="*/ 11658 h 69762"/>
                <a:gd name="connsiteX8" fmla="*/ 16542 w 45788"/>
                <a:gd name="connsiteY8" fmla="*/ 1411 h 69762"/>
                <a:gd name="connsiteX9" fmla="*/ 6083 w 45788"/>
                <a:gd name="connsiteY9" fmla="*/ 41525 h 69762"/>
                <a:gd name="connsiteX10" fmla="*/ 28091 w 45788"/>
                <a:gd name="connsiteY10" fmla="*/ 58529 h 69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788" h="69762">
                  <a:moveTo>
                    <a:pt x="6736" y="60055"/>
                  </a:moveTo>
                  <a:cubicBezTo>
                    <a:pt x="-3070" y="49591"/>
                    <a:pt x="-5467" y="24956"/>
                    <a:pt x="1724" y="9041"/>
                  </a:cubicBezTo>
                  <a:cubicBezTo>
                    <a:pt x="6300" y="-987"/>
                    <a:pt x="11530" y="-4693"/>
                    <a:pt x="20900" y="-4693"/>
                  </a:cubicBezTo>
                  <a:cubicBezTo>
                    <a:pt x="35282" y="-4693"/>
                    <a:pt x="43345" y="7733"/>
                    <a:pt x="43345" y="29970"/>
                  </a:cubicBezTo>
                  <a:cubicBezTo>
                    <a:pt x="43345" y="55041"/>
                    <a:pt x="37025" y="65069"/>
                    <a:pt x="20900" y="65069"/>
                  </a:cubicBezTo>
                  <a:cubicBezTo>
                    <a:pt x="13709" y="65069"/>
                    <a:pt x="10223" y="63761"/>
                    <a:pt x="6736" y="60055"/>
                  </a:cubicBezTo>
                  <a:close/>
                  <a:moveTo>
                    <a:pt x="28091" y="58529"/>
                  </a:moveTo>
                  <a:cubicBezTo>
                    <a:pt x="36372" y="54169"/>
                    <a:pt x="39640" y="26046"/>
                    <a:pt x="33539" y="11658"/>
                  </a:cubicBezTo>
                  <a:cubicBezTo>
                    <a:pt x="30270" y="3591"/>
                    <a:pt x="23515" y="-333"/>
                    <a:pt x="16542" y="1411"/>
                  </a:cubicBezTo>
                  <a:cubicBezTo>
                    <a:pt x="8262" y="3591"/>
                    <a:pt x="3250" y="23212"/>
                    <a:pt x="6083" y="41525"/>
                  </a:cubicBezTo>
                  <a:cubicBezTo>
                    <a:pt x="8697" y="57875"/>
                    <a:pt x="17196" y="64415"/>
                    <a:pt x="28091" y="58529"/>
                  </a:cubicBezTo>
                  <a:close/>
                </a:path>
              </a:pathLst>
            </a:custGeom>
            <a:grpFill/>
            <a:ln w="218" cap="flat">
              <a:noFill/>
              <a:prstDash val="solid"/>
              <a:miter/>
            </a:ln>
          </p:spPr>
          <p:txBody>
            <a:bodyPr rtlCol="0" anchor="ctr"/>
            <a:lstStyle/>
            <a:p>
              <a:endParaRPr lang="en-GB" dirty="0"/>
            </a:p>
          </p:txBody>
        </p:sp>
        <p:sp>
          <p:nvSpPr>
            <p:cNvPr id="15" name="Freihandform: Form 14">
              <a:extLst>
                <a:ext uri="{FF2B5EF4-FFF2-40B4-BE49-F238E27FC236}">
                  <a16:creationId xmlns:a16="http://schemas.microsoft.com/office/drawing/2014/main" xmlns="" id="{C634BB76-9B6D-4E7F-887C-B8F05614AE1B}"/>
                </a:ext>
              </a:extLst>
            </p:cNvPr>
            <p:cNvSpPr/>
            <p:nvPr/>
          </p:nvSpPr>
          <p:spPr>
            <a:xfrm flipV="1">
              <a:off x="4421821" y="4624035"/>
              <a:ext cx="47581" cy="73088"/>
            </a:xfrm>
            <a:custGeom>
              <a:avLst/>
              <a:gdLst>
                <a:gd name="connsiteX0" fmla="*/ 8450 w 47581"/>
                <a:gd name="connsiteY0" fmla="*/ 64619 h 73088"/>
                <a:gd name="connsiteX1" fmla="*/ -2228 w 47581"/>
                <a:gd name="connsiteY1" fmla="*/ 28429 h 73088"/>
                <a:gd name="connsiteX2" fmla="*/ 28279 w 47581"/>
                <a:gd name="connsiteY2" fmla="*/ -2092 h 73088"/>
                <a:gd name="connsiteX3" fmla="*/ 41136 w 47581"/>
                <a:gd name="connsiteY3" fmla="*/ 9681 h 73088"/>
                <a:gd name="connsiteX4" fmla="*/ 41790 w 47581"/>
                <a:gd name="connsiteY4" fmla="*/ 54808 h 73088"/>
                <a:gd name="connsiteX5" fmla="*/ 8450 w 47581"/>
                <a:gd name="connsiteY5" fmla="*/ 64619 h 73088"/>
                <a:gd name="connsiteX6" fmla="*/ 31548 w 47581"/>
                <a:gd name="connsiteY6" fmla="*/ 55462 h 73088"/>
                <a:gd name="connsiteX7" fmla="*/ 35470 w 47581"/>
                <a:gd name="connsiteY7" fmla="*/ 33007 h 73088"/>
                <a:gd name="connsiteX8" fmla="*/ 21306 w 47581"/>
                <a:gd name="connsiteY8" fmla="*/ 4667 h 73088"/>
                <a:gd name="connsiteX9" fmla="*/ 7142 w 47581"/>
                <a:gd name="connsiteY9" fmla="*/ 33007 h 73088"/>
                <a:gd name="connsiteX10" fmla="*/ 21306 w 47581"/>
                <a:gd name="connsiteY10" fmla="*/ 61348 h 73088"/>
                <a:gd name="connsiteX11" fmla="*/ 31548 w 47581"/>
                <a:gd name="connsiteY11" fmla="*/ 55462 h 7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581" h="73088">
                  <a:moveTo>
                    <a:pt x="8450" y="64619"/>
                  </a:moveTo>
                  <a:cubicBezTo>
                    <a:pt x="-49" y="57206"/>
                    <a:pt x="-3317" y="46742"/>
                    <a:pt x="-2228" y="28429"/>
                  </a:cubicBezTo>
                  <a:cubicBezTo>
                    <a:pt x="-920" y="4667"/>
                    <a:pt x="11065" y="-7106"/>
                    <a:pt x="28279" y="-2092"/>
                  </a:cubicBezTo>
                  <a:cubicBezTo>
                    <a:pt x="35252" y="88"/>
                    <a:pt x="37649" y="2268"/>
                    <a:pt x="41136" y="9681"/>
                  </a:cubicBezTo>
                  <a:cubicBezTo>
                    <a:pt x="46148" y="21235"/>
                    <a:pt x="46584" y="42818"/>
                    <a:pt x="41790" y="54808"/>
                  </a:cubicBezTo>
                  <a:cubicBezTo>
                    <a:pt x="35688" y="70069"/>
                    <a:pt x="20217" y="74429"/>
                    <a:pt x="8450" y="64619"/>
                  </a:cubicBezTo>
                  <a:close/>
                  <a:moveTo>
                    <a:pt x="31548" y="55462"/>
                  </a:moveTo>
                  <a:cubicBezTo>
                    <a:pt x="34381" y="51102"/>
                    <a:pt x="35470" y="45216"/>
                    <a:pt x="35470" y="33007"/>
                  </a:cubicBezTo>
                  <a:cubicBezTo>
                    <a:pt x="35470" y="12951"/>
                    <a:pt x="31330" y="4667"/>
                    <a:pt x="21306" y="4667"/>
                  </a:cubicBezTo>
                  <a:cubicBezTo>
                    <a:pt x="11283" y="4667"/>
                    <a:pt x="7142" y="12733"/>
                    <a:pt x="7142" y="33007"/>
                  </a:cubicBezTo>
                  <a:cubicBezTo>
                    <a:pt x="7142" y="53282"/>
                    <a:pt x="11283" y="61348"/>
                    <a:pt x="21306" y="61348"/>
                  </a:cubicBezTo>
                  <a:cubicBezTo>
                    <a:pt x="25882" y="61348"/>
                    <a:pt x="28933" y="59604"/>
                    <a:pt x="31548" y="55462"/>
                  </a:cubicBezTo>
                  <a:close/>
                </a:path>
              </a:pathLst>
            </a:custGeom>
            <a:grpFill/>
            <a:ln w="218" cap="flat">
              <a:noFill/>
              <a:prstDash val="solid"/>
              <a:miter/>
            </a:ln>
          </p:spPr>
          <p:txBody>
            <a:bodyPr rtlCol="0" anchor="ctr"/>
            <a:lstStyle/>
            <a:p>
              <a:endParaRPr lang="en-GB" dirty="0"/>
            </a:p>
          </p:txBody>
        </p:sp>
        <p:sp>
          <p:nvSpPr>
            <p:cNvPr id="17" name="Freihandform: Form 16">
              <a:extLst>
                <a:ext uri="{FF2B5EF4-FFF2-40B4-BE49-F238E27FC236}">
                  <a16:creationId xmlns:a16="http://schemas.microsoft.com/office/drawing/2014/main" xmlns="" id="{9A1E547D-9102-40D8-8CFF-78010CD3B6D1}"/>
                </a:ext>
              </a:extLst>
            </p:cNvPr>
            <p:cNvSpPr/>
            <p:nvPr/>
          </p:nvSpPr>
          <p:spPr>
            <a:xfrm flipV="1">
              <a:off x="4302310" y="4626004"/>
              <a:ext cx="40499" cy="69762"/>
            </a:xfrm>
            <a:custGeom>
              <a:avLst/>
              <a:gdLst>
                <a:gd name="connsiteX0" fmla="*/ 2300 w 40499"/>
                <a:gd name="connsiteY0" fmla="*/ 64134 h 69762"/>
                <a:gd name="connsiteX1" fmla="*/ 6440 w 40499"/>
                <a:gd name="connsiteY1" fmla="*/ 56722 h 69762"/>
                <a:gd name="connsiteX2" fmla="*/ 13849 w 40499"/>
                <a:gd name="connsiteY2" fmla="*/ 56722 h 69762"/>
                <a:gd name="connsiteX3" fmla="*/ 14503 w 40499"/>
                <a:gd name="connsiteY3" fmla="*/ 31215 h 69762"/>
                <a:gd name="connsiteX4" fmla="*/ 15157 w 40499"/>
                <a:gd name="connsiteY4" fmla="*/ 5708 h 69762"/>
                <a:gd name="connsiteX5" fmla="*/ 7966 w 40499"/>
                <a:gd name="connsiteY5" fmla="*/ 5054 h 69762"/>
                <a:gd name="connsiteX6" fmla="*/ 121 w 40499"/>
                <a:gd name="connsiteY6" fmla="*/ 694 h 69762"/>
                <a:gd name="connsiteX7" fmla="*/ 19297 w 40499"/>
                <a:gd name="connsiteY7" fmla="*/ -3230 h 69762"/>
                <a:gd name="connsiteX8" fmla="*/ 38473 w 40499"/>
                <a:gd name="connsiteY8" fmla="*/ 476 h 69762"/>
                <a:gd name="connsiteX9" fmla="*/ 31282 w 40499"/>
                <a:gd name="connsiteY9" fmla="*/ 5490 h 69762"/>
                <a:gd name="connsiteX10" fmla="*/ 24745 w 40499"/>
                <a:gd name="connsiteY10" fmla="*/ 6580 h 69762"/>
                <a:gd name="connsiteX11" fmla="*/ 24091 w 40499"/>
                <a:gd name="connsiteY11" fmla="*/ 36665 h 69762"/>
                <a:gd name="connsiteX12" fmla="*/ 23437 w 40499"/>
                <a:gd name="connsiteY12" fmla="*/ 66532 h 69762"/>
                <a:gd name="connsiteX13" fmla="*/ 15375 w 40499"/>
                <a:gd name="connsiteY13" fmla="*/ 66314 h 69762"/>
                <a:gd name="connsiteX14" fmla="*/ 2300 w 40499"/>
                <a:gd name="connsiteY14" fmla="*/ 64134 h 69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499" h="69762">
                  <a:moveTo>
                    <a:pt x="2300" y="64134"/>
                  </a:moveTo>
                  <a:cubicBezTo>
                    <a:pt x="-4891" y="61300"/>
                    <a:pt x="-2494" y="56722"/>
                    <a:pt x="6440" y="56722"/>
                  </a:cubicBezTo>
                  <a:lnTo>
                    <a:pt x="13849" y="56722"/>
                  </a:lnTo>
                  <a:lnTo>
                    <a:pt x="14503" y="31215"/>
                  </a:lnTo>
                  <a:lnTo>
                    <a:pt x="15157" y="5708"/>
                  </a:lnTo>
                  <a:lnTo>
                    <a:pt x="7966" y="5054"/>
                  </a:lnTo>
                  <a:cubicBezTo>
                    <a:pt x="3172" y="4618"/>
                    <a:pt x="557" y="3092"/>
                    <a:pt x="121" y="694"/>
                  </a:cubicBezTo>
                  <a:cubicBezTo>
                    <a:pt x="-533" y="-2794"/>
                    <a:pt x="1429" y="-3230"/>
                    <a:pt x="19297" y="-3230"/>
                  </a:cubicBezTo>
                  <a:cubicBezTo>
                    <a:pt x="37165" y="-3230"/>
                    <a:pt x="39127" y="-2794"/>
                    <a:pt x="38473" y="476"/>
                  </a:cubicBezTo>
                  <a:cubicBezTo>
                    <a:pt x="38037" y="2874"/>
                    <a:pt x="35204" y="4836"/>
                    <a:pt x="31282" y="5490"/>
                  </a:cubicBezTo>
                  <a:lnTo>
                    <a:pt x="24745" y="6580"/>
                  </a:lnTo>
                  <a:lnTo>
                    <a:pt x="24091" y="36665"/>
                  </a:lnTo>
                  <a:lnTo>
                    <a:pt x="23437" y="66532"/>
                  </a:lnTo>
                  <a:lnTo>
                    <a:pt x="15375" y="66314"/>
                  </a:lnTo>
                  <a:cubicBezTo>
                    <a:pt x="11016" y="66314"/>
                    <a:pt x="4915" y="65442"/>
                    <a:pt x="2300" y="64134"/>
                  </a:cubicBezTo>
                  <a:close/>
                </a:path>
              </a:pathLst>
            </a:custGeom>
            <a:grpFill/>
            <a:ln w="218" cap="flat">
              <a:noFill/>
              <a:prstDash val="solid"/>
              <a:miter/>
            </a:ln>
          </p:spPr>
          <p:txBody>
            <a:bodyPr rtlCol="0" anchor="ctr"/>
            <a:lstStyle/>
            <a:p>
              <a:endParaRPr lang="en-GB" dirty="0"/>
            </a:p>
          </p:txBody>
        </p:sp>
        <p:sp>
          <p:nvSpPr>
            <p:cNvPr id="18" name="Freihandform: Form 17">
              <a:extLst>
                <a:ext uri="{FF2B5EF4-FFF2-40B4-BE49-F238E27FC236}">
                  <a16:creationId xmlns:a16="http://schemas.microsoft.com/office/drawing/2014/main" xmlns="" id="{096B5FB1-7278-4243-B6A0-C1F446309E30}"/>
                </a:ext>
              </a:extLst>
            </p:cNvPr>
            <p:cNvSpPr/>
            <p:nvPr/>
          </p:nvSpPr>
          <p:spPr>
            <a:xfrm flipV="1">
              <a:off x="4360872" y="4626294"/>
              <a:ext cx="45462" cy="71135"/>
            </a:xfrm>
            <a:custGeom>
              <a:avLst/>
              <a:gdLst>
                <a:gd name="connsiteX0" fmla="*/ 1014 w 45462"/>
                <a:gd name="connsiteY0" fmla="*/ 64931 h 71135"/>
                <a:gd name="connsiteX1" fmla="*/ 1450 w 45462"/>
                <a:gd name="connsiteY1" fmla="*/ 38334 h 71135"/>
                <a:gd name="connsiteX2" fmla="*/ 13653 w 45462"/>
                <a:gd name="connsiteY2" fmla="*/ 35936 h 71135"/>
                <a:gd name="connsiteX3" fmla="*/ 33047 w 45462"/>
                <a:gd name="connsiteY3" fmla="*/ 20021 h 71135"/>
                <a:gd name="connsiteX4" fmla="*/ 9949 w 45462"/>
                <a:gd name="connsiteY4" fmla="*/ 5851 h 71135"/>
                <a:gd name="connsiteX5" fmla="*/ -2036 w 45462"/>
                <a:gd name="connsiteY5" fmla="*/ 3453 h 71135"/>
                <a:gd name="connsiteX6" fmla="*/ 6898 w 45462"/>
                <a:gd name="connsiteY6" fmla="*/ -2215 h 71135"/>
                <a:gd name="connsiteX7" fmla="*/ 43288 w 45462"/>
                <a:gd name="connsiteY7" fmla="*/ 19149 h 71135"/>
                <a:gd name="connsiteX8" fmla="*/ 18011 w 45462"/>
                <a:gd name="connsiteY8" fmla="*/ 44220 h 71135"/>
                <a:gd name="connsiteX9" fmla="*/ 11038 w 45462"/>
                <a:gd name="connsiteY9" fmla="*/ 52505 h 71135"/>
                <a:gd name="connsiteX10" fmla="*/ 11692 w 45462"/>
                <a:gd name="connsiteY10" fmla="*/ 60571 h 71135"/>
                <a:gd name="connsiteX11" fmla="*/ 24331 w 45462"/>
                <a:gd name="connsiteY11" fmla="*/ 61661 h 71135"/>
                <a:gd name="connsiteX12" fmla="*/ 20190 w 45462"/>
                <a:gd name="connsiteY12" fmla="*/ 67765 h 71135"/>
                <a:gd name="connsiteX13" fmla="*/ 1014 w 45462"/>
                <a:gd name="connsiteY13" fmla="*/ 64931 h 71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462" h="71135">
                  <a:moveTo>
                    <a:pt x="1014" y="64931"/>
                  </a:moveTo>
                  <a:cubicBezTo>
                    <a:pt x="-947" y="59917"/>
                    <a:pt x="-511" y="41386"/>
                    <a:pt x="1450" y="38334"/>
                  </a:cubicBezTo>
                  <a:cubicBezTo>
                    <a:pt x="2540" y="36808"/>
                    <a:pt x="7552" y="35718"/>
                    <a:pt x="13653" y="35936"/>
                  </a:cubicBezTo>
                  <a:cubicBezTo>
                    <a:pt x="26292" y="36154"/>
                    <a:pt x="33047" y="30704"/>
                    <a:pt x="33047" y="20021"/>
                  </a:cubicBezTo>
                  <a:cubicBezTo>
                    <a:pt x="33047" y="8685"/>
                    <a:pt x="25638" y="4107"/>
                    <a:pt x="9949" y="5851"/>
                  </a:cubicBezTo>
                  <a:cubicBezTo>
                    <a:pt x="-1383" y="6941"/>
                    <a:pt x="-2690" y="6723"/>
                    <a:pt x="-2036" y="3453"/>
                  </a:cubicBezTo>
                  <a:cubicBezTo>
                    <a:pt x="-1600" y="1055"/>
                    <a:pt x="1886" y="-1125"/>
                    <a:pt x="6898" y="-2215"/>
                  </a:cubicBezTo>
                  <a:cubicBezTo>
                    <a:pt x="25638" y="-6575"/>
                    <a:pt x="43288" y="3671"/>
                    <a:pt x="43288" y="19149"/>
                  </a:cubicBezTo>
                  <a:cubicBezTo>
                    <a:pt x="43288" y="35064"/>
                    <a:pt x="33918" y="44220"/>
                    <a:pt x="18011" y="44220"/>
                  </a:cubicBezTo>
                  <a:cubicBezTo>
                    <a:pt x="10384" y="44220"/>
                    <a:pt x="10384" y="44438"/>
                    <a:pt x="11038" y="52505"/>
                  </a:cubicBezTo>
                  <a:lnTo>
                    <a:pt x="11692" y="60571"/>
                  </a:lnTo>
                  <a:lnTo>
                    <a:pt x="24331" y="61661"/>
                  </a:lnTo>
                  <a:cubicBezTo>
                    <a:pt x="43071" y="63405"/>
                    <a:pt x="40674" y="67111"/>
                    <a:pt x="20190" y="67765"/>
                  </a:cubicBezTo>
                  <a:cubicBezTo>
                    <a:pt x="5373" y="68201"/>
                    <a:pt x="2104" y="67765"/>
                    <a:pt x="1014" y="64931"/>
                  </a:cubicBezTo>
                  <a:close/>
                </a:path>
              </a:pathLst>
            </a:custGeom>
            <a:grpFill/>
            <a:ln w="218" cap="flat">
              <a:noFill/>
              <a:prstDash val="solid"/>
              <a:miter/>
            </a:ln>
          </p:spPr>
          <p:txBody>
            <a:bodyPr rtlCol="0" anchor="ctr"/>
            <a:lstStyle/>
            <a:p>
              <a:endParaRPr lang="en-GB" dirty="0"/>
            </a:p>
          </p:txBody>
        </p:sp>
        <p:sp>
          <p:nvSpPr>
            <p:cNvPr id="19" name="Freihandform: Form 18">
              <a:extLst>
                <a:ext uri="{FF2B5EF4-FFF2-40B4-BE49-F238E27FC236}">
                  <a16:creationId xmlns:a16="http://schemas.microsoft.com/office/drawing/2014/main" xmlns="" id="{DCE9CB12-8DB1-475D-9596-8B39BD26D27C}"/>
                </a:ext>
              </a:extLst>
            </p:cNvPr>
            <p:cNvSpPr/>
            <p:nvPr/>
          </p:nvSpPr>
          <p:spPr>
            <a:xfrm flipV="1">
              <a:off x="4090368" y="5203723"/>
              <a:ext cx="4358" cy="4360"/>
            </a:xfrm>
            <a:custGeom>
              <a:avLst/>
              <a:gdLst>
                <a:gd name="connsiteX0" fmla="*/ -972 w 4358"/>
                <a:gd name="connsiteY0" fmla="*/ 1700 h 4360"/>
                <a:gd name="connsiteX1" fmla="*/ 1207 w 4358"/>
                <a:gd name="connsiteY1" fmla="*/ -480 h 4360"/>
                <a:gd name="connsiteX2" fmla="*/ 3386 w 4358"/>
                <a:gd name="connsiteY2" fmla="*/ 1700 h 4360"/>
                <a:gd name="connsiteX3" fmla="*/ 1207 w 4358"/>
                <a:gd name="connsiteY3" fmla="*/ 3880 h 4360"/>
                <a:gd name="connsiteX4" fmla="*/ -972 w 4358"/>
                <a:gd name="connsiteY4" fmla="*/ 1700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972" y="1700"/>
                  </a:moveTo>
                  <a:cubicBezTo>
                    <a:pt x="-972" y="610"/>
                    <a:pt x="118" y="-480"/>
                    <a:pt x="1207" y="-480"/>
                  </a:cubicBezTo>
                  <a:cubicBezTo>
                    <a:pt x="2515" y="-480"/>
                    <a:pt x="3386" y="610"/>
                    <a:pt x="3386" y="1700"/>
                  </a:cubicBezTo>
                  <a:cubicBezTo>
                    <a:pt x="3386" y="3008"/>
                    <a:pt x="2515" y="3880"/>
                    <a:pt x="1207" y="3880"/>
                  </a:cubicBezTo>
                  <a:cubicBezTo>
                    <a:pt x="118" y="3880"/>
                    <a:pt x="-972" y="3008"/>
                    <a:pt x="-972" y="1700"/>
                  </a:cubicBezTo>
                  <a:close/>
                </a:path>
              </a:pathLst>
            </a:custGeom>
            <a:grpFill/>
            <a:ln w="218" cap="flat">
              <a:noFill/>
              <a:prstDash val="solid"/>
              <a:miter/>
            </a:ln>
          </p:spPr>
          <p:txBody>
            <a:bodyPr rtlCol="0" anchor="ctr"/>
            <a:lstStyle/>
            <a:p>
              <a:endParaRPr lang="en-GB" dirty="0"/>
            </a:p>
          </p:txBody>
        </p:sp>
        <p:sp>
          <p:nvSpPr>
            <p:cNvPr id="20" name="Freihandform: Form 19">
              <a:extLst>
                <a:ext uri="{FF2B5EF4-FFF2-40B4-BE49-F238E27FC236}">
                  <a16:creationId xmlns:a16="http://schemas.microsoft.com/office/drawing/2014/main" xmlns="" id="{CBCFBAB3-C2F6-4104-BC24-5C6504BC289F}"/>
                </a:ext>
              </a:extLst>
            </p:cNvPr>
            <p:cNvSpPr/>
            <p:nvPr/>
          </p:nvSpPr>
          <p:spPr>
            <a:xfrm flipV="1">
              <a:off x="3991343" y="5206023"/>
              <a:ext cx="16036" cy="22807"/>
            </a:xfrm>
            <a:custGeom>
              <a:avLst/>
              <a:gdLst>
                <a:gd name="connsiteX0" fmla="*/ 2559 w 16036"/>
                <a:gd name="connsiteY0" fmla="*/ 16837 h 22807"/>
                <a:gd name="connsiteX1" fmla="*/ 380 w 16036"/>
                <a:gd name="connsiteY1" fmla="*/ 7245 h 22807"/>
                <a:gd name="connsiteX2" fmla="*/ 1470 w 16036"/>
                <a:gd name="connsiteY2" fmla="*/ 705 h 22807"/>
                <a:gd name="connsiteX3" fmla="*/ 7135 w 16036"/>
                <a:gd name="connsiteY3" fmla="*/ 3321 h 22807"/>
                <a:gd name="connsiteX4" fmla="*/ 13237 w 16036"/>
                <a:gd name="connsiteY4" fmla="*/ 10951 h 22807"/>
                <a:gd name="connsiteX5" fmla="*/ 12583 w 16036"/>
                <a:gd name="connsiteY5" fmla="*/ 17928 h 22807"/>
                <a:gd name="connsiteX6" fmla="*/ 2559 w 16036"/>
                <a:gd name="connsiteY6" fmla="*/ 16837 h 2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36" h="22807">
                  <a:moveTo>
                    <a:pt x="2559" y="16837"/>
                  </a:moveTo>
                  <a:cubicBezTo>
                    <a:pt x="2559" y="13785"/>
                    <a:pt x="1688" y="9425"/>
                    <a:pt x="380" y="7245"/>
                  </a:cubicBezTo>
                  <a:cubicBezTo>
                    <a:pt x="-1145" y="4411"/>
                    <a:pt x="-927" y="2667"/>
                    <a:pt x="1470" y="705"/>
                  </a:cubicBezTo>
                  <a:cubicBezTo>
                    <a:pt x="3867" y="-1257"/>
                    <a:pt x="4956" y="-821"/>
                    <a:pt x="7135" y="3321"/>
                  </a:cubicBezTo>
                  <a:cubicBezTo>
                    <a:pt x="8661" y="6155"/>
                    <a:pt x="11275" y="9425"/>
                    <a:pt x="13237" y="10951"/>
                  </a:cubicBezTo>
                  <a:cubicBezTo>
                    <a:pt x="16287" y="13131"/>
                    <a:pt x="16287" y="13785"/>
                    <a:pt x="12583" y="17928"/>
                  </a:cubicBezTo>
                  <a:cubicBezTo>
                    <a:pt x="6917" y="24250"/>
                    <a:pt x="2559" y="23814"/>
                    <a:pt x="2559" y="16837"/>
                  </a:cubicBezTo>
                  <a:close/>
                </a:path>
              </a:pathLst>
            </a:custGeom>
            <a:grpFill/>
            <a:ln w="218" cap="flat">
              <a:noFill/>
              <a:prstDash val="solid"/>
              <a:miter/>
            </a:ln>
          </p:spPr>
          <p:txBody>
            <a:bodyPr rtlCol="0" anchor="ctr"/>
            <a:lstStyle/>
            <a:p>
              <a:endParaRPr lang="en-GB" dirty="0"/>
            </a:p>
          </p:txBody>
        </p:sp>
        <p:sp>
          <p:nvSpPr>
            <p:cNvPr id="21" name="Freihandform: Form 20">
              <a:extLst>
                <a:ext uri="{FF2B5EF4-FFF2-40B4-BE49-F238E27FC236}">
                  <a16:creationId xmlns:a16="http://schemas.microsoft.com/office/drawing/2014/main" xmlns="" id="{F3116B5D-13FC-48EC-907B-0CF6E904FCDB}"/>
                </a:ext>
              </a:extLst>
            </p:cNvPr>
            <p:cNvSpPr/>
            <p:nvPr/>
          </p:nvSpPr>
          <p:spPr>
            <a:xfrm flipV="1">
              <a:off x="4021201" y="5214686"/>
              <a:ext cx="27686" cy="46919"/>
            </a:xfrm>
            <a:custGeom>
              <a:avLst/>
              <a:gdLst>
                <a:gd name="connsiteX0" fmla="*/ 15699 w 27686"/>
                <a:gd name="connsiteY0" fmla="*/ 40779 h 46919"/>
                <a:gd name="connsiteX1" fmla="*/ 9380 w 27686"/>
                <a:gd name="connsiteY1" fmla="*/ 34020 h 46919"/>
                <a:gd name="connsiteX2" fmla="*/ 881 w 27686"/>
                <a:gd name="connsiteY2" fmla="*/ 27916 h 46919"/>
                <a:gd name="connsiteX3" fmla="*/ 5893 w 27686"/>
                <a:gd name="connsiteY3" fmla="*/ 15926 h 46919"/>
                <a:gd name="connsiteX4" fmla="*/ 13956 w 27686"/>
                <a:gd name="connsiteY4" fmla="*/ 5243 h 46919"/>
                <a:gd name="connsiteX5" fmla="*/ 26159 w 27686"/>
                <a:gd name="connsiteY5" fmla="*/ 11348 h 46919"/>
                <a:gd name="connsiteX6" fmla="*/ 21365 w 27686"/>
                <a:gd name="connsiteY6" fmla="*/ 17888 h 46919"/>
                <a:gd name="connsiteX7" fmla="*/ 20275 w 27686"/>
                <a:gd name="connsiteY7" fmla="*/ 29224 h 46919"/>
                <a:gd name="connsiteX8" fmla="*/ 24415 w 27686"/>
                <a:gd name="connsiteY8" fmla="*/ 44049 h 46919"/>
                <a:gd name="connsiteX9" fmla="*/ 15699 w 27686"/>
                <a:gd name="connsiteY9" fmla="*/ 40779 h 46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686" h="46919">
                  <a:moveTo>
                    <a:pt x="15699" y="40779"/>
                  </a:moveTo>
                  <a:cubicBezTo>
                    <a:pt x="15263" y="35982"/>
                    <a:pt x="13738" y="34456"/>
                    <a:pt x="9380" y="34020"/>
                  </a:cubicBezTo>
                  <a:cubicBezTo>
                    <a:pt x="5893" y="33584"/>
                    <a:pt x="2407" y="31186"/>
                    <a:pt x="881" y="27916"/>
                  </a:cubicBezTo>
                  <a:cubicBezTo>
                    <a:pt x="-1952" y="22902"/>
                    <a:pt x="-1516" y="22030"/>
                    <a:pt x="5893" y="15926"/>
                  </a:cubicBezTo>
                  <a:cubicBezTo>
                    <a:pt x="10251" y="12220"/>
                    <a:pt x="13956" y="7423"/>
                    <a:pt x="13956" y="5243"/>
                  </a:cubicBezTo>
                  <a:cubicBezTo>
                    <a:pt x="13956" y="-5003"/>
                    <a:pt x="23979" y="11"/>
                    <a:pt x="26159" y="11348"/>
                  </a:cubicBezTo>
                  <a:cubicBezTo>
                    <a:pt x="27684" y="18542"/>
                    <a:pt x="27466" y="18760"/>
                    <a:pt x="21365" y="17888"/>
                  </a:cubicBezTo>
                  <a:cubicBezTo>
                    <a:pt x="12430" y="17016"/>
                    <a:pt x="11995" y="23120"/>
                    <a:pt x="20275" y="29224"/>
                  </a:cubicBezTo>
                  <a:cubicBezTo>
                    <a:pt x="27248" y="34020"/>
                    <a:pt x="28773" y="39689"/>
                    <a:pt x="24415" y="44049"/>
                  </a:cubicBezTo>
                  <a:cubicBezTo>
                    <a:pt x="20057" y="48409"/>
                    <a:pt x="16571" y="47101"/>
                    <a:pt x="15699" y="40779"/>
                  </a:cubicBezTo>
                  <a:close/>
                </a:path>
              </a:pathLst>
            </a:custGeom>
            <a:grpFill/>
            <a:ln w="218" cap="flat">
              <a:noFill/>
              <a:prstDash val="solid"/>
              <a:miter/>
            </a:ln>
          </p:spPr>
          <p:txBody>
            <a:bodyPr rtlCol="0" anchor="ctr"/>
            <a:lstStyle/>
            <a:p>
              <a:endParaRPr lang="en-GB" dirty="0"/>
            </a:p>
          </p:txBody>
        </p:sp>
        <p:sp>
          <p:nvSpPr>
            <p:cNvPr id="23" name="Freihandform: Form 22">
              <a:extLst>
                <a:ext uri="{FF2B5EF4-FFF2-40B4-BE49-F238E27FC236}">
                  <a16:creationId xmlns:a16="http://schemas.microsoft.com/office/drawing/2014/main" xmlns="" id="{959AF4AD-4EC6-4B83-9689-FCE47FEAF106}"/>
                </a:ext>
              </a:extLst>
            </p:cNvPr>
            <p:cNvSpPr/>
            <p:nvPr/>
          </p:nvSpPr>
          <p:spPr>
            <a:xfrm flipV="1">
              <a:off x="3979236" y="5221164"/>
              <a:ext cx="8636" cy="8349"/>
            </a:xfrm>
            <a:custGeom>
              <a:avLst/>
              <a:gdLst>
                <a:gd name="connsiteX0" fmla="*/ -522 w 8636"/>
                <a:gd name="connsiteY0" fmla="*/ 6006 h 8349"/>
                <a:gd name="connsiteX1" fmla="*/ 7323 w 8636"/>
                <a:gd name="connsiteY1" fmla="*/ -99 h 8349"/>
                <a:gd name="connsiteX2" fmla="*/ 2747 w 8636"/>
                <a:gd name="connsiteY2" fmla="*/ 7968 h 8349"/>
                <a:gd name="connsiteX3" fmla="*/ -522 w 8636"/>
                <a:gd name="connsiteY3" fmla="*/ 6006 h 8349"/>
              </a:gdLst>
              <a:ahLst/>
              <a:cxnLst>
                <a:cxn ang="0">
                  <a:pos x="connsiteX0" y="connsiteY0"/>
                </a:cxn>
                <a:cxn ang="0">
                  <a:pos x="connsiteX1" y="connsiteY1"/>
                </a:cxn>
                <a:cxn ang="0">
                  <a:pos x="connsiteX2" y="connsiteY2"/>
                </a:cxn>
                <a:cxn ang="0">
                  <a:pos x="connsiteX3" y="connsiteY3"/>
                </a:cxn>
              </a:cxnLst>
              <a:rect l="l" t="t" r="r" b="b"/>
              <a:pathLst>
                <a:path w="8636" h="8349">
                  <a:moveTo>
                    <a:pt x="-522" y="6006"/>
                  </a:moveTo>
                  <a:cubicBezTo>
                    <a:pt x="-522" y="3389"/>
                    <a:pt x="5797" y="-1625"/>
                    <a:pt x="7323" y="-99"/>
                  </a:cubicBezTo>
                  <a:cubicBezTo>
                    <a:pt x="9720" y="2081"/>
                    <a:pt x="6233" y="7968"/>
                    <a:pt x="2747" y="7968"/>
                  </a:cubicBezTo>
                  <a:cubicBezTo>
                    <a:pt x="1004" y="7968"/>
                    <a:pt x="-522" y="7096"/>
                    <a:pt x="-522" y="6006"/>
                  </a:cubicBezTo>
                  <a:close/>
                </a:path>
              </a:pathLst>
            </a:custGeom>
            <a:grpFill/>
            <a:ln w="218" cap="flat">
              <a:noFill/>
              <a:prstDash val="solid"/>
              <a:miter/>
            </a:ln>
          </p:spPr>
          <p:txBody>
            <a:bodyPr rtlCol="0" anchor="ctr"/>
            <a:lstStyle/>
            <a:p>
              <a:endParaRPr lang="en-GB" dirty="0"/>
            </a:p>
          </p:txBody>
        </p:sp>
        <p:sp>
          <p:nvSpPr>
            <p:cNvPr id="25" name="Freihandform: Form 24">
              <a:extLst>
                <a:ext uri="{FF2B5EF4-FFF2-40B4-BE49-F238E27FC236}">
                  <a16:creationId xmlns:a16="http://schemas.microsoft.com/office/drawing/2014/main" xmlns="" id="{9D96C26E-AEA7-4899-9029-E801EAE70E38}"/>
                </a:ext>
              </a:extLst>
            </p:cNvPr>
            <p:cNvSpPr/>
            <p:nvPr/>
          </p:nvSpPr>
          <p:spPr>
            <a:xfrm flipV="1">
              <a:off x="3974877" y="5243263"/>
              <a:ext cx="10193" cy="23168"/>
            </a:xfrm>
            <a:custGeom>
              <a:avLst/>
              <a:gdLst>
                <a:gd name="connsiteX0" fmla="*/ -507 w 10193"/>
                <a:gd name="connsiteY0" fmla="*/ 15167 h 23168"/>
                <a:gd name="connsiteX1" fmla="*/ 8209 w 10193"/>
                <a:gd name="connsiteY1" fmla="*/ 778 h 23168"/>
                <a:gd name="connsiteX2" fmla="*/ 9081 w 10193"/>
                <a:gd name="connsiteY2" fmla="*/ 6010 h 23168"/>
                <a:gd name="connsiteX3" fmla="*/ 7338 w 10193"/>
                <a:gd name="connsiteY3" fmla="*/ 15385 h 23168"/>
                <a:gd name="connsiteX4" fmla="*/ 3415 w 10193"/>
                <a:gd name="connsiteY4" fmla="*/ 22797 h 23168"/>
                <a:gd name="connsiteX5" fmla="*/ -507 w 10193"/>
                <a:gd name="connsiteY5" fmla="*/ 15167 h 23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93" h="23168">
                  <a:moveTo>
                    <a:pt x="-507" y="15167"/>
                  </a:moveTo>
                  <a:cubicBezTo>
                    <a:pt x="-507" y="4920"/>
                    <a:pt x="4505" y="-3146"/>
                    <a:pt x="8209" y="778"/>
                  </a:cubicBezTo>
                  <a:cubicBezTo>
                    <a:pt x="9735" y="2086"/>
                    <a:pt x="10170" y="4484"/>
                    <a:pt x="9081" y="6010"/>
                  </a:cubicBezTo>
                  <a:cubicBezTo>
                    <a:pt x="8209" y="7536"/>
                    <a:pt x="7338" y="11897"/>
                    <a:pt x="7338" y="15385"/>
                  </a:cubicBezTo>
                  <a:cubicBezTo>
                    <a:pt x="7120" y="19963"/>
                    <a:pt x="5812" y="22361"/>
                    <a:pt x="3415" y="22797"/>
                  </a:cubicBezTo>
                  <a:cubicBezTo>
                    <a:pt x="147" y="23451"/>
                    <a:pt x="-507" y="21925"/>
                    <a:pt x="-507" y="15167"/>
                  </a:cubicBezTo>
                  <a:close/>
                </a:path>
              </a:pathLst>
            </a:custGeom>
            <a:grpFill/>
            <a:ln w="218" cap="flat">
              <a:noFill/>
              <a:prstDash val="solid"/>
              <a:miter/>
            </a:ln>
          </p:spPr>
          <p:txBody>
            <a:bodyPr rtlCol="0" anchor="ctr"/>
            <a:lstStyle/>
            <a:p>
              <a:endParaRPr lang="en-GB" dirty="0"/>
            </a:p>
          </p:txBody>
        </p:sp>
        <p:sp>
          <p:nvSpPr>
            <p:cNvPr id="26" name="Freihandform: Form 25">
              <a:extLst>
                <a:ext uri="{FF2B5EF4-FFF2-40B4-BE49-F238E27FC236}">
                  <a16:creationId xmlns:a16="http://schemas.microsoft.com/office/drawing/2014/main" xmlns="" id="{7B7F3307-A1B8-4075-A37C-3B182E8E8BDF}"/>
                </a:ext>
              </a:extLst>
            </p:cNvPr>
            <p:cNvSpPr/>
            <p:nvPr/>
          </p:nvSpPr>
          <p:spPr>
            <a:xfrm flipV="1">
              <a:off x="3974947" y="5434292"/>
              <a:ext cx="8346" cy="11044"/>
            </a:xfrm>
            <a:custGeom>
              <a:avLst/>
              <a:gdLst>
                <a:gd name="connsiteX0" fmla="*/ 3349 w 8346"/>
                <a:gd name="connsiteY0" fmla="*/ 11662 h 11044"/>
                <a:gd name="connsiteX1" fmla="*/ 1824 w 8346"/>
                <a:gd name="connsiteY1" fmla="*/ 1198 h 11044"/>
                <a:gd name="connsiteX2" fmla="*/ 7707 w 8346"/>
                <a:gd name="connsiteY2" fmla="*/ 8392 h 11044"/>
                <a:gd name="connsiteX3" fmla="*/ 3349 w 8346"/>
                <a:gd name="connsiteY3" fmla="*/ 11662 h 11044"/>
              </a:gdLst>
              <a:ahLst/>
              <a:cxnLst>
                <a:cxn ang="0">
                  <a:pos x="connsiteX0" y="connsiteY0"/>
                </a:cxn>
                <a:cxn ang="0">
                  <a:pos x="connsiteX1" y="connsiteY1"/>
                </a:cxn>
                <a:cxn ang="0">
                  <a:pos x="connsiteX2" y="connsiteY2"/>
                </a:cxn>
                <a:cxn ang="0">
                  <a:pos x="connsiteX3" y="connsiteY3"/>
                </a:cxn>
              </a:cxnLst>
              <a:rect l="l" t="t" r="r" b="b"/>
              <a:pathLst>
                <a:path w="8346" h="11044">
                  <a:moveTo>
                    <a:pt x="3349" y="11662"/>
                  </a:moveTo>
                  <a:cubicBezTo>
                    <a:pt x="-1009" y="10790"/>
                    <a:pt x="-1881" y="3596"/>
                    <a:pt x="1824" y="1198"/>
                  </a:cubicBezTo>
                  <a:cubicBezTo>
                    <a:pt x="5092" y="-764"/>
                    <a:pt x="8579" y="3378"/>
                    <a:pt x="7707" y="8392"/>
                  </a:cubicBezTo>
                  <a:cubicBezTo>
                    <a:pt x="7271" y="10790"/>
                    <a:pt x="5528" y="12098"/>
                    <a:pt x="3349" y="11662"/>
                  </a:cubicBezTo>
                  <a:close/>
                </a:path>
              </a:pathLst>
            </a:custGeom>
            <a:grpFill/>
            <a:ln w="218" cap="flat">
              <a:noFill/>
              <a:prstDash val="solid"/>
              <a:miter/>
            </a:ln>
          </p:spPr>
          <p:txBody>
            <a:bodyPr rtlCol="0" anchor="ctr"/>
            <a:lstStyle/>
            <a:p>
              <a:endParaRPr lang="en-GB" dirty="0"/>
            </a:p>
          </p:txBody>
        </p:sp>
        <p:sp>
          <p:nvSpPr>
            <p:cNvPr id="27" name="Freihandform: Form 26">
              <a:extLst>
                <a:ext uri="{FF2B5EF4-FFF2-40B4-BE49-F238E27FC236}">
                  <a16:creationId xmlns:a16="http://schemas.microsoft.com/office/drawing/2014/main" xmlns="" id="{6465FE10-F4F0-45D2-A183-04EE7900DFD0}"/>
                </a:ext>
              </a:extLst>
            </p:cNvPr>
            <p:cNvSpPr/>
            <p:nvPr/>
          </p:nvSpPr>
          <p:spPr>
            <a:xfrm flipV="1">
              <a:off x="4003205" y="5495853"/>
              <a:ext cx="6537" cy="6540"/>
            </a:xfrm>
            <a:custGeom>
              <a:avLst/>
              <a:gdLst>
                <a:gd name="connsiteX0" fmla="*/ -617 w 6537"/>
                <a:gd name="connsiteY0" fmla="*/ 4270 h 6540"/>
                <a:gd name="connsiteX1" fmla="*/ 2652 w 6537"/>
                <a:gd name="connsiteY1" fmla="*/ 1000 h 6540"/>
                <a:gd name="connsiteX2" fmla="*/ 5921 w 6537"/>
                <a:gd name="connsiteY2" fmla="*/ 4270 h 6540"/>
                <a:gd name="connsiteX3" fmla="*/ 2652 w 6537"/>
                <a:gd name="connsiteY3" fmla="*/ 7540 h 6540"/>
                <a:gd name="connsiteX4" fmla="*/ -617 w 6537"/>
                <a:gd name="connsiteY4" fmla="*/ 4270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7" h="6540">
                  <a:moveTo>
                    <a:pt x="-617" y="4270"/>
                  </a:moveTo>
                  <a:cubicBezTo>
                    <a:pt x="-617" y="2526"/>
                    <a:pt x="909" y="1000"/>
                    <a:pt x="2652" y="1000"/>
                  </a:cubicBezTo>
                  <a:cubicBezTo>
                    <a:pt x="4395" y="1000"/>
                    <a:pt x="5921" y="2526"/>
                    <a:pt x="5921" y="4270"/>
                  </a:cubicBezTo>
                  <a:cubicBezTo>
                    <a:pt x="5921" y="6014"/>
                    <a:pt x="4395" y="7540"/>
                    <a:pt x="2652" y="7540"/>
                  </a:cubicBezTo>
                  <a:cubicBezTo>
                    <a:pt x="909" y="7540"/>
                    <a:pt x="-617" y="6014"/>
                    <a:pt x="-617" y="4270"/>
                  </a:cubicBezTo>
                  <a:close/>
                </a:path>
              </a:pathLst>
            </a:custGeom>
            <a:grpFill/>
            <a:ln w="218" cap="flat">
              <a:noFill/>
              <a:prstDash val="solid"/>
              <a:miter/>
            </a:ln>
          </p:spPr>
          <p:txBody>
            <a:bodyPr rtlCol="0" anchor="ctr"/>
            <a:lstStyle/>
            <a:p>
              <a:endParaRPr lang="en-GB" dirty="0"/>
            </a:p>
          </p:txBody>
        </p:sp>
        <p:sp>
          <p:nvSpPr>
            <p:cNvPr id="28" name="Freihandform: Form 27">
              <a:extLst>
                <a:ext uri="{FF2B5EF4-FFF2-40B4-BE49-F238E27FC236}">
                  <a16:creationId xmlns:a16="http://schemas.microsoft.com/office/drawing/2014/main" xmlns="" id="{8955DF41-E77F-4653-8C4C-DA45DACF37AE}"/>
                </a:ext>
              </a:extLst>
            </p:cNvPr>
            <p:cNvSpPr/>
            <p:nvPr/>
          </p:nvSpPr>
          <p:spPr>
            <a:xfrm flipV="1">
              <a:off x="4007564" y="5511847"/>
              <a:ext cx="4358" cy="5074"/>
            </a:xfrm>
            <a:custGeom>
              <a:avLst/>
              <a:gdLst>
                <a:gd name="connsiteX0" fmla="*/ -630 w 4358"/>
                <a:gd name="connsiteY0" fmla="*/ 4922 h 5074"/>
                <a:gd name="connsiteX1" fmla="*/ 1549 w 4358"/>
                <a:gd name="connsiteY1" fmla="*/ 1434 h 5074"/>
                <a:gd name="connsiteX2" fmla="*/ 3728 w 4358"/>
                <a:gd name="connsiteY2" fmla="*/ 2306 h 5074"/>
                <a:gd name="connsiteX3" fmla="*/ 1549 w 4358"/>
                <a:gd name="connsiteY3" fmla="*/ 5794 h 5074"/>
                <a:gd name="connsiteX4" fmla="*/ -630 w 4358"/>
                <a:gd name="connsiteY4" fmla="*/ 4922 h 5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074">
                  <a:moveTo>
                    <a:pt x="-630" y="4922"/>
                  </a:moveTo>
                  <a:cubicBezTo>
                    <a:pt x="-630" y="3832"/>
                    <a:pt x="460" y="2088"/>
                    <a:pt x="1549" y="1434"/>
                  </a:cubicBezTo>
                  <a:cubicBezTo>
                    <a:pt x="2857" y="780"/>
                    <a:pt x="3728" y="998"/>
                    <a:pt x="3728" y="2306"/>
                  </a:cubicBezTo>
                  <a:cubicBezTo>
                    <a:pt x="3728" y="3396"/>
                    <a:pt x="2857" y="5140"/>
                    <a:pt x="1549" y="5794"/>
                  </a:cubicBezTo>
                  <a:cubicBezTo>
                    <a:pt x="460" y="6448"/>
                    <a:pt x="-630" y="6230"/>
                    <a:pt x="-630" y="4922"/>
                  </a:cubicBezTo>
                  <a:close/>
                </a:path>
              </a:pathLst>
            </a:custGeom>
            <a:grpFill/>
            <a:ln w="218" cap="flat">
              <a:noFill/>
              <a:prstDash val="solid"/>
              <a:miter/>
            </a:ln>
          </p:spPr>
          <p:txBody>
            <a:bodyPr rtlCol="0" anchor="ctr"/>
            <a:lstStyle/>
            <a:p>
              <a:endParaRPr lang="en-GB" dirty="0"/>
            </a:p>
          </p:txBody>
        </p:sp>
        <p:sp>
          <p:nvSpPr>
            <p:cNvPr id="29" name="Freihandform: Form 28">
              <a:extLst>
                <a:ext uri="{FF2B5EF4-FFF2-40B4-BE49-F238E27FC236}">
                  <a16:creationId xmlns:a16="http://schemas.microsoft.com/office/drawing/2014/main" xmlns="" id="{86EF57A5-4375-4D9D-8514-E519817415CB}"/>
                </a:ext>
              </a:extLst>
            </p:cNvPr>
            <p:cNvSpPr/>
            <p:nvPr/>
          </p:nvSpPr>
          <p:spPr>
            <a:xfrm flipV="1">
              <a:off x="5070509" y="5202712"/>
              <a:ext cx="218350" cy="101480"/>
            </a:xfrm>
            <a:custGeom>
              <a:avLst/>
              <a:gdLst>
                <a:gd name="connsiteX0" fmla="*/ 15246 w 218350"/>
                <a:gd name="connsiteY0" fmla="*/ 97830 h 101480"/>
                <a:gd name="connsiteX1" fmla="*/ 15246 w 218350"/>
                <a:gd name="connsiteY1" fmla="*/ 90200 h 101480"/>
                <a:gd name="connsiteX2" fmla="*/ 5440 w 218350"/>
                <a:gd name="connsiteY2" fmla="*/ 89764 h 101480"/>
                <a:gd name="connsiteX3" fmla="*/ -1097 w 218350"/>
                <a:gd name="connsiteY3" fmla="*/ 88456 h 101480"/>
                <a:gd name="connsiteX4" fmla="*/ -4148 w 218350"/>
                <a:gd name="connsiteY4" fmla="*/ 79300 h 101480"/>
                <a:gd name="connsiteX5" fmla="*/ 3915 w 218350"/>
                <a:gd name="connsiteY5" fmla="*/ 74940 h 101480"/>
                <a:gd name="connsiteX6" fmla="*/ 18950 w 218350"/>
                <a:gd name="connsiteY6" fmla="*/ 63603 h 101480"/>
                <a:gd name="connsiteX7" fmla="*/ 22437 w 218350"/>
                <a:gd name="connsiteY7" fmla="*/ 60987 h 101480"/>
                <a:gd name="connsiteX8" fmla="*/ 24398 w 218350"/>
                <a:gd name="connsiteY8" fmla="*/ 54447 h 101480"/>
                <a:gd name="connsiteX9" fmla="*/ 26577 w 218350"/>
                <a:gd name="connsiteY9" fmla="*/ 42020 h 101480"/>
                <a:gd name="connsiteX10" fmla="*/ 41177 w 218350"/>
                <a:gd name="connsiteY10" fmla="*/ 37442 h 101480"/>
                <a:gd name="connsiteX11" fmla="*/ 53162 w 218350"/>
                <a:gd name="connsiteY11" fmla="*/ 34608 h 101480"/>
                <a:gd name="connsiteX12" fmla="*/ 65365 w 218350"/>
                <a:gd name="connsiteY12" fmla="*/ 30248 h 101480"/>
                <a:gd name="connsiteX13" fmla="*/ 64275 w 218350"/>
                <a:gd name="connsiteY13" fmla="*/ 24362 h 101480"/>
                <a:gd name="connsiteX14" fmla="*/ 64493 w 218350"/>
                <a:gd name="connsiteY14" fmla="*/ 13679 h 101480"/>
                <a:gd name="connsiteX15" fmla="*/ 75170 w 218350"/>
                <a:gd name="connsiteY15" fmla="*/ 3869 h 101480"/>
                <a:gd name="connsiteX16" fmla="*/ 82797 w 218350"/>
                <a:gd name="connsiteY16" fmla="*/ 13025 h 101480"/>
                <a:gd name="connsiteX17" fmla="*/ 98922 w 218350"/>
                <a:gd name="connsiteY17" fmla="*/ 27196 h 101480"/>
                <a:gd name="connsiteX18" fmla="*/ 106549 w 218350"/>
                <a:gd name="connsiteY18" fmla="*/ 35916 h 101480"/>
                <a:gd name="connsiteX19" fmla="*/ 102845 w 218350"/>
                <a:gd name="connsiteY19" fmla="*/ 20002 h 101480"/>
                <a:gd name="connsiteX20" fmla="*/ 103498 w 218350"/>
                <a:gd name="connsiteY20" fmla="*/ 10845 h 101480"/>
                <a:gd name="connsiteX21" fmla="*/ 117880 w 218350"/>
                <a:gd name="connsiteY21" fmla="*/ 24362 h 101480"/>
                <a:gd name="connsiteX22" fmla="*/ 123110 w 218350"/>
                <a:gd name="connsiteY22" fmla="*/ 31556 h 101480"/>
                <a:gd name="connsiteX23" fmla="*/ 127904 w 218350"/>
                <a:gd name="connsiteY23" fmla="*/ 37442 h 101480"/>
                <a:gd name="connsiteX24" fmla="*/ 133352 w 218350"/>
                <a:gd name="connsiteY24" fmla="*/ 44855 h 101480"/>
                <a:gd name="connsiteX25" fmla="*/ 134005 w 218350"/>
                <a:gd name="connsiteY25" fmla="*/ 51831 h 101480"/>
                <a:gd name="connsiteX26" fmla="*/ 128340 w 218350"/>
                <a:gd name="connsiteY26" fmla="*/ 56191 h 101480"/>
                <a:gd name="connsiteX27" fmla="*/ 136620 w 218350"/>
                <a:gd name="connsiteY27" fmla="*/ 64039 h 101480"/>
                <a:gd name="connsiteX28" fmla="*/ 149913 w 218350"/>
                <a:gd name="connsiteY28" fmla="*/ 62077 h 101480"/>
                <a:gd name="connsiteX29" fmla="*/ 158629 w 218350"/>
                <a:gd name="connsiteY29" fmla="*/ 60769 h 101480"/>
                <a:gd name="connsiteX30" fmla="*/ 156450 w 218350"/>
                <a:gd name="connsiteY30" fmla="*/ 50087 h 101480"/>
                <a:gd name="connsiteX31" fmla="*/ 156232 w 218350"/>
                <a:gd name="connsiteY31" fmla="*/ 39186 h 101480"/>
                <a:gd name="connsiteX32" fmla="*/ 161680 w 218350"/>
                <a:gd name="connsiteY32" fmla="*/ 28286 h 101480"/>
                <a:gd name="connsiteX33" fmla="*/ 165166 w 218350"/>
                <a:gd name="connsiteY33" fmla="*/ 25016 h 101480"/>
                <a:gd name="connsiteX34" fmla="*/ 176933 w 218350"/>
                <a:gd name="connsiteY34" fmla="*/ 26978 h 101480"/>
                <a:gd name="connsiteX35" fmla="*/ 185867 w 218350"/>
                <a:gd name="connsiteY35" fmla="*/ 28722 h 101480"/>
                <a:gd name="connsiteX36" fmla="*/ 191097 w 218350"/>
                <a:gd name="connsiteY36" fmla="*/ 23708 h 101480"/>
                <a:gd name="connsiteX37" fmla="*/ 195237 w 218350"/>
                <a:gd name="connsiteY37" fmla="*/ 14988 h 101480"/>
                <a:gd name="connsiteX38" fmla="*/ 202646 w 218350"/>
                <a:gd name="connsiteY38" fmla="*/ 12589 h 101480"/>
                <a:gd name="connsiteX39" fmla="*/ 207222 w 218350"/>
                <a:gd name="connsiteY39" fmla="*/ 11499 h 101480"/>
                <a:gd name="connsiteX40" fmla="*/ 210709 w 218350"/>
                <a:gd name="connsiteY40" fmla="*/ 10845 h 101480"/>
                <a:gd name="connsiteX41" fmla="*/ 194366 w 218350"/>
                <a:gd name="connsiteY41" fmla="*/ 29158 h 101480"/>
                <a:gd name="connsiteX42" fmla="*/ 197634 w 218350"/>
                <a:gd name="connsiteY42" fmla="*/ 37660 h 101480"/>
                <a:gd name="connsiteX43" fmla="*/ 201339 w 218350"/>
                <a:gd name="connsiteY43" fmla="*/ 48779 h 101480"/>
                <a:gd name="connsiteX44" fmla="*/ 193712 w 218350"/>
                <a:gd name="connsiteY44" fmla="*/ 50305 h 101480"/>
                <a:gd name="connsiteX45" fmla="*/ 186303 w 218350"/>
                <a:gd name="connsiteY45" fmla="*/ 53793 h 101480"/>
                <a:gd name="connsiteX46" fmla="*/ 177369 w 218350"/>
                <a:gd name="connsiteY46" fmla="*/ 60551 h 101480"/>
                <a:gd name="connsiteX47" fmla="*/ 169089 w 218350"/>
                <a:gd name="connsiteY47" fmla="*/ 65565 h 101480"/>
                <a:gd name="connsiteX48" fmla="*/ 163205 w 218350"/>
                <a:gd name="connsiteY48" fmla="*/ 68835 h 101480"/>
                <a:gd name="connsiteX49" fmla="*/ 163641 w 218350"/>
                <a:gd name="connsiteY49" fmla="*/ 70797 h 101480"/>
                <a:gd name="connsiteX50" fmla="*/ 183470 w 218350"/>
                <a:gd name="connsiteY50" fmla="*/ 69053 h 101480"/>
                <a:gd name="connsiteX51" fmla="*/ 197199 w 218350"/>
                <a:gd name="connsiteY51" fmla="*/ 63603 h 101480"/>
                <a:gd name="connsiteX52" fmla="*/ 212888 w 218350"/>
                <a:gd name="connsiteY52" fmla="*/ 71233 h 101480"/>
                <a:gd name="connsiteX53" fmla="*/ 204825 w 218350"/>
                <a:gd name="connsiteY53" fmla="*/ 73414 h 101480"/>
                <a:gd name="connsiteX54" fmla="*/ 181291 w 218350"/>
                <a:gd name="connsiteY54" fmla="*/ 85404 h 101480"/>
                <a:gd name="connsiteX55" fmla="*/ 172793 w 218350"/>
                <a:gd name="connsiteY55" fmla="*/ 87802 h 101480"/>
                <a:gd name="connsiteX56" fmla="*/ 164077 w 218350"/>
                <a:gd name="connsiteY56" fmla="*/ 92380 h 101480"/>
                <a:gd name="connsiteX57" fmla="*/ 153399 w 218350"/>
                <a:gd name="connsiteY57" fmla="*/ 94124 h 101480"/>
                <a:gd name="connsiteX58" fmla="*/ 154707 w 218350"/>
                <a:gd name="connsiteY58" fmla="*/ 85622 h 101480"/>
                <a:gd name="connsiteX59" fmla="*/ 162551 w 218350"/>
                <a:gd name="connsiteY59" fmla="*/ 85186 h 101480"/>
                <a:gd name="connsiteX60" fmla="*/ 162333 w 218350"/>
                <a:gd name="connsiteY60" fmla="*/ 78210 h 101480"/>
                <a:gd name="connsiteX61" fmla="*/ 159283 w 218350"/>
                <a:gd name="connsiteY61" fmla="*/ 72323 h 101480"/>
                <a:gd name="connsiteX62" fmla="*/ 148387 w 218350"/>
                <a:gd name="connsiteY62" fmla="*/ 74068 h 101480"/>
                <a:gd name="connsiteX63" fmla="*/ 129647 w 218350"/>
                <a:gd name="connsiteY63" fmla="*/ 72759 h 101480"/>
                <a:gd name="connsiteX64" fmla="*/ 122456 w 218350"/>
                <a:gd name="connsiteY64" fmla="*/ 67527 h 101480"/>
                <a:gd name="connsiteX65" fmla="*/ 114830 w 218350"/>
                <a:gd name="connsiteY65" fmla="*/ 62077 h 101480"/>
                <a:gd name="connsiteX66" fmla="*/ 116137 w 218350"/>
                <a:gd name="connsiteY66" fmla="*/ 67745 h 101480"/>
                <a:gd name="connsiteX67" fmla="*/ 115919 w 218350"/>
                <a:gd name="connsiteY67" fmla="*/ 76248 h 101480"/>
                <a:gd name="connsiteX68" fmla="*/ 119188 w 218350"/>
                <a:gd name="connsiteY68" fmla="*/ 87148 h 101480"/>
                <a:gd name="connsiteX69" fmla="*/ 123546 w 218350"/>
                <a:gd name="connsiteY69" fmla="*/ 92598 h 101480"/>
                <a:gd name="connsiteX70" fmla="*/ 118534 w 218350"/>
                <a:gd name="connsiteY70" fmla="*/ 98048 h 101480"/>
                <a:gd name="connsiteX71" fmla="*/ 106985 w 218350"/>
                <a:gd name="connsiteY71" fmla="*/ 77774 h 101480"/>
                <a:gd name="connsiteX72" fmla="*/ 96743 w 218350"/>
                <a:gd name="connsiteY72" fmla="*/ 71451 h 101480"/>
                <a:gd name="connsiteX73" fmla="*/ 83233 w 218350"/>
                <a:gd name="connsiteY73" fmla="*/ 66873 h 101480"/>
                <a:gd name="connsiteX74" fmla="*/ 85848 w 218350"/>
                <a:gd name="connsiteY74" fmla="*/ 56191 h 101480"/>
                <a:gd name="connsiteX75" fmla="*/ 89770 w 218350"/>
                <a:gd name="connsiteY75" fmla="*/ 47907 h 101480"/>
                <a:gd name="connsiteX76" fmla="*/ 100230 w 218350"/>
                <a:gd name="connsiteY76" fmla="*/ 58589 h 101480"/>
                <a:gd name="connsiteX77" fmla="*/ 111561 w 218350"/>
                <a:gd name="connsiteY77" fmla="*/ 58807 h 101480"/>
                <a:gd name="connsiteX78" fmla="*/ 118098 w 218350"/>
                <a:gd name="connsiteY78" fmla="*/ 45727 h 101480"/>
                <a:gd name="connsiteX79" fmla="*/ 113740 w 218350"/>
                <a:gd name="connsiteY79" fmla="*/ 41802 h 101480"/>
                <a:gd name="connsiteX80" fmla="*/ 99576 w 218350"/>
                <a:gd name="connsiteY80" fmla="*/ 40276 h 101480"/>
                <a:gd name="connsiteX81" fmla="*/ 92385 w 218350"/>
                <a:gd name="connsiteY81" fmla="*/ 34608 h 101480"/>
                <a:gd name="connsiteX82" fmla="*/ 86066 w 218350"/>
                <a:gd name="connsiteY82" fmla="*/ 28940 h 101480"/>
                <a:gd name="connsiteX83" fmla="*/ 80836 w 218350"/>
                <a:gd name="connsiteY83" fmla="*/ 20002 h 101480"/>
                <a:gd name="connsiteX84" fmla="*/ 76260 w 218350"/>
                <a:gd name="connsiteY84" fmla="*/ 28286 h 101480"/>
                <a:gd name="connsiteX85" fmla="*/ 67762 w 218350"/>
                <a:gd name="connsiteY85" fmla="*/ 38968 h 101480"/>
                <a:gd name="connsiteX86" fmla="*/ 61224 w 218350"/>
                <a:gd name="connsiteY86" fmla="*/ 40276 h 101480"/>
                <a:gd name="connsiteX87" fmla="*/ 58174 w 218350"/>
                <a:gd name="connsiteY87" fmla="*/ 46163 h 101480"/>
                <a:gd name="connsiteX88" fmla="*/ 49675 w 218350"/>
                <a:gd name="connsiteY88" fmla="*/ 44201 h 101480"/>
                <a:gd name="connsiteX89" fmla="*/ 44663 w 218350"/>
                <a:gd name="connsiteY89" fmla="*/ 43110 h 101480"/>
                <a:gd name="connsiteX90" fmla="*/ 51636 w 218350"/>
                <a:gd name="connsiteY90" fmla="*/ 54447 h 101480"/>
                <a:gd name="connsiteX91" fmla="*/ 52290 w 218350"/>
                <a:gd name="connsiteY91" fmla="*/ 62731 h 101480"/>
                <a:gd name="connsiteX92" fmla="*/ 42920 w 218350"/>
                <a:gd name="connsiteY92" fmla="*/ 58153 h 101480"/>
                <a:gd name="connsiteX93" fmla="*/ 37037 w 218350"/>
                <a:gd name="connsiteY93" fmla="*/ 50741 h 101480"/>
                <a:gd name="connsiteX94" fmla="*/ 31371 w 218350"/>
                <a:gd name="connsiteY94" fmla="*/ 60769 h 101480"/>
                <a:gd name="connsiteX95" fmla="*/ 43574 w 218350"/>
                <a:gd name="connsiteY95" fmla="*/ 75812 h 101480"/>
                <a:gd name="connsiteX96" fmla="*/ 44663 w 218350"/>
                <a:gd name="connsiteY96" fmla="*/ 83006 h 101480"/>
                <a:gd name="connsiteX97" fmla="*/ 37473 w 218350"/>
                <a:gd name="connsiteY97" fmla="*/ 77556 h 101480"/>
                <a:gd name="connsiteX98" fmla="*/ 22437 w 218350"/>
                <a:gd name="connsiteY98" fmla="*/ 75376 h 101480"/>
                <a:gd name="connsiteX99" fmla="*/ 21347 w 218350"/>
                <a:gd name="connsiteY99" fmla="*/ 83006 h 101480"/>
                <a:gd name="connsiteX100" fmla="*/ 25488 w 218350"/>
                <a:gd name="connsiteY100" fmla="*/ 86058 h 101480"/>
                <a:gd name="connsiteX101" fmla="*/ 30717 w 218350"/>
                <a:gd name="connsiteY101" fmla="*/ 86276 h 101480"/>
                <a:gd name="connsiteX102" fmla="*/ 31589 w 218350"/>
                <a:gd name="connsiteY102" fmla="*/ 96740 h 101480"/>
                <a:gd name="connsiteX103" fmla="*/ 21347 w 218350"/>
                <a:gd name="connsiteY103" fmla="*/ 99792 h 101480"/>
                <a:gd name="connsiteX104" fmla="*/ 15246 w 218350"/>
                <a:gd name="connsiteY104" fmla="*/ 97830 h 101480"/>
                <a:gd name="connsiteX105" fmla="*/ 183253 w 218350"/>
                <a:gd name="connsiteY105" fmla="*/ 47471 h 101480"/>
                <a:gd name="connsiteX106" fmla="*/ 185650 w 218350"/>
                <a:gd name="connsiteY106" fmla="*/ 38096 h 101480"/>
                <a:gd name="connsiteX107" fmla="*/ 183035 w 218350"/>
                <a:gd name="connsiteY107" fmla="*/ 35262 h 101480"/>
                <a:gd name="connsiteX108" fmla="*/ 174100 w 218350"/>
                <a:gd name="connsiteY108" fmla="*/ 37660 h 101480"/>
                <a:gd name="connsiteX109" fmla="*/ 167999 w 218350"/>
                <a:gd name="connsiteY109" fmla="*/ 46817 h 101480"/>
                <a:gd name="connsiteX110" fmla="*/ 183253 w 218350"/>
                <a:gd name="connsiteY110" fmla="*/ 47471 h 101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18350" h="101480">
                  <a:moveTo>
                    <a:pt x="15246" y="97830"/>
                  </a:moveTo>
                  <a:cubicBezTo>
                    <a:pt x="15900" y="95214"/>
                    <a:pt x="15900" y="91944"/>
                    <a:pt x="15246" y="90200"/>
                  </a:cubicBezTo>
                  <a:cubicBezTo>
                    <a:pt x="13939" y="86494"/>
                    <a:pt x="6530" y="86058"/>
                    <a:pt x="5440" y="89764"/>
                  </a:cubicBezTo>
                  <a:cubicBezTo>
                    <a:pt x="4786" y="91290"/>
                    <a:pt x="2825" y="91072"/>
                    <a:pt x="-1097" y="88456"/>
                  </a:cubicBezTo>
                  <a:cubicBezTo>
                    <a:pt x="-6109" y="85186"/>
                    <a:pt x="-6327" y="84096"/>
                    <a:pt x="-4148" y="79300"/>
                  </a:cubicBezTo>
                  <a:cubicBezTo>
                    <a:pt x="-2187" y="74940"/>
                    <a:pt x="-661" y="74068"/>
                    <a:pt x="3915" y="74940"/>
                  </a:cubicBezTo>
                  <a:cubicBezTo>
                    <a:pt x="9798" y="76030"/>
                    <a:pt x="18950" y="69053"/>
                    <a:pt x="18950" y="63603"/>
                  </a:cubicBezTo>
                  <a:cubicBezTo>
                    <a:pt x="18950" y="62077"/>
                    <a:pt x="20476" y="60987"/>
                    <a:pt x="22437" y="60987"/>
                  </a:cubicBezTo>
                  <a:cubicBezTo>
                    <a:pt x="25052" y="60987"/>
                    <a:pt x="25488" y="59461"/>
                    <a:pt x="24398" y="54447"/>
                  </a:cubicBezTo>
                  <a:cubicBezTo>
                    <a:pt x="23309" y="49869"/>
                    <a:pt x="24180" y="45945"/>
                    <a:pt x="26577" y="42020"/>
                  </a:cubicBezTo>
                  <a:cubicBezTo>
                    <a:pt x="29846" y="37006"/>
                    <a:pt x="31371" y="36570"/>
                    <a:pt x="41177" y="37442"/>
                  </a:cubicBezTo>
                  <a:cubicBezTo>
                    <a:pt x="50547" y="38532"/>
                    <a:pt x="52290" y="38096"/>
                    <a:pt x="53162" y="34608"/>
                  </a:cubicBezTo>
                  <a:cubicBezTo>
                    <a:pt x="54251" y="31120"/>
                    <a:pt x="59263" y="29158"/>
                    <a:pt x="65365" y="30248"/>
                  </a:cubicBezTo>
                  <a:cubicBezTo>
                    <a:pt x="67762" y="30684"/>
                    <a:pt x="67108" y="27196"/>
                    <a:pt x="64275" y="24362"/>
                  </a:cubicBezTo>
                  <a:cubicBezTo>
                    <a:pt x="62314" y="22400"/>
                    <a:pt x="62314" y="20002"/>
                    <a:pt x="64493" y="13679"/>
                  </a:cubicBezTo>
                  <a:cubicBezTo>
                    <a:pt x="68633" y="2125"/>
                    <a:pt x="76696" y="-5287"/>
                    <a:pt x="75170" y="3869"/>
                  </a:cubicBezTo>
                  <a:cubicBezTo>
                    <a:pt x="74299" y="9319"/>
                    <a:pt x="77350" y="13025"/>
                    <a:pt x="82797" y="13025"/>
                  </a:cubicBezTo>
                  <a:cubicBezTo>
                    <a:pt x="89117" y="13243"/>
                    <a:pt x="93039" y="16732"/>
                    <a:pt x="98922" y="27196"/>
                  </a:cubicBezTo>
                  <a:cubicBezTo>
                    <a:pt x="101537" y="31992"/>
                    <a:pt x="105024" y="35916"/>
                    <a:pt x="106549" y="35916"/>
                  </a:cubicBezTo>
                  <a:cubicBezTo>
                    <a:pt x="111125" y="35916"/>
                    <a:pt x="108728" y="25452"/>
                    <a:pt x="102845" y="20002"/>
                  </a:cubicBezTo>
                  <a:cubicBezTo>
                    <a:pt x="95654" y="13461"/>
                    <a:pt x="95872" y="10845"/>
                    <a:pt x="103498" y="10845"/>
                  </a:cubicBezTo>
                  <a:cubicBezTo>
                    <a:pt x="110689" y="10845"/>
                    <a:pt x="117445" y="17168"/>
                    <a:pt x="117880" y="24362"/>
                  </a:cubicBezTo>
                  <a:cubicBezTo>
                    <a:pt x="118098" y="27414"/>
                    <a:pt x="120059" y="30248"/>
                    <a:pt x="123110" y="31556"/>
                  </a:cubicBezTo>
                  <a:cubicBezTo>
                    <a:pt x="125725" y="32646"/>
                    <a:pt x="127904" y="35480"/>
                    <a:pt x="127904" y="37442"/>
                  </a:cubicBezTo>
                  <a:cubicBezTo>
                    <a:pt x="127904" y="39622"/>
                    <a:pt x="130301" y="42892"/>
                    <a:pt x="133352" y="44855"/>
                  </a:cubicBezTo>
                  <a:cubicBezTo>
                    <a:pt x="140107" y="49215"/>
                    <a:pt x="140325" y="52703"/>
                    <a:pt x="134005" y="51831"/>
                  </a:cubicBezTo>
                  <a:cubicBezTo>
                    <a:pt x="130083" y="51395"/>
                    <a:pt x="128776" y="52485"/>
                    <a:pt x="128340" y="56191"/>
                  </a:cubicBezTo>
                  <a:cubicBezTo>
                    <a:pt x="127032" y="65783"/>
                    <a:pt x="128994" y="67745"/>
                    <a:pt x="136620" y="64039"/>
                  </a:cubicBezTo>
                  <a:cubicBezTo>
                    <a:pt x="140761" y="61859"/>
                    <a:pt x="145555" y="61205"/>
                    <a:pt x="149913" y="62077"/>
                  </a:cubicBezTo>
                  <a:cubicBezTo>
                    <a:pt x="154707" y="63167"/>
                    <a:pt x="157322" y="62731"/>
                    <a:pt x="158629" y="60769"/>
                  </a:cubicBezTo>
                  <a:cubicBezTo>
                    <a:pt x="161898" y="55319"/>
                    <a:pt x="160808" y="50087"/>
                    <a:pt x="156450" y="50087"/>
                  </a:cubicBezTo>
                  <a:cubicBezTo>
                    <a:pt x="148823" y="50087"/>
                    <a:pt x="148823" y="45291"/>
                    <a:pt x="156232" y="39186"/>
                  </a:cubicBezTo>
                  <a:cubicBezTo>
                    <a:pt x="161898" y="34608"/>
                    <a:pt x="162987" y="32428"/>
                    <a:pt x="161680" y="28286"/>
                  </a:cubicBezTo>
                  <a:cubicBezTo>
                    <a:pt x="160154" y="23708"/>
                    <a:pt x="160590" y="23490"/>
                    <a:pt x="165166" y="25016"/>
                  </a:cubicBezTo>
                  <a:cubicBezTo>
                    <a:pt x="167999" y="25888"/>
                    <a:pt x="173447" y="26760"/>
                    <a:pt x="176933" y="26978"/>
                  </a:cubicBezTo>
                  <a:cubicBezTo>
                    <a:pt x="180638" y="27196"/>
                    <a:pt x="184560" y="28068"/>
                    <a:pt x="185867" y="28722"/>
                  </a:cubicBezTo>
                  <a:cubicBezTo>
                    <a:pt x="188918" y="30684"/>
                    <a:pt x="191097" y="28722"/>
                    <a:pt x="191097" y="23708"/>
                  </a:cubicBezTo>
                  <a:cubicBezTo>
                    <a:pt x="191097" y="21746"/>
                    <a:pt x="192840" y="17822"/>
                    <a:pt x="195237" y="14988"/>
                  </a:cubicBezTo>
                  <a:cubicBezTo>
                    <a:pt x="198506" y="10845"/>
                    <a:pt x="199814" y="10409"/>
                    <a:pt x="202646" y="12589"/>
                  </a:cubicBezTo>
                  <a:cubicBezTo>
                    <a:pt x="205261" y="14769"/>
                    <a:pt x="206133" y="14551"/>
                    <a:pt x="207222" y="11499"/>
                  </a:cubicBezTo>
                  <a:cubicBezTo>
                    <a:pt x="208530" y="8447"/>
                    <a:pt x="209184" y="8229"/>
                    <a:pt x="210709" y="10845"/>
                  </a:cubicBezTo>
                  <a:cubicBezTo>
                    <a:pt x="212670" y="13897"/>
                    <a:pt x="205697" y="21746"/>
                    <a:pt x="194366" y="29158"/>
                  </a:cubicBezTo>
                  <a:cubicBezTo>
                    <a:pt x="187829" y="33518"/>
                    <a:pt x="188700" y="35916"/>
                    <a:pt x="197634" y="37660"/>
                  </a:cubicBezTo>
                  <a:cubicBezTo>
                    <a:pt x="204607" y="39186"/>
                    <a:pt x="205915" y="42674"/>
                    <a:pt x="201339" y="48779"/>
                  </a:cubicBezTo>
                  <a:cubicBezTo>
                    <a:pt x="198942" y="52049"/>
                    <a:pt x="197634" y="52267"/>
                    <a:pt x="193712" y="50305"/>
                  </a:cubicBezTo>
                  <a:cubicBezTo>
                    <a:pt x="189790" y="48125"/>
                    <a:pt x="188700" y="48561"/>
                    <a:pt x="186303" y="53793"/>
                  </a:cubicBezTo>
                  <a:cubicBezTo>
                    <a:pt x="184342" y="57935"/>
                    <a:pt x="181509" y="60115"/>
                    <a:pt x="177369" y="60551"/>
                  </a:cubicBezTo>
                  <a:cubicBezTo>
                    <a:pt x="174100" y="60987"/>
                    <a:pt x="170396" y="63167"/>
                    <a:pt x="169089" y="65565"/>
                  </a:cubicBezTo>
                  <a:cubicBezTo>
                    <a:pt x="167563" y="68399"/>
                    <a:pt x="165384" y="69489"/>
                    <a:pt x="163205" y="68835"/>
                  </a:cubicBezTo>
                  <a:cubicBezTo>
                    <a:pt x="160372" y="67745"/>
                    <a:pt x="160590" y="68399"/>
                    <a:pt x="163641" y="70797"/>
                  </a:cubicBezTo>
                  <a:cubicBezTo>
                    <a:pt x="170178" y="75812"/>
                    <a:pt x="179548" y="74940"/>
                    <a:pt x="183470" y="69053"/>
                  </a:cubicBezTo>
                  <a:cubicBezTo>
                    <a:pt x="186085" y="64911"/>
                    <a:pt x="188700" y="63821"/>
                    <a:pt x="197199" y="63603"/>
                  </a:cubicBezTo>
                  <a:cubicBezTo>
                    <a:pt x="207876" y="63603"/>
                    <a:pt x="212888" y="66001"/>
                    <a:pt x="212888" y="71233"/>
                  </a:cubicBezTo>
                  <a:cubicBezTo>
                    <a:pt x="212888" y="73850"/>
                    <a:pt x="210927" y="74286"/>
                    <a:pt x="204825" y="73414"/>
                  </a:cubicBezTo>
                  <a:cubicBezTo>
                    <a:pt x="195673" y="72323"/>
                    <a:pt x="183470" y="78646"/>
                    <a:pt x="181291" y="85404"/>
                  </a:cubicBezTo>
                  <a:cubicBezTo>
                    <a:pt x="180202" y="88238"/>
                    <a:pt x="178241" y="88674"/>
                    <a:pt x="172793" y="87802"/>
                  </a:cubicBezTo>
                  <a:cubicBezTo>
                    <a:pt x="166256" y="86712"/>
                    <a:pt x="165384" y="87366"/>
                    <a:pt x="164077" y="92380"/>
                  </a:cubicBezTo>
                  <a:cubicBezTo>
                    <a:pt x="162551" y="98920"/>
                    <a:pt x="158411" y="99574"/>
                    <a:pt x="153399" y="94124"/>
                  </a:cubicBezTo>
                  <a:cubicBezTo>
                    <a:pt x="147952" y="88238"/>
                    <a:pt x="148605" y="84314"/>
                    <a:pt x="154707" y="85622"/>
                  </a:cubicBezTo>
                  <a:cubicBezTo>
                    <a:pt x="157322" y="86494"/>
                    <a:pt x="160808" y="86058"/>
                    <a:pt x="162551" y="85186"/>
                  </a:cubicBezTo>
                  <a:cubicBezTo>
                    <a:pt x="164948" y="83660"/>
                    <a:pt x="164948" y="82570"/>
                    <a:pt x="162333" y="78210"/>
                  </a:cubicBezTo>
                  <a:cubicBezTo>
                    <a:pt x="160808" y="75376"/>
                    <a:pt x="159283" y="72759"/>
                    <a:pt x="159283" y="72323"/>
                  </a:cubicBezTo>
                  <a:cubicBezTo>
                    <a:pt x="159065" y="72105"/>
                    <a:pt x="154271" y="72759"/>
                    <a:pt x="148387" y="74068"/>
                  </a:cubicBezTo>
                  <a:cubicBezTo>
                    <a:pt x="139671" y="76030"/>
                    <a:pt x="136402" y="75812"/>
                    <a:pt x="129647" y="72759"/>
                  </a:cubicBezTo>
                  <a:cubicBezTo>
                    <a:pt x="125071" y="70797"/>
                    <a:pt x="122021" y="68399"/>
                    <a:pt x="122456" y="67527"/>
                  </a:cubicBezTo>
                  <a:cubicBezTo>
                    <a:pt x="123982" y="64911"/>
                    <a:pt x="117445" y="60333"/>
                    <a:pt x="114830" y="62077"/>
                  </a:cubicBezTo>
                  <a:cubicBezTo>
                    <a:pt x="113086" y="63167"/>
                    <a:pt x="113522" y="64911"/>
                    <a:pt x="116137" y="67745"/>
                  </a:cubicBezTo>
                  <a:cubicBezTo>
                    <a:pt x="119624" y="71669"/>
                    <a:pt x="119624" y="72105"/>
                    <a:pt x="115919" y="76248"/>
                  </a:cubicBezTo>
                  <a:cubicBezTo>
                    <a:pt x="111343" y="81262"/>
                    <a:pt x="113086" y="87148"/>
                    <a:pt x="119188" y="87148"/>
                  </a:cubicBezTo>
                  <a:cubicBezTo>
                    <a:pt x="122456" y="87148"/>
                    <a:pt x="123546" y="88674"/>
                    <a:pt x="123546" y="92598"/>
                  </a:cubicBezTo>
                  <a:cubicBezTo>
                    <a:pt x="123546" y="96740"/>
                    <a:pt x="122456" y="98048"/>
                    <a:pt x="118534" y="98048"/>
                  </a:cubicBezTo>
                  <a:cubicBezTo>
                    <a:pt x="113304" y="98048"/>
                    <a:pt x="109600" y="91726"/>
                    <a:pt x="106985" y="77774"/>
                  </a:cubicBezTo>
                  <a:cubicBezTo>
                    <a:pt x="105242" y="67527"/>
                    <a:pt x="102627" y="66001"/>
                    <a:pt x="96743" y="71451"/>
                  </a:cubicBezTo>
                  <a:cubicBezTo>
                    <a:pt x="90206" y="77338"/>
                    <a:pt x="80836" y="74286"/>
                    <a:pt x="83233" y="66873"/>
                  </a:cubicBezTo>
                  <a:cubicBezTo>
                    <a:pt x="84105" y="64257"/>
                    <a:pt x="85194" y="59461"/>
                    <a:pt x="85848" y="56191"/>
                  </a:cubicBezTo>
                  <a:cubicBezTo>
                    <a:pt x="86502" y="52921"/>
                    <a:pt x="88245" y="49215"/>
                    <a:pt x="89770" y="47907"/>
                  </a:cubicBezTo>
                  <a:cubicBezTo>
                    <a:pt x="93911" y="44419"/>
                    <a:pt x="101755" y="52485"/>
                    <a:pt x="100230" y="58589"/>
                  </a:cubicBezTo>
                  <a:cubicBezTo>
                    <a:pt x="98704" y="64475"/>
                    <a:pt x="102845" y="64475"/>
                    <a:pt x="111561" y="58807"/>
                  </a:cubicBezTo>
                  <a:cubicBezTo>
                    <a:pt x="116791" y="55319"/>
                    <a:pt x="117880" y="53139"/>
                    <a:pt x="118098" y="45727"/>
                  </a:cubicBezTo>
                  <a:cubicBezTo>
                    <a:pt x="118316" y="35916"/>
                    <a:pt x="117009" y="34608"/>
                    <a:pt x="113740" y="41802"/>
                  </a:cubicBezTo>
                  <a:cubicBezTo>
                    <a:pt x="110254" y="49651"/>
                    <a:pt x="105024" y="48997"/>
                    <a:pt x="99576" y="40276"/>
                  </a:cubicBezTo>
                  <a:cubicBezTo>
                    <a:pt x="96090" y="34608"/>
                    <a:pt x="93911" y="33082"/>
                    <a:pt x="92385" y="34608"/>
                  </a:cubicBezTo>
                  <a:cubicBezTo>
                    <a:pt x="88245" y="38750"/>
                    <a:pt x="86720" y="37224"/>
                    <a:pt x="86066" y="28940"/>
                  </a:cubicBezTo>
                  <a:cubicBezTo>
                    <a:pt x="85630" y="22400"/>
                    <a:pt x="84323" y="20438"/>
                    <a:pt x="80836" y="20002"/>
                  </a:cubicBezTo>
                  <a:cubicBezTo>
                    <a:pt x="76696" y="19348"/>
                    <a:pt x="76260" y="20438"/>
                    <a:pt x="76260" y="28286"/>
                  </a:cubicBezTo>
                  <a:cubicBezTo>
                    <a:pt x="76260" y="39186"/>
                    <a:pt x="72991" y="43328"/>
                    <a:pt x="67762" y="38968"/>
                  </a:cubicBezTo>
                  <a:cubicBezTo>
                    <a:pt x="64711" y="36570"/>
                    <a:pt x="63839" y="36570"/>
                    <a:pt x="61224" y="40276"/>
                  </a:cubicBezTo>
                  <a:cubicBezTo>
                    <a:pt x="59481" y="42456"/>
                    <a:pt x="58174" y="45073"/>
                    <a:pt x="58174" y="46163"/>
                  </a:cubicBezTo>
                  <a:cubicBezTo>
                    <a:pt x="58174" y="49433"/>
                    <a:pt x="51854" y="47907"/>
                    <a:pt x="49675" y="44201"/>
                  </a:cubicBezTo>
                  <a:cubicBezTo>
                    <a:pt x="47932" y="40930"/>
                    <a:pt x="47060" y="40712"/>
                    <a:pt x="44663" y="43110"/>
                  </a:cubicBezTo>
                  <a:cubicBezTo>
                    <a:pt x="40959" y="46817"/>
                    <a:pt x="44663" y="52921"/>
                    <a:pt x="51636" y="54447"/>
                  </a:cubicBezTo>
                  <a:cubicBezTo>
                    <a:pt x="59045" y="56191"/>
                    <a:pt x="59263" y="60333"/>
                    <a:pt x="52290" y="62731"/>
                  </a:cubicBezTo>
                  <a:cubicBezTo>
                    <a:pt x="46843" y="64475"/>
                    <a:pt x="45971" y="64039"/>
                    <a:pt x="42920" y="58153"/>
                  </a:cubicBezTo>
                  <a:cubicBezTo>
                    <a:pt x="41177" y="54447"/>
                    <a:pt x="38562" y="51177"/>
                    <a:pt x="37037" y="50741"/>
                  </a:cubicBezTo>
                  <a:cubicBezTo>
                    <a:pt x="33768" y="49651"/>
                    <a:pt x="28538" y="58807"/>
                    <a:pt x="31371" y="60769"/>
                  </a:cubicBezTo>
                  <a:cubicBezTo>
                    <a:pt x="40523" y="66873"/>
                    <a:pt x="42702" y="69707"/>
                    <a:pt x="43574" y="75812"/>
                  </a:cubicBezTo>
                  <a:lnTo>
                    <a:pt x="44663" y="83006"/>
                  </a:lnTo>
                  <a:lnTo>
                    <a:pt x="37473" y="77556"/>
                  </a:lnTo>
                  <a:cubicBezTo>
                    <a:pt x="28974" y="71015"/>
                    <a:pt x="27013" y="70579"/>
                    <a:pt x="22437" y="75376"/>
                  </a:cubicBezTo>
                  <a:cubicBezTo>
                    <a:pt x="19822" y="77992"/>
                    <a:pt x="19604" y="79736"/>
                    <a:pt x="21347" y="83006"/>
                  </a:cubicBezTo>
                  <a:cubicBezTo>
                    <a:pt x="22437" y="85404"/>
                    <a:pt x="24398" y="86712"/>
                    <a:pt x="25488" y="86058"/>
                  </a:cubicBezTo>
                  <a:cubicBezTo>
                    <a:pt x="26359" y="85404"/>
                    <a:pt x="28756" y="85622"/>
                    <a:pt x="30717" y="86276"/>
                  </a:cubicBezTo>
                  <a:cubicBezTo>
                    <a:pt x="34858" y="87802"/>
                    <a:pt x="35293" y="95650"/>
                    <a:pt x="31589" y="96740"/>
                  </a:cubicBezTo>
                  <a:cubicBezTo>
                    <a:pt x="30064" y="97176"/>
                    <a:pt x="25488" y="98484"/>
                    <a:pt x="21347" y="99792"/>
                  </a:cubicBezTo>
                  <a:cubicBezTo>
                    <a:pt x="14592" y="101973"/>
                    <a:pt x="14156" y="101973"/>
                    <a:pt x="15246" y="97830"/>
                  </a:cubicBezTo>
                  <a:close/>
                  <a:moveTo>
                    <a:pt x="183253" y="47471"/>
                  </a:moveTo>
                  <a:cubicBezTo>
                    <a:pt x="183906" y="45945"/>
                    <a:pt x="184778" y="41802"/>
                    <a:pt x="185650" y="38096"/>
                  </a:cubicBezTo>
                  <a:cubicBezTo>
                    <a:pt x="186957" y="31992"/>
                    <a:pt x="186957" y="31774"/>
                    <a:pt x="183035" y="35262"/>
                  </a:cubicBezTo>
                  <a:cubicBezTo>
                    <a:pt x="180420" y="37660"/>
                    <a:pt x="177151" y="38532"/>
                    <a:pt x="174100" y="37660"/>
                  </a:cubicBezTo>
                  <a:cubicBezTo>
                    <a:pt x="168871" y="36352"/>
                    <a:pt x="165602" y="41148"/>
                    <a:pt x="167999" y="46817"/>
                  </a:cubicBezTo>
                  <a:cubicBezTo>
                    <a:pt x="169524" y="50741"/>
                    <a:pt x="182163" y="51177"/>
                    <a:pt x="183253" y="47471"/>
                  </a:cubicBezTo>
                  <a:close/>
                </a:path>
              </a:pathLst>
            </a:custGeom>
            <a:grpFill/>
            <a:ln w="218" cap="flat">
              <a:noFill/>
              <a:prstDash val="solid"/>
              <a:miter/>
            </a:ln>
          </p:spPr>
          <p:txBody>
            <a:bodyPr rtlCol="0" anchor="ctr"/>
            <a:lstStyle/>
            <a:p>
              <a:endParaRPr lang="en-GB" dirty="0"/>
            </a:p>
          </p:txBody>
        </p:sp>
        <p:sp>
          <p:nvSpPr>
            <p:cNvPr id="30" name="Freihandform: Form 29">
              <a:extLst>
                <a:ext uri="{FF2B5EF4-FFF2-40B4-BE49-F238E27FC236}">
                  <a16:creationId xmlns:a16="http://schemas.microsoft.com/office/drawing/2014/main" xmlns="" id="{43C3C765-596A-45AD-865B-8BFBF32BDB55}"/>
                </a:ext>
              </a:extLst>
            </p:cNvPr>
            <p:cNvSpPr/>
            <p:nvPr/>
          </p:nvSpPr>
          <p:spPr>
            <a:xfrm flipV="1">
              <a:off x="5248368" y="5201543"/>
              <a:ext cx="6757" cy="7812"/>
            </a:xfrm>
            <a:custGeom>
              <a:avLst/>
              <a:gdLst>
                <a:gd name="connsiteX0" fmla="*/ -4274 w 6757"/>
                <a:gd name="connsiteY0" fmla="*/ 2752 h 7812"/>
                <a:gd name="connsiteX1" fmla="*/ -134 w 6757"/>
                <a:gd name="connsiteY1" fmla="*/ 1008 h 7812"/>
                <a:gd name="connsiteX2" fmla="*/ -3620 w 6757"/>
                <a:gd name="connsiteY2" fmla="*/ 7330 h 7812"/>
                <a:gd name="connsiteX3" fmla="*/ -4274 w 6757"/>
                <a:gd name="connsiteY3" fmla="*/ 2752 h 7812"/>
              </a:gdLst>
              <a:ahLst/>
              <a:cxnLst>
                <a:cxn ang="0">
                  <a:pos x="connsiteX0" y="connsiteY0"/>
                </a:cxn>
                <a:cxn ang="0">
                  <a:pos x="connsiteX1" y="connsiteY1"/>
                </a:cxn>
                <a:cxn ang="0">
                  <a:pos x="connsiteX2" y="connsiteY2"/>
                </a:cxn>
                <a:cxn ang="0">
                  <a:pos x="connsiteX3" y="connsiteY3"/>
                </a:cxn>
              </a:cxnLst>
              <a:rect l="l" t="t" r="r" b="b"/>
              <a:pathLst>
                <a:path w="6757" h="7812">
                  <a:moveTo>
                    <a:pt x="-4274" y="2752"/>
                  </a:moveTo>
                  <a:cubicBezTo>
                    <a:pt x="-2313" y="-954"/>
                    <a:pt x="-1441" y="-1390"/>
                    <a:pt x="-134" y="1008"/>
                  </a:cubicBezTo>
                  <a:cubicBezTo>
                    <a:pt x="2263" y="4496"/>
                    <a:pt x="738" y="7330"/>
                    <a:pt x="-3620" y="7330"/>
                  </a:cubicBezTo>
                  <a:cubicBezTo>
                    <a:pt x="-6235" y="7330"/>
                    <a:pt x="-6453" y="6458"/>
                    <a:pt x="-4274" y="2752"/>
                  </a:cubicBezTo>
                  <a:close/>
                </a:path>
              </a:pathLst>
            </a:custGeom>
            <a:grpFill/>
            <a:ln w="218" cap="flat">
              <a:noFill/>
              <a:prstDash val="solid"/>
              <a:miter/>
            </a:ln>
          </p:spPr>
          <p:txBody>
            <a:bodyPr rtlCol="0" anchor="ctr"/>
            <a:lstStyle/>
            <a:p>
              <a:endParaRPr lang="en-GB" dirty="0"/>
            </a:p>
          </p:txBody>
        </p:sp>
        <p:sp>
          <p:nvSpPr>
            <p:cNvPr id="31" name="Freihandform: Form 30">
              <a:extLst>
                <a:ext uri="{FF2B5EF4-FFF2-40B4-BE49-F238E27FC236}">
                  <a16:creationId xmlns:a16="http://schemas.microsoft.com/office/drawing/2014/main" xmlns="" id="{AF853678-016C-4193-A3D5-83457C7C6517}"/>
                </a:ext>
              </a:extLst>
            </p:cNvPr>
            <p:cNvSpPr/>
            <p:nvPr/>
          </p:nvSpPr>
          <p:spPr>
            <a:xfrm flipV="1">
              <a:off x="4429079" y="5205059"/>
              <a:ext cx="12120" cy="13925"/>
            </a:xfrm>
            <a:custGeom>
              <a:avLst/>
              <a:gdLst>
                <a:gd name="connsiteX0" fmla="*/ -2034 w 12120"/>
                <a:gd name="connsiteY0" fmla="*/ 12849 h 13925"/>
                <a:gd name="connsiteX1" fmla="*/ 1017 w 12120"/>
                <a:gd name="connsiteY1" fmla="*/ -449 h 13925"/>
                <a:gd name="connsiteX2" fmla="*/ 9733 w 12120"/>
                <a:gd name="connsiteY2" fmla="*/ 11105 h 13925"/>
                <a:gd name="connsiteX3" fmla="*/ -2034 w 12120"/>
                <a:gd name="connsiteY3" fmla="*/ 12849 h 13925"/>
              </a:gdLst>
              <a:ahLst/>
              <a:cxnLst>
                <a:cxn ang="0">
                  <a:pos x="connsiteX0" y="connsiteY0"/>
                </a:cxn>
                <a:cxn ang="0">
                  <a:pos x="connsiteX1" y="connsiteY1"/>
                </a:cxn>
                <a:cxn ang="0">
                  <a:pos x="connsiteX2" y="connsiteY2"/>
                </a:cxn>
                <a:cxn ang="0">
                  <a:pos x="connsiteX3" y="connsiteY3"/>
                </a:cxn>
              </a:cxnLst>
              <a:rect l="l" t="t" r="r" b="b"/>
              <a:pathLst>
                <a:path w="12120" h="13925">
                  <a:moveTo>
                    <a:pt x="-2034" y="12849"/>
                  </a:moveTo>
                  <a:cubicBezTo>
                    <a:pt x="-3341" y="10669"/>
                    <a:pt x="-726" y="-449"/>
                    <a:pt x="1017" y="-449"/>
                  </a:cubicBezTo>
                  <a:cubicBezTo>
                    <a:pt x="2542" y="-449"/>
                    <a:pt x="9733" y="9143"/>
                    <a:pt x="9733" y="11105"/>
                  </a:cubicBezTo>
                  <a:cubicBezTo>
                    <a:pt x="9733" y="12849"/>
                    <a:pt x="-1162" y="14375"/>
                    <a:pt x="-2034" y="12849"/>
                  </a:cubicBezTo>
                  <a:close/>
                </a:path>
              </a:pathLst>
            </a:custGeom>
            <a:grpFill/>
            <a:ln w="218" cap="flat">
              <a:noFill/>
              <a:prstDash val="solid"/>
              <a:miter/>
            </a:ln>
          </p:spPr>
          <p:txBody>
            <a:bodyPr rtlCol="0" anchor="ctr"/>
            <a:lstStyle/>
            <a:p>
              <a:endParaRPr lang="en-GB" dirty="0"/>
            </a:p>
          </p:txBody>
        </p:sp>
        <p:sp>
          <p:nvSpPr>
            <p:cNvPr id="32" name="Freihandform: Form 31">
              <a:extLst>
                <a:ext uri="{FF2B5EF4-FFF2-40B4-BE49-F238E27FC236}">
                  <a16:creationId xmlns:a16="http://schemas.microsoft.com/office/drawing/2014/main" xmlns="" id="{972AB709-0427-4FB9-BB10-53015677DFED}"/>
                </a:ext>
              </a:extLst>
            </p:cNvPr>
            <p:cNvSpPr/>
            <p:nvPr/>
          </p:nvSpPr>
          <p:spPr>
            <a:xfrm flipV="1">
              <a:off x="4498403" y="5204887"/>
              <a:ext cx="13340" cy="19173"/>
            </a:xfrm>
            <a:custGeom>
              <a:avLst/>
              <a:gdLst>
                <a:gd name="connsiteX0" fmla="*/ 263 w 13340"/>
                <a:gd name="connsiteY0" fmla="*/ 17067 h 19173"/>
                <a:gd name="connsiteX1" fmla="*/ -2134 w 13340"/>
                <a:gd name="connsiteY1" fmla="*/ 6602 h 19173"/>
                <a:gd name="connsiteX2" fmla="*/ 4403 w 13340"/>
                <a:gd name="connsiteY2" fmla="*/ -156 h 19173"/>
                <a:gd name="connsiteX3" fmla="*/ 7672 w 13340"/>
                <a:gd name="connsiteY3" fmla="*/ 16631 h 19173"/>
                <a:gd name="connsiteX4" fmla="*/ 263 w 13340"/>
                <a:gd name="connsiteY4" fmla="*/ 17067 h 19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40" h="19173">
                  <a:moveTo>
                    <a:pt x="263" y="17067"/>
                  </a:moveTo>
                  <a:cubicBezTo>
                    <a:pt x="-2788" y="14887"/>
                    <a:pt x="-3224" y="12488"/>
                    <a:pt x="-2134" y="6602"/>
                  </a:cubicBezTo>
                  <a:cubicBezTo>
                    <a:pt x="-827" y="-156"/>
                    <a:pt x="45" y="-1028"/>
                    <a:pt x="4403" y="-156"/>
                  </a:cubicBezTo>
                  <a:cubicBezTo>
                    <a:pt x="10940" y="934"/>
                    <a:pt x="12901" y="11834"/>
                    <a:pt x="7672" y="16631"/>
                  </a:cubicBezTo>
                  <a:cubicBezTo>
                    <a:pt x="4621" y="19247"/>
                    <a:pt x="3531" y="19465"/>
                    <a:pt x="263" y="17067"/>
                  </a:cubicBezTo>
                  <a:close/>
                </a:path>
              </a:pathLst>
            </a:custGeom>
            <a:grpFill/>
            <a:ln w="218" cap="flat">
              <a:noFill/>
              <a:prstDash val="solid"/>
              <a:miter/>
            </a:ln>
          </p:spPr>
          <p:txBody>
            <a:bodyPr rtlCol="0" anchor="ctr"/>
            <a:lstStyle/>
            <a:p>
              <a:endParaRPr lang="en-GB" dirty="0"/>
            </a:p>
          </p:txBody>
        </p:sp>
        <p:sp>
          <p:nvSpPr>
            <p:cNvPr id="33" name="Freihandform: Form 32">
              <a:extLst>
                <a:ext uri="{FF2B5EF4-FFF2-40B4-BE49-F238E27FC236}">
                  <a16:creationId xmlns:a16="http://schemas.microsoft.com/office/drawing/2014/main" xmlns="" id="{3332F21F-F3B0-4F8E-8295-4F9C36733D83}"/>
                </a:ext>
              </a:extLst>
            </p:cNvPr>
            <p:cNvSpPr/>
            <p:nvPr/>
          </p:nvSpPr>
          <p:spPr>
            <a:xfrm flipV="1">
              <a:off x="4606343" y="5205024"/>
              <a:ext cx="224626" cy="332251"/>
            </a:xfrm>
            <a:custGeom>
              <a:avLst/>
              <a:gdLst>
                <a:gd name="connsiteX0" fmla="*/ 82327 w 224626"/>
                <a:gd name="connsiteY0" fmla="*/ 329327 h 332251"/>
                <a:gd name="connsiteX1" fmla="*/ 84724 w 224626"/>
                <a:gd name="connsiteY1" fmla="*/ 311887 h 332251"/>
                <a:gd name="connsiteX2" fmla="*/ 89518 w 224626"/>
                <a:gd name="connsiteY2" fmla="*/ 305128 h 332251"/>
                <a:gd name="connsiteX3" fmla="*/ 83199 w 224626"/>
                <a:gd name="connsiteY3" fmla="*/ 299896 h 332251"/>
                <a:gd name="connsiteX4" fmla="*/ 74047 w 224626"/>
                <a:gd name="connsiteY4" fmla="*/ 297062 h 332251"/>
                <a:gd name="connsiteX5" fmla="*/ 68381 w 224626"/>
                <a:gd name="connsiteY5" fmla="*/ 298370 h 332251"/>
                <a:gd name="connsiteX6" fmla="*/ 72739 w 224626"/>
                <a:gd name="connsiteY6" fmla="*/ 291176 h 332251"/>
                <a:gd name="connsiteX7" fmla="*/ 74918 w 224626"/>
                <a:gd name="connsiteY7" fmla="*/ 277441 h 332251"/>
                <a:gd name="connsiteX8" fmla="*/ 58357 w 224626"/>
                <a:gd name="connsiteY8" fmla="*/ 301858 h 332251"/>
                <a:gd name="connsiteX9" fmla="*/ 49859 w 224626"/>
                <a:gd name="connsiteY9" fmla="*/ 309052 h 332251"/>
                <a:gd name="connsiteX10" fmla="*/ 47026 w 224626"/>
                <a:gd name="connsiteY10" fmla="*/ 315811 h 332251"/>
                <a:gd name="connsiteX11" fmla="*/ 50077 w 224626"/>
                <a:gd name="connsiteY11" fmla="*/ 317991 h 332251"/>
                <a:gd name="connsiteX12" fmla="*/ 54653 w 224626"/>
                <a:gd name="connsiteY12" fmla="*/ 316465 h 332251"/>
                <a:gd name="connsiteX13" fmla="*/ 42450 w 224626"/>
                <a:gd name="connsiteY13" fmla="*/ 327365 h 332251"/>
                <a:gd name="connsiteX14" fmla="*/ 36785 w 224626"/>
                <a:gd name="connsiteY14" fmla="*/ 323005 h 332251"/>
                <a:gd name="connsiteX15" fmla="*/ 25018 w 224626"/>
                <a:gd name="connsiteY15" fmla="*/ 319953 h 332251"/>
                <a:gd name="connsiteX16" fmla="*/ 14340 w 224626"/>
                <a:gd name="connsiteY16" fmla="*/ 317773 h 332251"/>
                <a:gd name="connsiteX17" fmla="*/ 18045 w 224626"/>
                <a:gd name="connsiteY17" fmla="*/ 314285 h 332251"/>
                <a:gd name="connsiteX18" fmla="*/ 26761 w 224626"/>
                <a:gd name="connsiteY18" fmla="*/ 308398 h 332251"/>
                <a:gd name="connsiteX19" fmla="*/ 31773 w 224626"/>
                <a:gd name="connsiteY19" fmla="*/ 302294 h 332251"/>
                <a:gd name="connsiteX20" fmla="*/ 35259 w 224626"/>
                <a:gd name="connsiteY20" fmla="*/ 307308 h 332251"/>
                <a:gd name="connsiteX21" fmla="*/ 45937 w 224626"/>
                <a:gd name="connsiteY21" fmla="*/ 308616 h 332251"/>
                <a:gd name="connsiteX22" fmla="*/ 48116 w 224626"/>
                <a:gd name="connsiteY22" fmla="*/ 300768 h 332251"/>
                <a:gd name="connsiteX23" fmla="*/ 49205 w 224626"/>
                <a:gd name="connsiteY23" fmla="*/ 293574 h 332251"/>
                <a:gd name="connsiteX24" fmla="*/ 45937 w 224626"/>
                <a:gd name="connsiteY24" fmla="*/ 283764 h 332251"/>
                <a:gd name="connsiteX25" fmla="*/ 44629 w 224626"/>
                <a:gd name="connsiteY25" fmla="*/ 276351 h 332251"/>
                <a:gd name="connsiteX26" fmla="*/ 44193 w 224626"/>
                <a:gd name="connsiteY26" fmla="*/ 253897 h 332251"/>
                <a:gd name="connsiteX27" fmla="*/ 43976 w 224626"/>
                <a:gd name="connsiteY27" fmla="*/ 248010 h 332251"/>
                <a:gd name="connsiteX28" fmla="*/ 54217 w 224626"/>
                <a:gd name="connsiteY28" fmla="*/ 243650 h 332251"/>
                <a:gd name="connsiteX29" fmla="*/ 57268 w 224626"/>
                <a:gd name="connsiteY29" fmla="*/ 255423 h 332251"/>
                <a:gd name="connsiteX30" fmla="*/ 57704 w 224626"/>
                <a:gd name="connsiteY30" fmla="*/ 274607 h 332251"/>
                <a:gd name="connsiteX31" fmla="*/ 64895 w 224626"/>
                <a:gd name="connsiteY31" fmla="*/ 275479 h 332251"/>
                <a:gd name="connsiteX32" fmla="*/ 71432 w 224626"/>
                <a:gd name="connsiteY32" fmla="*/ 265669 h 332251"/>
                <a:gd name="connsiteX33" fmla="*/ 70778 w 224626"/>
                <a:gd name="connsiteY33" fmla="*/ 259129 h 332251"/>
                <a:gd name="connsiteX34" fmla="*/ 67727 w 224626"/>
                <a:gd name="connsiteY34" fmla="*/ 245612 h 332251"/>
                <a:gd name="connsiteX35" fmla="*/ 65984 w 224626"/>
                <a:gd name="connsiteY35" fmla="*/ 232096 h 332251"/>
                <a:gd name="connsiteX36" fmla="*/ 73611 w 224626"/>
                <a:gd name="connsiteY36" fmla="*/ 219451 h 332251"/>
                <a:gd name="connsiteX37" fmla="*/ 77751 w 224626"/>
                <a:gd name="connsiteY37" fmla="*/ 210295 h 332251"/>
                <a:gd name="connsiteX38" fmla="*/ 78623 w 224626"/>
                <a:gd name="connsiteY38" fmla="*/ 196561 h 332251"/>
                <a:gd name="connsiteX39" fmla="*/ 81891 w 224626"/>
                <a:gd name="connsiteY39" fmla="*/ 187622 h 332251"/>
                <a:gd name="connsiteX40" fmla="*/ 74265 w 224626"/>
                <a:gd name="connsiteY40" fmla="*/ 184788 h 332251"/>
                <a:gd name="connsiteX41" fmla="*/ 75354 w 224626"/>
                <a:gd name="connsiteY41" fmla="*/ 174106 h 332251"/>
                <a:gd name="connsiteX42" fmla="*/ 78841 w 224626"/>
                <a:gd name="connsiteY42" fmla="*/ 159499 h 332251"/>
                <a:gd name="connsiteX43" fmla="*/ 71214 w 224626"/>
                <a:gd name="connsiteY43" fmla="*/ 165385 h 332251"/>
                <a:gd name="connsiteX44" fmla="*/ 66202 w 224626"/>
                <a:gd name="connsiteY44" fmla="*/ 164513 h 332251"/>
                <a:gd name="connsiteX45" fmla="*/ 67292 w 224626"/>
                <a:gd name="connsiteY45" fmla="*/ 153613 h 332251"/>
                <a:gd name="connsiteX46" fmla="*/ 72957 w 224626"/>
                <a:gd name="connsiteY46" fmla="*/ 142713 h 332251"/>
                <a:gd name="connsiteX47" fmla="*/ 75136 w 224626"/>
                <a:gd name="connsiteY47" fmla="*/ 128760 h 332251"/>
                <a:gd name="connsiteX48" fmla="*/ 67727 w 224626"/>
                <a:gd name="connsiteY48" fmla="*/ 128760 h 332251"/>
                <a:gd name="connsiteX49" fmla="*/ 65984 w 224626"/>
                <a:gd name="connsiteY49" fmla="*/ 137044 h 332251"/>
                <a:gd name="connsiteX50" fmla="*/ 60319 w 224626"/>
                <a:gd name="connsiteY50" fmla="*/ 143803 h 332251"/>
                <a:gd name="connsiteX51" fmla="*/ 47462 w 224626"/>
                <a:gd name="connsiteY51" fmla="*/ 145983 h 332251"/>
                <a:gd name="connsiteX52" fmla="*/ 47898 w 224626"/>
                <a:gd name="connsiteY52" fmla="*/ 132248 h 332251"/>
                <a:gd name="connsiteX53" fmla="*/ 54217 w 224626"/>
                <a:gd name="connsiteY53" fmla="*/ 130940 h 332251"/>
                <a:gd name="connsiteX54" fmla="*/ 62280 w 224626"/>
                <a:gd name="connsiteY54" fmla="*/ 128324 h 332251"/>
                <a:gd name="connsiteX55" fmla="*/ 48116 w 224626"/>
                <a:gd name="connsiteY55" fmla="*/ 121130 h 332251"/>
                <a:gd name="connsiteX56" fmla="*/ 38964 w 224626"/>
                <a:gd name="connsiteY56" fmla="*/ 126798 h 332251"/>
                <a:gd name="connsiteX57" fmla="*/ 28068 w 224626"/>
                <a:gd name="connsiteY57" fmla="*/ 134428 h 332251"/>
                <a:gd name="connsiteX58" fmla="*/ 20442 w 224626"/>
                <a:gd name="connsiteY58" fmla="*/ 140315 h 332251"/>
                <a:gd name="connsiteX59" fmla="*/ 13904 w 224626"/>
                <a:gd name="connsiteY59" fmla="*/ 144675 h 332251"/>
                <a:gd name="connsiteX60" fmla="*/ 14122 w 224626"/>
                <a:gd name="connsiteY60" fmla="*/ 139007 h 332251"/>
                <a:gd name="connsiteX61" fmla="*/ 13033 w 224626"/>
                <a:gd name="connsiteY61" fmla="*/ 133774 h 332251"/>
                <a:gd name="connsiteX62" fmla="*/ 21095 w 224626"/>
                <a:gd name="connsiteY62" fmla="*/ 122438 h 332251"/>
                <a:gd name="connsiteX63" fmla="*/ 29812 w 224626"/>
                <a:gd name="connsiteY63" fmla="*/ 115898 h 332251"/>
                <a:gd name="connsiteX64" fmla="*/ 40925 w 224626"/>
                <a:gd name="connsiteY64" fmla="*/ 113064 h 332251"/>
                <a:gd name="connsiteX65" fmla="*/ 47244 w 224626"/>
                <a:gd name="connsiteY65" fmla="*/ 114372 h 332251"/>
                <a:gd name="connsiteX66" fmla="*/ 40707 w 224626"/>
                <a:gd name="connsiteY66" fmla="*/ 99547 h 332251"/>
                <a:gd name="connsiteX67" fmla="*/ 48116 w 224626"/>
                <a:gd name="connsiteY67" fmla="*/ 95187 h 332251"/>
                <a:gd name="connsiteX68" fmla="*/ 59665 w 224626"/>
                <a:gd name="connsiteY68" fmla="*/ 88211 h 332251"/>
                <a:gd name="connsiteX69" fmla="*/ 48987 w 224626"/>
                <a:gd name="connsiteY69" fmla="*/ 82325 h 332251"/>
                <a:gd name="connsiteX70" fmla="*/ 44847 w 224626"/>
                <a:gd name="connsiteY70" fmla="*/ 80799 h 332251"/>
                <a:gd name="connsiteX71" fmla="*/ 39617 w 224626"/>
                <a:gd name="connsiteY71" fmla="*/ 80799 h 332251"/>
                <a:gd name="connsiteX72" fmla="*/ 36131 w 224626"/>
                <a:gd name="connsiteY72" fmla="*/ 86685 h 332251"/>
                <a:gd name="connsiteX73" fmla="*/ 30683 w 224626"/>
                <a:gd name="connsiteY73" fmla="*/ 87557 h 332251"/>
                <a:gd name="connsiteX74" fmla="*/ 22185 w 224626"/>
                <a:gd name="connsiteY74" fmla="*/ 85377 h 332251"/>
                <a:gd name="connsiteX75" fmla="*/ 11072 w 224626"/>
                <a:gd name="connsiteY75" fmla="*/ 79709 h 332251"/>
                <a:gd name="connsiteX76" fmla="*/ 3663 w 224626"/>
                <a:gd name="connsiteY76" fmla="*/ 77528 h 332251"/>
                <a:gd name="connsiteX77" fmla="*/ -2657 w 224626"/>
                <a:gd name="connsiteY77" fmla="*/ 75784 h 332251"/>
                <a:gd name="connsiteX78" fmla="*/ 7585 w 224626"/>
                <a:gd name="connsiteY78" fmla="*/ 61396 h 332251"/>
                <a:gd name="connsiteX79" fmla="*/ 18262 w 224626"/>
                <a:gd name="connsiteY79" fmla="*/ 54856 h 332251"/>
                <a:gd name="connsiteX80" fmla="*/ 29376 w 224626"/>
                <a:gd name="connsiteY80" fmla="*/ 50278 h 332251"/>
                <a:gd name="connsiteX81" fmla="*/ 16083 w 224626"/>
                <a:gd name="connsiteY81" fmla="*/ 65756 h 332251"/>
                <a:gd name="connsiteX82" fmla="*/ 8239 w 224626"/>
                <a:gd name="connsiteY82" fmla="*/ 69898 h 332251"/>
                <a:gd name="connsiteX83" fmla="*/ 9764 w 224626"/>
                <a:gd name="connsiteY83" fmla="*/ 71424 h 332251"/>
                <a:gd name="connsiteX84" fmla="*/ 14994 w 224626"/>
                <a:gd name="connsiteY84" fmla="*/ 71860 h 332251"/>
                <a:gd name="connsiteX85" fmla="*/ 47026 w 224626"/>
                <a:gd name="connsiteY85" fmla="*/ 70116 h 332251"/>
                <a:gd name="connsiteX86" fmla="*/ 40271 w 224626"/>
                <a:gd name="connsiteY86" fmla="*/ 53548 h 332251"/>
                <a:gd name="connsiteX87" fmla="*/ 33952 w 224626"/>
                <a:gd name="connsiteY87" fmla="*/ 44609 h 332251"/>
                <a:gd name="connsiteX88" fmla="*/ 39617 w 224626"/>
                <a:gd name="connsiteY88" fmla="*/ 43737 h 332251"/>
                <a:gd name="connsiteX89" fmla="*/ 53563 w 224626"/>
                <a:gd name="connsiteY89" fmla="*/ 46353 h 332251"/>
                <a:gd name="connsiteX90" fmla="*/ 70560 w 224626"/>
                <a:gd name="connsiteY90" fmla="*/ 51368 h 332251"/>
                <a:gd name="connsiteX91" fmla="*/ 78405 w 224626"/>
                <a:gd name="connsiteY91" fmla="*/ 52458 h 332251"/>
                <a:gd name="connsiteX92" fmla="*/ 80366 w 224626"/>
                <a:gd name="connsiteY92" fmla="*/ 42211 h 332251"/>
                <a:gd name="connsiteX93" fmla="*/ 74047 w 224626"/>
                <a:gd name="connsiteY93" fmla="*/ 35889 h 332251"/>
                <a:gd name="connsiteX94" fmla="*/ 75790 w 224626"/>
                <a:gd name="connsiteY94" fmla="*/ 26515 h 332251"/>
                <a:gd name="connsiteX95" fmla="*/ 96927 w 224626"/>
                <a:gd name="connsiteY95" fmla="*/ 21719 h 332251"/>
                <a:gd name="connsiteX96" fmla="*/ 113924 w 224626"/>
                <a:gd name="connsiteY96" fmla="*/ 24771 h 332251"/>
                <a:gd name="connsiteX97" fmla="*/ 120243 w 224626"/>
                <a:gd name="connsiteY97" fmla="*/ 23245 h 332251"/>
                <a:gd name="connsiteX98" fmla="*/ 117846 w 224626"/>
                <a:gd name="connsiteY98" fmla="*/ 9510 h 332251"/>
                <a:gd name="connsiteX99" fmla="*/ 119371 w 224626"/>
                <a:gd name="connsiteY99" fmla="*/ 354 h 332251"/>
                <a:gd name="connsiteX100" fmla="*/ 124819 w 224626"/>
                <a:gd name="connsiteY100" fmla="*/ 4714 h 332251"/>
                <a:gd name="connsiteX101" fmla="*/ 131138 w 224626"/>
                <a:gd name="connsiteY101" fmla="*/ 10382 h 332251"/>
                <a:gd name="connsiteX102" fmla="*/ 136368 w 224626"/>
                <a:gd name="connsiteY102" fmla="*/ 15614 h 332251"/>
                <a:gd name="connsiteX103" fmla="*/ 105425 w 224626"/>
                <a:gd name="connsiteY103" fmla="*/ 45481 h 332251"/>
                <a:gd name="connsiteX104" fmla="*/ 98888 w 224626"/>
                <a:gd name="connsiteY104" fmla="*/ 57036 h 332251"/>
                <a:gd name="connsiteX105" fmla="*/ 101503 w 224626"/>
                <a:gd name="connsiteY105" fmla="*/ 64666 h 332251"/>
                <a:gd name="connsiteX106" fmla="*/ 106951 w 224626"/>
                <a:gd name="connsiteY106" fmla="*/ 70552 h 332251"/>
                <a:gd name="connsiteX107" fmla="*/ 108912 w 224626"/>
                <a:gd name="connsiteY107" fmla="*/ 85595 h 332251"/>
                <a:gd name="connsiteX108" fmla="*/ 108040 w 224626"/>
                <a:gd name="connsiteY108" fmla="*/ 94097 h 332251"/>
                <a:gd name="connsiteX109" fmla="*/ 104554 w 224626"/>
                <a:gd name="connsiteY109" fmla="*/ 98457 h 332251"/>
                <a:gd name="connsiteX110" fmla="*/ 99324 w 224626"/>
                <a:gd name="connsiteY110" fmla="*/ 98239 h 332251"/>
                <a:gd name="connsiteX111" fmla="*/ 98670 w 224626"/>
                <a:gd name="connsiteY111" fmla="*/ 105215 h 332251"/>
                <a:gd name="connsiteX112" fmla="*/ 91479 w 224626"/>
                <a:gd name="connsiteY112" fmla="*/ 115898 h 332251"/>
                <a:gd name="connsiteX113" fmla="*/ 89954 w 224626"/>
                <a:gd name="connsiteY113" fmla="*/ 105869 h 332251"/>
                <a:gd name="connsiteX114" fmla="*/ 85160 w 224626"/>
                <a:gd name="connsiteY114" fmla="*/ 96713 h 332251"/>
                <a:gd name="connsiteX115" fmla="*/ 77097 w 224626"/>
                <a:gd name="connsiteY115" fmla="*/ 84505 h 332251"/>
                <a:gd name="connsiteX116" fmla="*/ 85160 w 224626"/>
                <a:gd name="connsiteY116" fmla="*/ 78836 h 332251"/>
                <a:gd name="connsiteX117" fmla="*/ 88429 w 224626"/>
                <a:gd name="connsiteY117" fmla="*/ 85377 h 332251"/>
                <a:gd name="connsiteX118" fmla="*/ 95184 w 224626"/>
                <a:gd name="connsiteY118" fmla="*/ 90391 h 332251"/>
                <a:gd name="connsiteX119" fmla="*/ 98017 w 224626"/>
                <a:gd name="connsiteY119" fmla="*/ 84505 h 332251"/>
                <a:gd name="connsiteX120" fmla="*/ 99106 w 224626"/>
                <a:gd name="connsiteY120" fmla="*/ 73822 h 332251"/>
                <a:gd name="connsiteX121" fmla="*/ 96055 w 224626"/>
                <a:gd name="connsiteY121" fmla="*/ 66628 h 332251"/>
                <a:gd name="connsiteX122" fmla="*/ 89736 w 224626"/>
                <a:gd name="connsiteY122" fmla="*/ 62486 h 332251"/>
                <a:gd name="connsiteX123" fmla="*/ 78405 w 224626"/>
                <a:gd name="connsiteY123" fmla="*/ 60088 h 332251"/>
                <a:gd name="connsiteX124" fmla="*/ 65113 w 224626"/>
                <a:gd name="connsiteY124" fmla="*/ 55510 h 332251"/>
                <a:gd name="connsiteX125" fmla="*/ 57922 w 224626"/>
                <a:gd name="connsiteY125" fmla="*/ 62486 h 332251"/>
                <a:gd name="connsiteX126" fmla="*/ 59665 w 224626"/>
                <a:gd name="connsiteY126" fmla="*/ 74476 h 332251"/>
                <a:gd name="connsiteX127" fmla="*/ 71868 w 224626"/>
                <a:gd name="connsiteY127" fmla="*/ 71206 h 332251"/>
                <a:gd name="connsiteX128" fmla="*/ 81456 w 224626"/>
                <a:gd name="connsiteY128" fmla="*/ 71206 h 332251"/>
                <a:gd name="connsiteX129" fmla="*/ 74265 w 224626"/>
                <a:gd name="connsiteY129" fmla="*/ 78836 h 332251"/>
                <a:gd name="connsiteX130" fmla="*/ 70778 w 224626"/>
                <a:gd name="connsiteY130" fmla="*/ 83197 h 332251"/>
                <a:gd name="connsiteX131" fmla="*/ 68817 w 224626"/>
                <a:gd name="connsiteY131" fmla="*/ 92789 h 332251"/>
                <a:gd name="connsiteX132" fmla="*/ 64023 w 224626"/>
                <a:gd name="connsiteY132" fmla="*/ 103253 h 332251"/>
                <a:gd name="connsiteX133" fmla="*/ 58357 w 224626"/>
                <a:gd name="connsiteY133" fmla="*/ 109794 h 332251"/>
                <a:gd name="connsiteX134" fmla="*/ 59883 w 224626"/>
                <a:gd name="connsiteY134" fmla="*/ 115898 h 332251"/>
                <a:gd name="connsiteX135" fmla="*/ 69253 w 224626"/>
                <a:gd name="connsiteY135" fmla="*/ 106959 h 332251"/>
                <a:gd name="connsiteX136" fmla="*/ 84506 w 224626"/>
                <a:gd name="connsiteY136" fmla="*/ 114372 h 332251"/>
                <a:gd name="connsiteX137" fmla="*/ 84070 w 224626"/>
                <a:gd name="connsiteY137" fmla="*/ 122438 h 332251"/>
                <a:gd name="connsiteX138" fmla="*/ 79712 w 224626"/>
                <a:gd name="connsiteY138" fmla="*/ 119822 h 332251"/>
                <a:gd name="connsiteX139" fmla="*/ 78405 w 224626"/>
                <a:gd name="connsiteY139" fmla="*/ 118732 h 332251"/>
                <a:gd name="connsiteX140" fmla="*/ 83417 w 224626"/>
                <a:gd name="connsiteY140" fmla="*/ 127888 h 332251"/>
                <a:gd name="connsiteX141" fmla="*/ 97581 w 224626"/>
                <a:gd name="connsiteY141" fmla="*/ 127452 h 332251"/>
                <a:gd name="connsiteX142" fmla="*/ 103464 w 224626"/>
                <a:gd name="connsiteY142" fmla="*/ 120258 h 332251"/>
                <a:gd name="connsiteX143" fmla="*/ 110219 w 224626"/>
                <a:gd name="connsiteY143" fmla="*/ 115026 h 332251"/>
                <a:gd name="connsiteX144" fmla="*/ 113706 w 224626"/>
                <a:gd name="connsiteY144" fmla="*/ 106959 h 332251"/>
                <a:gd name="connsiteX145" fmla="*/ 120243 w 224626"/>
                <a:gd name="connsiteY145" fmla="*/ 108267 h 332251"/>
                <a:gd name="connsiteX146" fmla="*/ 120025 w 224626"/>
                <a:gd name="connsiteY146" fmla="*/ 121566 h 332251"/>
                <a:gd name="connsiteX147" fmla="*/ 108040 w 224626"/>
                <a:gd name="connsiteY147" fmla="*/ 142277 h 332251"/>
                <a:gd name="connsiteX148" fmla="*/ 113052 w 224626"/>
                <a:gd name="connsiteY148" fmla="*/ 146201 h 332251"/>
                <a:gd name="connsiteX149" fmla="*/ 123294 w 224626"/>
                <a:gd name="connsiteY149" fmla="*/ 153177 h 332251"/>
                <a:gd name="connsiteX150" fmla="*/ 117846 w 224626"/>
                <a:gd name="connsiteY150" fmla="*/ 156011 h 332251"/>
                <a:gd name="connsiteX151" fmla="*/ 115885 w 224626"/>
                <a:gd name="connsiteY151" fmla="*/ 167566 h 332251"/>
                <a:gd name="connsiteX152" fmla="*/ 123512 w 224626"/>
                <a:gd name="connsiteY152" fmla="*/ 172580 h 332251"/>
                <a:gd name="connsiteX153" fmla="*/ 134189 w 224626"/>
                <a:gd name="connsiteY153" fmla="*/ 151651 h 332251"/>
                <a:gd name="connsiteX154" fmla="*/ 127652 w 224626"/>
                <a:gd name="connsiteY154" fmla="*/ 142495 h 332251"/>
                <a:gd name="connsiteX155" fmla="*/ 121115 w 224626"/>
                <a:gd name="connsiteY155" fmla="*/ 133774 h 332251"/>
                <a:gd name="connsiteX156" fmla="*/ 131574 w 224626"/>
                <a:gd name="connsiteY156" fmla="*/ 132248 h 332251"/>
                <a:gd name="connsiteX157" fmla="*/ 141816 w 224626"/>
                <a:gd name="connsiteY157" fmla="*/ 132248 h 332251"/>
                <a:gd name="connsiteX158" fmla="*/ 142905 w 224626"/>
                <a:gd name="connsiteY158" fmla="*/ 143149 h 332251"/>
                <a:gd name="connsiteX159" fmla="*/ 146392 w 224626"/>
                <a:gd name="connsiteY159" fmla="*/ 149907 h 332251"/>
                <a:gd name="connsiteX160" fmla="*/ 152711 w 224626"/>
                <a:gd name="connsiteY160" fmla="*/ 147291 h 332251"/>
                <a:gd name="connsiteX161" fmla="*/ 152929 w 224626"/>
                <a:gd name="connsiteY161" fmla="*/ 159717 h 332251"/>
                <a:gd name="connsiteX162" fmla="*/ 160556 w 224626"/>
                <a:gd name="connsiteY162" fmla="*/ 163423 h 332251"/>
                <a:gd name="connsiteX163" fmla="*/ 164043 w 224626"/>
                <a:gd name="connsiteY163" fmla="*/ 162551 h 332251"/>
                <a:gd name="connsiteX164" fmla="*/ 163171 w 224626"/>
                <a:gd name="connsiteY164" fmla="*/ 165385 h 332251"/>
                <a:gd name="connsiteX165" fmla="*/ 172105 w 224626"/>
                <a:gd name="connsiteY165" fmla="*/ 195471 h 332251"/>
                <a:gd name="connsiteX166" fmla="*/ 182565 w 224626"/>
                <a:gd name="connsiteY166" fmla="*/ 198959 h 332251"/>
                <a:gd name="connsiteX167" fmla="*/ 189102 w 224626"/>
                <a:gd name="connsiteY167" fmla="*/ 199613 h 332251"/>
                <a:gd name="connsiteX168" fmla="*/ 194332 w 224626"/>
                <a:gd name="connsiteY168" fmla="*/ 195034 h 332251"/>
                <a:gd name="connsiteX169" fmla="*/ 190627 w 224626"/>
                <a:gd name="connsiteY169" fmla="*/ 186750 h 332251"/>
                <a:gd name="connsiteX170" fmla="*/ 183436 w 224626"/>
                <a:gd name="connsiteY170" fmla="*/ 183698 h 332251"/>
                <a:gd name="connsiteX171" fmla="*/ 174720 w 224626"/>
                <a:gd name="connsiteY171" fmla="*/ 182172 h 332251"/>
                <a:gd name="connsiteX172" fmla="*/ 167965 w 224626"/>
                <a:gd name="connsiteY172" fmla="*/ 181082 h 332251"/>
                <a:gd name="connsiteX173" fmla="*/ 171233 w 224626"/>
                <a:gd name="connsiteY173" fmla="*/ 177594 h 332251"/>
                <a:gd name="connsiteX174" fmla="*/ 174938 w 224626"/>
                <a:gd name="connsiteY174" fmla="*/ 172362 h 332251"/>
                <a:gd name="connsiteX175" fmla="*/ 177771 w 224626"/>
                <a:gd name="connsiteY175" fmla="*/ 168220 h 332251"/>
                <a:gd name="connsiteX176" fmla="*/ 183218 w 224626"/>
                <a:gd name="connsiteY176" fmla="*/ 170400 h 332251"/>
                <a:gd name="connsiteX177" fmla="*/ 195639 w 224626"/>
                <a:gd name="connsiteY177" fmla="*/ 167784 h 332251"/>
                <a:gd name="connsiteX178" fmla="*/ 202394 w 224626"/>
                <a:gd name="connsiteY178" fmla="*/ 165603 h 332251"/>
                <a:gd name="connsiteX179" fmla="*/ 203266 w 224626"/>
                <a:gd name="connsiteY179" fmla="*/ 172798 h 332251"/>
                <a:gd name="connsiteX180" fmla="*/ 213507 w 224626"/>
                <a:gd name="connsiteY180" fmla="*/ 183916 h 332251"/>
                <a:gd name="connsiteX181" fmla="*/ 211764 w 224626"/>
                <a:gd name="connsiteY181" fmla="*/ 199831 h 332251"/>
                <a:gd name="connsiteX182" fmla="*/ 195639 w 224626"/>
                <a:gd name="connsiteY182" fmla="*/ 208333 h 332251"/>
                <a:gd name="connsiteX183" fmla="*/ 182783 w 224626"/>
                <a:gd name="connsiteY183" fmla="*/ 207025 h 332251"/>
                <a:gd name="connsiteX184" fmla="*/ 162517 w 224626"/>
                <a:gd name="connsiteY184" fmla="*/ 220977 h 332251"/>
                <a:gd name="connsiteX185" fmla="*/ 171451 w 224626"/>
                <a:gd name="connsiteY185" fmla="*/ 231660 h 332251"/>
                <a:gd name="connsiteX186" fmla="*/ 178860 w 224626"/>
                <a:gd name="connsiteY186" fmla="*/ 244086 h 332251"/>
                <a:gd name="connsiteX187" fmla="*/ 176245 w 224626"/>
                <a:gd name="connsiteY187" fmla="*/ 251716 h 332251"/>
                <a:gd name="connsiteX188" fmla="*/ 171233 w 224626"/>
                <a:gd name="connsiteY188" fmla="*/ 251280 h 332251"/>
                <a:gd name="connsiteX189" fmla="*/ 159031 w 224626"/>
                <a:gd name="connsiteY189" fmla="*/ 232968 h 332251"/>
                <a:gd name="connsiteX190" fmla="*/ 160338 w 224626"/>
                <a:gd name="connsiteY190" fmla="*/ 241906 h 332251"/>
                <a:gd name="connsiteX191" fmla="*/ 162517 w 224626"/>
                <a:gd name="connsiteY191" fmla="*/ 263925 h 332251"/>
                <a:gd name="connsiteX192" fmla="*/ 165132 w 224626"/>
                <a:gd name="connsiteY192" fmla="*/ 285290 h 332251"/>
                <a:gd name="connsiteX193" fmla="*/ 171669 w 224626"/>
                <a:gd name="connsiteY193" fmla="*/ 280493 h 332251"/>
                <a:gd name="connsiteX194" fmla="*/ 171016 w 224626"/>
                <a:gd name="connsiteY194" fmla="*/ 275043 h 332251"/>
                <a:gd name="connsiteX195" fmla="*/ 174284 w 224626"/>
                <a:gd name="connsiteY195" fmla="*/ 278313 h 332251"/>
                <a:gd name="connsiteX196" fmla="*/ 179950 w 224626"/>
                <a:gd name="connsiteY196" fmla="*/ 281583 h 332251"/>
                <a:gd name="connsiteX197" fmla="*/ 184308 w 224626"/>
                <a:gd name="connsiteY197" fmla="*/ 283764 h 332251"/>
                <a:gd name="connsiteX198" fmla="*/ 189756 w 224626"/>
                <a:gd name="connsiteY198" fmla="*/ 288124 h 332251"/>
                <a:gd name="connsiteX199" fmla="*/ 195203 w 224626"/>
                <a:gd name="connsiteY199" fmla="*/ 292266 h 332251"/>
                <a:gd name="connsiteX200" fmla="*/ 189102 w 224626"/>
                <a:gd name="connsiteY200" fmla="*/ 295100 h 332251"/>
                <a:gd name="connsiteX201" fmla="*/ 181911 w 224626"/>
                <a:gd name="connsiteY201" fmla="*/ 300114 h 332251"/>
                <a:gd name="connsiteX202" fmla="*/ 173413 w 224626"/>
                <a:gd name="connsiteY202" fmla="*/ 301422 h 332251"/>
                <a:gd name="connsiteX203" fmla="*/ 164043 w 224626"/>
                <a:gd name="connsiteY203" fmla="*/ 294446 h 332251"/>
                <a:gd name="connsiteX204" fmla="*/ 157941 w 224626"/>
                <a:gd name="connsiteY204" fmla="*/ 295318 h 332251"/>
                <a:gd name="connsiteX205" fmla="*/ 155980 w 224626"/>
                <a:gd name="connsiteY205" fmla="*/ 290304 h 332251"/>
                <a:gd name="connsiteX206" fmla="*/ 156198 w 224626"/>
                <a:gd name="connsiteY206" fmla="*/ 281583 h 332251"/>
                <a:gd name="connsiteX207" fmla="*/ 151622 w 224626"/>
                <a:gd name="connsiteY207" fmla="*/ 288124 h 332251"/>
                <a:gd name="connsiteX208" fmla="*/ 145738 w 224626"/>
                <a:gd name="connsiteY208" fmla="*/ 294664 h 332251"/>
                <a:gd name="connsiteX209" fmla="*/ 143777 w 224626"/>
                <a:gd name="connsiteY209" fmla="*/ 297934 h 332251"/>
                <a:gd name="connsiteX210" fmla="*/ 140726 w 224626"/>
                <a:gd name="connsiteY210" fmla="*/ 299024 h 332251"/>
                <a:gd name="connsiteX211" fmla="*/ 136368 w 224626"/>
                <a:gd name="connsiteY211" fmla="*/ 293574 h 332251"/>
                <a:gd name="connsiteX212" fmla="*/ 133318 w 224626"/>
                <a:gd name="connsiteY212" fmla="*/ 290304 h 332251"/>
                <a:gd name="connsiteX213" fmla="*/ 131138 w 224626"/>
                <a:gd name="connsiteY213" fmla="*/ 295536 h 332251"/>
                <a:gd name="connsiteX214" fmla="*/ 132446 w 224626"/>
                <a:gd name="connsiteY214" fmla="*/ 299678 h 332251"/>
                <a:gd name="connsiteX215" fmla="*/ 131356 w 224626"/>
                <a:gd name="connsiteY215" fmla="*/ 311450 h 332251"/>
                <a:gd name="connsiteX216" fmla="*/ 139419 w 224626"/>
                <a:gd name="connsiteY216" fmla="*/ 321261 h 332251"/>
                <a:gd name="connsiteX217" fmla="*/ 146828 w 224626"/>
                <a:gd name="connsiteY217" fmla="*/ 327147 h 332251"/>
                <a:gd name="connsiteX218" fmla="*/ 147699 w 224626"/>
                <a:gd name="connsiteY218" fmla="*/ 332379 h 332251"/>
                <a:gd name="connsiteX219" fmla="*/ 140291 w 224626"/>
                <a:gd name="connsiteY219" fmla="*/ 328019 h 332251"/>
                <a:gd name="connsiteX220" fmla="*/ 128742 w 224626"/>
                <a:gd name="connsiteY220" fmla="*/ 326493 h 332251"/>
                <a:gd name="connsiteX221" fmla="*/ 120025 w 224626"/>
                <a:gd name="connsiteY221" fmla="*/ 324749 h 332251"/>
                <a:gd name="connsiteX222" fmla="*/ 120243 w 224626"/>
                <a:gd name="connsiteY222" fmla="*/ 307308 h 332251"/>
                <a:gd name="connsiteX223" fmla="*/ 120679 w 224626"/>
                <a:gd name="connsiteY223" fmla="*/ 298370 h 332251"/>
                <a:gd name="connsiteX224" fmla="*/ 119807 w 224626"/>
                <a:gd name="connsiteY224" fmla="*/ 297062 h 332251"/>
                <a:gd name="connsiteX225" fmla="*/ 113924 w 224626"/>
                <a:gd name="connsiteY225" fmla="*/ 290304 h 332251"/>
                <a:gd name="connsiteX226" fmla="*/ 105861 w 224626"/>
                <a:gd name="connsiteY226" fmla="*/ 283764 h 332251"/>
                <a:gd name="connsiteX227" fmla="*/ 99324 w 224626"/>
                <a:gd name="connsiteY227" fmla="*/ 287252 h 332251"/>
                <a:gd name="connsiteX228" fmla="*/ 106079 w 224626"/>
                <a:gd name="connsiteY228" fmla="*/ 297934 h 332251"/>
                <a:gd name="connsiteX229" fmla="*/ 110001 w 224626"/>
                <a:gd name="connsiteY229" fmla="*/ 302512 h 332251"/>
                <a:gd name="connsiteX230" fmla="*/ 111309 w 224626"/>
                <a:gd name="connsiteY230" fmla="*/ 309924 h 332251"/>
                <a:gd name="connsiteX231" fmla="*/ 105425 w 224626"/>
                <a:gd name="connsiteY231" fmla="*/ 319299 h 332251"/>
                <a:gd name="connsiteX232" fmla="*/ 100631 w 224626"/>
                <a:gd name="connsiteY232" fmla="*/ 313195 h 332251"/>
                <a:gd name="connsiteX233" fmla="*/ 102593 w 224626"/>
                <a:gd name="connsiteY233" fmla="*/ 309924 h 332251"/>
                <a:gd name="connsiteX234" fmla="*/ 93005 w 224626"/>
                <a:gd name="connsiteY234" fmla="*/ 316465 h 332251"/>
                <a:gd name="connsiteX235" fmla="*/ 86903 w 224626"/>
                <a:gd name="connsiteY235" fmla="*/ 327365 h 332251"/>
                <a:gd name="connsiteX236" fmla="*/ 82327 w 224626"/>
                <a:gd name="connsiteY236" fmla="*/ 329327 h 332251"/>
                <a:gd name="connsiteX237" fmla="*/ 93441 w 224626"/>
                <a:gd name="connsiteY237" fmla="*/ 289432 h 332251"/>
                <a:gd name="connsiteX238" fmla="*/ 93876 w 224626"/>
                <a:gd name="connsiteY238" fmla="*/ 283764 h 332251"/>
                <a:gd name="connsiteX239" fmla="*/ 90608 w 224626"/>
                <a:gd name="connsiteY239" fmla="*/ 280493 h 332251"/>
                <a:gd name="connsiteX240" fmla="*/ 94966 w 224626"/>
                <a:gd name="connsiteY240" fmla="*/ 277223 h 332251"/>
                <a:gd name="connsiteX241" fmla="*/ 99324 w 224626"/>
                <a:gd name="connsiteY241" fmla="*/ 272645 h 332251"/>
                <a:gd name="connsiteX242" fmla="*/ 94966 w 224626"/>
                <a:gd name="connsiteY242" fmla="*/ 269593 h 332251"/>
                <a:gd name="connsiteX243" fmla="*/ 90608 w 224626"/>
                <a:gd name="connsiteY243" fmla="*/ 268285 h 332251"/>
                <a:gd name="connsiteX244" fmla="*/ 87121 w 224626"/>
                <a:gd name="connsiteY244" fmla="*/ 261745 h 332251"/>
                <a:gd name="connsiteX245" fmla="*/ 88429 w 224626"/>
                <a:gd name="connsiteY245" fmla="*/ 251062 h 332251"/>
                <a:gd name="connsiteX246" fmla="*/ 90608 w 224626"/>
                <a:gd name="connsiteY246" fmla="*/ 255205 h 332251"/>
                <a:gd name="connsiteX247" fmla="*/ 110437 w 224626"/>
                <a:gd name="connsiteY247" fmla="*/ 258475 h 332251"/>
                <a:gd name="connsiteX248" fmla="*/ 121768 w 224626"/>
                <a:gd name="connsiteY248" fmla="*/ 274825 h 332251"/>
                <a:gd name="connsiteX249" fmla="*/ 126127 w 224626"/>
                <a:gd name="connsiteY249" fmla="*/ 283764 h 332251"/>
                <a:gd name="connsiteX250" fmla="*/ 132664 w 224626"/>
                <a:gd name="connsiteY250" fmla="*/ 281147 h 332251"/>
                <a:gd name="connsiteX251" fmla="*/ 136804 w 224626"/>
                <a:gd name="connsiteY251" fmla="*/ 281147 h 332251"/>
                <a:gd name="connsiteX252" fmla="*/ 143995 w 224626"/>
                <a:gd name="connsiteY252" fmla="*/ 280275 h 332251"/>
                <a:gd name="connsiteX253" fmla="*/ 142905 w 224626"/>
                <a:gd name="connsiteY253" fmla="*/ 271991 h 332251"/>
                <a:gd name="connsiteX254" fmla="*/ 135061 w 224626"/>
                <a:gd name="connsiteY254" fmla="*/ 271555 h 332251"/>
                <a:gd name="connsiteX255" fmla="*/ 132010 w 224626"/>
                <a:gd name="connsiteY255" fmla="*/ 267413 h 332251"/>
                <a:gd name="connsiteX256" fmla="*/ 121768 w 224626"/>
                <a:gd name="connsiteY256" fmla="*/ 251062 h 332251"/>
                <a:gd name="connsiteX257" fmla="*/ 123730 w 224626"/>
                <a:gd name="connsiteY257" fmla="*/ 244304 h 332251"/>
                <a:gd name="connsiteX258" fmla="*/ 131356 w 224626"/>
                <a:gd name="connsiteY258" fmla="*/ 245830 h 332251"/>
                <a:gd name="connsiteX259" fmla="*/ 140073 w 224626"/>
                <a:gd name="connsiteY259" fmla="*/ 256077 h 332251"/>
                <a:gd name="connsiteX260" fmla="*/ 149661 w 224626"/>
                <a:gd name="connsiteY260" fmla="*/ 258475 h 332251"/>
                <a:gd name="connsiteX261" fmla="*/ 152929 w 224626"/>
                <a:gd name="connsiteY261" fmla="*/ 242342 h 332251"/>
                <a:gd name="connsiteX262" fmla="*/ 146174 w 224626"/>
                <a:gd name="connsiteY262" fmla="*/ 229262 h 332251"/>
                <a:gd name="connsiteX263" fmla="*/ 145520 w 224626"/>
                <a:gd name="connsiteY263" fmla="*/ 241906 h 332251"/>
                <a:gd name="connsiteX264" fmla="*/ 146392 w 224626"/>
                <a:gd name="connsiteY264" fmla="*/ 244522 h 332251"/>
                <a:gd name="connsiteX265" fmla="*/ 128088 w 224626"/>
                <a:gd name="connsiteY265" fmla="*/ 228826 h 332251"/>
                <a:gd name="connsiteX266" fmla="*/ 130267 w 224626"/>
                <a:gd name="connsiteY266" fmla="*/ 220541 h 332251"/>
                <a:gd name="connsiteX267" fmla="*/ 142252 w 224626"/>
                <a:gd name="connsiteY267" fmla="*/ 217489 h 332251"/>
                <a:gd name="connsiteX268" fmla="*/ 151404 w 224626"/>
                <a:gd name="connsiteY268" fmla="*/ 214437 h 332251"/>
                <a:gd name="connsiteX269" fmla="*/ 153801 w 224626"/>
                <a:gd name="connsiteY269" fmla="*/ 207025 h 332251"/>
                <a:gd name="connsiteX270" fmla="*/ 137022 w 224626"/>
                <a:gd name="connsiteY270" fmla="*/ 195907 h 332251"/>
                <a:gd name="connsiteX271" fmla="*/ 135061 w 224626"/>
                <a:gd name="connsiteY271" fmla="*/ 203319 h 332251"/>
                <a:gd name="connsiteX272" fmla="*/ 135279 w 224626"/>
                <a:gd name="connsiteY272" fmla="*/ 210949 h 332251"/>
                <a:gd name="connsiteX273" fmla="*/ 125473 w 224626"/>
                <a:gd name="connsiteY273" fmla="*/ 211821 h 332251"/>
                <a:gd name="connsiteX274" fmla="*/ 121115 w 224626"/>
                <a:gd name="connsiteY274" fmla="*/ 210949 h 332251"/>
                <a:gd name="connsiteX275" fmla="*/ 111309 w 224626"/>
                <a:gd name="connsiteY275" fmla="*/ 207461 h 332251"/>
                <a:gd name="connsiteX276" fmla="*/ 108040 w 224626"/>
                <a:gd name="connsiteY276" fmla="*/ 213783 h 332251"/>
                <a:gd name="connsiteX277" fmla="*/ 108258 w 224626"/>
                <a:gd name="connsiteY277" fmla="*/ 226646 h 332251"/>
                <a:gd name="connsiteX278" fmla="*/ 100849 w 224626"/>
                <a:gd name="connsiteY278" fmla="*/ 226864 h 332251"/>
                <a:gd name="connsiteX279" fmla="*/ 94966 w 224626"/>
                <a:gd name="connsiteY279" fmla="*/ 221849 h 332251"/>
                <a:gd name="connsiteX280" fmla="*/ 101503 w 224626"/>
                <a:gd name="connsiteY280" fmla="*/ 208987 h 332251"/>
                <a:gd name="connsiteX281" fmla="*/ 106297 w 224626"/>
                <a:gd name="connsiteY281" fmla="*/ 202883 h 332251"/>
                <a:gd name="connsiteX282" fmla="*/ 111963 w 224626"/>
                <a:gd name="connsiteY282" fmla="*/ 198087 h 332251"/>
                <a:gd name="connsiteX283" fmla="*/ 125909 w 224626"/>
                <a:gd name="connsiteY283" fmla="*/ 193072 h 332251"/>
                <a:gd name="connsiteX284" fmla="*/ 134843 w 224626"/>
                <a:gd name="connsiteY284" fmla="*/ 187404 h 332251"/>
                <a:gd name="connsiteX285" fmla="*/ 130267 w 224626"/>
                <a:gd name="connsiteY285" fmla="*/ 182826 h 332251"/>
                <a:gd name="connsiteX286" fmla="*/ 125473 w 224626"/>
                <a:gd name="connsiteY286" fmla="*/ 178248 h 332251"/>
                <a:gd name="connsiteX287" fmla="*/ 120461 w 224626"/>
                <a:gd name="connsiteY287" fmla="*/ 183044 h 332251"/>
                <a:gd name="connsiteX288" fmla="*/ 114142 w 224626"/>
                <a:gd name="connsiteY288" fmla="*/ 186750 h 332251"/>
                <a:gd name="connsiteX289" fmla="*/ 105643 w 224626"/>
                <a:gd name="connsiteY289" fmla="*/ 192200 h 332251"/>
                <a:gd name="connsiteX290" fmla="*/ 94312 w 224626"/>
                <a:gd name="connsiteY290" fmla="*/ 197869 h 332251"/>
                <a:gd name="connsiteX291" fmla="*/ 91479 w 224626"/>
                <a:gd name="connsiteY291" fmla="*/ 200267 h 332251"/>
                <a:gd name="connsiteX292" fmla="*/ 87993 w 224626"/>
                <a:gd name="connsiteY292" fmla="*/ 217489 h 332251"/>
                <a:gd name="connsiteX293" fmla="*/ 79277 w 224626"/>
                <a:gd name="connsiteY293" fmla="*/ 220977 h 332251"/>
                <a:gd name="connsiteX294" fmla="*/ 75354 w 224626"/>
                <a:gd name="connsiteY294" fmla="*/ 224902 h 332251"/>
                <a:gd name="connsiteX295" fmla="*/ 77969 w 224626"/>
                <a:gd name="connsiteY295" fmla="*/ 230570 h 332251"/>
                <a:gd name="connsiteX296" fmla="*/ 89082 w 224626"/>
                <a:gd name="connsiteY296" fmla="*/ 232532 h 332251"/>
                <a:gd name="connsiteX297" fmla="*/ 96055 w 224626"/>
                <a:gd name="connsiteY297" fmla="*/ 235802 h 332251"/>
                <a:gd name="connsiteX298" fmla="*/ 113924 w 224626"/>
                <a:gd name="connsiteY298" fmla="*/ 235366 h 332251"/>
                <a:gd name="connsiteX299" fmla="*/ 110219 w 224626"/>
                <a:gd name="connsiteY299" fmla="*/ 245612 h 332251"/>
                <a:gd name="connsiteX300" fmla="*/ 103682 w 224626"/>
                <a:gd name="connsiteY300" fmla="*/ 247792 h 332251"/>
                <a:gd name="connsiteX301" fmla="*/ 92787 w 224626"/>
                <a:gd name="connsiteY301" fmla="*/ 248882 h 332251"/>
                <a:gd name="connsiteX302" fmla="*/ 96055 w 224626"/>
                <a:gd name="connsiteY302" fmla="*/ 246702 h 332251"/>
                <a:gd name="connsiteX303" fmla="*/ 99324 w 224626"/>
                <a:gd name="connsiteY303" fmla="*/ 243432 h 332251"/>
                <a:gd name="connsiteX304" fmla="*/ 89736 w 224626"/>
                <a:gd name="connsiteY304" fmla="*/ 240162 h 332251"/>
                <a:gd name="connsiteX305" fmla="*/ 78841 w 224626"/>
                <a:gd name="connsiteY305" fmla="*/ 245394 h 332251"/>
                <a:gd name="connsiteX306" fmla="*/ 82109 w 224626"/>
                <a:gd name="connsiteY306" fmla="*/ 278531 h 332251"/>
                <a:gd name="connsiteX307" fmla="*/ 84070 w 224626"/>
                <a:gd name="connsiteY307" fmla="*/ 284636 h 332251"/>
                <a:gd name="connsiteX308" fmla="*/ 93441 w 224626"/>
                <a:gd name="connsiteY308" fmla="*/ 289432 h 332251"/>
                <a:gd name="connsiteX309" fmla="*/ 118936 w 224626"/>
                <a:gd name="connsiteY309" fmla="*/ 271773 h 332251"/>
                <a:gd name="connsiteX310" fmla="*/ 113706 w 224626"/>
                <a:gd name="connsiteY310" fmla="*/ 267413 h 332251"/>
                <a:gd name="connsiteX311" fmla="*/ 114360 w 224626"/>
                <a:gd name="connsiteY311" fmla="*/ 275043 h 332251"/>
                <a:gd name="connsiteX312" fmla="*/ 118936 w 224626"/>
                <a:gd name="connsiteY312" fmla="*/ 271773 h 332251"/>
                <a:gd name="connsiteX313" fmla="*/ 157069 w 224626"/>
                <a:gd name="connsiteY313" fmla="*/ 220541 h 332251"/>
                <a:gd name="connsiteX314" fmla="*/ 153365 w 224626"/>
                <a:gd name="connsiteY314" fmla="*/ 220105 h 332251"/>
                <a:gd name="connsiteX315" fmla="*/ 152711 w 224626"/>
                <a:gd name="connsiteY315" fmla="*/ 224902 h 332251"/>
                <a:gd name="connsiteX316" fmla="*/ 156416 w 224626"/>
                <a:gd name="connsiteY316" fmla="*/ 225338 h 332251"/>
                <a:gd name="connsiteX317" fmla="*/ 157069 w 224626"/>
                <a:gd name="connsiteY317" fmla="*/ 220541 h 332251"/>
                <a:gd name="connsiteX318" fmla="*/ 166875 w 224626"/>
                <a:gd name="connsiteY318" fmla="*/ 204191 h 332251"/>
                <a:gd name="connsiteX319" fmla="*/ 158159 w 224626"/>
                <a:gd name="connsiteY319" fmla="*/ 188930 h 332251"/>
                <a:gd name="connsiteX320" fmla="*/ 152929 w 224626"/>
                <a:gd name="connsiteY320" fmla="*/ 179338 h 332251"/>
                <a:gd name="connsiteX321" fmla="*/ 143559 w 224626"/>
                <a:gd name="connsiteY321" fmla="*/ 166912 h 332251"/>
                <a:gd name="connsiteX322" fmla="*/ 144867 w 224626"/>
                <a:gd name="connsiteY322" fmla="*/ 170182 h 332251"/>
                <a:gd name="connsiteX323" fmla="*/ 144213 w 224626"/>
                <a:gd name="connsiteY323" fmla="*/ 179338 h 332251"/>
                <a:gd name="connsiteX324" fmla="*/ 147264 w 224626"/>
                <a:gd name="connsiteY324" fmla="*/ 191764 h 332251"/>
                <a:gd name="connsiteX325" fmla="*/ 153801 w 224626"/>
                <a:gd name="connsiteY325" fmla="*/ 199395 h 332251"/>
                <a:gd name="connsiteX326" fmla="*/ 158813 w 224626"/>
                <a:gd name="connsiteY326" fmla="*/ 204409 h 332251"/>
                <a:gd name="connsiteX327" fmla="*/ 166875 w 224626"/>
                <a:gd name="connsiteY327" fmla="*/ 204191 h 332251"/>
                <a:gd name="connsiteX328" fmla="*/ 203920 w 224626"/>
                <a:gd name="connsiteY328" fmla="*/ 196561 h 332251"/>
                <a:gd name="connsiteX329" fmla="*/ 201740 w 224626"/>
                <a:gd name="connsiteY329" fmla="*/ 194380 h 332251"/>
                <a:gd name="connsiteX330" fmla="*/ 199561 w 224626"/>
                <a:gd name="connsiteY330" fmla="*/ 196561 h 332251"/>
                <a:gd name="connsiteX331" fmla="*/ 201740 w 224626"/>
                <a:gd name="connsiteY331" fmla="*/ 198741 h 332251"/>
                <a:gd name="connsiteX332" fmla="*/ 203920 w 224626"/>
                <a:gd name="connsiteY332" fmla="*/ 196561 h 332251"/>
                <a:gd name="connsiteX333" fmla="*/ 104772 w 224626"/>
                <a:gd name="connsiteY333" fmla="*/ 183044 h 332251"/>
                <a:gd name="connsiteX334" fmla="*/ 109130 w 224626"/>
                <a:gd name="connsiteY334" fmla="*/ 169746 h 332251"/>
                <a:gd name="connsiteX335" fmla="*/ 99324 w 224626"/>
                <a:gd name="connsiteY335" fmla="*/ 171708 h 332251"/>
                <a:gd name="connsiteX336" fmla="*/ 92787 w 224626"/>
                <a:gd name="connsiteY336" fmla="*/ 173452 h 332251"/>
                <a:gd name="connsiteX337" fmla="*/ 86250 w 224626"/>
                <a:gd name="connsiteY337" fmla="*/ 176940 h 332251"/>
                <a:gd name="connsiteX338" fmla="*/ 96055 w 224626"/>
                <a:gd name="connsiteY338" fmla="*/ 185660 h 332251"/>
                <a:gd name="connsiteX339" fmla="*/ 104772 w 224626"/>
                <a:gd name="connsiteY339" fmla="*/ 183044 h 332251"/>
                <a:gd name="connsiteX340" fmla="*/ 100196 w 224626"/>
                <a:gd name="connsiteY340" fmla="*/ 158845 h 332251"/>
                <a:gd name="connsiteX341" fmla="*/ 97145 w 224626"/>
                <a:gd name="connsiteY341" fmla="*/ 147291 h 332251"/>
                <a:gd name="connsiteX342" fmla="*/ 87993 w 224626"/>
                <a:gd name="connsiteY342" fmla="*/ 145329 h 332251"/>
                <a:gd name="connsiteX343" fmla="*/ 77969 w 224626"/>
                <a:gd name="connsiteY343" fmla="*/ 149253 h 332251"/>
                <a:gd name="connsiteX344" fmla="*/ 83853 w 224626"/>
                <a:gd name="connsiteY344" fmla="*/ 152523 h 332251"/>
                <a:gd name="connsiteX345" fmla="*/ 89954 w 224626"/>
                <a:gd name="connsiteY345" fmla="*/ 157537 h 332251"/>
                <a:gd name="connsiteX346" fmla="*/ 100196 w 224626"/>
                <a:gd name="connsiteY346" fmla="*/ 158845 h 332251"/>
                <a:gd name="connsiteX347" fmla="*/ 107822 w 224626"/>
                <a:gd name="connsiteY347" fmla="*/ 31747 h 332251"/>
                <a:gd name="connsiteX348" fmla="*/ 86903 w 224626"/>
                <a:gd name="connsiteY348" fmla="*/ 31529 h 332251"/>
                <a:gd name="connsiteX349" fmla="*/ 93876 w 224626"/>
                <a:gd name="connsiteY349" fmla="*/ 34363 h 332251"/>
                <a:gd name="connsiteX350" fmla="*/ 102157 w 224626"/>
                <a:gd name="connsiteY350" fmla="*/ 38505 h 332251"/>
                <a:gd name="connsiteX351" fmla="*/ 107169 w 224626"/>
                <a:gd name="connsiteY351" fmla="*/ 38505 h 332251"/>
                <a:gd name="connsiteX352" fmla="*/ 107822 w 224626"/>
                <a:gd name="connsiteY352" fmla="*/ 31747 h 332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Lst>
              <a:rect l="l" t="t" r="r" b="b"/>
              <a:pathLst>
                <a:path w="224626" h="332251">
                  <a:moveTo>
                    <a:pt x="82327" y="329327"/>
                  </a:moveTo>
                  <a:cubicBezTo>
                    <a:pt x="78623" y="323441"/>
                    <a:pt x="79059" y="319299"/>
                    <a:pt x="84724" y="311887"/>
                  </a:cubicBezTo>
                  <a:lnTo>
                    <a:pt x="89518" y="305128"/>
                  </a:lnTo>
                  <a:lnTo>
                    <a:pt x="83199" y="299896"/>
                  </a:lnTo>
                  <a:cubicBezTo>
                    <a:pt x="78405" y="295754"/>
                    <a:pt x="76444" y="295100"/>
                    <a:pt x="74047" y="297062"/>
                  </a:cubicBezTo>
                  <a:cubicBezTo>
                    <a:pt x="72521" y="298370"/>
                    <a:pt x="69907" y="299024"/>
                    <a:pt x="68381" y="298370"/>
                  </a:cubicBezTo>
                  <a:cubicBezTo>
                    <a:pt x="66638" y="297934"/>
                    <a:pt x="67945" y="295318"/>
                    <a:pt x="72739" y="291176"/>
                  </a:cubicBezTo>
                  <a:cubicBezTo>
                    <a:pt x="81020" y="283764"/>
                    <a:pt x="82109" y="277223"/>
                    <a:pt x="74918" y="277441"/>
                  </a:cubicBezTo>
                  <a:cubicBezTo>
                    <a:pt x="68163" y="277441"/>
                    <a:pt x="55307" y="296626"/>
                    <a:pt x="58357" y="301858"/>
                  </a:cubicBezTo>
                  <a:cubicBezTo>
                    <a:pt x="60319" y="305564"/>
                    <a:pt x="59883" y="306000"/>
                    <a:pt x="49859" y="309052"/>
                  </a:cubicBezTo>
                  <a:cubicBezTo>
                    <a:pt x="48334" y="309488"/>
                    <a:pt x="47026" y="312541"/>
                    <a:pt x="47026" y="315811"/>
                  </a:cubicBezTo>
                  <a:cubicBezTo>
                    <a:pt x="47244" y="321479"/>
                    <a:pt x="47462" y="321697"/>
                    <a:pt x="50077" y="317991"/>
                  </a:cubicBezTo>
                  <a:cubicBezTo>
                    <a:pt x="52256" y="315157"/>
                    <a:pt x="53563" y="314721"/>
                    <a:pt x="54653" y="316465"/>
                  </a:cubicBezTo>
                  <a:cubicBezTo>
                    <a:pt x="56832" y="319735"/>
                    <a:pt x="48334" y="327365"/>
                    <a:pt x="42450" y="327365"/>
                  </a:cubicBezTo>
                  <a:cubicBezTo>
                    <a:pt x="39617" y="327365"/>
                    <a:pt x="37438" y="325621"/>
                    <a:pt x="36785" y="323005"/>
                  </a:cubicBezTo>
                  <a:cubicBezTo>
                    <a:pt x="35695" y="319081"/>
                    <a:pt x="34388" y="318645"/>
                    <a:pt x="25018" y="319953"/>
                  </a:cubicBezTo>
                  <a:cubicBezTo>
                    <a:pt x="16083" y="321261"/>
                    <a:pt x="14340" y="320825"/>
                    <a:pt x="14340" y="317773"/>
                  </a:cubicBezTo>
                  <a:cubicBezTo>
                    <a:pt x="14340" y="315811"/>
                    <a:pt x="16083" y="314285"/>
                    <a:pt x="18045" y="314285"/>
                  </a:cubicBezTo>
                  <a:cubicBezTo>
                    <a:pt x="20224" y="314285"/>
                    <a:pt x="24146" y="311669"/>
                    <a:pt x="26761" y="308398"/>
                  </a:cubicBezTo>
                  <a:lnTo>
                    <a:pt x="31773" y="302294"/>
                  </a:lnTo>
                  <a:lnTo>
                    <a:pt x="35259" y="307308"/>
                  </a:lnTo>
                  <a:cubicBezTo>
                    <a:pt x="39399" y="312977"/>
                    <a:pt x="41143" y="313195"/>
                    <a:pt x="45937" y="308616"/>
                  </a:cubicBezTo>
                  <a:cubicBezTo>
                    <a:pt x="47898" y="306436"/>
                    <a:pt x="48769" y="303384"/>
                    <a:pt x="48116" y="300768"/>
                  </a:cubicBezTo>
                  <a:cubicBezTo>
                    <a:pt x="47244" y="298588"/>
                    <a:pt x="47898" y="295318"/>
                    <a:pt x="49205" y="293574"/>
                  </a:cubicBezTo>
                  <a:cubicBezTo>
                    <a:pt x="52474" y="289650"/>
                    <a:pt x="50513" y="283764"/>
                    <a:pt x="45937" y="283764"/>
                  </a:cubicBezTo>
                  <a:cubicBezTo>
                    <a:pt x="42450" y="283764"/>
                    <a:pt x="41361" y="278313"/>
                    <a:pt x="44629" y="276351"/>
                  </a:cubicBezTo>
                  <a:cubicBezTo>
                    <a:pt x="46808" y="274825"/>
                    <a:pt x="46590" y="257603"/>
                    <a:pt x="44193" y="253897"/>
                  </a:cubicBezTo>
                  <a:cubicBezTo>
                    <a:pt x="43322" y="252588"/>
                    <a:pt x="43322" y="249972"/>
                    <a:pt x="43976" y="248010"/>
                  </a:cubicBezTo>
                  <a:cubicBezTo>
                    <a:pt x="45283" y="244740"/>
                    <a:pt x="46373" y="244304"/>
                    <a:pt x="54217" y="243650"/>
                  </a:cubicBezTo>
                  <a:cubicBezTo>
                    <a:pt x="55960" y="243432"/>
                    <a:pt x="56832" y="247356"/>
                    <a:pt x="57268" y="255423"/>
                  </a:cubicBezTo>
                  <a:cubicBezTo>
                    <a:pt x="57268" y="261963"/>
                    <a:pt x="57486" y="270683"/>
                    <a:pt x="57704" y="274607"/>
                  </a:cubicBezTo>
                  <a:cubicBezTo>
                    <a:pt x="57922" y="283110"/>
                    <a:pt x="60101" y="283546"/>
                    <a:pt x="64895" y="275479"/>
                  </a:cubicBezTo>
                  <a:cubicBezTo>
                    <a:pt x="67074" y="272209"/>
                    <a:pt x="69907" y="267849"/>
                    <a:pt x="71432" y="265669"/>
                  </a:cubicBezTo>
                  <a:cubicBezTo>
                    <a:pt x="73829" y="262399"/>
                    <a:pt x="73611" y="261309"/>
                    <a:pt x="70778" y="259129"/>
                  </a:cubicBezTo>
                  <a:cubicBezTo>
                    <a:pt x="68599" y="257385"/>
                    <a:pt x="67510" y="253024"/>
                    <a:pt x="67727" y="245612"/>
                  </a:cubicBezTo>
                  <a:cubicBezTo>
                    <a:pt x="67727" y="239726"/>
                    <a:pt x="67074" y="233622"/>
                    <a:pt x="65984" y="232096"/>
                  </a:cubicBezTo>
                  <a:cubicBezTo>
                    <a:pt x="62716" y="227518"/>
                    <a:pt x="66420" y="221631"/>
                    <a:pt x="73611" y="219451"/>
                  </a:cubicBezTo>
                  <a:cubicBezTo>
                    <a:pt x="81891" y="216835"/>
                    <a:pt x="84070" y="212039"/>
                    <a:pt x="77751" y="210295"/>
                  </a:cubicBezTo>
                  <a:cubicBezTo>
                    <a:pt x="70996" y="208551"/>
                    <a:pt x="71650" y="199177"/>
                    <a:pt x="78623" y="196561"/>
                  </a:cubicBezTo>
                  <a:cubicBezTo>
                    <a:pt x="84724" y="194162"/>
                    <a:pt x="84942" y="193508"/>
                    <a:pt x="81891" y="187622"/>
                  </a:cubicBezTo>
                  <a:cubicBezTo>
                    <a:pt x="80148" y="184570"/>
                    <a:pt x="78187" y="183698"/>
                    <a:pt x="74265" y="184788"/>
                  </a:cubicBezTo>
                  <a:cubicBezTo>
                    <a:pt x="66420" y="186750"/>
                    <a:pt x="67074" y="180864"/>
                    <a:pt x="75354" y="174106"/>
                  </a:cubicBezTo>
                  <a:cubicBezTo>
                    <a:pt x="82109" y="168220"/>
                    <a:pt x="84288" y="159499"/>
                    <a:pt x="78841" y="159499"/>
                  </a:cubicBezTo>
                  <a:cubicBezTo>
                    <a:pt x="77097" y="159499"/>
                    <a:pt x="73611" y="162115"/>
                    <a:pt x="71214" y="165385"/>
                  </a:cubicBezTo>
                  <a:cubicBezTo>
                    <a:pt x="66202" y="171490"/>
                    <a:pt x="62716" y="171054"/>
                    <a:pt x="66202" y="164513"/>
                  </a:cubicBezTo>
                  <a:cubicBezTo>
                    <a:pt x="67292" y="162333"/>
                    <a:pt x="67727" y="157319"/>
                    <a:pt x="67292" y="153613"/>
                  </a:cubicBezTo>
                  <a:cubicBezTo>
                    <a:pt x="66202" y="147509"/>
                    <a:pt x="67074" y="145983"/>
                    <a:pt x="72957" y="142713"/>
                  </a:cubicBezTo>
                  <a:cubicBezTo>
                    <a:pt x="81020" y="138135"/>
                    <a:pt x="81020" y="137044"/>
                    <a:pt x="75136" y="128760"/>
                  </a:cubicBezTo>
                  <a:cubicBezTo>
                    <a:pt x="69471" y="120476"/>
                    <a:pt x="65984" y="120694"/>
                    <a:pt x="67727" y="128760"/>
                  </a:cubicBezTo>
                  <a:cubicBezTo>
                    <a:pt x="68599" y="133120"/>
                    <a:pt x="68163" y="135736"/>
                    <a:pt x="65984" y="137044"/>
                  </a:cubicBezTo>
                  <a:cubicBezTo>
                    <a:pt x="64241" y="137917"/>
                    <a:pt x="61844" y="140969"/>
                    <a:pt x="60319" y="143803"/>
                  </a:cubicBezTo>
                  <a:cubicBezTo>
                    <a:pt x="57486" y="149035"/>
                    <a:pt x="51602" y="150125"/>
                    <a:pt x="47462" y="145983"/>
                  </a:cubicBezTo>
                  <a:cubicBezTo>
                    <a:pt x="43976" y="142495"/>
                    <a:pt x="44193" y="137262"/>
                    <a:pt x="47898" y="132248"/>
                  </a:cubicBezTo>
                  <a:cubicBezTo>
                    <a:pt x="50513" y="128760"/>
                    <a:pt x="51384" y="128542"/>
                    <a:pt x="54217" y="130940"/>
                  </a:cubicBezTo>
                  <a:cubicBezTo>
                    <a:pt x="57922" y="133992"/>
                    <a:pt x="62280" y="132466"/>
                    <a:pt x="62280" y="128324"/>
                  </a:cubicBezTo>
                  <a:cubicBezTo>
                    <a:pt x="62280" y="124400"/>
                    <a:pt x="55525" y="120912"/>
                    <a:pt x="48116" y="121130"/>
                  </a:cubicBezTo>
                  <a:cubicBezTo>
                    <a:pt x="43540" y="121348"/>
                    <a:pt x="40925" y="122874"/>
                    <a:pt x="38964" y="126798"/>
                  </a:cubicBezTo>
                  <a:cubicBezTo>
                    <a:pt x="37438" y="130068"/>
                    <a:pt x="33298" y="132902"/>
                    <a:pt x="28068" y="134428"/>
                  </a:cubicBezTo>
                  <a:cubicBezTo>
                    <a:pt x="22403" y="136172"/>
                    <a:pt x="20006" y="137917"/>
                    <a:pt x="20442" y="140315"/>
                  </a:cubicBezTo>
                  <a:cubicBezTo>
                    <a:pt x="21095" y="144893"/>
                    <a:pt x="16955" y="147727"/>
                    <a:pt x="13904" y="144675"/>
                  </a:cubicBezTo>
                  <a:cubicBezTo>
                    <a:pt x="12161" y="142931"/>
                    <a:pt x="12161" y="141405"/>
                    <a:pt x="14122" y="139007"/>
                  </a:cubicBezTo>
                  <a:cubicBezTo>
                    <a:pt x="16301" y="136608"/>
                    <a:pt x="16083" y="135518"/>
                    <a:pt x="13033" y="133774"/>
                  </a:cubicBezTo>
                  <a:cubicBezTo>
                    <a:pt x="7149" y="130504"/>
                    <a:pt x="12815" y="122438"/>
                    <a:pt x="21095" y="122438"/>
                  </a:cubicBezTo>
                  <a:cubicBezTo>
                    <a:pt x="26325" y="122438"/>
                    <a:pt x="28068" y="121130"/>
                    <a:pt x="29812" y="115898"/>
                  </a:cubicBezTo>
                  <a:cubicBezTo>
                    <a:pt x="32426" y="108486"/>
                    <a:pt x="35041" y="107831"/>
                    <a:pt x="40925" y="113064"/>
                  </a:cubicBezTo>
                  <a:cubicBezTo>
                    <a:pt x="43758" y="115680"/>
                    <a:pt x="45719" y="115898"/>
                    <a:pt x="47244" y="114372"/>
                  </a:cubicBezTo>
                  <a:cubicBezTo>
                    <a:pt x="50077" y="111538"/>
                    <a:pt x="46155" y="102817"/>
                    <a:pt x="40707" y="99547"/>
                  </a:cubicBezTo>
                  <a:cubicBezTo>
                    <a:pt x="38092" y="98021"/>
                    <a:pt x="39617" y="96931"/>
                    <a:pt x="48116" y="95187"/>
                  </a:cubicBezTo>
                  <a:cubicBezTo>
                    <a:pt x="56614" y="93225"/>
                    <a:pt x="59229" y="91699"/>
                    <a:pt x="59665" y="88211"/>
                  </a:cubicBezTo>
                  <a:cubicBezTo>
                    <a:pt x="60319" y="83197"/>
                    <a:pt x="53563" y="79491"/>
                    <a:pt x="48987" y="82325"/>
                  </a:cubicBezTo>
                  <a:cubicBezTo>
                    <a:pt x="47680" y="82979"/>
                    <a:pt x="45719" y="82543"/>
                    <a:pt x="44847" y="80799"/>
                  </a:cubicBezTo>
                  <a:cubicBezTo>
                    <a:pt x="43322" y="78618"/>
                    <a:pt x="42450" y="78618"/>
                    <a:pt x="39617" y="80799"/>
                  </a:cubicBezTo>
                  <a:cubicBezTo>
                    <a:pt x="37656" y="82543"/>
                    <a:pt x="36131" y="85159"/>
                    <a:pt x="36131" y="86685"/>
                  </a:cubicBezTo>
                  <a:cubicBezTo>
                    <a:pt x="36131" y="90173"/>
                    <a:pt x="32644" y="90827"/>
                    <a:pt x="30683" y="87557"/>
                  </a:cubicBezTo>
                  <a:cubicBezTo>
                    <a:pt x="30029" y="86467"/>
                    <a:pt x="26107" y="85377"/>
                    <a:pt x="22185" y="85377"/>
                  </a:cubicBezTo>
                  <a:cubicBezTo>
                    <a:pt x="16737" y="85377"/>
                    <a:pt x="13904" y="83851"/>
                    <a:pt x="11072" y="79709"/>
                  </a:cubicBezTo>
                  <a:cubicBezTo>
                    <a:pt x="7803" y="74476"/>
                    <a:pt x="7149" y="74476"/>
                    <a:pt x="3663" y="77528"/>
                  </a:cubicBezTo>
                  <a:cubicBezTo>
                    <a:pt x="176" y="80799"/>
                    <a:pt x="-478" y="80581"/>
                    <a:pt x="-2657" y="75784"/>
                  </a:cubicBezTo>
                  <a:cubicBezTo>
                    <a:pt x="-5707" y="68808"/>
                    <a:pt x="-695" y="61396"/>
                    <a:pt x="7585" y="61396"/>
                  </a:cubicBezTo>
                  <a:cubicBezTo>
                    <a:pt x="11725" y="61396"/>
                    <a:pt x="14994" y="59434"/>
                    <a:pt x="18262" y="54856"/>
                  </a:cubicBezTo>
                  <a:cubicBezTo>
                    <a:pt x="23492" y="47879"/>
                    <a:pt x="24800" y="47443"/>
                    <a:pt x="29376" y="50278"/>
                  </a:cubicBezTo>
                  <a:cubicBezTo>
                    <a:pt x="34170" y="53330"/>
                    <a:pt x="24364" y="64448"/>
                    <a:pt x="16083" y="65756"/>
                  </a:cubicBezTo>
                  <a:cubicBezTo>
                    <a:pt x="12379" y="66410"/>
                    <a:pt x="8892" y="68154"/>
                    <a:pt x="8239" y="69898"/>
                  </a:cubicBezTo>
                  <a:cubicBezTo>
                    <a:pt x="7585" y="71860"/>
                    <a:pt x="8239" y="72296"/>
                    <a:pt x="9764" y="71424"/>
                  </a:cubicBezTo>
                  <a:cubicBezTo>
                    <a:pt x="11289" y="70552"/>
                    <a:pt x="13468" y="70770"/>
                    <a:pt x="14994" y="71860"/>
                  </a:cubicBezTo>
                  <a:cubicBezTo>
                    <a:pt x="18698" y="74912"/>
                    <a:pt x="44847" y="73604"/>
                    <a:pt x="47026" y="70116"/>
                  </a:cubicBezTo>
                  <a:cubicBezTo>
                    <a:pt x="49641" y="65974"/>
                    <a:pt x="47244" y="60306"/>
                    <a:pt x="40271" y="53548"/>
                  </a:cubicBezTo>
                  <a:cubicBezTo>
                    <a:pt x="36785" y="50278"/>
                    <a:pt x="33952" y="46135"/>
                    <a:pt x="33952" y="44609"/>
                  </a:cubicBezTo>
                  <a:cubicBezTo>
                    <a:pt x="33952" y="41339"/>
                    <a:pt x="36567" y="40903"/>
                    <a:pt x="39617" y="43737"/>
                  </a:cubicBezTo>
                  <a:cubicBezTo>
                    <a:pt x="40707" y="45045"/>
                    <a:pt x="47026" y="46135"/>
                    <a:pt x="53563" y="46353"/>
                  </a:cubicBezTo>
                  <a:cubicBezTo>
                    <a:pt x="61844" y="46789"/>
                    <a:pt x="67074" y="48315"/>
                    <a:pt x="70560" y="51368"/>
                  </a:cubicBezTo>
                  <a:cubicBezTo>
                    <a:pt x="74700" y="55074"/>
                    <a:pt x="75790" y="55292"/>
                    <a:pt x="78405" y="52458"/>
                  </a:cubicBezTo>
                  <a:cubicBezTo>
                    <a:pt x="80366" y="50496"/>
                    <a:pt x="81020" y="46789"/>
                    <a:pt x="80366" y="42211"/>
                  </a:cubicBezTo>
                  <a:cubicBezTo>
                    <a:pt x="79277" y="35889"/>
                    <a:pt x="78405" y="35017"/>
                    <a:pt x="74047" y="35889"/>
                  </a:cubicBezTo>
                  <a:cubicBezTo>
                    <a:pt x="66638" y="37197"/>
                    <a:pt x="67510" y="32619"/>
                    <a:pt x="75790" y="26515"/>
                  </a:cubicBezTo>
                  <a:cubicBezTo>
                    <a:pt x="81891" y="22155"/>
                    <a:pt x="85160" y="21283"/>
                    <a:pt x="96927" y="21719"/>
                  </a:cubicBezTo>
                  <a:cubicBezTo>
                    <a:pt x="104554" y="21937"/>
                    <a:pt x="112181" y="23245"/>
                    <a:pt x="113924" y="24771"/>
                  </a:cubicBezTo>
                  <a:cubicBezTo>
                    <a:pt x="116539" y="26951"/>
                    <a:pt x="117846" y="26733"/>
                    <a:pt x="120243" y="23245"/>
                  </a:cubicBezTo>
                  <a:cubicBezTo>
                    <a:pt x="124601" y="17358"/>
                    <a:pt x="124165" y="14960"/>
                    <a:pt x="117846" y="9510"/>
                  </a:cubicBezTo>
                  <a:cubicBezTo>
                    <a:pt x="111745" y="4060"/>
                    <a:pt x="112398" y="354"/>
                    <a:pt x="119371" y="354"/>
                  </a:cubicBezTo>
                  <a:cubicBezTo>
                    <a:pt x="121768" y="354"/>
                    <a:pt x="124165" y="2098"/>
                    <a:pt x="124819" y="4714"/>
                  </a:cubicBezTo>
                  <a:cubicBezTo>
                    <a:pt x="125473" y="7112"/>
                    <a:pt x="128306" y="9728"/>
                    <a:pt x="131138" y="10382"/>
                  </a:cubicBezTo>
                  <a:cubicBezTo>
                    <a:pt x="134189" y="11254"/>
                    <a:pt x="136368" y="13434"/>
                    <a:pt x="136368" y="15614"/>
                  </a:cubicBezTo>
                  <a:cubicBezTo>
                    <a:pt x="136368" y="21283"/>
                    <a:pt x="110655" y="46135"/>
                    <a:pt x="105425" y="45481"/>
                  </a:cubicBezTo>
                  <a:cubicBezTo>
                    <a:pt x="99106" y="44827"/>
                    <a:pt x="95402" y="51368"/>
                    <a:pt x="98888" y="57036"/>
                  </a:cubicBezTo>
                  <a:cubicBezTo>
                    <a:pt x="100196" y="59434"/>
                    <a:pt x="101503" y="62922"/>
                    <a:pt x="101503" y="64666"/>
                  </a:cubicBezTo>
                  <a:cubicBezTo>
                    <a:pt x="101503" y="66628"/>
                    <a:pt x="103900" y="69244"/>
                    <a:pt x="106951" y="70552"/>
                  </a:cubicBezTo>
                  <a:cubicBezTo>
                    <a:pt x="113270" y="73386"/>
                    <a:pt x="114142" y="79927"/>
                    <a:pt x="108912" y="85595"/>
                  </a:cubicBezTo>
                  <a:cubicBezTo>
                    <a:pt x="106297" y="88647"/>
                    <a:pt x="106079" y="90391"/>
                    <a:pt x="108040" y="94097"/>
                  </a:cubicBezTo>
                  <a:cubicBezTo>
                    <a:pt x="111091" y="99983"/>
                    <a:pt x="109348" y="102163"/>
                    <a:pt x="104554" y="98457"/>
                  </a:cubicBezTo>
                  <a:cubicBezTo>
                    <a:pt x="101721" y="96059"/>
                    <a:pt x="100849" y="96059"/>
                    <a:pt x="99324" y="98239"/>
                  </a:cubicBezTo>
                  <a:cubicBezTo>
                    <a:pt x="98452" y="99765"/>
                    <a:pt x="98234" y="103035"/>
                    <a:pt x="98670" y="105215"/>
                  </a:cubicBezTo>
                  <a:cubicBezTo>
                    <a:pt x="99978" y="110012"/>
                    <a:pt x="95837" y="115898"/>
                    <a:pt x="91479" y="115898"/>
                  </a:cubicBezTo>
                  <a:cubicBezTo>
                    <a:pt x="89300" y="115898"/>
                    <a:pt x="88864" y="113500"/>
                    <a:pt x="89954" y="105869"/>
                  </a:cubicBezTo>
                  <a:cubicBezTo>
                    <a:pt x="91261" y="96059"/>
                    <a:pt x="91261" y="96059"/>
                    <a:pt x="85160" y="96713"/>
                  </a:cubicBezTo>
                  <a:cubicBezTo>
                    <a:pt x="77097" y="97585"/>
                    <a:pt x="73611" y="92135"/>
                    <a:pt x="77097" y="84505"/>
                  </a:cubicBezTo>
                  <a:cubicBezTo>
                    <a:pt x="78841" y="80581"/>
                    <a:pt x="81238" y="78836"/>
                    <a:pt x="85160" y="78836"/>
                  </a:cubicBezTo>
                  <a:cubicBezTo>
                    <a:pt x="91044" y="78836"/>
                    <a:pt x="91697" y="80145"/>
                    <a:pt x="88429" y="85377"/>
                  </a:cubicBezTo>
                  <a:cubicBezTo>
                    <a:pt x="86032" y="89301"/>
                    <a:pt x="89518" y="91917"/>
                    <a:pt x="95184" y="90391"/>
                  </a:cubicBezTo>
                  <a:cubicBezTo>
                    <a:pt x="98234" y="89519"/>
                    <a:pt x="98888" y="87993"/>
                    <a:pt x="98017" y="84505"/>
                  </a:cubicBezTo>
                  <a:cubicBezTo>
                    <a:pt x="97363" y="81889"/>
                    <a:pt x="98017" y="77092"/>
                    <a:pt x="99106" y="73822"/>
                  </a:cubicBezTo>
                  <a:cubicBezTo>
                    <a:pt x="101067" y="68590"/>
                    <a:pt x="100849" y="67936"/>
                    <a:pt x="96055" y="66628"/>
                  </a:cubicBezTo>
                  <a:cubicBezTo>
                    <a:pt x="93223" y="65974"/>
                    <a:pt x="90390" y="64012"/>
                    <a:pt x="89736" y="62486"/>
                  </a:cubicBezTo>
                  <a:cubicBezTo>
                    <a:pt x="89082" y="60742"/>
                    <a:pt x="85160" y="59870"/>
                    <a:pt x="78405" y="60088"/>
                  </a:cubicBezTo>
                  <a:cubicBezTo>
                    <a:pt x="70124" y="60306"/>
                    <a:pt x="67727" y="59434"/>
                    <a:pt x="65113" y="55510"/>
                  </a:cubicBezTo>
                  <a:cubicBezTo>
                    <a:pt x="59883" y="47661"/>
                    <a:pt x="57922" y="49623"/>
                    <a:pt x="57922" y="62486"/>
                  </a:cubicBezTo>
                  <a:cubicBezTo>
                    <a:pt x="57922" y="69026"/>
                    <a:pt x="58575" y="74476"/>
                    <a:pt x="59665" y="74476"/>
                  </a:cubicBezTo>
                  <a:cubicBezTo>
                    <a:pt x="60536" y="74476"/>
                    <a:pt x="65984" y="72950"/>
                    <a:pt x="71868" y="71206"/>
                  </a:cubicBezTo>
                  <a:cubicBezTo>
                    <a:pt x="85378" y="67064"/>
                    <a:pt x="89082" y="67064"/>
                    <a:pt x="81456" y="71206"/>
                  </a:cubicBezTo>
                  <a:cubicBezTo>
                    <a:pt x="78187" y="72950"/>
                    <a:pt x="75136" y="76438"/>
                    <a:pt x="74265" y="78836"/>
                  </a:cubicBezTo>
                  <a:cubicBezTo>
                    <a:pt x="73611" y="81235"/>
                    <a:pt x="71868" y="83197"/>
                    <a:pt x="70778" y="83197"/>
                  </a:cubicBezTo>
                  <a:cubicBezTo>
                    <a:pt x="69689" y="83197"/>
                    <a:pt x="68817" y="87557"/>
                    <a:pt x="68817" y="92789"/>
                  </a:cubicBezTo>
                  <a:cubicBezTo>
                    <a:pt x="68817" y="101291"/>
                    <a:pt x="68163" y="102599"/>
                    <a:pt x="64023" y="103253"/>
                  </a:cubicBezTo>
                  <a:cubicBezTo>
                    <a:pt x="60319" y="103689"/>
                    <a:pt x="58793" y="105651"/>
                    <a:pt x="58357" y="109794"/>
                  </a:cubicBezTo>
                  <a:cubicBezTo>
                    <a:pt x="57922" y="113282"/>
                    <a:pt x="58575" y="115898"/>
                    <a:pt x="59883" y="115898"/>
                  </a:cubicBezTo>
                  <a:cubicBezTo>
                    <a:pt x="62280" y="115898"/>
                    <a:pt x="68163" y="110448"/>
                    <a:pt x="69253" y="106959"/>
                  </a:cubicBezTo>
                  <a:cubicBezTo>
                    <a:pt x="70124" y="104125"/>
                    <a:pt x="77533" y="107613"/>
                    <a:pt x="84506" y="114372"/>
                  </a:cubicBezTo>
                  <a:cubicBezTo>
                    <a:pt x="89736" y="119168"/>
                    <a:pt x="89518" y="122438"/>
                    <a:pt x="84070" y="122438"/>
                  </a:cubicBezTo>
                  <a:cubicBezTo>
                    <a:pt x="81674" y="122438"/>
                    <a:pt x="79712" y="121348"/>
                    <a:pt x="79712" y="119822"/>
                  </a:cubicBezTo>
                  <a:cubicBezTo>
                    <a:pt x="79712" y="118514"/>
                    <a:pt x="79059" y="117860"/>
                    <a:pt x="78405" y="118732"/>
                  </a:cubicBezTo>
                  <a:cubicBezTo>
                    <a:pt x="77751" y="119386"/>
                    <a:pt x="79930" y="123528"/>
                    <a:pt x="83417" y="127888"/>
                  </a:cubicBezTo>
                  <a:cubicBezTo>
                    <a:pt x="91479" y="137917"/>
                    <a:pt x="98670" y="137699"/>
                    <a:pt x="97581" y="127452"/>
                  </a:cubicBezTo>
                  <a:cubicBezTo>
                    <a:pt x="96927" y="120694"/>
                    <a:pt x="97363" y="120258"/>
                    <a:pt x="103464" y="120258"/>
                  </a:cubicBezTo>
                  <a:cubicBezTo>
                    <a:pt x="109130" y="120258"/>
                    <a:pt x="110219" y="119386"/>
                    <a:pt x="110219" y="115026"/>
                  </a:cubicBezTo>
                  <a:cubicBezTo>
                    <a:pt x="110219" y="112192"/>
                    <a:pt x="111745" y="108486"/>
                    <a:pt x="113706" y="106959"/>
                  </a:cubicBezTo>
                  <a:cubicBezTo>
                    <a:pt x="116757" y="104561"/>
                    <a:pt x="117628" y="104779"/>
                    <a:pt x="120243" y="108267"/>
                  </a:cubicBezTo>
                  <a:cubicBezTo>
                    <a:pt x="124165" y="113718"/>
                    <a:pt x="124165" y="120040"/>
                    <a:pt x="120025" y="121566"/>
                  </a:cubicBezTo>
                  <a:cubicBezTo>
                    <a:pt x="115885" y="123310"/>
                    <a:pt x="108040" y="136826"/>
                    <a:pt x="108040" y="142277"/>
                  </a:cubicBezTo>
                  <a:cubicBezTo>
                    <a:pt x="108040" y="145547"/>
                    <a:pt x="109348" y="146637"/>
                    <a:pt x="113052" y="146201"/>
                  </a:cubicBezTo>
                  <a:cubicBezTo>
                    <a:pt x="119371" y="145329"/>
                    <a:pt x="123294" y="147945"/>
                    <a:pt x="123294" y="153177"/>
                  </a:cubicBezTo>
                  <a:cubicBezTo>
                    <a:pt x="123294" y="156665"/>
                    <a:pt x="122204" y="157101"/>
                    <a:pt x="117846" y="156011"/>
                  </a:cubicBezTo>
                  <a:cubicBezTo>
                    <a:pt x="109130" y="153831"/>
                    <a:pt x="107822" y="161025"/>
                    <a:pt x="115885" y="167566"/>
                  </a:cubicBezTo>
                  <a:cubicBezTo>
                    <a:pt x="119371" y="170182"/>
                    <a:pt x="122858" y="172580"/>
                    <a:pt x="123512" y="172580"/>
                  </a:cubicBezTo>
                  <a:cubicBezTo>
                    <a:pt x="125037" y="172580"/>
                    <a:pt x="134189" y="154485"/>
                    <a:pt x="134189" y="151651"/>
                  </a:cubicBezTo>
                  <a:cubicBezTo>
                    <a:pt x="134189" y="150561"/>
                    <a:pt x="131356" y="146419"/>
                    <a:pt x="127652" y="142495"/>
                  </a:cubicBezTo>
                  <a:cubicBezTo>
                    <a:pt x="124165" y="138571"/>
                    <a:pt x="121115" y="134646"/>
                    <a:pt x="121115" y="133774"/>
                  </a:cubicBezTo>
                  <a:cubicBezTo>
                    <a:pt x="121115" y="132902"/>
                    <a:pt x="125691" y="132248"/>
                    <a:pt x="131574" y="132248"/>
                  </a:cubicBezTo>
                  <a:lnTo>
                    <a:pt x="141816" y="132248"/>
                  </a:lnTo>
                  <a:lnTo>
                    <a:pt x="142905" y="143149"/>
                  </a:lnTo>
                  <a:cubicBezTo>
                    <a:pt x="143777" y="152523"/>
                    <a:pt x="144431" y="153395"/>
                    <a:pt x="146392" y="149907"/>
                  </a:cubicBezTo>
                  <a:cubicBezTo>
                    <a:pt x="148135" y="147073"/>
                    <a:pt x="150096" y="146201"/>
                    <a:pt x="152711" y="147291"/>
                  </a:cubicBezTo>
                  <a:cubicBezTo>
                    <a:pt x="156416" y="148599"/>
                    <a:pt x="156416" y="151215"/>
                    <a:pt x="152929" y="159717"/>
                  </a:cubicBezTo>
                  <a:cubicBezTo>
                    <a:pt x="150968" y="164077"/>
                    <a:pt x="158159" y="167566"/>
                    <a:pt x="160556" y="163423"/>
                  </a:cubicBezTo>
                  <a:cubicBezTo>
                    <a:pt x="161428" y="161897"/>
                    <a:pt x="163171" y="161461"/>
                    <a:pt x="164043" y="162551"/>
                  </a:cubicBezTo>
                  <a:cubicBezTo>
                    <a:pt x="164914" y="163641"/>
                    <a:pt x="164478" y="164949"/>
                    <a:pt x="163171" y="165385"/>
                  </a:cubicBezTo>
                  <a:cubicBezTo>
                    <a:pt x="157069" y="167566"/>
                    <a:pt x="162081" y="184788"/>
                    <a:pt x="172105" y="195471"/>
                  </a:cubicBezTo>
                  <a:cubicBezTo>
                    <a:pt x="177335" y="201139"/>
                    <a:pt x="178424" y="201575"/>
                    <a:pt x="182565" y="198959"/>
                  </a:cubicBezTo>
                  <a:cubicBezTo>
                    <a:pt x="186487" y="196561"/>
                    <a:pt x="187359" y="196561"/>
                    <a:pt x="189102" y="199613"/>
                  </a:cubicBezTo>
                  <a:cubicBezTo>
                    <a:pt x="192370" y="205499"/>
                    <a:pt x="194550" y="203537"/>
                    <a:pt x="194332" y="195034"/>
                  </a:cubicBezTo>
                  <a:cubicBezTo>
                    <a:pt x="194114" y="188930"/>
                    <a:pt x="193242" y="186750"/>
                    <a:pt x="190627" y="186750"/>
                  </a:cubicBezTo>
                  <a:cubicBezTo>
                    <a:pt x="188666" y="186750"/>
                    <a:pt x="185397" y="185442"/>
                    <a:pt x="183436" y="183698"/>
                  </a:cubicBezTo>
                  <a:cubicBezTo>
                    <a:pt x="181475" y="181954"/>
                    <a:pt x="177771" y="181300"/>
                    <a:pt x="174720" y="182172"/>
                  </a:cubicBezTo>
                  <a:cubicBezTo>
                    <a:pt x="171669" y="182826"/>
                    <a:pt x="168619" y="182390"/>
                    <a:pt x="167965" y="181082"/>
                  </a:cubicBezTo>
                  <a:cubicBezTo>
                    <a:pt x="167093" y="179774"/>
                    <a:pt x="168619" y="178248"/>
                    <a:pt x="171233" y="177594"/>
                  </a:cubicBezTo>
                  <a:cubicBezTo>
                    <a:pt x="174502" y="176722"/>
                    <a:pt x="175592" y="175196"/>
                    <a:pt x="174938" y="172362"/>
                  </a:cubicBezTo>
                  <a:cubicBezTo>
                    <a:pt x="174066" y="169310"/>
                    <a:pt x="174938" y="168220"/>
                    <a:pt x="177771" y="168220"/>
                  </a:cubicBezTo>
                  <a:cubicBezTo>
                    <a:pt x="180168" y="168220"/>
                    <a:pt x="182565" y="169310"/>
                    <a:pt x="183218" y="170400"/>
                  </a:cubicBezTo>
                  <a:cubicBezTo>
                    <a:pt x="185615" y="174324"/>
                    <a:pt x="192370" y="172798"/>
                    <a:pt x="195639" y="167784"/>
                  </a:cubicBezTo>
                  <a:cubicBezTo>
                    <a:pt x="198472" y="163641"/>
                    <a:pt x="199561" y="163205"/>
                    <a:pt x="202394" y="165603"/>
                  </a:cubicBezTo>
                  <a:cubicBezTo>
                    <a:pt x="205227" y="168002"/>
                    <a:pt x="205445" y="169310"/>
                    <a:pt x="203266" y="172798"/>
                  </a:cubicBezTo>
                  <a:cubicBezTo>
                    <a:pt x="199126" y="179556"/>
                    <a:pt x="203920" y="184788"/>
                    <a:pt x="213507" y="183916"/>
                  </a:cubicBezTo>
                  <a:cubicBezTo>
                    <a:pt x="223967" y="183044"/>
                    <a:pt x="223749" y="186532"/>
                    <a:pt x="211764" y="199831"/>
                  </a:cubicBezTo>
                  <a:cubicBezTo>
                    <a:pt x="202612" y="210295"/>
                    <a:pt x="201958" y="210731"/>
                    <a:pt x="195639" y="208333"/>
                  </a:cubicBezTo>
                  <a:cubicBezTo>
                    <a:pt x="191935" y="207025"/>
                    <a:pt x="186269" y="206371"/>
                    <a:pt x="182783" y="207025"/>
                  </a:cubicBezTo>
                  <a:cubicBezTo>
                    <a:pt x="176245" y="208115"/>
                    <a:pt x="162517" y="217489"/>
                    <a:pt x="162517" y="220977"/>
                  </a:cubicBezTo>
                  <a:cubicBezTo>
                    <a:pt x="162517" y="222067"/>
                    <a:pt x="166439" y="226864"/>
                    <a:pt x="171451" y="231660"/>
                  </a:cubicBezTo>
                  <a:cubicBezTo>
                    <a:pt x="177771" y="237764"/>
                    <a:pt x="179950" y="241470"/>
                    <a:pt x="178860" y="244086"/>
                  </a:cubicBezTo>
                  <a:cubicBezTo>
                    <a:pt x="177989" y="246048"/>
                    <a:pt x="176681" y="249536"/>
                    <a:pt x="176245" y="251716"/>
                  </a:cubicBezTo>
                  <a:cubicBezTo>
                    <a:pt x="174720" y="256731"/>
                    <a:pt x="171233" y="256513"/>
                    <a:pt x="171233" y="251280"/>
                  </a:cubicBezTo>
                  <a:cubicBezTo>
                    <a:pt x="171233" y="244522"/>
                    <a:pt x="162735" y="231442"/>
                    <a:pt x="159031" y="232968"/>
                  </a:cubicBezTo>
                  <a:cubicBezTo>
                    <a:pt x="155108" y="234494"/>
                    <a:pt x="155108" y="234930"/>
                    <a:pt x="160338" y="241906"/>
                  </a:cubicBezTo>
                  <a:cubicBezTo>
                    <a:pt x="164478" y="247356"/>
                    <a:pt x="164696" y="249318"/>
                    <a:pt x="162517" y="263925"/>
                  </a:cubicBezTo>
                  <a:cubicBezTo>
                    <a:pt x="160338" y="279185"/>
                    <a:pt x="160556" y="280493"/>
                    <a:pt x="165132" y="285290"/>
                  </a:cubicBezTo>
                  <a:cubicBezTo>
                    <a:pt x="171233" y="291612"/>
                    <a:pt x="175374" y="288778"/>
                    <a:pt x="171669" y="280493"/>
                  </a:cubicBezTo>
                  <a:cubicBezTo>
                    <a:pt x="170362" y="277441"/>
                    <a:pt x="169926" y="275043"/>
                    <a:pt x="171016" y="275043"/>
                  </a:cubicBezTo>
                  <a:cubicBezTo>
                    <a:pt x="172105" y="275043"/>
                    <a:pt x="173413" y="276569"/>
                    <a:pt x="174284" y="278313"/>
                  </a:cubicBezTo>
                  <a:cubicBezTo>
                    <a:pt x="174938" y="280057"/>
                    <a:pt x="177553" y="281583"/>
                    <a:pt x="179950" y="281583"/>
                  </a:cubicBezTo>
                  <a:cubicBezTo>
                    <a:pt x="182347" y="281583"/>
                    <a:pt x="184308" y="282674"/>
                    <a:pt x="184308" y="283764"/>
                  </a:cubicBezTo>
                  <a:cubicBezTo>
                    <a:pt x="184308" y="285072"/>
                    <a:pt x="186705" y="287034"/>
                    <a:pt x="189756" y="288124"/>
                  </a:cubicBezTo>
                  <a:cubicBezTo>
                    <a:pt x="192806" y="289214"/>
                    <a:pt x="195203" y="291176"/>
                    <a:pt x="195203" y="292266"/>
                  </a:cubicBezTo>
                  <a:cubicBezTo>
                    <a:pt x="195203" y="295536"/>
                    <a:pt x="190191" y="297934"/>
                    <a:pt x="189102" y="295100"/>
                  </a:cubicBezTo>
                  <a:cubicBezTo>
                    <a:pt x="187577" y="290304"/>
                    <a:pt x="184526" y="292484"/>
                    <a:pt x="181911" y="300114"/>
                  </a:cubicBezTo>
                  <a:cubicBezTo>
                    <a:pt x="178424" y="309488"/>
                    <a:pt x="173413" y="310142"/>
                    <a:pt x="173413" y="301422"/>
                  </a:cubicBezTo>
                  <a:cubicBezTo>
                    <a:pt x="173413" y="294882"/>
                    <a:pt x="167965" y="290522"/>
                    <a:pt x="164043" y="294446"/>
                  </a:cubicBezTo>
                  <a:cubicBezTo>
                    <a:pt x="162953" y="295536"/>
                    <a:pt x="160338" y="295754"/>
                    <a:pt x="157941" y="295318"/>
                  </a:cubicBezTo>
                  <a:cubicBezTo>
                    <a:pt x="154890" y="294446"/>
                    <a:pt x="154455" y="293356"/>
                    <a:pt x="155980" y="290304"/>
                  </a:cubicBezTo>
                  <a:cubicBezTo>
                    <a:pt x="158595" y="285290"/>
                    <a:pt x="158813" y="281583"/>
                    <a:pt x="156198" y="281583"/>
                  </a:cubicBezTo>
                  <a:cubicBezTo>
                    <a:pt x="155108" y="281583"/>
                    <a:pt x="153147" y="284636"/>
                    <a:pt x="151622" y="288124"/>
                  </a:cubicBezTo>
                  <a:cubicBezTo>
                    <a:pt x="150096" y="291830"/>
                    <a:pt x="147482" y="294664"/>
                    <a:pt x="145738" y="294664"/>
                  </a:cubicBezTo>
                  <a:cubicBezTo>
                    <a:pt x="143777" y="294664"/>
                    <a:pt x="142905" y="295972"/>
                    <a:pt x="143777" y="297934"/>
                  </a:cubicBezTo>
                  <a:cubicBezTo>
                    <a:pt x="144649" y="300768"/>
                    <a:pt x="144213" y="300986"/>
                    <a:pt x="140726" y="299024"/>
                  </a:cubicBezTo>
                  <a:cubicBezTo>
                    <a:pt x="138329" y="297716"/>
                    <a:pt x="136368" y="295318"/>
                    <a:pt x="136368" y="293574"/>
                  </a:cubicBezTo>
                  <a:cubicBezTo>
                    <a:pt x="136368" y="291830"/>
                    <a:pt x="135061" y="290304"/>
                    <a:pt x="133318" y="290304"/>
                  </a:cubicBezTo>
                  <a:cubicBezTo>
                    <a:pt x="128524" y="290304"/>
                    <a:pt x="127216" y="294010"/>
                    <a:pt x="131138" y="295536"/>
                  </a:cubicBezTo>
                  <a:cubicBezTo>
                    <a:pt x="133753" y="296626"/>
                    <a:pt x="133971" y="297716"/>
                    <a:pt x="132446" y="299678"/>
                  </a:cubicBezTo>
                  <a:cubicBezTo>
                    <a:pt x="131138" y="301204"/>
                    <a:pt x="130703" y="306436"/>
                    <a:pt x="131356" y="311450"/>
                  </a:cubicBezTo>
                  <a:cubicBezTo>
                    <a:pt x="132446" y="319735"/>
                    <a:pt x="133100" y="320607"/>
                    <a:pt x="139419" y="321261"/>
                  </a:cubicBezTo>
                  <a:cubicBezTo>
                    <a:pt x="144649" y="321697"/>
                    <a:pt x="146392" y="323005"/>
                    <a:pt x="146828" y="327147"/>
                  </a:cubicBezTo>
                  <a:lnTo>
                    <a:pt x="147699" y="332379"/>
                  </a:lnTo>
                  <a:lnTo>
                    <a:pt x="140291" y="328019"/>
                  </a:lnTo>
                  <a:cubicBezTo>
                    <a:pt x="133753" y="324095"/>
                    <a:pt x="132228" y="324095"/>
                    <a:pt x="128742" y="326493"/>
                  </a:cubicBezTo>
                  <a:cubicBezTo>
                    <a:pt x="122204" y="331289"/>
                    <a:pt x="118064" y="330417"/>
                    <a:pt x="120025" y="324749"/>
                  </a:cubicBezTo>
                  <a:cubicBezTo>
                    <a:pt x="123730" y="312105"/>
                    <a:pt x="123948" y="309270"/>
                    <a:pt x="120243" y="307308"/>
                  </a:cubicBezTo>
                  <a:cubicBezTo>
                    <a:pt x="115667" y="304692"/>
                    <a:pt x="115667" y="299678"/>
                    <a:pt x="120679" y="298370"/>
                  </a:cubicBezTo>
                  <a:cubicBezTo>
                    <a:pt x="123512" y="297498"/>
                    <a:pt x="123512" y="297280"/>
                    <a:pt x="119807" y="297062"/>
                  </a:cubicBezTo>
                  <a:cubicBezTo>
                    <a:pt x="116539" y="296844"/>
                    <a:pt x="114795" y="294882"/>
                    <a:pt x="113924" y="290304"/>
                  </a:cubicBezTo>
                  <a:cubicBezTo>
                    <a:pt x="112616" y="284854"/>
                    <a:pt x="111527" y="283764"/>
                    <a:pt x="105861" y="283764"/>
                  </a:cubicBezTo>
                  <a:cubicBezTo>
                    <a:pt x="101285" y="283764"/>
                    <a:pt x="99324" y="284854"/>
                    <a:pt x="99324" y="287252"/>
                  </a:cubicBezTo>
                  <a:cubicBezTo>
                    <a:pt x="99324" y="292266"/>
                    <a:pt x="103682" y="299242"/>
                    <a:pt x="106079" y="297934"/>
                  </a:cubicBezTo>
                  <a:cubicBezTo>
                    <a:pt x="109784" y="295536"/>
                    <a:pt x="112834" y="299242"/>
                    <a:pt x="110001" y="302512"/>
                  </a:cubicBezTo>
                  <a:cubicBezTo>
                    <a:pt x="108040" y="304910"/>
                    <a:pt x="108258" y="306654"/>
                    <a:pt x="111309" y="309924"/>
                  </a:cubicBezTo>
                  <a:cubicBezTo>
                    <a:pt x="116975" y="316247"/>
                    <a:pt x="114142" y="321043"/>
                    <a:pt x="105425" y="319299"/>
                  </a:cubicBezTo>
                  <a:cubicBezTo>
                    <a:pt x="96055" y="317555"/>
                    <a:pt x="95620" y="317119"/>
                    <a:pt x="100631" y="313195"/>
                  </a:cubicBezTo>
                  <a:cubicBezTo>
                    <a:pt x="102811" y="311450"/>
                    <a:pt x="103682" y="309924"/>
                    <a:pt x="102593" y="309924"/>
                  </a:cubicBezTo>
                  <a:cubicBezTo>
                    <a:pt x="101285" y="309924"/>
                    <a:pt x="96927" y="312977"/>
                    <a:pt x="93005" y="316465"/>
                  </a:cubicBezTo>
                  <a:cubicBezTo>
                    <a:pt x="87993" y="321043"/>
                    <a:pt x="86032" y="324531"/>
                    <a:pt x="86903" y="327365"/>
                  </a:cubicBezTo>
                  <a:cubicBezTo>
                    <a:pt x="88429" y="333251"/>
                    <a:pt x="85596" y="334559"/>
                    <a:pt x="82327" y="329327"/>
                  </a:cubicBezTo>
                  <a:close/>
                  <a:moveTo>
                    <a:pt x="93441" y="289432"/>
                  </a:moveTo>
                  <a:cubicBezTo>
                    <a:pt x="98017" y="285944"/>
                    <a:pt x="98234" y="283764"/>
                    <a:pt x="93876" y="283764"/>
                  </a:cubicBezTo>
                  <a:cubicBezTo>
                    <a:pt x="92133" y="283764"/>
                    <a:pt x="90608" y="282237"/>
                    <a:pt x="90608" y="280493"/>
                  </a:cubicBezTo>
                  <a:cubicBezTo>
                    <a:pt x="90608" y="278749"/>
                    <a:pt x="92569" y="277223"/>
                    <a:pt x="94966" y="277223"/>
                  </a:cubicBezTo>
                  <a:cubicBezTo>
                    <a:pt x="98017" y="277223"/>
                    <a:pt x="99324" y="275697"/>
                    <a:pt x="99324" y="272645"/>
                  </a:cubicBezTo>
                  <a:cubicBezTo>
                    <a:pt x="99324" y="269157"/>
                    <a:pt x="98452" y="268503"/>
                    <a:pt x="94966" y="269593"/>
                  </a:cubicBezTo>
                  <a:cubicBezTo>
                    <a:pt x="92133" y="270465"/>
                    <a:pt x="90608" y="270029"/>
                    <a:pt x="90608" y="268285"/>
                  </a:cubicBezTo>
                  <a:cubicBezTo>
                    <a:pt x="90608" y="266759"/>
                    <a:pt x="89082" y="263925"/>
                    <a:pt x="87121" y="261745"/>
                  </a:cubicBezTo>
                  <a:cubicBezTo>
                    <a:pt x="83417" y="257603"/>
                    <a:pt x="84288" y="251062"/>
                    <a:pt x="88429" y="251062"/>
                  </a:cubicBezTo>
                  <a:cubicBezTo>
                    <a:pt x="89518" y="251062"/>
                    <a:pt x="90608" y="253024"/>
                    <a:pt x="90608" y="255205"/>
                  </a:cubicBezTo>
                  <a:cubicBezTo>
                    <a:pt x="90608" y="260437"/>
                    <a:pt x="105208" y="262835"/>
                    <a:pt x="110437" y="258475"/>
                  </a:cubicBezTo>
                  <a:cubicBezTo>
                    <a:pt x="118500" y="251498"/>
                    <a:pt x="123730" y="259347"/>
                    <a:pt x="121768" y="274825"/>
                  </a:cubicBezTo>
                  <a:cubicBezTo>
                    <a:pt x="120679" y="283328"/>
                    <a:pt x="120897" y="283764"/>
                    <a:pt x="126127" y="283764"/>
                  </a:cubicBezTo>
                  <a:cubicBezTo>
                    <a:pt x="129177" y="283764"/>
                    <a:pt x="132010" y="282456"/>
                    <a:pt x="132664" y="281147"/>
                  </a:cubicBezTo>
                  <a:cubicBezTo>
                    <a:pt x="133318" y="278967"/>
                    <a:pt x="134189" y="278967"/>
                    <a:pt x="136804" y="281147"/>
                  </a:cubicBezTo>
                  <a:cubicBezTo>
                    <a:pt x="139637" y="283328"/>
                    <a:pt x="140944" y="283328"/>
                    <a:pt x="143995" y="280275"/>
                  </a:cubicBezTo>
                  <a:cubicBezTo>
                    <a:pt x="147264" y="276787"/>
                    <a:pt x="147264" y="276351"/>
                    <a:pt x="142905" y="271991"/>
                  </a:cubicBezTo>
                  <a:cubicBezTo>
                    <a:pt x="138329" y="267413"/>
                    <a:pt x="138329" y="267413"/>
                    <a:pt x="135061" y="271555"/>
                  </a:cubicBezTo>
                  <a:cubicBezTo>
                    <a:pt x="132228" y="275479"/>
                    <a:pt x="132010" y="275261"/>
                    <a:pt x="132010" y="267413"/>
                  </a:cubicBezTo>
                  <a:cubicBezTo>
                    <a:pt x="132010" y="258911"/>
                    <a:pt x="127216" y="251062"/>
                    <a:pt x="121768" y="251062"/>
                  </a:cubicBezTo>
                  <a:cubicBezTo>
                    <a:pt x="117410" y="251062"/>
                    <a:pt x="118500" y="247138"/>
                    <a:pt x="123730" y="244304"/>
                  </a:cubicBezTo>
                  <a:cubicBezTo>
                    <a:pt x="127652" y="242124"/>
                    <a:pt x="128959" y="242560"/>
                    <a:pt x="131356" y="245830"/>
                  </a:cubicBezTo>
                  <a:cubicBezTo>
                    <a:pt x="132882" y="248228"/>
                    <a:pt x="136804" y="252588"/>
                    <a:pt x="140073" y="256077"/>
                  </a:cubicBezTo>
                  <a:cubicBezTo>
                    <a:pt x="145302" y="261527"/>
                    <a:pt x="146174" y="261745"/>
                    <a:pt x="149661" y="258475"/>
                  </a:cubicBezTo>
                  <a:cubicBezTo>
                    <a:pt x="152493" y="255859"/>
                    <a:pt x="153365" y="252152"/>
                    <a:pt x="152929" y="242342"/>
                  </a:cubicBezTo>
                  <a:cubicBezTo>
                    <a:pt x="152493" y="227954"/>
                    <a:pt x="150968" y="225120"/>
                    <a:pt x="146174" y="229262"/>
                  </a:cubicBezTo>
                  <a:cubicBezTo>
                    <a:pt x="142252" y="232532"/>
                    <a:pt x="141816" y="238200"/>
                    <a:pt x="145520" y="241906"/>
                  </a:cubicBezTo>
                  <a:cubicBezTo>
                    <a:pt x="147046" y="243432"/>
                    <a:pt x="147264" y="244522"/>
                    <a:pt x="146392" y="244522"/>
                  </a:cubicBezTo>
                  <a:cubicBezTo>
                    <a:pt x="143995" y="244522"/>
                    <a:pt x="131574" y="234058"/>
                    <a:pt x="128088" y="228826"/>
                  </a:cubicBezTo>
                  <a:cubicBezTo>
                    <a:pt x="125473" y="225338"/>
                    <a:pt x="125691" y="224247"/>
                    <a:pt x="130267" y="220541"/>
                  </a:cubicBezTo>
                  <a:cubicBezTo>
                    <a:pt x="133753" y="217489"/>
                    <a:pt x="137240" y="216617"/>
                    <a:pt x="142252" y="217489"/>
                  </a:cubicBezTo>
                  <a:cubicBezTo>
                    <a:pt x="147699" y="218579"/>
                    <a:pt x="149661" y="217925"/>
                    <a:pt x="151404" y="214437"/>
                  </a:cubicBezTo>
                  <a:cubicBezTo>
                    <a:pt x="152711" y="211821"/>
                    <a:pt x="153801" y="208551"/>
                    <a:pt x="153801" y="207025"/>
                  </a:cubicBezTo>
                  <a:cubicBezTo>
                    <a:pt x="153583" y="202883"/>
                    <a:pt x="143777" y="196343"/>
                    <a:pt x="137022" y="195907"/>
                  </a:cubicBezTo>
                  <a:cubicBezTo>
                    <a:pt x="129395" y="195252"/>
                    <a:pt x="128088" y="200267"/>
                    <a:pt x="135061" y="203319"/>
                  </a:cubicBezTo>
                  <a:cubicBezTo>
                    <a:pt x="142688" y="206807"/>
                    <a:pt x="142688" y="212693"/>
                    <a:pt x="135279" y="210949"/>
                  </a:cubicBezTo>
                  <a:cubicBezTo>
                    <a:pt x="132228" y="210077"/>
                    <a:pt x="127870" y="210513"/>
                    <a:pt x="125473" y="211821"/>
                  </a:cubicBezTo>
                  <a:cubicBezTo>
                    <a:pt x="121986" y="213565"/>
                    <a:pt x="121115" y="213565"/>
                    <a:pt x="121115" y="210949"/>
                  </a:cubicBezTo>
                  <a:cubicBezTo>
                    <a:pt x="121115" y="206153"/>
                    <a:pt x="117846" y="205063"/>
                    <a:pt x="111309" y="207461"/>
                  </a:cubicBezTo>
                  <a:cubicBezTo>
                    <a:pt x="106515" y="209205"/>
                    <a:pt x="106079" y="210295"/>
                    <a:pt x="108040" y="213783"/>
                  </a:cubicBezTo>
                  <a:cubicBezTo>
                    <a:pt x="110655" y="218797"/>
                    <a:pt x="110873" y="222721"/>
                    <a:pt x="108258" y="226646"/>
                  </a:cubicBezTo>
                  <a:cubicBezTo>
                    <a:pt x="106951" y="228826"/>
                    <a:pt x="105425" y="229044"/>
                    <a:pt x="100849" y="226864"/>
                  </a:cubicBezTo>
                  <a:cubicBezTo>
                    <a:pt x="97581" y="225338"/>
                    <a:pt x="94966" y="223157"/>
                    <a:pt x="94966" y="221849"/>
                  </a:cubicBezTo>
                  <a:cubicBezTo>
                    <a:pt x="94966" y="215527"/>
                    <a:pt x="98017" y="209859"/>
                    <a:pt x="101503" y="208987"/>
                  </a:cubicBezTo>
                  <a:cubicBezTo>
                    <a:pt x="103682" y="208333"/>
                    <a:pt x="105861" y="205717"/>
                    <a:pt x="106297" y="202883"/>
                  </a:cubicBezTo>
                  <a:cubicBezTo>
                    <a:pt x="106733" y="198959"/>
                    <a:pt x="108258" y="197869"/>
                    <a:pt x="111963" y="198087"/>
                  </a:cubicBezTo>
                  <a:cubicBezTo>
                    <a:pt x="114578" y="198523"/>
                    <a:pt x="120897" y="196125"/>
                    <a:pt x="125909" y="193072"/>
                  </a:cubicBezTo>
                  <a:lnTo>
                    <a:pt x="134843" y="187404"/>
                  </a:lnTo>
                  <a:lnTo>
                    <a:pt x="130267" y="182826"/>
                  </a:lnTo>
                  <a:lnTo>
                    <a:pt x="125473" y="178248"/>
                  </a:lnTo>
                  <a:lnTo>
                    <a:pt x="120461" y="183044"/>
                  </a:lnTo>
                  <a:cubicBezTo>
                    <a:pt x="117628" y="185660"/>
                    <a:pt x="114795" y="187404"/>
                    <a:pt x="114142" y="186750"/>
                  </a:cubicBezTo>
                  <a:cubicBezTo>
                    <a:pt x="113488" y="186096"/>
                    <a:pt x="109566" y="188494"/>
                    <a:pt x="105643" y="192200"/>
                  </a:cubicBezTo>
                  <a:cubicBezTo>
                    <a:pt x="101067" y="196343"/>
                    <a:pt x="96709" y="198523"/>
                    <a:pt x="94312" y="197869"/>
                  </a:cubicBezTo>
                  <a:cubicBezTo>
                    <a:pt x="91261" y="197215"/>
                    <a:pt x="90608" y="197869"/>
                    <a:pt x="91479" y="200267"/>
                  </a:cubicBezTo>
                  <a:cubicBezTo>
                    <a:pt x="95837" y="211603"/>
                    <a:pt x="95402" y="213565"/>
                    <a:pt x="87993" y="217489"/>
                  </a:cubicBezTo>
                  <a:cubicBezTo>
                    <a:pt x="84070" y="219669"/>
                    <a:pt x="80148" y="221195"/>
                    <a:pt x="79277" y="220977"/>
                  </a:cubicBezTo>
                  <a:cubicBezTo>
                    <a:pt x="78405" y="220759"/>
                    <a:pt x="76662" y="222503"/>
                    <a:pt x="75354" y="224902"/>
                  </a:cubicBezTo>
                  <a:cubicBezTo>
                    <a:pt x="72521" y="230352"/>
                    <a:pt x="74918" y="235802"/>
                    <a:pt x="77969" y="230570"/>
                  </a:cubicBezTo>
                  <a:cubicBezTo>
                    <a:pt x="80584" y="225774"/>
                    <a:pt x="82545" y="226210"/>
                    <a:pt x="89082" y="232532"/>
                  </a:cubicBezTo>
                  <a:cubicBezTo>
                    <a:pt x="92351" y="236020"/>
                    <a:pt x="95184" y="237328"/>
                    <a:pt x="96055" y="235802"/>
                  </a:cubicBezTo>
                  <a:cubicBezTo>
                    <a:pt x="97581" y="233186"/>
                    <a:pt x="110001" y="232968"/>
                    <a:pt x="113924" y="235366"/>
                  </a:cubicBezTo>
                  <a:cubicBezTo>
                    <a:pt x="118064" y="237982"/>
                    <a:pt x="114795" y="247138"/>
                    <a:pt x="110219" y="245612"/>
                  </a:cubicBezTo>
                  <a:cubicBezTo>
                    <a:pt x="108258" y="244958"/>
                    <a:pt x="105208" y="245830"/>
                    <a:pt x="103682" y="247792"/>
                  </a:cubicBezTo>
                  <a:cubicBezTo>
                    <a:pt x="100631" y="251498"/>
                    <a:pt x="92787" y="252370"/>
                    <a:pt x="92787" y="248882"/>
                  </a:cubicBezTo>
                  <a:cubicBezTo>
                    <a:pt x="92787" y="247792"/>
                    <a:pt x="94312" y="246702"/>
                    <a:pt x="96055" y="246702"/>
                  </a:cubicBezTo>
                  <a:cubicBezTo>
                    <a:pt x="97799" y="246702"/>
                    <a:pt x="99324" y="245176"/>
                    <a:pt x="99324" y="243432"/>
                  </a:cubicBezTo>
                  <a:cubicBezTo>
                    <a:pt x="99324" y="241034"/>
                    <a:pt x="96709" y="240162"/>
                    <a:pt x="89736" y="240162"/>
                  </a:cubicBezTo>
                  <a:cubicBezTo>
                    <a:pt x="81456" y="240162"/>
                    <a:pt x="79930" y="240816"/>
                    <a:pt x="78841" y="245394"/>
                  </a:cubicBezTo>
                  <a:cubicBezTo>
                    <a:pt x="77315" y="251934"/>
                    <a:pt x="79712" y="277005"/>
                    <a:pt x="82109" y="278531"/>
                  </a:cubicBezTo>
                  <a:cubicBezTo>
                    <a:pt x="83199" y="279185"/>
                    <a:pt x="84070" y="281801"/>
                    <a:pt x="84070" y="284636"/>
                  </a:cubicBezTo>
                  <a:cubicBezTo>
                    <a:pt x="84070" y="292702"/>
                    <a:pt x="86903" y="294228"/>
                    <a:pt x="93441" y="289432"/>
                  </a:cubicBezTo>
                  <a:close/>
                  <a:moveTo>
                    <a:pt x="118936" y="271773"/>
                  </a:moveTo>
                  <a:cubicBezTo>
                    <a:pt x="123294" y="266541"/>
                    <a:pt x="118500" y="262835"/>
                    <a:pt x="113706" y="267413"/>
                  </a:cubicBezTo>
                  <a:cubicBezTo>
                    <a:pt x="110219" y="270901"/>
                    <a:pt x="110655" y="275043"/>
                    <a:pt x="114360" y="275043"/>
                  </a:cubicBezTo>
                  <a:cubicBezTo>
                    <a:pt x="115449" y="275043"/>
                    <a:pt x="117410" y="273517"/>
                    <a:pt x="118936" y="271773"/>
                  </a:cubicBezTo>
                  <a:close/>
                  <a:moveTo>
                    <a:pt x="157069" y="220541"/>
                  </a:moveTo>
                  <a:cubicBezTo>
                    <a:pt x="155980" y="218797"/>
                    <a:pt x="154672" y="218797"/>
                    <a:pt x="153365" y="220105"/>
                  </a:cubicBezTo>
                  <a:cubicBezTo>
                    <a:pt x="152058" y="221413"/>
                    <a:pt x="151840" y="223593"/>
                    <a:pt x="152711" y="224902"/>
                  </a:cubicBezTo>
                  <a:cubicBezTo>
                    <a:pt x="153801" y="226646"/>
                    <a:pt x="155108" y="226646"/>
                    <a:pt x="156416" y="225338"/>
                  </a:cubicBezTo>
                  <a:cubicBezTo>
                    <a:pt x="157723" y="224029"/>
                    <a:pt x="157941" y="221849"/>
                    <a:pt x="157069" y="220541"/>
                  </a:cubicBezTo>
                  <a:close/>
                  <a:moveTo>
                    <a:pt x="166875" y="204191"/>
                  </a:moveTo>
                  <a:cubicBezTo>
                    <a:pt x="166875" y="198741"/>
                    <a:pt x="162081" y="190238"/>
                    <a:pt x="158159" y="188930"/>
                  </a:cubicBezTo>
                  <a:cubicBezTo>
                    <a:pt x="155762" y="188276"/>
                    <a:pt x="153801" y="184570"/>
                    <a:pt x="152929" y="179338"/>
                  </a:cubicBezTo>
                  <a:cubicBezTo>
                    <a:pt x="151622" y="171054"/>
                    <a:pt x="146392" y="164077"/>
                    <a:pt x="143559" y="166912"/>
                  </a:cubicBezTo>
                  <a:cubicBezTo>
                    <a:pt x="142688" y="167784"/>
                    <a:pt x="143341" y="169310"/>
                    <a:pt x="144867" y="170182"/>
                  </a:cubicBezTo>
                  <a:cubicBezTo>
                    <a:pt x="147264" y="171708"/>
                    <a:pt x="147264" y="173452"/>
                    <a:pt x="144213" y="179338"/>
                  </a:cubicBezTo>
                  <a:cubicBezTo>
                    <a:pt x="140726" y="186532"/>
                    <a:pt x="140726" y="186532"/>
                    <a:pt x="147264" y="191764"/>
                  </a:cubicBezTo>
                  <a:cubicBezTo>
                    <a:pt x="150750" y="194598"/>
                    <a:pt x="153801" y="198087"/>
                    <a:pt x="153801" y="199395"/>
                  </a:cubicBezTo>
                  <a:cubicBezTo>
                    <a:pt x="153801" y="200921"/>
                    <a:pt x="155980" y="203101"/>
                    <a:pt x="158813" y="204409"/>
                  </a:cubicBezTo>
                  <a:cubicBezTo>
                    <a:pt x="165568" y="207897"/>
                    <a:pt x="166875" y="207897"/>
                    <a:pt x="166875" y="204191"/>
                  </a:cubicBezTo>
                  <a:close/>
                  <a:moveTo>
                    <a:pt x="203920" y="196561"/>
                  </a:moveTo>
                  <a:cubicBezTo>
                    <a:pt x="203920" y="195471"/>
                    <a:pt x="203048" y="194380"/>
                    <a:pt x="201740" y="194380"/>
                  </a:cubicBezTo>
                  <a:cubicBezTo>
                    <a:pt x="200651" y="194380"/>
                    <a:pt x="199561" y="195471"/>
                    <a:pt x="199561" y="196561"/>
                  </a:cubicBezTo>
                  <a:cubicBezTo>
                    <a:pt x="199561" y="197869"/>
                    <a:pt x="200651" y="198741"/>
                    <a:pt x="201740" y="198741"/>
                  </a:cubicBezTo>
                  <a:cubicBezTo>
                    <a:pt x="203048" y="198741"/>
                    <a:pt x="203920" y="197869"/>
                    <a:pt x="203920" y="196561"/>
                  </a:cubicBezTo>
                  <a:close/>
                  <a:moveTo>
                    <a:pt x="104772" y="183044"/>
                  </a:moveTo>
                  <a:cubicBezTo>
                    <a:pt x="112398" y="182172"/>
                    <a:pt x="114795" y="175196"/>
                    <a:pt x="109130" y="169746"/>
                  </a:cubicBezTo>
                  <a:cubicBezTo>
                    <a:pt x="105425" y="165821"/>
                    <a:pt x="99324" y="167130"/>
                    <a:pt x="99324" y="171708"/>
                  </a:cubicBezTo>
                  <a:cubicBezTo>
                    <a:pt x="99324" y="173888"/>
                    <a:pt x="97581" y="174324"/>
                    <a:pt x="92787" y="173452"/>
                  </a:cubicBezTo>
                  <a:cubicBezTo>
                    <a:pt x="87121" y="172144"/>
                    <a:pt x="86250" y="172580"/>
                    <a:pt x="86250" y="176940"/>
                  </a:cubicBezTo>
                  <a:cubicBezTo>
                    <a:pt x="86250" y="182608"/>
                    <a:pt x="92787" y="188494"/>
                    <a:pt x="96055" y="185660"/>
                  </a:cubicBezTo>
                  <a:cubicBezTo>
                    <a:pt x="97145" y="184570"/>
                    <a:pt x="101285" y="183480"/>
                    <a:pt x="104772" y="183044"/>
                  </a:cubicBezTo>
                  <a:close/>
                  <a:moveTo>
                    <a:pt x="100196" y="158845"/>
                  </a:moveTo>
                  <a:cubicBezTo>
                    <a:pt x="105861" y="154703"/>
                    <a:pt x="103900" y="147509"/>
                    <a:pt x="97145" y="147291"/>
                  </a:cubicBezTo>
                  <a:cubicBezTo>
                    <a:pt x="94094" y="147073"/>
                    <a:pt x="89954" y="146201"/>
                    <a:pt x="87993" y="145329"/>
                  </a:cubicBezTo>
                  <a:cubicBezTo>
                    <a:pt x="82981" y="143367"/>
                    <a:pt x="76880" y="145547"/>
                    <a:pt x="77969" y="149253"/>
                  </a:cubicBezTo>
                  <a:cubicBezTo>
                    <a:pt x="78623" y="150561"/>
                    <a:pt x="81238" y="152305"/>
                    <a:pt x="83853" y="152523"/>
                  </a:cubicBezTo>
                  <a:cubicBezTo>
                    <a:pt x="86685" y="152959"/>
                    <a:pt x="89518" y="155139"/>
                    <a:pt x="89954" y="157537"/>
                  </a:cubicBezTo>
                  <a:cubicBezTo>
                    <a:pt x="91261" y="162333"/>
                    <a:pt x="94748" y="162769"/>
                    <a:pt x="100196" y="158845"/>
                  </a:cubicBezTo>
                  <a:close/>
                  <a:moveTo>
                    <a:pt x="107822" y="31747"/>
                  </a:moveTo>
                  <a:cubicBezTo>
                    <a:pt x="104990" y="28259"/>
                    <a:pt x="85596" y="28041"/>
                    <a:pt x="86903" y="31529"/>
                  </a:cubicBezTo>
                  <a:cubicBezTo>
                    <a:pt x="87339" y="33055"/>
                    <a:pt x="90390" y="34145"/>
                    <a:pt x="93876" y="34363"/>
                  </a:cubicBezTo>
                  <a:cubicBezTo>
                    <a:pt x="97145" y="34581"/>
                    <a:pt x="100849" y="36325"/>
                    <a:pt x="102157" y="38505"/>
                  </a:cubicBezTo>
                  <a:cubicBezTo>
                    <a:pt x="104118" y="42429"/>
                    <a:pt x="104336" y="42429"/>
                    <a:pt x="107169" y="38505"/>
                  </a:cubicBezTo>
                  <a:cubicBezTo>
                    <a:pt x="109348" y="35671"/>
                    <a:pt x="109566" y="33709"/>
                    <a:pt x="107822" y="31747"/>
                  </a:cubicBezTo>
                  <a:close/>
                </a:path>
              </a:pathLst>
            </a:custGeom>
            <a:grpFill/>
            <a:ln w="218" cap="flat">
              <a:noFill/>
              <a:prstDash val="solid"/>
              <a:miter/>
            </a:ln>
          </p:spPr>
          <p:txBody>
            <a:bodyPr rtlCol="0" anchor="ctr"/>
            <a:lstStyle/>
            <a:p>
              <a:endParaRPr lang="en-GB" dirty="0"/>
            </a:p>
          </p:txBody>
        </p:sp>
        <p:sp>
          <p:nvSpPr>
            <p:cNvPr id="34" name="Freihandform: Form 33">
              <a:extLst>
                <a:ext uri="{FF2B5EF4-FFF2-40B4-BE49-F238E27FC236}">
                  <a16:creationId xmlns:a16="http://schemas.microsoft.com/office/drawing/2014/main" xmlns="" id="{F33D21EA-4ECB-4CE3-9C18-63CD19DE8CE7}"/>
                </a:ext>
              </a:extLst>
            </p:cNvPr>
            <p:cNvSpPr/>
            <p:nvPr/>
          </p:nvSpPr>
          <p:spPr>
            <a:xfrm flipV="1">
              <a:off x="4726658" y="5304007"/>
              <a:ext cx="4358" cy="5667"/>
            </a:xfrm>
            <a:custGeom>
              <a:avLst/>
              <a:gdLst>
                <a:gd name="connsiteX0" fmla="*/ -3600 w 4358"/>
                <a:gd name="connsiteY0" fmla="*/ 3735 h 5667"/>
                <a:gd name="connsiteX1" fmla="*/ -1421 w 4358"/>
                <a:gd name="connsiteY1" fmla="*/ 246 h 5667"/>
                <a:gd name="connsiteX2" fmla="*/ 758 w 4358"/>
                <a:gd name="connsiteY2" fmla="*/ 2209 h 5667"/>
                <a:gd name="connsiteX3" fmla="*/ -1421 w 4358"/>
                <a:gd name="connsiteY3" fmla="*/ 5697 h 5667"/>
                <a:gd name="connsiteX4" fmla="*/ -3600 w 4358"/>
                <a:gd name="connsiteY4" fmla="*/ 3735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3600" y="3735"/>
                  </a:moveTo>
                  <a:cubicBezTo>
                    <a:pt x="-3600" y="2427"/>
                    <a:pt x="-2510" y="900"/>
                    <a:pt x="-1421" y="246"/>
                  </a:cubicBezTo>
                  <a:cubicBezTo>
                    <a:pt x="-113" y="-408"/>
                    <a:pt x="758" y="464"/>
                    <a:pt x="758" y="2209"/>
                  </a:cubicBezTo>
                  <a:cubicBezTo>
                    <a:pt x="758" y="4171"/>
                    <a:pt x="-113" y="5697"/>
                    <a:pt x="-1421" y="5697"/>
                  </a:cubicBezTo>
                  <a:cubicBezTo>
                    <a:pt x="-2510" y="5697"/>
                    <a:pt x="-3600" y="4825"/>
                    <a:pt x="-3600" y="3735"/>
                  </a:cubicBezTo>
                  <a:close/>
                </a:path>
              </a:pathLst>
            </a:custGeom>
            <a:grpFill/>
            <a:ln w="218" cap="flat">
              <a:noFill/>
              <a:prstDash val="solid"/>
              <a:miter/>
            </a:ln>
          </p:spPr>
          <p:txBody>
            <a:bodyPr rtlCol="0" anchor="ctr"/>
            <a:lstStyle/>
            <a:p>
              <a:endParaRPr lang="en-GB" dirty="0"/>
            </a:p>
          </p:txBody>
        </p:sp>
        <p:sp>
          <p:nvSpPr>
            <p:cNvPr id="35" name="Freihandform: Form 34">
              <a:extLst>
                <a:ext uri="{FF2B5EF4-FFF2-40B4-BE49-F238E27FC236}">
                  <a16:creationId xmlns:a16="http://schemas.microsoft.com/office/drawing/2014/main" xmlns="" id="{FC19D967-0F0A-4C33-B461-6F12FC86A98F}"/>
                </a:ext>
              </a:extLst>
            </p:cNvPr>
            <p:cNvSpPr/>
            <p:nvPr/>
          </p:nvSpPr>
          <p:spPr>
            <a:xfrm flipV="1">
              <a:off x="4711678" y="5203775"/>
              <a:ext cx="6263" cy="6264"/>
            </a:xfrm>
            <a:custGeom>
              <a:avLst/>
              <a:gdLst>
                <a:gd name="connsiteX0" fmla="*/ -2726 w 6263"/>
                <a:gd name="connsiteY0" fmla="*/ 3442 h 6264"/>
                <a:gd name="connsiteX1" fmla="*/ -3162 w 6263"/>
                <a:gd name="connsiteY1" fmla="*/ -46 h 6264"/>
                <a:gd name="connsiteX2" fmla="*/ 2722 w 6263"/>
                <a:gd name="connsiteY2" fmla="*/ 3879 h 6264"/>
                <a:gd name="connsiteX3" fmla="*/ -2726 w 6263"/>
                <a:gd name="connsiteY3" fmla="*/ 3442 h 6264"/>
              </a:gdLst>
              <a:ahLst/>
              <a:cxnLst>
                <a:cxn ang="0">
                  <a:pos x="connsiteX0" y="connsiteY0"/>
                </a:cxn>
                <a:cxn ang="0">
                  <a:pos x="connsiteX1" y="connsiteY1"/>
                </a:cxn>
                <a:cxn ang="0">
                  <a:pos x="connsiteX2" y="connsiteY2"/>
                </a:cxn>
                <a:cxn ang="0">
                  <a:pos x="connsiteX3" y="connsiteY3"/>
                </a:cxn>
              </a:cxnLst>
              <a:rect l="l" t="t" r="r" b="b"/>
              <a:pathLst>
                <a:path w="6263" h="6264">
                  <a:moveTo>
                    <a:pt x="-2726" y="3442"/>
                  </a:moveTo>
                  <a:cubicBezTo>
                    <a:pt x="-3598" y="2134"/>
                    <a:pt x="-3816" y="608"/>
                    <a:pt x="-3162" y="-46"/>
                  </a:cubicBezTo>
                  <a:cubicBezTo>
                    <a:pt x="-1637" y="-1572"/>
                    <a:pt x="2722" y="1262"/>
                    <a:pt x="2722" y="3879"/>
                  </a:cubicBezTo>
                  <a:cubicBezTo>
                    <a:pt x="2722" y="6495"/>
                    <a:pt x="-983" y="6495"/>
                    <a:pt x="-2726" y="3442"/>
                  </a:cubicBezTo>
                  <a:close/>
                </a:path>
              </a:pathLst>
            </a:custGeom>
            <a:grpFill/>
            <a:ln w="218" cap="flat">
              <a:noFill/>
              <a:prstDash val="solid"/>
              <a:miter/>
            </a:ln>
          </p:spPr>
          <p:txBody>
            <a:bodyPr rtlCol="0" anchor="ctr"/>
            <a:lstStyle/>
            <a:p>
              <a:endParaRPr lang="en-GB" dirty="0"/>
            </a:p>
          </p:txBody>
        </p:sp>
        <p:sp>
          <p:nvSpPr>
            <p:cNvPr id="36" name="Freihandform: Form 35">
              <a:extLst>
                <a:ext uri="{FF2B5EF4-FFF2-40B4-BE49-F238E27FC236}">
                  <a16:creationId xmlns:a16="http://schemas.microsoft.com/office/drawing/2014/main" xmlns="" id="{CFBB12F7-C472-4929-BAEF-5FF040391C45}"/>
                </a:ext>
              </a:extLst>
            </p:cNvPr>
            <p:cNvSpPr/>
            <p:nvPr/>
          </p:nvSpPr>
          <p:spPr>
            <a:xfrm flipV="1">
              <a:off x="4787672" y="5204028"/>
              <a:ext cx="87001" cy="49837"/>
            </a:xfrm>
            <a:custGeom>
              <a:avLst/>
              <a:gdLst>
                <a:gd name="connsiteX0" fmla="*/ 67233 w 87001"/>
                <a:gd name="connsiteY0" fmla="*/ 40840 h 49837"/>
                <a:gd name="connsiteX1" fmla="*/ 55902 w 87001"/>
                <a:gd name="connsiteY1" fmla="*/ 23617 h 49837"/>
                <a:gd name="connsiteX2" fmla="*/ 54812 w 87001"/>
                <a:gd name="connsiteY2" fmla="*/ 30157 h 49837"/>
                <a:gd name="connsiteX3" fmla="*/ 44135 w 87001"/>
                <a:gd name="connsiteY3" fmla="*/ 35826 h 49837"/>
                <a:gd name="connsiteX4" fmla="*/ 38905 w 87001"/>
                <a:gd name="connsiteY4" fmla="*/ 34953 h 49837"/>
                <a:gd name="connsiteX5" fmla="*/ 34329 w 87001"/>
                <a:gd name="connsiteY5" fmla="*/ 33645 h 49837"/>
                <a:gd name="connsiteX6" fmla="*/ 25395 w 87001"/>
                <a:gd name="connsiteY6" fmla="*/ 34517 h 49837"/>
                <a:gd name="connsiteX7" fmla="*/ 19947 w 87001"/>
                <a:gd name="connsiteY7" fmla="*/ 43020 h 49837"/>
                <a:gd name="connsiteX8" fmla="*/ 9705 w 87001"/>
                <a:gd name="connsiteY8" fmla="*/ 46508 h 49837"/>
                <a:gd name="connsiteX9" fmla="*/ -4023 w 87001"/>
                <a:gd name="connsiteY9" fmla="*/ 38442 h 49837"/>
                <a:gd name="connsiteX10" fmla="*/ 3386 w 87001"/>
                <a:gd name="connsiteY10" fmla="*/ 37788 h 49837"/>
                <a:gd name="connsiteX11" fmla="*/ 7962 w 87001"/>
                <a:gd name="connsiteY11" fmla="*/ 41058 h 49837"/>
                <a:gd name="connsiteX12" fmla="*/ 5129 w 87001"/>
                <a:gd name="connsiteY12" fmla="*/ 29067 h 49837"/>
                <a:gd name="connsiteX13" fmla="*/ 5347 w 87001"/>
                <a:gd name="connsiteY13" fmla="*/ 20565 h 49837"/>
                <a:gd name="connsiteX14" fmla="*/ 11013 w 87001"/>
                <a:gd name="connsiteY14" fmla="*/ 21219 h 49837"/>
                <a:gd name="connsiteX15" fmla="*/ 27356 w 87001"/>
                <a:gd name="connsiteY15" fmla="*/ 24271 h 49837"/>
                <a:gd name="connsiteX16" fmla="*/ 42174 w 87001"/>
                <a:gd name="connsiteY16" fmla="*/ 18821 h 49837"/>
                <a:gd name="connsiteX17" fmla="*/ 43917 w 87001"/>
                <a:gd name="connsiteY17" fmla="*/ 10537 h 49837"/>
                <a:gd name="connsiteX18" fmla="*/ 55902 w 87001"/>
                <a:gd name="connsiteY18" fmla="*/ 11845 h 49837"/>
                <a:gd name="connsiteX19" fmla="*/ 63964 w 87001"/>
                <a:gd name="connsiteY19" fmla="*/ 7485 h 49837"/>
                <a:gd name="connsiteX20" fmla="*/ 69194 w 87001"/>
                <a:gd name="connsiteY20" fmla="*/ -364 h 49837"/>
                <a:gd name="connsiteX21" fmla="*/ 76821 w 87001"/>
                <a:gd name="connsiteY21" fmla="*/ 16641 h 49837"/>
                <a:gd name="connsiteX22" fmla="*/ 79654 w 87001"/>
                <a:gd name="connsiteY22" fmla="*/ 23617 h 49837"/>
                <a:gd name="connsiteX23" fmla="*/ 80090 w 87001"/>
                <a:gd name="connsiteY23" fmla="*/ 31901 h 49837"/>
                <a:gd name="connsiteX24" fmla="*/ 74642 w 87001"/>
                <a:gd name="connsiteY24" fmla="*/ 43892 h 49837"/>
                <a:gd name="connsiteX25" fmla="*/ 67233 w 87001"/>
                <a:gd name="connsiteY25" fmla="*/ 40840 h 49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7001" h="49837">
                  <a:moveTo>
                    <a:pt x="67233" y="40840"/>
                  </a:moveTo>
                  <a:cubicBezTo>
                    <a:pt x="66144" y="33209"/>
                    <a:pt x="60042" y="23617"/>
                    <a:pt x="55902" y="23617"/>
                  </a:cubicBezTo>
                  <a:cubicBezTo>
                    <a:pt x="55248" y="23617"/>
                    <a:pt x="54812" y="26669"/>
                    <a:pt x="54812" y="30157"/>
                  </a:cubicBezTo>
                  <a:cubicBezTo>
                    <a:pt x="54812" y="38224"/>
                    <a:pt x="49800" y="40840"/>
                    <a:pt x="44135" y="35826"/>
                  </a:cubicBezTo>
                  <a:cubicBezTo>
                    <a:pt x="40866" y="32773"/>
                    <a:pt x="39777" y="32773"/>
                    <a:pt x="38905" y="34953"/>
                  </a:cubicBezTo>
                  <a:cubicBezTo>
                    <a:pt x="38033" y="37134"/>
                    <a:pt x="36726" y="36698"/>
                    <a:pt x="34329" y="33645"/>
                  </a:cubicBezTo>
                  <a:cubicBezTo>
                    <a:pt x="30843" y="29503"/>
                    <a:pt x="30843" y="29503"/>
                    <a:pt x="25395" y="34517"/>
                  </a:cubicBezTo>
                  <a:cubicBezTo>
                    <a:pt x="22344" y="37352"/>
                    <a:pt x="19947" y="41276"/>
                    <a:pt x="19947" y="43020"/>
                  </a:cubicBezTo>
                  <a:cubicBezTo>
                    <a:pt x="19947" y="45636"/>
                    <a:pt x="17550" y="46508"/>
                    <a:pt x="9705" y="46508"/>
                  </a:cubicBezTo>
                  <a:cubicBezTo>
                    <a:pt x="-972" y="46726"/>
                    <a:pt x="-4023" y="44982"/>
                    <a:pt x="-4023" y="38442"/>
                  </a:cubicBezTo>
                  <a:cubicBezTo>
                    <a:pt x="-4023" y="33645"/>
                    <a:pt x="1643" y="33209"/>
                    <a:pt x="3386" y="37788"/>
                  </a:cubicBezTo>
                  <a:cubicBezTo>
                    <a:pt x="4040" y="39532"/>
                    <a:pt x="6219" y="41058"/>
                    <a:pt x="7962" y="41058"/>
                  </a:cubicBezTo>
                  <a:cubicBezTo>
                    <a:pt x="13410" y="41058"/>
                    <a:pt x="11013" y="31683"/>
                    <a:pt x="5129" y="29067"/>
                  </a:cubicBezTo>
                  <a:cubicBezTo>
                    <a:pt x="-318" y="26669"/>
                    <a:pt x="-100" y="24053"/>
                    <a:pt x="5347" y="20565"/>
                  </a:cubicBezTo>
                  <a:cubicBezTo>
                    <a:pt x="8180" y="18821"/>
                    <a:pt x="9705" y="18821"/>
                    <a:pt x="11013" y="21219"/>
                  </a:cubicBezTo>
                  <a:cubicBezTo>
                    <a:pt x="12320" y="23181"/>
                    <a:pt x="17550" y="24271"/>
                    <a:pt x="27356" y="24271"/>
                  </a:cubicBezTo>
                  <a:cubicBezTo>
                    <a:pt x="42392" y="24489"/>
                    <a:pt x="46314" y="22963"/>
                    <a:pt x="42174" y="18821"/>
                  </a:cubicBezTo>
                  <a:cubicBezTo>
                    <a:pt x="38469" y="15115"/>
                    <a:pt x="38905" y="13153"/>
                    <a:pt x="43917" y="10537"/>
                  </a:cubicBezTo>
                  <a:cubicBezTo>
                    <a:pt x="47186" y="8793"/>
                    <a:pt x="50236" y="9011"/>
                    <a:pt x="55902" y="11845"/>
                  </a:cubicBezTo>
                  <a:cubicBezTo>
                    <a:pt x="65054" y="15987"/>
                    <a:pt x="67451" y="14897"/>
                    <a:pt x="63964" y="7485"/>
                  </a:cubicBezTo>
                  <a:cubicBezTo>
                    <a:pt x="61350" y="1380"/>
                    <a:pt x="62439" y="-364"/>
                    <a:pt x="69194" y="-364"/>
                  </a:cubicBezTo>
                  <a:cubicBezTo>
                    <a:pt x="74860" y="-364"/>
                    <a:pt x="77693" y="5740"/>
                    <a:pt x="76821" y="16641"/>
                  </a:cubicBezTo>
                  <a:cubicBezTo>
                    <a:pt x="76385" y="21655"/>
                    <a:pt x="77257" y="23617"/>
                    <a:pt x="79654" y="23617"/>
                  </a:cubicBezTo>
                  <a:cubicBezTo>
                    <a:pt x="84012" y="23617"/>
                    <a:pt x="84012" y="24707"/>
                    <a:pt x="80090" y="31901"/>
                  </a:cubicBezTo>
                  <a:cubicBezTo>
                    <a:pt x="78346" y="35171"/>
                    <a:pt x="75949" y="40404"/>
                    <a:pt x="74642" y="43892"/>
                  </a:cubicBezTo>
                  <a:cubicBezTo>
                    <a:pt x="71373" y="52176"/>
                    <a:pt x="68758" y="51304"/>
                    <a:pt x="67233" y="40840"/>
                  </a:cubicBezTo>
                  <a:close/>
                </a:path>
              </a:pathLst>
            </a:custGeom>
            <a:grpFill/>
            <a:ln w="218" cap="flat">
              <a:noFill/>
              <a:prstDash val="solid"/>
              <a:miter/>
            </a:ln>
          </p:spPr>
          <p:txBody>
            <a:bodyPr rtlCol="0" anchor="ctr"/>
            <a:lstStyle/>
            <a:p>
              <a:endParaRPr lang="en-GB" dirty="0"/>
            </a:p>
          </p:txBody>
        </p:sp>
        <p:sp>
          <p:nvSpPr>
            <p:cNvPr id="37" name="Freihandform: Form 36">
              <a:extLst>
                <a:ext uri="{FF2B5EF4-FFF2-40B4-BE49-F238E27FC236}">
                  <a16:creationId xmlns:a16="http://schemas.microsoft.com/office/drawing/2014/main" xmlns="" id="{1EBF0164-AE66-4998-B35C-448E2E908319}"/>
                </a:ext>
              </a:extLst>
            </p:cNvPr>
            <p:cNvSpPr/>
            <p:nvPr/>
          </p:nvSpPr>
          <p:spPr>
            <a:xfrm flipV="1">
              <a:off x="4876917" y="5203914"/>
              <a:ext cx="28424" cy="24880"/>
            </a:xfrm>
            <a:custGeom>
              <a:avLst/>
              <a:gdLst>
                <a:gd name="connsiteX0" fmla="*/ -2866 w 28424"/>
                <a:gd name="connsiteY0" fmla="*/ 21155 h 24880"/>
                <a:gd name="connsiteX1" fmla="*/ -33 w 28424"/>
                <a:gd name="connsiteY1" fmla="*/ 12653 h 24880"/>
                <a:gd name="connsiteX2" fmla="*/ 8465 w 28424"/>
                <a:gd name="connsiteY2" fmla="*/ 3715 h 24880"/>
                <a:gd name="connsiteX3" fmla="*/ 9990 w 28424"/>
                <a:gd name="connsiteY3" fmla="*/ -427 h 24880"/>
                <a:gd name="connsiteX4" fmla="*/ 11516 w 28424"/>
                <a:gd name="connsiteY4" fmla="*/ 2407 h 24880"/>
                <a:gd name="connsiteX5" fmla="*/ 17399 w 28424"/>
                <a:gd name="connsiteY5" fmla="*/ 12871 h 24880"/>
                <a:gd name="connsiteX6" fmla="*/ 24154 w 28424"/>
                <a:gd name="connsiteY6" fmla="*/ 23118 h 24880"/>
                <a:gd name="connsiteX7" fmla="*/ 21757 w 28424"/>
                <a:gd name="connsiteY7" fmla="*/ 22028 h 24880"/>
                <a:gd name="connsiteX8" fmla="*/ 7593 w 28424"/>
                <a:gd name="connsiteY8" fmla="*/ 21373 h 24880"/>
                <a:gd name="connsiteX9" fmla="*/ -2866 w 28424"/>
                <a:gd name="connsiteY9" fmla="*/ 21155 h 24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424" h="24880">
                  <a:moveTo>
                    <a:pt x="-2866" y="21155"/>
                  </a:moveTo>
                  <a:cubicBezTo>
                    <a:pt x="-5481" y="14615"/>
                    <a:pt x="-4392" y="11127"/>
                    <a:pt x="-33" y="12653"/>
                  </a:cubicBezTo>
                  <a:cubicBezTo>
                    <a:pt x="4761" y="14179"/>
                    <a:pt x="9119" y="9383"/>
                    <a:pt x="8465" y="3715"/>
                  </a:cubicBezTo>
                  <a:cubicBezTo>
                    <a:pt x="8029" y="1317"/>
                    <a:pt x="8683" y="-427"/>
                    <a:pt x="9990" y="-427"/>
                  </a:cubicBezTo>
                  <a:cubicBezTo>
                    <a:pt x="11080" y="-427"/>
                    <a:pt x="11952" y="881"/>
                    <a:pt x="11516" y="2407"/>
                  </a:cubicBezTo>
                  <a:cubicBezTo>
                    <a:pt x="11080" y="3933"/>
                    <a:pt x="13913" y="8729"/>
                    <a:pt x="17399" y="12871"/>
                  </a:cubicBezTo>
                  <a:cubicBezTo>
                    <a:pt x="21104" y="17013"/>
                    <a:pt x="24154" y="21591"/>
                    <a:pt x="24154" y="23118"/>
                  </a:cubicBezTo>
                  <a:cubicBezTo>
                    <a:pt x="24154" y="24644"/>
                    <a:pt x="23065" y="23990"/>
                    <a:pt x="21757" y="22028"/>
                  </a:cubicBezTo>
                  <a:cubicBezTo>
                    <a:pt x="19142" y="17231"/>
                    <a:pt x="13259" y="17013"/>
                    <a:pt x="7593" y="21373"/>
                  </a:cubicBezTo>
                  <a:cubicBezTo>
                    <a:pt x="2146" y="25516"/>
                    <a:pt x="-1123" y="25516"/>
                    <a:pt x="-2866" y="21155"/>
                  </a:cubicBezTo>
                  <a:close/>
                </a:path>
              </a:pathLst>
            </a:custGeom>
            <a:grpFill/>
            <a:ln w="218" cap="flat">
              <a:noFill/>
              <a:prstDash val="solid"/>
              <a:miter/>
            </a:ln>
          </p:spPr>
          <p:txBody>
            <a:bodyPr rtlCol="0" anchor="ctr"/>
            <a:lstStyle/>
            <a:p>
              <a:endParaRPr lang="en-GB" dirty="0"/>
            </a:p>
          </p:txBody>
        </p:sp>
        <p:sp>
          <p:nvSpPr>
            <p:cNvPr id="38" name="Freihandform: Form 37">
              <a:extLst>
                <a:ext uri="{FF2B5EF4-FFF2-40B4-BE49-F238E27FC236}">
                  <a16:creationId xmlns:a16="http://schemas.microsoft.com/office/drawing/2014/main" xmlns="" id="{70C0ADBB-BBEF-4815-9BB5-29AD414E3D33}"/>
                </a:ext>
              </a:extLst>
            </p:cNvPr>
            <p:cNvSpPr/>
            <p:nvPr/>
          </p:nvSpPr>
          <p:spPr>
            <a:xfrm flipV="1">
              <a:off x="4730454" y="5203444"/>
              <a:ext cx="305112" cy="335285"/>
            </a:xfrm>
            <a:custGeom>
              <a:avLst/>
              <a:gdLst>
                <a:gd name="connsiteX0" fmla="*/ 197889 w 305112"/>
                <a:gd name="connsiteY0" fmla="*/ 332961 h 335285"/>
                <a:gd name="connsiteX1" fmla="*/ 193531 w 305112"/>
                <a:gd name="connsiteY1" fmla="*/ 331871 h 335285"/>
                <a:gd name="connsiteX2" fmla="*/ 189391 w 305112"/>
                <a:gd name="connsiteY2" fmla="*/ 331435 h 335285"/>
                <a:gd name="connsiteX3" fmla="*/ 195057 w 305112"/>
                <a:gd name="connsiteY3" fmla="*/ 327947 h 335285"/>
                <a:gd name="connsiteX4" fmla="*/ 201812 w 305112"/>
                <a:gd name="connsiteY4" fmla="*/ 323587 h 335285"/>
                <a:gd name="connsiteX5" fmla="*/ 181982 w 305112"/>
                <a:gd name="connsiteY5" fmla="*/ 323151 h 335285"/>
                <a:gd name="connsiteX6" fmla="*/ 174355 w 305112"/>
                <a:gd name="connsiteY6" fmla="*/ 321189 h 335285"/>
                <a:gd name="connsiteX7" fmla="*/ 165857 w 305112"/>
                <a:gd name="connsiteY7" fmla="*/ 310724 h 335285"/>
                <a:gd name="connsiteX8" fmla="*/ 159756 w 305112"/>
                <a:gd name="connsiteY8" fmla="*/ 302876 h 335285"/>
                <a:gd name="connsiteX9" fmla="*/ 155397 w 305112"/>
                <a:gd name="connsiteY9" fmla="*/ 297208 h 335285"/>
                <a:gd name="connsiteX10" fmla="*/ 152347 w 305112"/>
                <a:gd name="connsiteY10" fmla="*/ 289142 h 335285"/>
                <a:gd name="connsiteX11" fmla="*/ 150168 w 305112"/>
                <a:gd name="connsiteY11" fmla="*/ 285218 h 335285"/>
                <a:gd name="connsiteX12" fmla="*/ 146681 w 305112"/>
                <a:gd name="connsiteY12" fmla="*/ 289578 h 335285"/>
                <a:gd name="connsiteX13" fmla="*/ 144938 w 305112"/>
                <a:gd name="connsiteY13" fmla="*/ 293938 h 335285"/>
                <a:gd name="connsiteX14" fmla="*/ 142759 w 305112"/>
                <a:gd name="connsiteY14" fmla="*/ 281511 h 335285"/>
                <a:gd name="connsiteX15" fmla="*/ 137965 w 305112"/>
                <a:gd name="connsiteY15" fmla="*/ 265815 h 335285"/>
                <a:gd name="connsiteX16" fmla="*/ 136875 w 305112"/>
                <a:gd name="connsiteY16" fmla="*/ 254696 h 335285"/>
                <a:gd name="connsiteX17" fmla="*/ 142759 w 305112"/>
                <a:gd name="connsiteY17" fmla="*/ 259057 h 335285"/>
                <a:gd name="connsiteX18" fmla="*/ 154526 w 305112"/>
                <a:gd name="connsiteY18" fmla="*/ 250990 h 335285"/>
                <a:gd name="connsiteX19" fmla="*/ 147771 w 305112"/>
                <a:gd name="connsiteY19" fmla="*/ 231152 h 335285"/>
                <a:gd name="connsiteX20" fmla="*/ 145374 w 305112"/>
                <a:gd name="connsiteY20" fmla="*/ 238128 h 335285"/>
                <a:gd name="connsiteX21" fmla="*/ 139708 w 305112"/>
                <a:gd name="connsiteY21" fmla="*/ 246412 h 335285"/>
                <a:gd name="connsiteX22" fmla="*/ 127723 w 305112"/>
                <a:gd name="connsiteY22" fmla="*/ 246194 h 335285"/>
                <a:gd name="connsiteX23" fmla="*/ 122711 w 305112"/>
                <a:gd name="connsiteY23" fmla="*/ 253388 h 335285"/>
                <a:gd name="connsiteX24" fmla="*/ 117264 w 305112"/>
                <a:gd name="connsiteY24" fmla="*/ 264725 h 335285"/>
                <a:gd name="connsiteX25" fmla="*/ 111816 w 305112"/>
                <a:gd name="connsiteY25" fmla="*/ 272355 h 335285"/>
                <a:gd name="connsiteX26" fmla="*/ 105279 w 305112"/>
                <a:gd name="connsiteY26" fmla="*/ 274317 h 335285"/>
                <a:gd name="connsiteX27" fmla="*/ 99831 w 305112"/>
                <a:gd name="connsiteY27" fmla="*/ 281075 h 335285"/>
                <a:gd name="connsiteX28" fmla="*/ 97870 w 305112"/>
                <a:gd name="connsiteY28" fmla="*/ 289578 h 335285"/>
                <a:gd name="connsiteX29" fmla="*/ 90897 w 305112"/>
                <a:gd name="connsiteY29" fmla="*/ 295028 h 335285"/>
                <a:gd name="connsiteX30" fmla="*/ 79130 w 305112"/>
                <a:gd name="connsiteY30" fmla="*/ 299170 h 335285"/>
                <a:gd name="connsiteX31" fmla="*/ 88064 w 305112"/>
                <a:gd name="connsiteY31" fmla="*/ 290668 h 335285"/>
                <a:gd name="connsiteX32" fmla="*/ 90243 w 305112"/>
                <a:gd name="connsiteY32" fmla="*/ 283255 h 335285"/>
                <a:gd name="connsiteX33" fmla="*/ 90461 w 305112"/>
                <a:gd name="connsiteY33" fmla="*/ 272791 h 335285"/>
                <a:gd name="connsiteX34" fmla="*/ 84795 w 305112"/>
                <a:gd name="connsiteY34" fmla="*/ 260365 h 335285"/>
                <a:gd name="connsiteX35" fmla="*/ 80655 w 305112"/>
                <a:gd name="connsiteY35" fmla="*/ 258185 h 335285"/>
                <a:gd name="connsiteX36" fmla="*/ 74772 w 305112"/>
                <a:gd name="connsiteY36" fmla="*/ 254696 h 335285"/>
                <a:gd name="connsiteX37" fmla="*/ 70414 w 305112"/>
                <a:gd name="connsiteY37" fmla="*/ 251644 h 335285"/>
                <a:gd name="connsiteX38" fmla="*/ 66491 w 305112"/>
                <a:gd name="connsiteY38" fmla="*/ 249682 h 335285"/>
                <a:gd name="connsiteX39" fmla="*/ 59300 w 305112"/>
                <a:gd name="connsiteY39" fmla="*/ 240744 h 335285"/>
                <a:gd name="connsiteX40" fmla="*/ 58647 w 305112"/>
                <a:gd name="connsiteY40" fmla="*/ 231588 h 335285"/>
                <a:gd name="connsiteX41" fmla="*/ 57775 w 305112"/>
                <a:gd name="connsiteY41" fmla="*/ 222649 h 335285"/>
                <a:gd name="connsiteX42" fmla="*/ 77822 w 305112"/>
                <a:gd name="connsiteY42" fmla="*/ 223303 h 335285"/>
                <a:gd name="connsiteX43" fmla="*/ 78912 w 305112"/>
                <a:gd name="connsiteY43" fmla="*/ 242706 h 335285"/>
                <a:gd name="connsiteX44" fmla="*/ 80219 w 305112"/>
                <a:gd name="connsiteY44" fmla="*/ 248156 h 335285"/>
                <a:gd name="connsiteX45" fmla="*/ 96344 w 305112"/>
                <a:gd name="connsiteY45" fmla="*/ 244450 h 335285"/>
                <a:gd name="connsiteX46" fmla="*/ 93512 w 305112"/>
                <a:gd name="connsiteY46" fmla="*/ 240962 h 335285"/>
                <a:gd name="connsiteX47" fmla="*/ 91986 w 305112"/>
                <a:gd name="connsiteY47" fmla="*/ 233332 h 335285"/>
                <a:gd name="connsiteX48" fmla="*/ 101792 w 305112"/>
                <a:gd name="connsiteY48" fmla="*/ 235512 h 335285"/>
                <a:gd name="connsiteX49" fmla="*/ 106150 w 305112"/>
                <a:gd name="connsiteY49" fmla="*/ 237256 h 335285"/>
                <a:gd name="connsiteX50" fmla="*/ 109637 w 305112"/>
                <a:gd name="connsiteY50" fmla="*/ 231588 h 335285"/>
                <a:gd name="connsiteX51" fmla="*/ 115956 w 305112"/>
                <a:gd name="connsiteY51" fmla="*/ 231588 h 335285"/>
                <a:gd name="connsiteX52" fmla="*/ 132953 w 305112"/>
                <a:gd name="connsiteY52" fmla="*/ 234640 h 335285"/>
                <a:gd name="connsiteX53" fmla="*/ 138183 w 305112"/>
                <a:gd name="connsiteY53" fmla="*/ 227010 h 335285"/>
                <a:gd name="connsiteX54" fmla="*/ 144938 w 305112"/>
                <a:gd name="connsiteY54" fmla="*/ 223085 h 335285"/>
                <a:gd name="connsiteX55" fmla="*/ 154090 w 305112"/>
                <a:gd name="connsiteY55" fmla="*/ 221341 h 335285"/>
                <a:gd name="connsiteX56" fmla="*/ 155615 w 305112"/>
                <a:gd name="connsiteY56" fmla="*/ 213711 h 335285"/>
                <a:gd name="connsiteX57" fmla="*/ 149514 w 305112"/>
                <a:gd name="connsiteY57" fmla="*/ 208915 h 335285"/>
                <a:gd name="connsiteX58" fmla="*/ 143412 w 305112"/>
                <a:gd name="connsiteY58" fmla="*/ 205427 h 335285"/>
                <a:gd name="connsiteX59" fmla="*/ 137747 w 305112"/>
                <a:gd name="connsiteY59" fmla="*/ 204991 h 335285"/>
                <a:gd name="connsiteX60" fmla="*/ 128595 w 305112"/>
                <a:gd name="connsiteY60" fmla="*/ 209787 h 335285"/>
                <a:gd name="connsiteX61" fmla="*/ 126852 w 305112"/>
                <a:gd name="connsiteY61" fmla="*/ 215455 h 335285"/>
                <a:gd name="connsiteX62" fmla="*/ 131863 w 305112"/>
                <a:gd name="connsiteY62" fmla="*/ 222431 h 335285"/>
                <a:gd name="connsiteX63" fmla="*/ 123147 w 305112"/>
                <a:gd name="connsiteY63" fmla="*/ 222431 h 335285"/>
                <a:gd name="connsiteX64" fmla="*/ 114649 w 305112"/>
                <a:gd name="connsiteY64" fmla="*/ 222213 h 335285"/>
                <a:gd name="connsiteX65" fmla="*/ 112252 w 305112"/>
                <a:gd name="connsiteY65" fmla="*/ 215237 h 335285"/>
                <a:gd name="connsiteX66" fmla="*/ 105279 w 305112"/>
                <a:gd name="connsiteY66" fmla="*/ 203901 h 335285"/>
                <a:gd name="connsiteX67" fmla="*/ 102882 w 305112"/>
                <a:gd name="connsiteY67" fmla="*/ 212403 h 335285"/>
                <a:gd name="connsiteX68" fmla="*/ 106368 w 305112"/>
                <a:gd name="connsiteY68" fmla="*/ 219379 h 335285"/>
                <a:gd name="connsiteX69" fmla="*/ 102664 w 305112"/>
                <a:gd name="connsiteY69" fmla="*/ 222213 h 335285"/>
                <a:gd name="connsiteX70" fmla="*/ 91768 w 305112"/>
                <a:gd name="connsiteY70" fmla="*/ 221341 h 335285"/>
                <a:gd name="connsiteX71" fmla="*/ 87192 w 305112"/>
                <a:gd name="connsiteY71" fmla="*/ 216763 h 335285"/>
                <a:gd name="connsiteX72" fmla="*/ 92422 w 305112"/>
                <a:gd name="connsiteY72" fmla="*/ 208697 h 335285"/>
                <a:gd name="connsiteX73" fmla="*/ 96562 w 305112"/>
                <a:gd name="connsiteY73" fmla="*/ 203465 h 335285"/>
                <a:gd name="connsiteX74" fmla="*/ 101792 w 305112"/>
                <a:gd name="connsiteY74" fmla="*/ 196706 h 335285"/>
                <a:gd name="connsiteX75" fmla="*/ 107240 w 305112"/>
                <a:gd name="connsiteY75" fmla="*/ 193218 h 335285"/>
                <a:gd name="connsiteX76" fmla="*/ 102664 w 305112"/>
                <a:gd name="connsiteY76" fmla="*/ 184716 h 335285"/>
                <a:gd name="connsiteX77" fmla="*/ 95691 w 305112"/>
                <a:gd name="connsiteY77" fmla="*/ 176214 h 335285"/>
                <a:gd name="connsiteX78" fmla="*/ 86539 w 305112"/>
                <a:gd name="connsiteY78" fmla="*/ 164005 h 335285"/>
                <a:gd name="connsiteX79" fmla="*/ 94383 w 305112"/>
                <a:gd name="connsiteY79" fmla="*/ 161825 h 335285"/>
                <a:gd name="connsiteX80" fmla="*/ 100921 w 305112"/>
                <a:gd name="connsiteY80" fmla="*/ 160953 h 335285"/>
                <a:gd name="connsiteX81" fmla="*/ 106804 w 305112"/>
                <a:gd name="connsiteY81" fmla="*/ 153323 h 335285"/>
                <a:gd name="connsiteX82" fmla="*/ 111816 w 305112"/>
                <a:gd name="connsiteY82" fmla="*/ 147655 h 335285"/>
                <a:gd name="connsiteX83" fmla="*/ 89589 w 305112"/>
                <a:gd name="connsiteY83" fmla="*/ 151143 h 335285"/>
                <a:gd name="connsiteX84" fmla="*/ 82398 w 305112"/>
                <a:gd name="connsiteY84" fmla="*/ 159645 h 335285"/>
                <a:gd name="connsiteX85" fmla="*/ 72810 w 305112"/>
                <a:gd name="connsiteY85" fmla="*/ 153977 h 335285"/>
                <a:gd name="connsiteX86" fmla="*/ 72593 w 305112"/>
                <a:gd name="connsiteY86" fmla="*/ 144603 h 335285"/>
                <a:gd name="connsiteX87" fmla="*/ 83488 w 305112"/>
                <a:gd name="connsiteY87" fmla="*/ 143513 h 335285"/>
                <a:gd name="connsiteX88" fmla="*/ 81309 w 305112"/>
                <a:gd name="connsiteY88" fmla="*/ 136754 h 335285"/>
                <a:gd name="connsiteX89" fmla="*/ 86974 w 305112"/>
                <a:gd name="connsiteY89" fmla="*/ 132830 h 335285"/>
                <a:gd name="connsiteX90" fmla="*/ 98306 w 305112"/>
                <a:gd name="connsiteY90" fmla="*/ 135664 h 335285"/>
                <a:gd name="connsiteX91" fmla="*/ 113559 w 305112"/>
                <a:gd name="connsiteY91" fmla="*/ 137190 h 335285"/>
                <a:gd name="connsiteX92" fmla="*/ 122711 w 305112"/>
                <a:gd name="connsiteY92" fmla="*/ 139152 h 335285"/>
                <a:gd name="connsiteX93" fmla="*/ 120532 w 305112"/>
                <a:gd name="connsiteY93" fmla="*/ 136972 h 335285"/>
                <a:gd name="connsiteX94" fmla="*/ 118353 w 305112"/>
                <a:gd name="connsiteY94" fmla="*/ 132612 h 335285"/>
                <a:gd name="connsiteX95" fmla="*/ 122711 w 305112"/>
                <a:gd name="connsiteY95" fmla="*/ 128252 h 335285"/>
                <a:gd name="connsiteX96" fmla="*/ 127069 w 305112"/>
                <a:gd name="connsiteY96" fmla="*/ 126072 h 335285"/>
                <a:gd name="connsiteX97" fmla="*/ 131210 w 305112"/>
                <a:gd name="connsiteY97" fmla="*/ 123892 h 335285"/>
                <a:gd name="connsiteX98" fmla="*/ 132299 w 305112"/>
                <a:gd name="connsiteY98" fmla="*/ 106887 h 335285"/>
                <a:gd name="connsiteX99" fmla="*/ 127505 w 305112"/>
                <a:gd name="connsiteY99" fmla="*/ 108849 h 335285"/>
                <a:gd name="connsiteX100" fmla="*/ 120096 w 305112"/>
                <a:gd name="connsiteY100" fmla="*/ 109067 h 335285"/>
                <a:gd name="connsiteX101" fmla="*/ 114867 w 305112"/>
                <a:gd name="connsiteY101" fmla="*/ 108413 h 335285"/>
                <a:gd name="connsiteX102" fmla="*/ 104843 w 305112"/>
                <a:gd name="connsiteY102" fmla="*/ 111466 h 335285"/>
                <a:gd name="connsiteX103" fmla="*/ 95691 w 305112"/>
                <a:gd name="connsiteY103" fmla="*/ 105143 h 335285"/>
                <a:gd name="connsiteX104" fmla="*/ 90025 w 305112"/>
                <a:gd name="connsiteY104" fmla="*/ 97731 h 335285"/>
                <a:gd name="connsiteX105" fmla="*/ 84577 w 305112"/>
                <a:gd name="connsiteY105" fmla="*/ 93371 h 335285"/>
                <a:gd name="connsiteX106" fmla="*/ 71503 w 305112"/>
                <a:gd name="connsiteY106" fmla="*/ 85959 h 335285"/>
                <a:gd name="connsiteX107" fmla="*/ 61261 w 305112"/>
                <a:gd name="connsiteY107" fmla="*/ 86613 h 335285"/>
                <a:gd name="connsiteX108" fmla="*/ 55160 w 305112"/>
                <a:gd name="connsiteY108" fmla="*/ 90101 h 335285"/>
                <a:gd name="connsiteX109" fmla="*/ 60826 w 305112"/>
                <a:gd name="connsiteY109" fmla="*/ 91191 h 335285"/>
                <a:gd name="connsiteX110" fmla="*/ 68888 w 305112"/>
                <a:gd name="connsiteY110" fmla="*/ 90973 h 335285"/>
                <a:gd name="connsiteX111" fmla="*/ 71067 w 305112"/>
                <a:gd name="connsiteY111" fmla="*/ 98603 h 335285"/>
                <a:gd name="connsiteX112" fmla="*/ 69978 w 305112"/>
                <a:gd name="connsiteY112" fmla="*/ 102527 h 335285"/>
                <a:gd name="connsiteX113" fmla="*/ 76515 w 305112"/>
                <a:gd name="connsiteY113" fmla="*/ 101437 h 335285"/>
                <a:gd name="connsiteX114" fmla="*/ 89589 w 305112"/>
                <a:gd name="connsiteY114" fmla="*/ 107759 h 335285"/>
                <a:gd name="connsiteX115" fmla="*/ 92204 w 305112"/>
                <a:gd name="connsiteY115" fmla="*/ 121712 h 335285"/>
                <a:gd name="connsiteX116" fmla="*/ 84795 w 305112"/>
                <a:gd name="connsiteY116" fmla="*/ 124110 h 335285"/>
                <a:gd name="connsiteX117" fmla="*/ 79130 w 305112"/>
                <a:gd name="connsiteY117" fmla="*/ 123238 h 335285"/>
                <a:gd name="connsiteX118" fmla="*/ 78040 w 305112"/>
                <a:gd name="connsiteY118" fmla="*/ 116480 h 335285"/>
                <a:gd name="connsiteX119" fmla="*/ 74990 w 305112"/>
                <a:gd name="connsiteY119" fmla="*/ 110812 h 335285"/>
                <a:gd name="connsiteX120" fmla="*/ 63005 w 305112"/>
                <a:gd name="connsiteY120" fmla="*/ 103399 h 335285"/>
                <a:gd name="connsiteX121" fmla="*/ 39471 w 305112"/>
                <a:gd name="connsiteY121" fmla="*/ 97513 h 335285"/>
                <a:gd name="connsiteX122" fmla="*/ 37727 w 305112"/>
                <a:gd name="connsiteY122" fmla="*/ 103835 h 335285"/>
                <a:gd name="connsiteX123" fmla="*/ 33369 w 305112"/>
                <a:gd name="connsiteY123" fmla="*/ 114082 h 335285"/>
                <a:gd name="connsiteX124" fmla="*/ 34023 w 305112"/>
                <a:gd name="connsiteY124" fmla="*/ 123892 h 335285"/>
                <a:gd name="connsiteX125" fmla="*/ 48187 w 305112"/>
                <a:gd name="connsiteY125" fmla="*/ 111248 h 335285"/>
                <a:gd name="connsiteX126" fmla="*/ 53199 w 305112"/>
                <a:gd name="connsiteY126" fmla="*/ 104707 h 335285"/>
                <a:gd name="connsiteX127" fmla="*/ 60608 w 305112"/>
                <a:gd name="connsiteY127" fmla="*/ 111248 h 335285"/>
                <a:gd name="connsiteX128" fmla="*/ 55160 w 305112"/>
                <a:gd name="connsiteY128" fmla="*/ 122802 h 335285"/>
                <a:gd name="connsiteX129" fmla="*/ 45572 w 305112"/>
                <a:gd name="connsiteY129" fmla="*/ 129342 h 335285"/>
                <a:gd name="connsiteX130" fmla="*/ 37727 w 305112"/>
                <a:gd name="connsiteY130" fmla="*/ 133702 h 335285"/>
                <a:gd name="connsiteX131" fmla="*/ 29011 w 305112"/>
                <a:gd name="connsiteY131" fmla="*/ 131958 h 335285"/>
                <a:gd name="connsiteX132" fmla="*/ 21602 w 305112"/>
                <a:gd name="connsiteY132" fmla="*/ 129342 h 335285"/>
                <a:gd name="connsiteX133" fmla="*/ 23563 w 305112"/>
                <a:gd name="connsiteY133" fmla="*/ 117352 h 335285"/>
                <a:gd name="connsiteX134" fmla="*/ 29011 w 305112"/>
                <a:gd name="connsiteY134" fmla="*/ 114082 h 335285"/>
                <a:gd name="connsiteX135" fmla="*/ 15719 w 305112"/>
                <a:gd name="connsiteY135" fmla="*/ 111684 h 335285"/>
                <a:gd name="connsiteX136" fmla="*/ 6785 w 305112"/>
                <a:gd name="connsiteY136" fmla="*/ 112556 h 335285"/>
                <a:gd name="connsiteX137" fmla="*/ 7438 w 305112"/>
                <a:gd name="connsiteY137" fmla="*/ 96205 h 335285"/>
                <a:gd name="connsiteX138" fmla="*/ 6349 w 305112"/>
                <a:gd name="connsiteY138" fmla="*/ 87703 h 335285"/>
                <a:gd name="connsiteX139" fmla="*/ 1991 w 305112"/>
                <a:gd name="connsiteY139" fmla="*/ 91191 h 335285"/>
                <a:gd name="connsiteX140" fmla="*/ -1496 w 305112"/>
                <a:gd name="connsiteY140" fmla="*/ 96641 h 335285"/>
                <a:gd name="connsiteX141" fmla="*/ -4111 w 305112"/>
                <a:gd name="connsiteY141" fmla="*/ 89011 h 335285"/>
                <a:gd name="connsiteX142" fmla="*/ -1496 w 305112"/>
                <a:gd name="connsiteY142" fmla="*/ 80726 h 335285"/>
                <a:gd name="connsiteX143" fmla="*/ 683 w 305112"/>
                <a:gd name="connsiteY143" fmla="*/ 75712 h 335285"/>
                <a:gd name="connsiteX144" fmla="*/ 3952 w 305112"/>
                <a:gd name="connsiteY144" fmla="*/ 71570 h 335285"/>
                <a:gd name="connsiteX145" fmla="*/ 7220 w 305112"/>
                <a:gd name="connsiteY145" fmla="*/ 66992 h 335285"/>
                <a:gd name="connsiteX146" fmla="*/ 13540 w 305112"/>
                <a:gd name="connsiteY146" fmla="*/ 54130 h 335285"/>
                <a:gd name="connsiteX147" fmla="*/ 18769 w 305112"/>
                <a:gd name="connsiteY147" fmla="*/ 70044 h 335285"/>
                <a:gd name="connsiteX148" fmla="*/ 15283 w 305112"/>
                <a:gd name="connsiteY148" fmla="*/ 83997 h 335285"/>
                <a:gd name="connsiteX149" fmla="*/ 17898 w 305112"/>
                <a:gd name="connsiteY149" fmla="*/ 97513 h 335285"/>
                <a:gd name="connsiteX150" fmla="*/ 33587 w 305112"/>
                <a:gd name="connsiteY150" fmla="*/ 92063 h 335285"/>
                <a:gd name="connsiteX151" fmla="*/ 40996 w 305112"/>
                <a:gd name="connsiteY151" fmla="*/ 86831 h 335285"/>
                <a:gd name="connsiteX152" fmla="*/ 44265 w 305112"/>
                <a:gd name="connsiteY152" fmla="*/ 79200 h 335285"/>
                <a:gd name="connsiteX153" fmla="*/ 61915 w 305112"/>
                <a:gd name="connsiteY153" fmla="*/ 73750 h 335285"/>
                <a:gd name="connsiteX154" fmla="*/ 70414 w 305112"/>
                <a:gd name="connsiteY154" fmla="*/ 72660 h 335285"/>
                <a:gd name="connsiteX155" fmla="*/ 75207 w 305112"/>
                <a:gd name="connsiteY155" fmla="*/ 73750 h 335285"/>
                <a:gd name="connsiteX156" fmla="*/ 78040 w 305112"/>
                <a:gd name="connsiteY156" fmla="*/ 77674 h 335285"/>
                <a:gd name="connsiteX157" fmla="*/ 76515 w 305112"/>
                <a:gd name="connsiteY157" fmla="*/ 59144 h 335285"/>
                <a:gd name="connsiteX158" fmla="*/ 78040 w 305112"/>
                <a:gd name="connsiteY158" fmla="*/ 49769 h 335285"/>
                <a:gd name="connsiteX159" fmla="*/ 86103 w 305112"/>
                <a:gd name="connsiteY159" fmla="*/ 44101 h 335285"/>
                <a:gd name="connsiteX160" fmla="*/ 89807 w 305112"/>
                <a:gd name="connsiteY160" fmla="*/ 29277 h 335285"/>
                <a:gd name="connsiteX161" fmla="*/ 96562 w 305112"/>
                <a:gd name="connsiteY161" fmla="*/ 12054 h 335285"/>
                <a:gd name="connsiteX162" fmla="*/ 100921 w 305112"/>
                <a:gd name="connsiteY162" fmla="*/ 10964 h 335285"/>
                <a:gd name="connsiteX163" fmla="*/ 142759 w 305112"/>
                <a:gd name="connsiteY163" fmla="*/ 3334 h 335285"/>
                <a:gd name="connsiteX164" fmla="*/ 148424 w 305112"/>
                <a:gd name="connsiteY164" fmla="*/ 5078 h 335285"/>
                <a:gd name="connsiteX165" fmla="*/ 144284 w 305112"/>
                <a:gd name="connsiteY165" fmla="*/ 10310 h 335285"/>
                <a:gd name="connsiteX166" fmla="*/ 137529 w 305112"/>
                <a:gd name="connsiteY166" fmla="*/ 13144 h 335285"/>
                <a:gd name="connsiteX167" fmla="*/ 132081 w 305112"/>
                <a:gd name="connsiteY167" fmla="*/ 16850 h 335285"/>
                <a:gd name="connsiteX168" fmla="*/ 123801 w 305112"/>
                <a:gd name="connsiteY168" fmla="*/ 25353 h 335285"/>
                <a:gd name="connsiteX169" fmla="*/ 121186 w 305112"/>
                <a:gd name="connsiteY169" fmla="*/ 17722 h 335285"/>
                <a:gd name="connsiteX170" fmla="*/ 112688 w 305112"/>
                <a:gd name="connsiteY170" fmla="*/ 10964 h 335285"/>
                <a:gd name="connsiteX171" fmla="*/ 103100 w 305112"/>
                <a:gd name="connsiteY171" fmla="*/ 29059 h 335285"/>
                <a:gd name="connsiteX172" fmla="*/ 102228 w 305112"/>
                <a:gd name="connsiteY172" fmla="*/ 36471 h 335285"/>
                <a:gd name="connsiteX173" fmla="*/ 108547 w 305112"/>
                <a:gd name="connsiteY173" fmla="*/ 51949 h 335285"/>
                <a:gd name="connsiteX174" fmla="*/ 116610 w 305112"/>
                <a:gd name="connsiteY174" fmla="*/ 49987 h 335285"/>
                <a:gd name="connsiteX175" fmla="*/ 128813 w 305112"/>
                <a:gd name="connsiteY175" fmla="*/ 41049 h 335285"/>
                <a:gd name="connsiteX176" fmla="*/ 132299 w 305112"/>
                <a:gd name="connsiteY176" fmla="*/ 35817 h 335285"/>
                <a:gd name="connsiteX177" fmla="*/ 139054 w 305112"/>
                <a:gd name="connsiteY177" fmla="*/ 37997 h 335285"/>
                <a:gd name="connsiteX178" fmla="*/ 141887 w 305112"/>
                <a:gd name="connsiteY178" fmla="*/ 41703 h 335285"/>
                <a:gd name="connsiteX179" fmla="*/ 143195 w 305112"/>
                <a:gd name="connsiteY179" fmla="*/ 47371 h 335285"/>
                <a:gd name="connsiteX180" fmla="*/ 154090 w 305112"/>
                <a:gd name="connsiteY180" fmla="*/ 48679 h 335285"/>
                <a:gd name="connsiteX181" fmla="*/ 160845 w 305112"/>
                <a:gd name="connsiteY181" fmla="*/ 46717 h 335285"/>
                <a:gd name="connsiteX182" fmla="*/ 164985 w 305112"/>
                <a:gd name="connsiteY182" fmla="*/ 37561 h 335285"/>
                <a:gd name="connsiteX183" fmla="*/ 156923 w 305112"/>
                <a:gd name="connsiteY183" fmla="*/ 33201 h 335285"/>
                <a:gd name="connsiteX184" fmla="*/ 154090 w 305112"/>
                <a:gd name="connsiteY184" fmla="*/ 23390 h 335285"/>
                <a:gd name="connsiteX185" fmla="*/ 159756 w 305112"/>
                <a:gd name="connsiteY185" fmla="*/ 15542 h 335285"/>
                <a:gd name="connsiteX186" fmla="*/ 164985 w 305112"/>
                <a:gd name="connsiteY186" fmla="*/ 14016 h 335285"/>
                <a:gd name="connsiteX187" fmla="*/ 171740 w 305112"/>
                <a:gd name="connsiteY187" fmla="*/ 13362 h 335285"/>
                <a:gd name="connsiteX188" fmla="*/ 177188 w 305112"/>
                <a:gd name="connsiteY188" fmla="*/ 5732 h 335285"/>
                <a:gd name="connsiteX189" fmla="*/ 184815 w 305112"/>
                <a:gd name="connsiteY189" fmla="*/ 1808 h 335285"/>
                <a:gd name="connsiteX190" fmla="*/ 178931 w 305112"/>
                <a:gd name="connsiteY190" fmla="*/ 17722 h 335285"/>
                <a:gd name="connsiteX191" fmla="*/ 173702 w 305112"/>
                <a:gd name="connsiteY191" fmla="*/ 32111 h 335285"/>
                <a:gd name="connsiteX192" fmla="*/ 172612 w 305112"/>
                <a:gd name="connsiteY192" fmla="*/ 42357 h 335285"/>
                <a:gd name="connsiteX193" fmla="*/ 178060 w 305112"/>
                <a:gd name="connsiteY193" fmla="*/ 51295 h 335285"/>
                <a:gd name="connsiteX194" fmla="*/ 185904 w 305112"/>
                <a:gd name="connsiteY194" fmla="*/ 59144 h 335285"/>
                <a:gd name="connsiteX195" fmla="*/ 175663 w 305112"/>
                <a:gd name="connsiteY195" fmla="*/ 60452 h 335285"/>
                <a:gd name="connsiteX196" fmla="*/ 164550 w 305112"/>
                <a:gd name="connsiteY196" fmla="*/ 62414 h 335285"/>
                <a:gd name="connsiteX197" fmla="*/ 168254 w 305112"/>
                <a:gd name="connsiteY197" fmla="*/ 65030 h 335285"/>
                <a:gd name="connsiteX198" fmla="*/ 171740 w 305112"/>
                <a:gd name="connsiteY198" fmla="*/ 75930 h 335285"/>
                <a:gd name="connsiteX199" fmla="*/ 164114 w 305112"/>
                <a:gd name="connsiteY199" fmla="*/ 73532 h 335285"/>
                <a:gd name="connsiteX200" fmla="*/ 155615 w 305112"/>
                <a:gd name="connsiteY200" fmla="*/ 62850 h 335285"/>
                <a:gd name="connsiteX201" fmla="*/ 153218 w 305112"/>
                <a:gd name="connsiteY201" fmla="*/ 68300 h 335285"/>
                <a:gd name="connsiteX202" fmla="*/ 150821 w 305112"/>
                <a:gd name="connsiteY202" fmla="*/ 73750 h 335285"/>
                <a:gd name="connsiteX203" fmla="*/ 149950 w 305112"/>
                <a:gd name="connsiteY203" fmla="*/ 69390 h 335285"/>
                <a:gd name="connsiteX204" fmla="*/ 143630 w 305112"/>
                <a:gd name="connsiteY204" fmla="*/ 60452 h 335285"/>
                <a:gd name="connsiteX205" fmla="*/ 132081 w 305112"/>
                <a:gd name="connsiteY205" fmla="*/ 61760 h 335285"/>
                <a:gd name="connsiteX206" fmla="*/ 121840 w 305112"/>
                <a:gd name="connsiteY206" fmla="*/ 65684 h 335285"/>
                <a:gd name="connsiteX207" fmla="*/ 117482 w 305112"/>
                <a:gd name="connsiteY207" fmla="*/ 68736 h 335285"/>
                <a:gd name="connsiteX208" fmla="*/ 113995 w 305112"/>
                <a:gd name="connsiteY208" fmla="*/ 70480 h 335285"/>
                <a:gd name="connsiteX209" fmla="*/ 101138 w 305112"/>
                <a:gd name="connsiteY209" fmla="*/ 73314 h 335285"/>
                <a:gd name="connsiteX210" fmla="*/ 90025 w 305112"/>
                <a:gd name="connsiteY210" fmla="*/ 80290 h 335285"/>
                <a:gd name="connsiteX211" fmla="*/ 95473 w 305112"/>
                <a:gd name="connsiteY211" fmla="*/ 89447 h 335285"/>
                <a:gd name="connsiteX212" fmla="*/ 100921 w 305112"/>
                <a:gd name="connsiteY212" fmla="*/ 95551 h 335285"/>
                <a:gd name="connsiteX213" fmla="*/ 108765 w 305112"/>
                <a:gd name="connsiteY213" fmla="*/ 99475 h 335285"/>
                <a:gd name="connsiteX214" fmla="*/ 113341 w 305112"/>
                <a:gd name="connsiteY214" fmla="*/ 90319 h 335285"/>
                <a:gd name="connsiteX215" fmla="*/ 120096 w 305112"/>
                <a:gd name="connsiteY215" fmla="*/ 84215 h 335285"/>
                <a:gd name="connsiteX216" fmla="*/ 124455 w 305112"/>
                <a:gd name="connsiteY216" fmla="*/ 79200 h 335285"/>
                <a:gd name="connsiteX217" fmla="*/ 124890 w 305112"/>
                <a:gd name="connsiteY217" fmla="*/ 71570 h 335285"/>
                <a:gd name="connsiteX218" fmla="*/ 133607 w 305112"/>
                <a:gd name="connsiteY218" fmla="*/ 73750 h 335285"/>
                <a:gd name="connsiteX219" fmla="*/ 139490 w 305112"/>
                <a:gd name="connsiteY219" fmla="*/ 74186 h 335285"/>
                <a:gd name="connsiteX220" fmla="*/ 143848 w 305112"/>
                <a:gd name="connsiteY220" fmla="*/ 79854 h 335285"/>
                <a:gd name="connsiteX221" fmla="*/ 147335 w 305112"/>
                <a:gd name="connsiteY221" fmla="*/ 90101 h 335285"/>
                <a:gd name="connsiteX222" fmla="*/ 153654 w 305112"/>
                <a:gd name="connsiteY222" fmla="*/ 89011 h 335285"/>
                <a:gd name="connsiteX223" fmla="*/ 175881 w 305112"/>
                <a:gd name="connsiteY223" fmla="*/ 85305 h 335285"/>
                <a:gd name="connsiteX224" fmla="*/ 197889 w 305112"/>
                <a:gd name="connsiteY224" fmla="*/ 87049 h 335285"/>
                <a:gd name="connsiteX225" fmla="*/ 197671 w 305112"/>
                <a:gd name="connsiteY225" fmla="*/ 95115 h 335285"/>
                <a:gd name="connsiteX226" fmla="*/ 189827 w 305112"/>
                <a:gd name="connsiteY226" fmla="*/ 103181 h 335285"/>
                <a:gd name="connsiteX227" fmla="*/ 188519 w 305112"/>
                <a:gd name="connsiteY227" fmla="*/ 113864 h 335285"/>
                <a:gd name="connsiteX228" fmla="*/ 196364 w 305112"/>
                <a:gd name="connsiteY228" fmla="*/ 112338 h 335285"/>
                <a:gd name="connsiteX229" fmla="*/ 212489 w 305112"/>
                <a:gd name="connsiteY229" fmla="*/ 119968 h 335285"/>
                <a:gd name="connsiteX230" fmla="*/ 213143 w 305112"/>
                <a:gd name="connsiteY230" fmla="*/ 127162 h 335285"/>
                <a:gd name="connsiteX231" fmla="*/ 217065 w 305112"/>
                <a:gd name="connsiteY231" fmla="*/ 120186 h 335285"/>
                <a:gd name="connsiteX232" fmla="*/ 216411 w 305112"/>
                <a:gd name="connsiteY232" fmla="*/ 110812 h 335285"/>
                <a:gd name="connsiteX233" fmla="*/ 213797 w 305112"/>
                <a:gd name="connsiteY233" fmla="*/ 99911 h 335285"/>
                <a:gd name="connsiteX234" fmla="*/ 218591 w 305112"/>
                <a:gd name="connsiteY234" fmla="*/ 86831 h 335285"/>
                <a:gd name="connsiteX235" fmla="*/ 217719 w 305112"/>
                <a:gd name="connsiteY235" fmla="*/ 79418 h 335285"/>
                <a:gd name="connsiteX236" fmla="*/ 235152 w 305112"/>
                <a:gd name="connsiteY236" fmla="*/ 70916 h 335285"/>
                <a:gd name="connsiteX237" fmla="*/ 238202 w 305112"/>
                <a:gd name="connsiteY237" fmla="*/ 65248 h 335285"/>
                <a:gd name="connsiteX238" fmla="*/ 236023 w 305112"/>
                <a:gd name="connsiteY238" fmla="*/ 58490 h 335285"/>
                <a:gd name="connsiteX239" fmla="*/ 233844 w 305112"/>
                <a:gd name="connsiteY239" fmla="*/ 60670 h 335285"/>
                <a:gd name="connsiteX240" fmla="*/ 225999 w 305112"/>
                <a:gd name="connsiteY240" fmla="*/ 57400 h 335285"/>
                <a:gd name="connsiteX241" fmla="*/ 234498 w 305112"/>
                <a:gd name="connsiteY241" fmla="*/ 49115 h 335285"/>
                <a:gd name="connsiteX242" fmla="*/ 242560 w 305112"/>
                <a:gd name="connsiteY242" fmla="*/ 51731 h 335285"/>
                <a:gd name="connsiteX243" fmla="*/ 252148 w 305112"/>
                <a:gd name="connsiteY243" fmla="*/ 60670 h 335285"/>
                <a:gd name="connsiteX244" fmla="*/ 259339 w 305112"/>
                <a:gd name="connsiteY244" fmla="*/ 66556 h 335285"/>
                <a:gd name="connsiteX245" fmla="*/ 256724 w 305112"/>
                <a:gd name="connsiteY245" fmla="*/ 71570 h 335285"/>
                <a:gd name="connsiteX246" fmla="*/ 248008 w 305112"/>
                <a:gd name="connsiteY246" fmla="*/ 75058 h 335285"/>
                <a:gd name="connsiteX247" fmla="*/ 242560 w 305112"/>
                <a:gd name="connsiteY247" fmla="*/ 83125 h 335285"/>
                <a:gd name="connsiteX248" fmla="*/ 255417 w 305112"/>
                <a:gd name="connsiteY248" fmla="*/ 83997 h 335285"/>
                <a:gd name="connsiteX249" fmla="*/ 266530 w 305112"/>
                <a:gd name="connsiteY249" fmla="*/ 83997 h 335285"/>
                <a:gd name="connsiteX250" fmla="*/ 265005 w 305112"/>
                <a:gd name="connsiteY250" fmla="*/ 101655 h 335285"/>
                <a:gd name="connsiteX251" fmla="*/ 259557 w 305112"/>
                <a:gd name="connsiteY251" fmla="*/ 96205 h 335285"/>
                <a:gd name="connsiteX252" fmla="*/ 250187 w 305112"/>
                <a:gd name="connsiteY252" fmla="*/ 96859 h 335285"/>
                <a:gd name="connsiteX253" fmla="*/ 240599 w 305112"/>
                <a:gd name="connsiteY253" fmla="*/ 100129 h 335285"/>
                <a:gd name="connsiteX254" fmla="*/ 237113 w 305112"/>
                <a:gd name="connsiteY254" fmla="*/ 90755 h 335285"/>
                <a:gd name="connsiteX255" fmla="*/ 235369 w 305112"/>
                <a:gd name="connsiteY255" fmla="*/ 83997 h 335285"/>
                <a:gd name="connsiteX256" fmla="*/ 225346 w 305112"/>
                <a:gd name="connsiteY256" fmla="*/ 95551 h 335285"/>
                <a:gd name="connsiteX257" fmla="*/ 230575 w 305112"/>
                <a:gd name="connsiteY257" fmla="*/ 111248 h 335285"/>
                <a:gd name="connsiteX258" fmla="*/ 241689 w 305112"/>
                <a:gd name="connsiteY258" fmla="*/ 108413 h 335285"/>
                <a:gd name="connsiteX259" fmla="*/ 246483 w 305112"/>
                <a:gd name="connsiteY259" fmla="*/ 109067 h 335285"/>
                <a:gd name="connsiteX260" fmla="*/ 253674 w 305112"/>
                <a:gd name="connsiteY260" fmla="*/ 109067 h 335285"/>
                <a:gd name="connsiteX261" fmla="*/ 257160 w 305112"/>
                <a:gd name="connsiteY261" fmla="*/ 112556 h 335285"/>
                <a:gd name="connsiteX262" fmla="*/ 253456 w 305112"/>
                <a:gd name="connsiteY262" fmla="*/ 119096 h 335285"/>
                <a:gd name="connsiteX263" fmla="*/ 265876 w 305112"/>
                <a:gd name="connsiteY263" fmla="*/ 116044 h 335285"/>
                <a:gd name="connsiteX264" fmla="*/ 275029 w 305112"/>
                <a:gd name="connsiteY264" fmla="*/ 111466 h 335285"/>
                <a:gd name="connsiteX265" fmla="*/ 281566 w 305112"/>
                <a:gd name="connsiteY265" fmla="*/ 108195 h 335285"/>
                <a:gd name="connsiteX266" fmla="*/ 288321 w 305112"/>
                <a:gd name="connsiteY266" fmla="*/ 107541 h 335285"/>
                <a:gd name="connsiteX267" fmla="*/ 295948 w 305112"/>
                <a:gd name="connsiteY267" fmla="*/ 108631 h 335285"/>
                <a:gd name="connsiteX268" fmla="*/ 298998 w 305112"/>
                <a:gd name="connsiteY268" fmla="*/ 117788 h 335285"/>
                <a:gd name="connsiteX269" fmla="*/ 295948 w 305112"/>
                <a:gd name="connsiteY269" fmla="*/ 123892 h 335285"/>
                <a:gd name="connsiteX270" fmla="*/ 281784 w 305112"/>
                <a:gd name="connsiteY270" fmla="*/ 135882 h 335285"/>
                <a:gd name="connsiteX271" fmla="*/ 282655 w 305112"/>
                <a:gd name="connsiteY271" fmla="*/ 128688 h 335285"/>
                <a:gd name="connsiteX272" fmla="*/ 281784 w 305112"/>
                <a:gd name="connsiteY272" fmla="*/ 121712 h 335285"/>
                <a:gd name="connsiteX273" fmla="*/ 277426 w 305112"/>
                <a:gd name="connsiteY273" fmla="*/ 118006 h 335285"/>
                <a:gd name="connsiteX274" fmla="*/ 272632 w 305112"/>
                <a:gd name="connsiteY274" fmla="*/ 119096 h 335285"/>
                <a:gd name="connsiteX275" fmla="*/ 268273 w 305112"/>
                <a:gd name="connsiteY275" fmla="*/ 133702 h 335285"/>
                <a:gd name="connsiteX276" fmla="*/ 267402 w 305112"/>
                <a:gd name="connsiteY276" fmla="*/ 143513 h 335285"/>
                <a:gd name="connsiteX277" fmla="*/ 250405 w 305112"/>
                <a:gd name="connsiteY277" fmla="*/ 124546 h 335285"/>
                <a:gd name="connsiteX278" fmla="*/ 233190 w 305112"/>
                <a:gd name="connsiteY278" fmla="*/ 115172 h 335285"/>
                <a:gd name="connsiteX279" fmla="*/ 227961 w 305112"/>
                <a:gd name="connsiteY279" fmla="*/ 123238 h 335285"/>
                <a:gd name="connsiteX280" fmla="*/ 220116 w 305112"/>
                <a:gd name="connsiteY280" fmla="*/ 133484 h 335285"/>
                <a:gd name="connsiteX281" fmla="*/ 203555 w 305112"/>
                <a:gd name="connsiteY281" fmla="*/ 119532 h 335285"/>
                <a:gd name="connsiteX282" fmla="*/ 196364 w 305112"/>
                <a:gd name="connsiteY282" fmla="*/ 116916 h 335285"/>
                <a:gd name="connsiteX283" fmla="*/ 202901 w 305112"/>
                <a:gd name="connsiteY283" fmla="*/ 129342 h 335285"/>
                <a:gd name="connsiteX284" fmla="*/ 205298 w 305112"/>
                <a:gd name="connsiteY284" fmla="*/ 135010 h 335285"/>
                <a:gd name="connsiteX285" fmla="*/ 195274 w 305112"/>
                <a:gd name="connsiteY285" fmla="*/ 137190 h 335285"/>
                <a:gd name="connsiteX286" fmla="*/ 186994 w 305112"/>
                <a:gd name="connsiteY286" fmla="*/ 129996 h 335285"/>
                <a:gd name="connsiteX287" fmla="*/ 182418 w 305112"/>
                <a:gd name="connsiteY287" fmla="*/ 123020 h 335285"/>
                <a:gd name="connsiteX288" fmla="*/ 176970 w 305112"/>
                <a:gd name="connsiteY288" fmla="*/ 107977 h 335285"/>
                <a:gd name="connsiteX289" fmla="*/ 179367 w 305112"/>
                <a:gd name="connsiteY289" fmla="*/ 101873 h 335285"/>
                <a:gd name="connsiteX290" fmla="*/ 170215 w 305112"/>
                <a:gd name="connsiteY290" fmla="*/ 98603 h 335285"/>
                <a:gd name="connsiteX291" fmla="*/ 158230 w 305112"/>
                <a:gd name="connsiteY291" fmla="*/ 97077 h 335285"/>
                <a:gd name="connsiteX292" fmla="*/ 155397 w 305112"/>
                <a:gd name="connsiteY292" fmla="*/ 98385 h 335285"/>
                <a:gd name="connsiteX293" fmla="*/ 159973 w 305112"/>
                <a:gd name="connsiteY293" fmla="*/ 105143 h 335285"/>
                <a:gd name="connsiteX294" fmla="*/ 163460 w 305112"/>
                <a:gd name="connsiteY294" fmla="*/ 112774 h 335285"/>
                <a:gd name="connsiteX295" fmla="*/ 167382 w 305112"/>
                <a:gd name="connsiteY295" fmla="*/ 121058 h 335285"/>
                <a:gd name="connsiteX296" fmla="*/ 173920 w 305112"/>
                <a:gd name="connsiteY296" fmla="*/ 143513 h 335285"/>
                <a:gd name="connsiteX297" fmla="*/ 178278 w 305112"/>
                <a:gd name="connsiteY297" fmla="*/ 165095 h 335285"/>
                <a:gd name="connsiteX298" fmla="*/ 184161 w 305112"/>
                <a:gd name="connsiteY298" fmla="*/ 157901 h 335285"/>
                <a:gd name="connsiteX299" fmla="*/ 186776 w 305112"/>
                <a:gd name="connsiteY299" fmla="*/ 148091 h 335285"/>
                <a:gd name="connsiteX300" fmla="*/ 198979 w 305112"/>
                <a:gd name="connsiteY300" fmla="*/ 152669 h 335285"/>
                <a:gd name="connsiteX301" fmla="*/ 181328 w 305112"/>
                <a:gd name="connsiteY301" fmla="*/ 170764 h 335285"/>
                <a:gd name="connsiteX302" fmla="*/ 177188 w 305112"/>
                <a:gd name="connsiteY302" fmla="*/ 175996 h 335285"/>
                <a:gd name="connsiteX303" fmla="*/ 174137 w 305112"/>
                <a:gd name="connsiteY303" fmla="*/ 184716 h 335285"/>
                <a:gd name="connsiteX304" fmla="*/ 166293 w 305112"/>
                <a:gd name="connsiteY304" fmla="*/ 184280 h 335285"/>
                <a:gd name="connsiteX305" fmla="*/ 159756 w 305112"/>
                <a:gd name="connsiteY305" fmla="*/ 177740 h 335285"/>
                <a:gd name="connsiteX306" fmla="*/ 158666 w 305112"/>
                <a:gd name="connsiteY306" fmla="*/ 193654 h 335285"/>
                <a:gd name="connsiteX307" fmla="*/ 164114 w 305112"/>
                <a:gd name="connsiteY307" fmla="*/ 207607 h 335285"/>
                <a:gd name="connsiteX308" fmla="*/ 168908 w 305112"/>
                <a:gd name="connsiteY308" fmla="*/ 214365 h 335285"/>
                <a:gd name="connsiteX309" fmla="*/ 183725 w 305112"/>
                <a:gd name="connsiteY309" fmla="*/ 211749 h 335285"/>
                <a:gd name="connsiteX310" fmla="*/ 179367 w 305112"/>
                <a:gd name="connsiteY310" fmla="*/ 218289 h 335285"/>
                <a:gd name="connsiteX311" fmla="*/ 179367 w 305112"/>
                <a:gd name="connsiteY311" fmla="*/ 227882 h 335285"/>
                <a:gd name="connsiteX312" fmla="*/ 185033 w 305112"/>
                <a:gd name="connsiteY312" fmla="*/ 233332 h 335285"/>
                <a:gd name="connsiteX313" fmla="*/ 173048 w 305112"/>
                <a:gd name="connsiteY313" fmla="*/ 229626 h 335285"/>
                <a:gd name="connsiteX314" fmla="*/ 166075 w 305112"/>
                <a:gd name="connsiteY314" fmla="*/ 224829 h 335285"/>
                <a:gd name="connsiteX315" fmla="*/ 165203 w 305112"/>
                <a:gd name="connsiteY315" fmla="*/ 242270 h 335285"/>
                <a:gd name="connsiteX316" fmla="*/ 161063 w 305112"/>
                <a:gd name="connsiteY316" fmla="*/ 261019 h 335285"/>
                <a:gd name="connsiteX317" fmla="*/ 159756 w 305112"/>
                <a:gd name="connsiteY317" fmla="*/ 269957 h 335285"/>
                <a:gd name="connsiteX318" fmla="*/ 161935 w 305112"/>
                <a:gd name="connsiteY318" fmla="*/ 276497 h 335285"/>
                <a:gd name="connsiteX319" fmla="*/ 168908 w 305112"/>
                <a:gd name="connsiteY319" fmla="*/ 277587 h 335285"/>
                <a:gd name="connsiteX320" fmla="*/ 178496 w 305112"/>
                <a:gd name="connsiteY320" fmla="*/ 272137 h 335285"/>
                <a:gd name="connsiteX321" fmla="*/ 173920 w 305112"/>
                <a:gd name="connsiteY321" fmla="*/ 285000 h 335285"/>
                <a:gd name="connsiteX322" fmla="*/ 166293 w 305112"/>
                <a:gd name="connsiteY322" fmla="*/ 302658 h 335285"/>
                <a:gd name="connsiteX323" fmla="*/ 173484 w 305112"/>
                <a:gd name="connsiteY323" fmla="*/ 307890 h 335285"/>
                <a:gd name="connsiteX324" fmla="*/ 193967 w 305112"/>
                <a:gd name="connsiteY324" fmla="*/ 312032 h 335285"/>
                <a:gd name="connsiteX325" fmla="*/ 190698 w 305112"/>
                <a:gd name="connsiteY325" fmla="*/ 309198 h 335285"/>
                <a:gd name="connsiteX326" fmla="*/ 175009 w 305112"/>
                <a:gd name="connsiteY326" fmla="*/ 295900 h 335285"/>
                <a:gd name="connsiteX327" fmla="*/ 182854 w 305112"/>
                <a:gd name="connsiteY327" fmla="*/ 295028 h 335285"/>
                <a:gd name="connsiteX328" fmla="*/ 199633 w 305112"/>
                <a:gd name="connsiteY328" fmla="*/ 292848 h 335285"/>
                <a:gd name="connsiteX329" fmla="*/ 205516 w 305112"/>
                <a:gd name="connsiteY329" fmla="*/ 279985 h 335285"/>
                <a:gd name="connsiteX330" fmla="*/ 209874 w 305112"/>
                <a:gd name="connsiteY330" fmla="*/ 271047 h 335285"/>
                <a:gd name="connsiteX331" fmla="*/ 212271 w 305112"/>
                <a:gd name="connsiteY331" fmla="*/ 290232 h 335285"/>
                <a:gd name="connsiteX332" fmla="*/ 206388 w 305112"/>
                <a:gd name="connsiteY332" fmla="*/ 321843 h 335285"/>
                <a:gd name="connsiteX333" fmla="*/ 197889 w 305112"/>
                <a:gd name="connsiteY333" fmla="*/ 332961 h 335285"/>
                <a:gd name="connsiteX334" fmla="*/ 113341 w 305112"/>
                <a:gd name="connsiteY334" fmla="*/ 251426 h 335285"/>
                <a:gd name="connsiteX335" fmla="*/ 107240 w 305112"/>
                <a:gd name="connsiteY335" fmla="*/ 250554 h 335285"/>
                <a:gd name="connsiteX336" fmla="*/ 114431 w 305112"/>
                <a:gd name="connsiteY336" fmla="*/ 259057 h 335285"/>
                <a:gd name="connsiteX337" fmla="*/ 113341 w 305112"/>
                <a:gd name="connsiteY337" fmla="*/ 251426 h 335285"/>
                <a:gd name="connsiteX338" fmla="*/ 154962 w 305112"/>
                <a:gd name="connsiteY338" fmla="*/ 199759 h 335285"/>
                <a:gd name="connsiteX339" fmla="*/ 146899 w 305112"/>
                <a:gd name="connsiteY339" fmla="*/ 195616 h 335285"/>
                <a:gd name="connsiteX340" fmla="*/ 146463 w 305112"/>
                <a:gd name="connsiteY340" fmla="*/ 201067 h 335285"/>
                <a:gd name="connsiteX341" fmla="*/ 154962 w 305112"/>
                <a:gd name="connsiteY341" fmla="*/ 199759 h 335285"/>
                <a:gd name="connsiteX342" fmla="*/ 121840 w 305112"/>
                <a:gd name="connsiteY342" fmla="*/ 199105 h 335285"/>
                <a:gd name="connsiteX343" fmla="*/ 119443 w 305112"/>
                <a:gd name="connsiteY343" fmla="*/ 193218 h 335285"/>
                <a:gd name="connsiteX344" fmla="*/ 122711 w 305112"/>
                <a:gd name="connsiteY344" fmla="*/ 185152 h 335285"/>
                <a:gd name="connsiteX345" fmla="*/ 130338 w 305112"/>
                <a:gd name="connsiteY345" fmla="*/ 182754 h 335285"/>
                <a:gd name="connsiteX346" fmla="*/ 132299 w 305112"/>
                <a:gd name="connsiteY346" fmla="*/ 190602 h 335285"/>
                <a:gd name="connsiteX347" fmla="*/ 142105 w 305112"/>
                <a:gd name="connsiteY347" fmla="*/ 187332 h 335285"/>
                <a:gd name="connsiteX348" fmla="*/ 149732 w 305112"/>
                <a:gd name="connsiteY348" fmla="*/ 177740 h 335285"/>
                <a:gd name="connsiteX349" fmla="*/ 155397 w 305112"/>
                <a:gd name="connsiteY349" fmla="*/ 168802 h 335285"/>
                <a:gd name="connsiteX350" fmla="*/ 161935 w 305112"/>
                <a:gd name="connsiteY350" fmla="*/ 160953 h 335285"/>
                <a:gd name="connsiteX351" fmla="*/ 170651 w 305112"/>
                <a:gd name="connsiteY351" fmla="*/ 144821 h 335285"/>
                <a:gd name="connsiteX352" fmla="*/ 167382 w 305112"/>
                <a:gd name="connsiteY352" fmla="*/ 136972 h 335285"/>
                <a:gd name="connsiteX353" fmla="*/ 164114 w 305112"/>
                <a:gd name="connsiteY353" fmla="*/ 143077 h 335285"/>
                <a:gd name="connsiteX354" fmla="*/ 157359 w 305112"/>
                <a:gd name="connsiteY354" fmla="*/ 156375 h 335285"/>
                <a:gd name="connsiteX355" fmla="*/ 148642 w 305112"/>
                <a:gd name="connsiteY355" fmla="*/ 168802 h 335285"/>
                <a:gd name="connsiteX356" fmla="*/ 141233 w 305112"/>
                <a:gd name="connsiteY356" fmla="*/ 171418 h 335285"/>
                <a:gd name="connsiteX357" fmla="*/ 132735 w 305112"/>
                <a:gd name="connsiteY357" fmla="*/ 172944 h 335285"/>
                <a:gd name="connsiteX358" fmla="*/ 125544 w 305112"/>
                <a:gd name="connsiteY358" fmla="*/ 167275 h 335285"/>
                <a:gd name="connsiteX359" fmla="*/ 128595 w 305112"/>
                <a:gd name="connsiteY359" fmla="*/ 157247 h 335285"/>
                <a:gd name="connsiteX360" fmla="*/ 143412 w 305112"/>
                <a:gd name="connsiteY360" fmla="*/ 159209 h 335285"/>
                <a:gd name="connsiteX361" fmla="*/ 153654 w 305112"/>
                <a:gd name="connsiteY361" fmla="*/ 152233 h 335285"/>
                <a:gd name="connsiteX362" fmla="*/ 153218 w 305112"/>
                <a:gd name="connsiteY362" fmla="*/ 133266 h 335285"/>
                <a:gd name="connsiteX363" fmla="*/ 148860 w 305112"/>
                <a:gd name="connsiteY363" fmla="*/ 117352 h 335285"/>
                <a:gd name="connsiteX364" fmla="*/ 144284 w 305112"/>
                <a:gd name="connsiteY364" fmla="*/ 125636 h 335285"/>
                <a:gd name="connsiteX365" fmla="*/ 143195 w 305112"/>
                <a:gd name="connsiteY365" fmla="*/ 134574 h 335285"/>
                <a:gd name="connsiteX366" fmla="*/ 142323 w 305112"/>
                <a:gd name="connsiteY366" fmla="*/ 145911 h 335285"/>
                <a:gd name="connsiteX367" fmla="*/ 142759 w 305112"/>
                <a:gd name="connsiteY367" fmla="*/ 154849 h 335285"/>
                <a:gd name="connsiteX368" fmla="*/ 134260 w 305112"/>
                <a:gd name="connsiteY368" fmla="*/ 147437 h 335285"/>
                <a:gd name="connsiteX369" fmla="*/ 128159 w 305112"/>
                <a:gd name="connsiteY369" fmla="*/ 145693 h 335285"/>
                <a:gd name="connsiteX370" fmla="*/ 122493 w 305112"/>
                <a:gd name="connsiteY370" fmla="*/ 147873 h 335285"/>
                <a:gd name="connsiteX371" fmla="*/ 118353 w 305112"/>
                <a:gd name="connsiteY371" fmla="*/ 149835 h 335285"/>
                <a:gd name="connsiteX372" fmla="*/ 110726 w 305112"/>
                <a:gd name="connsiteY372" fmla="*/ 161607 h 335285"/>
                <a:gd name="connsiteX373" fmla="*/ 103100 w 305112"/>
                <a:gd name="connsiteY373" fmla="*/ 173162 h 335285"/>
                <a:gd name="connsiteX374" fmla="*/ 110944 w 305112"/>
                <a:gd name="connsiteY374" fmla="*/ 173380 h 335285"/>
                <a:gd name="connsiteX375" fmla="*/ 119007 w 305112"/>
                <a:gd name="connsiteY375" fmla="*/ 172072 h 335285"/>
                <a:gd name="connsiteX376" fmla="*/ 114213 w 305112"/>
                <a:gd name="connsiteY376" fmla="*/ 176868 h 335285"/>
                <a:gd name="connsiteX377" fmla="*/ 112252 w 305112"/>
                <a:gd name="connsiteY377" fmla="*/ 184498 h 335285"/>
                <a:gd name="connsiteX378" fmla="*/ 110944 w 305112"/>
                <a:gd name="connsiteY378" fmla="*/ 191256 h 335285"/>
                <a:gd name="connsiteX379" fmla="*/ 112252 w 305112"/>
                <a:gd name="connsiteY379" fmla="*/ 198887 h 335285"/>
                <a:gd name="connsiteX380" fmla="*/ 121840 w 305112"/>
                <a:gd name="connsiteY380" fmla="*/ 199105 h 335285"/>
                <a:gd name="connsiteX381" fmla="*/ 137965 w 305112"/>
                <a:gd name="connsiteY381" fmla="*/ 135228 h 335285"/>
                <a:gd name="connsiteX382" fmla="*/ 133171 w 305112"/>
                <a:gd name="connsiteY382" fmla="*/ 131740 h 335285"/>
                <a:gd name="connsiteX383" fmla="*/ 136004 w 305112"/>
                <a:gd name="connsiteY383" fmla="*/ 136972 h 335285"/>
                <a:gd name="connsiteX384" fmla="*/ 137965 w 305112"/>
                <a:gd name="connsiteY384" fmla="*/ 135228 h 335285"/>
                <a:gd name="connsiteX385" fmla="*/ 155397 w 305112"/>
                <a:gd name="connsiteY385" fmla="*/ 106015 h 335285"/>
                <a:gd name="connsiteX386" fmla="*/ 152565 w 305112"/>
                <a:gd name="connsiteY386" fmla="*/ 104271 h 335285"/>
                <a:gd name="connsiteX387" fmla="*/ 136875 w 305112"/>
                <a:gd name="connsiteY387" fmla="*/ 86831 h 335285"/>
                <a:gd name="connsiteX388" fmla="*/ 135568 w 305112"/>
                <a:gd name="connsiteY388" fmla="*/ 83343 h 335285"/>
                <a:gd name="connsiteX389" fmla="*/ 134042 w 305112"/>
                <a:gd name="connsiteY389" fmla="*/ 93371 h 335285"/>
                <a:gd name="connsiteX390" fmla="*/ 150168 w 305112"/>
                <a:gd name="connsiteY390" fmla="*/ 110375 h 335285"/>
                <a:gd name="connsiteX391" fmla="*/ 155397 w 305112"/>
                <a:gd name="connsiteY391" fmla="*/ 106015 h 335285"/>
                <a:gd name="connsiteX392" fmla="*/ 122711 w 305112"/>
                <a:gd name="connsiteY392" fmla="*/ 99693 h 335285"/>
                <a:gd name="connsiteX393" fmla="*/ 120532 w 305112"/>
                <a:gd name="connsiteY393" fmla="*/ 97731 h 335285"/>
                <a:gd name="connsiteX394" fmla="*/ 118353 w 305112"/>
                <a:gd name="connsiteY394" fmla="*/ 101219 h 335285"/>
                <a:gd name="connsiteX395" fmla="*/ 120532 w 305112"/>
                <a:gd name="connsiteY395" fmla="*/ 103181 h 335285"/>
                <a:gd name="connsiteX396" fmla="*/ 122711 w 305112"/>
                <a:gd name="connsiteY396" fmla="*/ 99693 h 335285"/>
                <a:gd name="connsiteX397" fmla="*/ 109419 w 305112"/>
                <a:gd name="connsiteY397" fmla="*/ 65248 h 335285"/>
                <a:gd name="connsiteX398" fmla="*/ 106368 w 305112"/>
                <a:gd name="connsiteY398" fmla="*/ 58490 h 335285"/>
                <a:gd name="connsiteX399" fmla="*/ 102010 w 305112"/>
                <a:gd name="connsiteY399" fmla="*/ 65030 h 335285"/>
                <a:gd name="connsiteX400" fmla="*/ 109419 w 305112"/>
                <a:gd name="connsiteY400" fmla="*/ 65248 h 335285"/>
                <a:gd name="connsiteX401" fmla="*/ 94165 w 305112"/>
                <a:gd name="connsiteY401" fmla="*/ 56528 h 335285"/>
                <a:gd name="connsiteX402" fmla="*/ 87628 w 305112"/>
                <a:gd name="connsiteY402" fmla="*/ 49987 h 335285"/>
                <a:gd name="connsiteX403" fmla="*/ 88936 w 305112"/>
                <a:gd name="connsiteY403" fmla="*/ 60670 h 335285"/>
                <a:gd name="connsiteX404" fmla="*/ 94165 w 305112"/>
                <a:gd name="connsiteY404" fmla="*/ 56528 h 33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Lst>
              <a:rect l="l" t="t" r="r" b="b"/>
              <a:pathLst>
                <a:path w="305112" h="335285">
                  <a:moveTo>
                    <a:pt x="197889" y="332961"/>
                  </a:moveTo>
                  <a:cubicBezTo>
                    <a:pt x="197018" y="331653"/>
                    <a:pt x="195057" y="331217"/>
                    <a:pt x="193531" y="331871"/>
                  </a:cubicBezTo>
                  <a:cubicBezTo>
                    <a:pt x="192006" y="332307"/>
                    <a:pt x="190045" y="332307"/>
                    <a:pt x="189391" y="331435"/>
                  </a:cubicBezTo>
                  <a:cubicBezTo>
                    <a:pt x="188519" y="330781"/>
                    <a:pt x="191134" y="329037"/>
                    <a:pt x="195057" y="327947"/>
                  </a:cubicBezTo>
                  <a:cubicBezTo>
                    <a:pt x="198979" y="326639"/>
                    <a:pt x="202030" y="324677"/>
                    <a:pt x="201812" y="323587"/>
                  </a:cubicBezTo>
                  <a:cubicBezTo>
                    <a:pt x="200940" y="320753"/>
                    <a:pt x="188084" y="320535"/>
                    <a:pt x="181982" y="323151"/>
                  </a:cubicBezTo>
                  <a:cubicBezTo>
                    <a:pt x="177624" y="324895"/>
                    <a:pt x="176317" y="324677"/>
                    <a:pt x="174355" y="321189"/>
                  </a:cubicBezTo>
                  <a:cubicBezTo>
                    <a:pt x="173048" y="318791"/>
                    <a:pt x="169343" y="313995"/>
                    <a:pt x="165857" y="310724"/>
                  </a:cubicBezTo>
                  <a:cubicBezTo>
                    <a:pt x="162588" y="307236"/>
                    <a:pt x="159756" y="303748"/>
                    <a:pt x="159756" y="302876"/>
                  </a:cubicBezTo>
                  <a:cubicBezTo>
                    <a:pt x="159756" y="302004"/>
                    <a:pt x="157794" y="299388"/>
                    <a:pt x="155397" y="297208"/>
                  </a:cubicBezTo>
                  <a:cubicBezTo>
                    <a:pt x="152565" y="294810"/>
                    <a:pt x="151475" y="291758"/>
                    <a:pt x="152347" y="289142"/>
                  </a:cubicBezTo>
                  <a:cubicBezTo>
                    <a:pt x="153000" y="286526"/>
                    <a:pt x="152347" y="285218"/>
                    <a:pt x="150168" y="285218"/>
                  </a:cubicBezTo>
                  <a:cubicBezTo>
                    <a:pt x="148206" y="285218"/>
                    <a:pt x="146681" y="287180"/>
                    <a:pt x="146681" y="289578"/>
                  </a:cubicBezTo>
                  <a:cubicBezTo>
                    <a:pt x="146681" y="291976"/>
                    <a:pt x="145809" y="293938"/>
                    <a:pt x="144938" y="293938"/>
                  </a:cubicBezTo>
                  <a:cubicBezTo>
                    <a:pt x="143848" y="293938"/>
                    <a:pt x="142977" y="288270"/>
                    <a:pt x="142759" y="281511"/>
                  </a:cubicBezTo>
                  <a:cubicBezTo>
                    <a:pt x="142541" y="271483"/>
                    <a:pt x="141669" y="268213"/>
                    <a:pt x="137965" y="265815"/>
                  </a:cubicBezTo>
                  <a:cubicBezTo>
                    <a:pt x="132953" y="262327"/>
                    <a:pt x="132081" y="254696"/>
                    <a:pt x="136875" y="254696"/>
                  </a:cubicBezTo>
                  <a:cubicBezTo>
                    <a:pt x="138619" y="254696"/>
                    <a:pt x="141233" y="256659"/>
                    <a:pt x="142759" y="259057"/>
                  </a:cubicBezTo>
                  <a:cubicBezTo>
                    <a:pt x="148206" y="267559"/>
                    <a:pt x="152783" y="264507"/>
                    <a:pt x="154526" y="250990"/>
                  </a:cubicBezTo>
                  <a:cubicBezTo>
                    <a:pt x="156051" y="237910"/>
                    <a:pt x="154308" y="232242"/>
                    <a:pt x="147771" y="231152"/>
                  </a:cubicBezTo>
                  <a:cubicBezTo>
                    <a:pt x="144502" y="230498"/>
                    <a:pt x="144066" y="231370"/>
                    <a:pt x="145374" y="238128"/>
                  </a:cubicBezTo>
                  <a:cubicBezTo>
                    <a:pt x="146899" y="245758"/>
                    <a:pt x="146681" y="245976"/>
                    <a:pt x="139708" y="246412"/>
                  </a:cubicBezTo>
                  <a:cubicBezTo>
                    <a:pt x="135786" y="246412"/>
                    <a:pt x="130338" y="246412"/>
                    <a:pt x="127723" y="246194"/>
                  </a:cubicBezTo>
                  <a:cubicBezTo>
                    <a:pt x="123365" y="245976"/>
                    <a:pt x="122711" y="246848"/>
                    <a:pt x="122711" y="253388"/>
                  </a:cubicBezTo>
                  <a:cubicBezTo>
                    <a:pt x="122711" y="259275"/>
                    <a:pt x="121404" y="262109"/>
                    <a:pt x="117264" y="264725"/>
                  </a:cubicBezTo>
                  <a:cubicBezTo>
                    <a:pt x="114213" y="266687"/>
                    <a:pt x="111816" y="270175"/>
                    <a:pt x="111816" y="272355"/>
                  </a:cubicBezTo>
                  <a:cubicBezTo>
                    <a:pt x="111816" y="278241"/>
                    <a:pt x="108111" y="279331"/>
                    <a:pt x="105279" y="274317"/>
                  </a:cubicBezTo>
                  <a:cubicBezTo>
                    <a:pt x="101574" y="267341"/>
                    <a:pt x="98306" y="271483"/>
                    <a:pt x="99831" y="281075"/>
                  </a:cubicBezTo>
                  <a:cubicBezTo>
                    <a:pt x="100921" y="288052"/>
                    <a:pt x="100703" y="289578"/>
                    <a:pt x="97870" y="289578"/>
                  </a:cubicBezTo>
                  <a:cubicBezTo>
                    <a:pt x="96127" y="289578"/>
                    <a:pt x="92858" y="291976"/>
                    <a:pt x="90897" y="295028"/>
                  </a:cubicBezTo>
                  <a:cubicBezTo>
                    <a:pt x="87846" y="299824"/>
                    <a:pt x="79130" y="302876"/>
                    <a:pt x="79130" y="299170"/>
                  </a:cubicBezTo>
                  <a:cubicBezTo>
                    <a:pt x="79130" y="294374"/>
                    <a:pt x="84142" y="289578"/>
                    <a:pt x="88064" y="290668"/>
                  </a:cubicBezTo>
                  <a:cubicBezTo>
                    <a:pt x="92422" y="292194"/>
                    <a:pt x="93512" y="288706"/>
                    <a:pt x="90243" y="283255"/>
                  </a:cubicBezTo>
                  <a:cubicBezTo>
                    <a:pt x="89154" y="281511"/>
                    <a:pt x="89154" y="277151"/>
                    <a:pt x="90461" y="272791"/>
                  </a:cubicBezTo>
                  <a:cubicBezTo>
                    <a:pt x="92640" y="264725"/>
                    <a:pt x="89807" y="258403"/>
                    <a:pt x="84795" y="260365"/>
                  </a:cubicBezTo>
                  <a:cubicBezTo>
                    <a:pt x="83052" y="261019"/>
                    <a:pt x="81309" y="259929"/>
                    <a:pt x="80655" y="258185"/>
                  </a:cubicBezTo>
                  <a:cubicBezTo>
                    <a:pt x="79784" y="256223"/>
                    <a:pt x="77169" y="254696"/>
                    <a:pt x="74772" y="254696"/>
                  </a:cubicBezTo>
                  <a:cubicBezTo>
                    <a:pt x="72375" y="254696"/>
                    <a:pt x="70414" y="253388"/>
                    <a:pt x="70414" y="251644"/>
                  </a:cubicBezTo>
                  <a:cubicBezTo>
                    <a:pt x="70414" y="249682"/>
                    <a:pt x="68888" y="249028"/>
                    <a:pt x="66491" y="249682"/>
                  </a:cubicBezTo>
                  <a:cubicBezTo>
                    <a:pt x="61043" y="250990"/>
                    <a:pt x="56032" y="244886"/>
                    <a:pt x="59300" y="240744"/>
                  </a:cubicBezTo>
                  <a:cubicBezTo>
                    <a:pt x="61043" y="238564"/>
                    <a:pt x="61043" y="236384"/>
                    <a:pt x="58647" y="231588"/>
                  </a:cubicBezTo>
                  <a:cubicBezTo>
                    <a:pt x="56250" y="227228"/>
                    <a:pt x="56032" y="224829"/>
                    <a:pt x="57775" y="222649"/>
                  </a:cubicBezTo>
                  <a:cubicBezTo>
                    <a:pt x="61043" y="218725"/>
                    <a:pt x="73682" y="219161"/>
                    <a:pt x="77822" y="223303"/>
                  </a:cubicBezTo>
                  <a:cubicBezTo>
                    <a:pt x="81745" y="227010"/>
                    <a:pt x="82616" y="240526"/>
                    <a:pt x="78912" y="242706"/>
                  </a:cubicBezTo>
                  <a:cubicBezTo>
                    <a:pt x="77387" y="243796"/>
                    <a:pt x="77822" y="245540"/>
                    <a:pt x="80219" y="248156"/>
                  </a:cubicBezTo>
                  <a:cubicBezTo>
                    <a:pt x="83924" y="252298"/>
                    <a:pt x="86539" y="251644"/>
                    <a:pt x="96344" y="244450"/>
                  </a:cubicBezTo>
                  <a:cubicBezTo>
                    <a:pt x="96998" y="244014"/>
                    <a:pt x="95473" y="242488"/>
                    <a:pt x="93512" y="240962"/>
                  </a:cubicBezTo>
                  <a:cubicBezTo>
                    <a:pt x="90243" y="238564"/>
                    <a:pt x="90025" y="237256"/>
                    <a:pt x="91986" y="233332"/>
                  </a:cubicBezTo>
                  <a:cubicBezTo>
                    <a:pt x="94819" y="227882"/>
                    <a:pt x="100049" y="228972"/>
                    <a:pt x="101792" y="235512"/>
                  </a:cubicBezTo>
                  <a:cubicBezTo>
                    <a:pt x="102664" y="239436"/>
                    <a:pt x="103318" y="239654"/>
                    <a:pt x="106150" y="237256"/>
                  </a:cubicBezTo>
                  <a:cubicBezTo>
                    <a:pt x="108111" y="235730"/>
                    <a:pt x="109637" y="233114"/>
                    <a:pt x="109637" y="231588"/>
                  </a:cubicBezTo>
                  <a:cubicBezTo>
                    <a:pt x="109637" y="227664"/>
                    <a:pt x="112688" y="227664"/>
                    <a:pt x="115956" y="231588"/>
                  </a:cubicBezTo>
                  <a:cubicBezTo>
                    <a:pt x="119878" y="236166"/>
                    <a:pt x="129249" y="237910"/>
                    <a:pt x="132953" y="234640"/>
                  </a:cubicBezTo>
                  <a:cubicBezTo>
                    <a:pt x="134696" y="233114"/>
                    <a:pt x="137093" y="229626"/>
                    <a:pt x="138183" y="227010"/>
                  </a:cubicBezTo>
                  <a:cubicBezTo>
                    <a:pt x="139708" y="223085"/>
                    <a:pt x="141233" y="222213"/>
                    <a:pt x="144938" y="223085"/>
                  </a:cubicBezTo>
                  <a:cubicBezTo>
                    <a:pt x="147771" y="223739"/>
                    <a:pt x="151693" y="223085"/>
                    <a:pt x="154090" y="221341"/>
                  </a:cubicBezTo>
                  <a:cubicBezTo>
                    <a:pt x="157359" y="218943"/>
                    <a:pt x="157794" y="217635"/>
                    <a:pt x="155615" y="213711"/>
                  </a:cubicBezTo>
                  <a:cubicBezTo>
                    <a:pt x="154308" y="211095"/>
                    <a:pt x="151475" y="208915"/>
                    <a:pt x="149514" y="208915"/>
                  </a:cubicBezTo>
                  <a:cubicBezTo>
                    <a:pt x="147553" y="208915"/>
                    <a:pt x="144938" y="207389"/>
                    <a:pt x="143412" y="205427"/>
                  </a:cubicBezTo>
                  <a:cubicBezTo>
                    <a:pt x="141233" y="202375"/>
                    <a:pt x="140580" y="202375"/>
                    <a:pt x="137747" y="204991"/>
                  </a:cubicBezTo>
                  <a:cubicBezTo>
                    <a:pt x="136004" y="206735"/>
                    <a:pt x="131863" y="208915"/>
                    <a:pt x="128595" y="209787"/>
                  </a:cubicBezTo>
                  <a:cubicBezTo>
                    <a:pt x="121840" y="211313"/>
                    <a:pt x="120532" y="215455"/>
                    <a:pt x="126852" y="215455"/>
                  </a:cubicBezTo>
                  <a:cubicBezTo>
                    <a:pt x="132081" y="215455"/>
                    <a:pt x="134914" y="219379"/>
                    <a:pt x="131863" y="222431"/>
                  </a:cubicBezTo>
                  <a:cubicBezTo>
                    <a:pt x="130338" y="223957"/>
                    <a:pt x="127505" y="223957"/>
                    <a:pt x="123147" y="222431"/>
                  </a:cubicBezTo>
                  <a:cubicBezTo>
                    <a:pt x="119007" y="221123"/>
                    <a:pt x="115956" y="220905"/>
                    <a:pt x="114649" y="222213"/>
                  </a:cubicBezTo>
                  <a:cubicBezTo>
                    <a:pt x="113341" y="223521"/>
                    <a:pt x="112470" y="220905"/>
                    <a:pt x="112252" y="215237"/>
                  </a:cubicBezTo>
                  <a:cubicBezTo>
                    <a:pt x="111816" y="204119"/>
                    <a:pt x="110726" y="202593"/>
                    <a:pt x="105279" y="203901"/>
                  </a:cubicBezTo>
                  <a:cubicBezTo>
                    <a:pt x="100703" y="205209"/>
                    <a:pt x="99613" y="208915"/>
                    <a:pt x="102882" y="212403"/>
                  </a:cubicBezTo>
                  <a:cubicBezTo>
                    <a:pt x="103971" y="213493"/>
                    <a:pt x="105497" y="216545"/>
                    <a:pt x="106368" y="219379"/>
                  </a:cubicBezTo>
                  <a:cubicBezTo>
                    <a:pt x="107676" y="223739"/>
                    <a:pt x="107240" y="223957"/>
                    <a:pt x="102664" y="222213"/>
                  </a:cubicBezTo>
                  <a:cubicBezTo>
                    <a:pt x="99831" y="221123"/>
                    <a:pt x="94819" y="220687"/>
                    <a:pt x="91768" y="221341"/>
                  </a:cubicBezTo>
                  <a:cubicBezTo>
                    <a:pt x="86757" y="222213"/>
                    <a:pt x="86321" y="221777"/>
                    <a:pt x="87192" y="216763"/>
                  </a:cubicBezTo>
                  <a:cubicBezTo>
                    <a:pt x="87846" y="213493"/>
                    <a:pt x="90243" y="210005"/>
                    <a:pt x="92422" y="208697"/>
                  </a:cubicBezTo>
                  <a:cubicBezTo>
                    <a:pt x="94819" y="207607"/>
                    <a:pt x="96562" y="205209"/>
                    <a:pt x="96562" y="203465"/>
                  </a:cubicBezTo>
                  <a:cubicBezTo>
                    <a:pt x="96562" y="201721"/>
                    <a:pt x="98959" y="198669"/>
                    <a:pt x="101792" y="196706"/>
                  </a:cubicBezTo>
                  <a:lnTo>
                    <a:pt x="107240" y="193218"/>
                  </a:lnTo>
                  <a:lnTo>
                    <a:pt x="102664" y="184716"/>
                  </a:lnTo>
                  <a:cubicBezTo>
                    <a:pt x="100267" y="180138"/>
                    <a:pt x="96998" y="176214"/>
                    <a:pt x="95691" y="176214"/>
                  </a:cubicBezTo>
                  <a:cubicBezTo>
                    <a:pt x="91115" y="176214"/>
                    <a:pt x="85013" y="167929"/>
                    <a:pt x="86539" y="164005"/>
                  </a:cubicBezTo>
                  <a:cubicBezTo>
                    <a:pt x="87628" y="161389"/>
                    <a:pt x="89589" y="160735"/>
                    <a:pt x="94383" y="161825"/>
                  </a:cubicBezTo>
                  <a:cubicBezTo>
                    <a:pt x="98088" y="162479"/>
                    <a:pt x="100921" y="162043"/>
                    <a:pt x="100921" y="160953"/>
                  </a:cubicBezTo>
                  <a:cubicBezTo>
                    <a:pt x="100921" y="159863"/>
                    <a:pt x="103535" y="156375"/>
                    <a:pt x="106804" y="153323"/>
                  </a:cubicBezTo>
                  <a:cubicBezTo>
                    <a:pt x="110073" y="150271"/>
                    <a:pt x="112470" y="147873"/>
                    <a:pt x="111816" y="147655"/>
                  </a:cubicBezTo>
                  <a:cubicBezTo>
                    <a:pt x="92858" y="145475"/>
                    <a:pt x="92204" y="145693"/>
                    <a:pt x="89589" y="151143"/>
                  </a:cubicBezTo>
                  <a:cubicBezTo>
                    <a:pt x="88282" y="154195"/>
                    <a:pt x="85013" y="157901"/>
                    <a:pt x="82398" y="159645"/>
                  </a:cubicBezTo>
                  <a:cubicBezTo>
                    <a:pt x="77822" y="162697"/>
                    <a:pt x="77387" y="162261"/>
                    <a:pt x="72810" y="153977"/>
                  </a:cubicBezTo>
                  <a:cubicBezTo>
                    <a:pt x="67145" y="143077"/>
                    <a:pt x="66927" y="139370"/>
                    <a:pt x="72593" y="144603"/>
                  </a:cubicBezTo>
                  <a:cubicBezTo>
                    <a:pt x="76951" y="148527"/>
                    <a:pt x="83488" y="147873"/>
                    <a:pt x="83488" y="143513"/>
                  </a:cubicBezTo>
                  <a:cubicBezTo>
                    <a:pt x="83488" y="142205"/>
                    <a:pt x="82398" y="139152"/>
                    <a:pt x="81309" y="136754"/>
                  </a:cubicBezTo>
                  <a:cubicBezTo>
                    <a:pt x="77387" y="129778"/>
                    <a:pt x="81091" y="127380"/>
                    <a:pt x="86974" y="132830"/>
                  </a:cubicBezTo>
                  <a:cubicBezTo>
                    <a:pt x="91333" y="136972"/>
                    <a:pt x="93294" y="137408"/>
                    <a:pt x="98306" y="135664"/>
                  </a:cubicBezTo>
                  <a:cubicBezTo>
                    <a:pt x="102882" y="133920"/>
                    <a:pt x="106368" y="134356"/>
                    <a:pt x="113559" y="137190"/>
                  </a:cubicBezTo>
                  <a:cubicBezTo>
                    <a:pt x="118571" y="139370"/>
                    <a:pt x="122711" y="140243"/>
                    <a:pt x="122711" y="139152"/>
                  </a:cubicBezTo>
                  <a:cubicBezTo>
                    <a:pt x="122711" y="137844"/>
                    <a:pt x="121840" y="136972"/>
                    <a:pt x="120532" y="136972"/>
                  </a:cubicBezTo>
                  <a:cubicBezTo>
                    <a:pt x="119443" y="136972"/>
                    <a:pt x="118353" y="135010"/>
                    <a:pt x="118353" y="132612"/>
                  </a:cubicBezTo>
                  <a:cubicBezTo>
                    <a:pt x="118353" y="129778"/>
                    <a:pt x="119878" y="128252"/>
                    <a:pt x="122711" y="128252"/>
                  </a:cubicBezTo>
                  <a:cubicBezTo>
                    <a:pt x="125108" y="128252"/>
                    <a:pt x="127069" y="127380"/>
                    <a:pt x="127069" y="126072"/>
                  </a:cubicBezTo>
                  <a:cubicBezTo>
                    <a:pt x="127069" y="124982"/>
                    <a:pt x="129031" y="123892"/>
                    <a:pt x="131210" y="123892"/>
                  </a:cubicBezTo>
                  <a:cubicBezTo>
                    <a:pt x="138836" y="123892"/>
                    <a:pt x="139054" y="118660"/>
                    <a:pt x="132299" y="106887"/>
                  </a:cubicBezTo>
                  <a:cubicBezTo>
                    <a:pt x="132081" y="106451"/>
                    <a:pt x="129902" y="107323"/>
                    <a:pt x="127505" y="108849"/>
                  </a:cubicBezTo>
                  <a:cubicBezTo>
                    <a:pt x="124019" y="111030"/>
                    <a:pt x="122275" y="111030"/>
                    <a:pt x="120096" y="109067"/>
                  </a:cubicBezTo>
                  <a:cubicBezTo>
                    <a:pt x="118353" y="107759"/>
                    <a:pt x="115956" y="107323"/>
                    <a:pt x="114867" y="108413"/>
                  </a:cubicBezTo>
                  <a:cubicBezTo>
                    <a:pt x="113777" y="109503"/>
                    <a:pt x="109419" y="110812"/>
                    <a:pt x="104843" y="111466"/>
                  </a:cubicBezTo>
                  <a:cubicBezTo>
                    <a:pt x="97216" y="112556"/>
                    <a:pt x="96998" y="112338"/>
                    <a:pt x="95691" y="105143"/>
                  </a:cubicBezTo>
                  <a:cubicBezTo>
                    <a:pt x="94601" y="99911"/>
                    <a:pt x="93076" y="97731"/>
                    <a:pt x="90025" y="97731"/>
                  </a:cubicBezTo>
                  <a:cubicBezTo>
                    <a:pt x="87846" y="97731"/>
                    <a:pt x="85231" y="95769"/>
                    <a:pt x="84577" y="93371"/>
                  </a:cubicBezTo>
                  <a:cubicBezTo>
                    <a:pt x="83052" y="88357"/>
                    <a:pt x="77822" y="85523"/>
                    <a:pt x="71503" y="85959"/>
                  </a:cubicBezTo>
                  <a:cubicBezTo>
                    <a:pt x="69106" y="85959"/>
                    <a:pt x="64530" y="86395"/>
                    <a:pt x="61261" y="86613"/>
                  </a:cubicBezTo>
                  <a:cubicBezTo>
                    <a:pt x="57339" y="86613"/>
                    <a:pt x="55160" y="88139"/>
                    <a:pt x="55160" y="90101"/>
                  </a:cubicBezTo>
                  <a:cubicBezTo>
                    <a:pt x="55160" y="93807"/>
                    <a:pt x="57775" y="94243"/>
                    <a:pt x="60826" y="91191"/>
                  </a:cubicBezTo>
                  <a:cubicBezTo>
                    <a:pt x="62351" y="89665"/>
                    <a:pt x="64966" y="89447"/>
                    <a:pt x="68888" y="90973"/>
                  </a:cubicBezTo>
                  <a:cubicBezTo>
                    <a:pt x="75643" y="93589"/>
                    <a:pt x="76515" y="96641"/>
                    <a:pt x="71067" y="98603"/>
                  </a:cubicBezTo>
                  <a:cubicBezTo>
                    <a:pt x="68452" y="99693"/>
                    <a:pt x="68234" y="100783"/>
                    <a:pt x="69978" y="102527"/>
                  </a:cubicBezTo>
                  <a:cubicBezTo>
                    <a:pt x="71939" y="104489"/>
                    <a:pt x="73464" y="104053"/>
                    <a:pt x="76515" y="101437"/>
                  </a:cubicBezTo>
                  <a:cubicBezTo>
                    <a:pt x="82398" y="95987"/>
                    <a:pt x="84142" y="96859"/>
                    <a:pt x="89589" y="107759"/>
                  </a:cubicBezTo>
                  <a:cubicBezTo>
                    <a:pt x="93294" y="115390"/>
                    <a:pt x="93948" y="118442"/>
                    <a:pt x="92204" y="121712"/>
                  </a:cubicBezTo>
                  <a:cubicBezTo>
                    <a:pt x="89807" y="126290"/>
                    <a:pt x="86757" y="127380"/>
                    <a:pt x="84795" y="124110"/>
                  </a:cubicBezTo>
                  <a:cubicBezTo>
                    <a:pt x="84142" y="123020"/>
                    <a:pt x="81527" y="122584"/>
                    <a:pt x="79130" y="123238"/>
                  </a:cubicBezTo>
                  <a:cubicBezTo>
                    <a:pt x="73900" y="124546"/>
                    <a:pt x="73028" y="118442"/>
                    <a:pt x="78040" y="116480"/>
                  </a:cubicBezTo>
                  <a:cubicBezTo>
                    <a:pt x="83488" y="114518"/>
                    <a:pt x="81745" y="110812"/>
                    <a:pt x="74990" y="110812"/>
                  </a:cubicBezTo>
                  <a:cubicBezTo>
                    <a:pt x="70414" y="110812"/>
                    <a:pt x="67145" y="108849"/>
                    <a:pt x="63005" y="103399"/>
                  </a:cubicBezTo>
                  <a:cubicBezTo>
                    <a:pt x="57339" y="95769"/>
                    <a:pt x="55378" y="95333"/>
                    <a:pt x="39471" y="97513"/>
                  </a:cubicBezTo>
                  <a:cubicBezTo>
                    <a:pt x="38381" y="97731"/>
                    <a:pt x="37727" y="100565"/>
                    <a:pt x="37727" y="103835"/>
                  </a:cubicBezTo>
                  <a:cubicBezTo>
                    <a:pt x="37727" y="107323"/>
                    <a:pt x="35766" y="111902"/>
                    <a:pt x="33369" y="114082"/>
                  </a:cubicBezTo>
                  <a:cubicBezTo>
                    <a:pt x="27486" y="119314"/>
                    <a:pt x="27922" y="123892"/>
                    <a:pt x="34023" y="123892"/>
                  </a:cubicBezTo>
                  <a:cubicBezTo>
                    <a:pt x="42086" y="123892"/>
                    <a:pt x="49059" y="117788"/>
                    <a:pt x="48187" y="111248"/>
                  </a:cubicBezTo>
                  <a:cubicBezTo>
                    <a:pt x="47751" y="106233"/>
                    <a:pt x="48405" y="105143"/>
                    <a:pt x="53199" y="104707"/>
                  </a:cubicBezTo>
                  <a:cubicBezTo>
                    <a:pt x="57993" y="104053"/>
                    <a:pt x="59082" y="105143"/>
                    <a:pt x="60608" y="111248"/>
                  </a:cubicBezTo>
                  <a:cubicBezTo>
                    <a:pt x="63440" y="122584"/>
                    <a:pt x="63223" y="122802"/>
                    <a:pt x="55160" y="122802"/>
                  </a:cubicBezTo>
                  <a:cubicBezTo>
                    <a:pt x="48841" y="122802"/>
                    <a:pt x="47315" y="123674"/>
                    <a:pt x="45572" y="129342"/>
                  </a:cubicBezTo>
                  <a:cubicBezTo>
                    <a:pt x="42521" y="138280"/>
                    <a:pt x="42739" y="138280"/>
                    <a:pt x="37727" y="133702"/>
                  </a:cubicBezTo>
                  <a:cubicBezTo>
                    <a:pt x="34023" y="130214"/>
                    <a:pt x="32280" y="129996"/>
                    <a:pt x="29011" y="131958"/>
                  </a:cubicBezTo>
                  <a:cubicBezTo>
                    <a:pt x="25742" y="134138"/>
                    <a:pt x="24435" y="133702"/>
                    <a:pt x="21602" y="129342"/>
                  </a:cubicBezTo>
                  <a:cubicBezTo>
                    <a:pt x="16590" y="121494"/>
                    <a:pt x="17244" y="117352"/>
                    <a:pt x="23563" y="117352"/>
                  </a:cubicBezTo>
                  <a:cubicBezTo>
                    <a:pt x="27050" y="117352"/>
                    <a:pt x="29011" y="116044"/>
                    <a:pt x="29011" y="114082"/>
                  </a:cubicBezTo>
                  <a:cubicBezTo>
                    <a:pt x="29011" y="108849"/>
                    <a:pt x="23346" y="107977"/>
                    <a:pt x="15719" y="111684"/>
                  </a:cubicBezTo>
                  <a:cubicBezTo>
                    <a:pt x="10053" y="114518"/>
                    <a:pt x="8310" y="114736"/>
                    <a:pt x="6785" y="112556"/>
                  </a:cubicBezTo>
                  <a:cubicBezTo>
                    <a:pt x="4388" y="108413"/>
                    <a:pt x="4605" y="99039"/>
                    <a:pt x="7438" y="96205"/>
                  </a:cubicBezTo>
                  <a:cubicBezTo>
                    <a:pt x="9182" y="94461"/>
                    <a:pt x="8746" y="92063"/>
                    <a:pt x="6349" y="87703"/>
                  </a:cubicBezTo>
                  <a:cubicBezTo>
                    <a:pt x="2862" y="81162"/>
                    <a:pt x="2426" y="81599"/>
                    <a:pt x="1991" y="91191"/>
                  </a:cubicBezTo>
                  <a:cubicBezTo>
                    <a:pt x="1773" y="94461"/>
                    <a:pt x="465" y="96641"/>
                    <a:pt x="-1496" y="96641"/>
                  </a:cubicBezTo>
                  <a:cubicBezTo>
                    <a:pt x="-3893" y="96641"/>
                    <a:pt x="-4547" y="94679"/>
                    <a:pt x="-4111" y="89011"/>
                  </a:cubicBezTo>
                  <a:cubicBezTo>
                    <a:pt x="-3893" y="84869"/>
                    <a:pt x="-2585" y="80944"/>
                    <a:pt x="-1496" y="80726"/>
                  </a:cubicBezTo>
                  <a:cubicBezTo>
                    <a:pt x="-188" y="80290"/>
                    <a:pt x="683" y="78110"/>
                    <a:pt x="683" y="75712"/>
                  </a:cubicBezTo>
                  <a:cubicBezTo>
                    <a:pt x="683" y="73532"/>
                    <a:pt x="2208" y="71570"/>
                    <a:pt x="3952" y="71570"/>
                  </a:cubicBezTo>
                  <a:cubicBezTo>
                    <a:pt x="5695" y="71570"/>
                    <a:pt x="7220" y="69608"/>
                    <a:pt x="7220" y="66992"/>
                  </a:cubicBezTo>
                  <a:cubicBezTo>
                    <a:pt x="7220" y="61760"/>
                    <a:pt x="10925" y="54130"/>
                    <a:pt x="13540" y="54130"/>
                  </a:cubicBezTo>
                  <a:cubicBezTo>
                    <a:pt x="16808" y="54130"/>
                    <a:pt x="20949" y="66992"/>
                    <a:pt x="18769" y="70044"/>
                  </a:cubicBezTo>
                  <a:cubicBezTo>
                    <a:pt x="17462" y="71352"/>
                    <a:pt x="15937" y="77892"/>
                    <a:pt x="15283" y="83997"/>
                  </a:cubicBezTo>
                  <a:cubicBezTo>
                    <a:pt x="14193" y="93589"/>
                    <a:pt x="14629" y="95769"/>
                    <a:pt x="17898" y="97513"/>
                  </a:cubicBezTo>
                  <a:cubicBezTo>
                    <a:pt x="23563" y="100565"/>
                    <a:pt x="31190" y="97949"/>
                    <a:pt x="33587" y="92063"/>
                  </a:cubicBezTo>
                  <a:cubicBezTo>
                    <a:pt x="34895" y="88357"/>
                    <a:pt x="37074" y="86831"/>
                    <a:pt x="40996" y="86831"/>
                  </a:cubicBezTo>
                  <a:cubicBezTo>
                    <a:pt x="46444" y="86831"/>
                    <a:pt x="48623" y="81817"/>
                    <a:pt x="44265" y="79200"/>
                  </a:cubicBezTo>
                  <a:cubicBezTo>
                    <a:pt x="37074" y="74840"/>
                    <a:pt x="53853" y="69608"/>
                    <a:pt x="61915" y="73750"/>
                  </a:cubicBezTo>
                  <a:cubicBezTo>
                    <a:pt x="65402" y="75712"/>
                    <a:pt x="67145" y="75494"/>
                    <a:pt x="70414" y="72660"/>
                  </a:cubicBezTo>
                  <a:cubicBezTo>
                    <a:pt x="74118" y="69172"/>
                    <a:pt x="74554" y="69390"/>
                    <a:pt x="75207" y="73750"/>
                  </a:cubicBezTo>
                  <a:cubicBezTo>
                    <a:pt x="75643" y="76148"/>
                    <a:pt x="76951" y="77892"/>
                    <a:pt x="78040" y="77674"/>
                  </a:cubicBezTo>
                  <a:cubicBezTo>
                    <a:pt x="80873" y="76802"/>
                    <a:pt x="80001" y="65466"/>
                    <a:pt x="76515" y="59144"/>
                  </a:cubicBezTo>
                  <a:cubicBezTo>
                    <a:pt x="74554" y="55002"/>
                    <a:pt x="74772" y="53476"/>
                    <a:pt x="78040" y="49769"/>
                  </a:cubicBezTo>
                  <a:cubicBezTo>
                    <a:pt x="80219" y="47371"/>
                    <a:pt x="83706" y="44973"/>
                    <a:pt x="86103" y="44101"/>
                  </a:cubicBezTo>
                  <a:cubicBezTo>
                    <a:pt x="89589" y="43011"/>
                    <a:pt x="90243" y="41049"/>
                    <a:pt x="89807" y="29277"/>
                  </a:cubicBezTo>
                  <a:cubicBezTo>
                    <a:pt x="89371" y="13580"/>
                    <a:pt x="90461" y="10528"/>
                    <a:pt x="96562" y="12054"/>
                  </a:cubicBezTo>
                  <a:cubicBezTo>
                    <a:pt x="98959" y="12708"/>
                    <a:pt x="100921" y="12272"/>
                    <a:pt x="100921" y="10964"/>
                  </a:cubicBezTo>
                  <a:cubicBezTo>
                    <a:pt x="100921" y="4642"/>
                    <a:pt x="129031" y="-590"/>
                    <a:pt x="142759" y="3334"/>
                  </a:cubicBezTo>
                  <a:lnTo>
                    <a:pt x="148424" y="5078"/>
                  </a:lnTo>
                  <a:lnTo>
                    <a:pt x="144284" y="10310"/>
                  </a:lnTo>
                  <a:cubicBezTo>
                    <a:pt x="141016" y="14234"/>
                    <a:pt x="139272" y="14888"/>
                    <a:pt x="137529" y="13144"/>
                  </a:cubicBezTo>
                  <a:cubicBezTo>
                    <a:pt x="133171" y="8784"/>
                    <a:pt x="130774" y="10310"/>
                    <a:pt x="132081" y="16850"/>
                  </a:cubicBezTo>
                  <a:cubicBezTo>
                    <a:pt x="133825" y="24917"/>
                    <a:pt x="130338" y="28405"/>
                    <a:pt x="123801" y="25353"/>
                  </a:cubicBezTo>
                  <a:cubicBezTo>
                    <a:pt x="119443" y="23390"/>
                    <a:pt x="119007" y="22300"/>
                    <a:pt x="121186" y="17722"/>
                  </a:cubicBezTo>
                  <a:cubicBezTo>
                    <a:pt x="124455" y="10528"/>
                    <a:pt x="120968" y="7694"/>
                    <a:pt x="112688" y="10964"/>
                  </a:cubicBezTo>
                  <a:cubicBezTo>
                    <a:pt x="104407" y="14016"/>
                    <a:pt x="99177" y="24263"/>
                    <a:pt x="103100" y="29059"/>
                  </a:cubicBezTo>
                  <a:cubicBezTo>
                    <a:pt x="105279" y="31675"/>
                    <a:pt x="105061" y="33201"/>
                    <a:pt x="102228" y="36471"/>
                  </a:cubicBezTo>
                  <a:cubicBezTo>
                    <a:pt x="95909" y="43447"/>
                    <a:pt x="101792" y="57618"/>
                    <a:pt x="108547" y="51949"/>
                  </a:cubicBezTo>
                  <a:cubicBezTo>
                    <a:pt x="110073" y="50641"/>
                    <a:pt x="113777" y="49769"/>
                    <a:pt x="116610" y="49987"/>
                  </a:cubicBezTo>
                  <a:cubicBezTo>
                    <a:pt x="128813" y="51077"/>
                    <a:pt x="129684" y="50423"/>
                    <a:pt x="128813" y="41049"/>
                  </a:cubicBezTo>
                  <a:cubicBezTo>
                    <a:pt x="127941" y="32111"/>
                    <a:pt x="129902" y="29495"/>
                    <a:pt x="132299" y="35817"/>
                  </a:cubicBezTo>
                  <a:cubicBezTo>
                    <a:pt x="133171" y="38215"/>
                    <a:pt x="135132" y="38869"/>
                    <a:pt x="139054" y="37997"/>
                  </a:cubicBezTo>
                  <a:cubicBezTo>
                    <a:pt x="144502" y="36689"/>
                    <a:pt x="146899" y="39741"/>
                    <a:pt x="141887" y="41703"/>
                  </a:cubicBezTo>
                  <a:cubicBezTo>
                    <a:pt x="139926" y="42357"/>
                    <a:pt x="140144" y="43883"/>
                    <a:pt x="143195" y="47371"/>
                  </a:cubicBezTo>
                  <a:cubicBezTo>
                    <a:pt x="147989" y="52822"/>
                    <a:pt x="152347" y="53258"/>
                    <a:pt x="154090" y="48679"/>
                  </a:cubicBezTo>
                  <a:cubicBezTo>
                    <a:pt x="154962" y="46281"/>
                    <a:pt x="156923" y="45627"/>
                    <a:pt x="160845" y="46717"/>
                  </a:cubicBezTo>
                  <a:cubicBezTo>
                    <a:pt x="166511" y="48243"/>
                    <a:pt x="167382" y="46499"/>
                    <a:pt x="164985" y="37561"/>
                  </a:cubicBezTo>
                  <a:cubicBezTo>
                    <a:pt x="164114" y="33855"/>
                    <a:pt x="162153" y="32983"/>
                    <a:pt x="156923" y="33201"/>
                  </a:cubicBezTo>
                  <a:cubicBezTo>
                    <a:pt x="147989" y="33419"/>
                    <a:pt x="146027" y="26879"/>
                    <a:pt x="154090" y="23390"/>
                  </a:cubicBezTo>
                  <a:cubicBezTo>
                    <a:pt x="157794" y="21646"/>
                    <a:pt x="159756" y="19030"/>
                    <a:pt x="159756" y="15542"/>
                  </a:cubicBezTo>
                  <a:cubicBezTo>
                    <a:pt x="159756" y="9874"/>
                    <a:pt x="163024" y="8784"/>
                    <a:pt x="164985" y="14016"/>
                  </a:cubicBezTo>
                  <a:cubicBezTo>
                    <a:pt x="166075" y="16850"/>
                    <a:pt x="166946" y="16850"/>
                    <a:pt x="171740" y="13362"/>
                  </a:cubicBezTo>
                  <a:cubicBezTo>
                    <a:pt x="174573" y="11182"/>
                    <a:pt x="177188" y="7694"/>
                    <a:pt x="177188" y="5732"/>
                  </a:cubicBezTo>
                  <a:cubicBezTo>
                    <a:pt x="177188" y="718"/>
                    <a:pt x="181110" y="-1244"/>
                    <a:pt x="184815" y="1808"/>
                  </a:cubicBezTo>
                  <a:cubicBezTo>
                    <a:pt x="188519" y="4860"/>
                    <a:pt x="186994" y="9002"/>
                    <a:pt x="178931" y="17722"/>
                  </a:cubicBezTo>
                  <a:cubicBezTo>
                    <a:pt x="173702" y="23390"/>
                    <a:pt x="172830" y="26007"/>
                    <a:pt x="173702" y="32111"/>
                  </a:cubicBezTo>
                  <a:cubicBezTo>
                    <a:pt x="174355" y="36253"/>
                    <a:pt x="173920" y="40831"/>
                    <a:pt x="172612" y="42357"/>
                  </a:cubicBezTo>
                  <a:cubicBezTo>
                    <a:pt x="171087" y="44319"/>
                    <a:pt x="172612" y="46717"/>
                    <a:pt x="178060" y="51295"/>
                  </a:cubicBezTo>
                  <a:cubicBezTo>
                    <a:pt x="182418" y="54566"/>
                    <a:pt x="185904" y="58272"/>
                    <a:pt x="185904" y="59144"/>
                  </a:cubicBezTo>
                  <a:cubicBezTo>
                    <a:pt x="185904" y="60234"/>
                    <a:pt x="181328" y="60670"/>
                    <a:pt x="175663" y="60452"/>
                  </a:cubicBezTo>
                  <a:cubicBezTo>
                    <a:pt x="169126" y="60016"/>
                    <a:pt x="165203" y="60670"/>
                    <a:pt x="164550" y="62414"/>
                  </a:cubicBezTo>
                  <a:cubicBezTo>
                    <a:pt x="164114" y="63940"/>
                    <a:pt x="165639" y="65030"/>
                    <a:pt x="168254" y="65030"/>
                  </a:cubicBezTo>
                  <a:cubicBezTo>
                    <a:pt x="174573" y="65030"/>
                    <a:pt x="176317" y="70698"/>
                    <a:pt x="171740" y="75930"/>
                  </a:cubicBezTo>
                  <a:cubicBezTo>
                    <a:pt x="167382" y="80944"/>
                    <a:pt x="164114" y="79854"/>
                    <a:pt x="164114" y="73532"/>
                  </a:cubicBezTo>
                  <a:cubicBezTo>
                    <a:pt x="164114" y="68736"/>
                    <a:pt x="159320" y="62850"/>
                    <a:pt x="155615" y="62850"/>
                  </a:cubicBezTo>
                  <a:cubicBezTo>
                    <a:pt x="154308" y="62850"/>
                    <a:pt x="153218" y="65248"/>
                    <a:pt x="153218" y="68300"/>
                  </a:cubicBezTo>
                  <a:cubicBezTo>
                    <a:pt x="153218" y="71352"/>
                    <a:pt x="152129" y="73750"/>
                    <a:pt x="150821" y="73750"/>
                  </a:cubicBezTo>
                  <a:cubicBezTo>
                    <a:pt x="149514" y="73750"/>
                    <a:pt x="149078" y="71788"/>
                    <a:pt x="149950" y="69390"/>
                  </a:cubicBezTo>
                  <a:cubicBezTo>
                    <a:pt x="151693" y="63940"/>
                    <a:pt x="147117" y="57618"/>
                    <a:pt x="143630" y="60452"/>
                  </a:cubicBezTo>
                  <a:cubicBezTo>
                    <a:pt x="142323" y="61542"/>
                    <a:pt x="137093" y="62196"/>
                    <a:pt x="132081" y="61760"/>
                  </a:cubicBezTo>
                  <a:cubicBezTo>
                    <a:pt x="124672" y="61324"/>
                    <a:pt x="122929" y="61978"/>
                    <a:pt x="121840" y="65684"/>
                  </a:cubicBezTo>
                  <a:cubicBezTo>
                    <a:pt x="121186" y="68518"/>
                    <a:pt x="119661" y="69608"/>
                    <a:pt x="117482" y="68736"/>
                  </a:cubicBezTo>
                  <a:cubicBezTo>
                    <a:pt x="115302" y="67864"/>
                    <a:pt x="113995" y="68518"/>
                    <a:pt x="113995" y="70480"/>
                  </a:cubicBezTo>
                  <a:cubicBezTo>
                    <a:pt x="113995" y="74186"/>
                    <a:pt x="107894" y="75712"/>
                    <a:pt x="101138" y="73314"/>
                  </a:cubicBezTo>
                  <a:cubicBezTo>
                    <a:pt x="93512" y="70480"/>
                    <a:pt x="90025" y="72660"/>
                    <a:pt x="90025" y="80290"/>
                  </a:cubicBezTo>
                  <a:cubicBezTo>
                    <a:pt x="90025" y="85305"/>
                    <a:pt x="91333" y="87485"/>
                    <a:pt x="95473" y="89447"/>
                  </a:cubicBezTo>
                  <a:cubicBezTo>
                    <a:pt x="98524" y="90755"/>
                    <a:pt x="100921" y="93589"/>
                    <a:pt x="100921" y="95551"/>
                  </a:cubicBezTo>
                  <a:cubicBezTo>
                    <a:pt x="100921" y="101001"/>
                    <a:pt x="102882" y="102091"/>
                    <a:pt x="108765" y="99475"/>
                  </a:cubicBezTo>
                  <a:cubicBezTo>
                    <a:pt x="112688" y="97513"/>
                    <a:pt x="113777" y="95551"/>
                    <a:pt x="113341" y="90319"/>
                  </a:cubicBezTo>
                  <a:cubicBezTo>
                    <a:pt x="112905" y="83997"/>
                    <a:pt x="113341" y="83561"/>
                    <a:pt x="120096" y="84215"/>
                  </a:cubicBezTo>
                  <a:cubicBezTo>
                    <a:pt x="126852" y="84869"/>
                    <a:pt x="127069" y="84869"/>
                    <a:pt x="124455" y="79200"/>
                  </a:cubicBezTo>
                  <a:cubicBezTo>
                    <a:pt x="122275" y="74622"/>
                    <a:pt x="122493" y="73096"/>
                    <a:pt x="124890" y="71570"/>
                  </a:cubicBezTo>
                  <a:cubicBezTo>
                    <a:pt x="127941" y="69608"/>
                    <a:pt x="133607" y="70916"/>
                    <a:pt x="133607" y="73750"/>
                  </a:cubicBezTo>
                  <a:cubicBezTo>
                    <a:pt x="133607" y="74622"/>
                    <a:pt x="136222" y="74840"/>
                    <a:pt x="139490" y="74186"/>
                  </a:cubicBezTo>
                  <a:cubicBezTo>
                    <a:pt x="144938" y="73096"/>
                    <a:pt x="145156" y="73532"/>
                    <a:pt x="143848" y="79854"/>
                  </a:cubicBezTo>
                  <a:cubicBezTo>
                    <a:pt x="142759" y="85305"/>
                    <a:pt x="143412" y="87267"/>
                    <a:pt x="147335" y="90101"/>
                  </a:cubicBezTo>
                  <a:cubicBezTo>
                    <a:pt x="151693" y="93153"/>
                    <a:pt x="152129" y="93153"/>
                    <a:pt x="153654" y="89011"/>
                  </a:cubicBezTo>
                  <a:cubicBezTo>
                    <a:pt x="154962" y="85087"/>
                    <a:pt x="156923" y="84869"/>
                    <a:pt x="175881" y="85305"/>
                  </a:cubicBezTo>
                  <a:cubicBezTo>
                    <a:pt x="187212" y="85741"/>
                    <a:pt x="197236" y="86395"/>
                    <a:pt x="197889" y="87049"/>
                  </a:cubicBezTo>
                  <a:cubicBezTo>
                    <a:pt x="198543" y="87703"/>
                    <a:pt x="198325" y="91409"/>
                    <a:pt x="197671" y="95115"/>
                  </a:cubicBezTo>
                  <a:cubicBezTo>
                    <a:pt x="196582" y="100347"/>
                    <a:pt x="194839" y="102091"/>
                    <a:pt x="189827" y="103181"/>
                  </a:cubicBezTo>
                  <a:cubicBezTo>
                    <a:pt x="182854" y="104707"/>
                    <a:pt x="182200" y="109721"/>
                    <a:pt x="188519" y="113864"/>
                  </a:cubicBezTo>
                  <a:cubicBezTo>
                    <a:pt x="191352" y="115608"/>
                    <a:pt x="193095" y="115172"/>
                    <a:pt x="196364" y="112338"/>
                  </a:cubicBezTo>
                  <a:cubicBezTo>
                    <a:pt x="202901" y="106451"/>
                    <a:pt x="211618" y="110594"/>
                    <a:pt x="212489" y="119968"/>
                  </a:cubicBezTo>
                  <a:lnTo>
                    <a:pt x="213143" y="127162"/>
                  </a:lnTo>
                  <a:lnTo>
                    <a:pt x="217065" y="120186"/>
                  </a:lnTo>
                  <a:cubicBezTo>
                    <a:pt x="220770" y="113428"/>
                    <a:pt x="220770" y="112992"/>
                    <a:pt x="216411" y="110812"/>
                  </a:cubicBezTo>
                  <a:cubicBezTo>
                    <a:pt x="212271" y="108631"/>
                    <a:pt x="210092" y="99911"/>
                    <a:pt x="213797" y="99911"/>
                  </a:cubicBezTo>
                  <a:cubicBezTo>
                    <a:pt x="217501" y="99911"/>
                    <a:pt x="220770" y="91191"/>
                    <a:pt x="218591" y="86831"/>
                  </a:cubicBezTo>
                  <a:cubicBezTo>
                    <a:pt x="217501" y="84651"/>
                    <a:pt x="217065" y="81162"/>
                    <a:pt x="217719" y="79418"/>
                  </a:cubicBezTo>
                  <a:cubicBezTo>
                    <a:pt x="219462" y="75058"/>
                    <a:pt x="231011" y="69172"/>
                    <a:pt x="235152" y="70916"/>
                  </a:cubicBezTo>
                  <a:cubicBezTo>
                    <a:pt x="237331" y="71788"/>
                    <a:pt x="238202" y="70262"/>
                    <a:pt x="238202" y="65248"/>
                  </a:cubicBezTo>
                  <a:cubicBezTo>
                    <a:pt x="238202" y="61542"/>
                    <a:pt x="237331" y="58490"/>
                    <a:pt x="236023" y="58490"/>
                  </a:cubicBezTo>
                  <a:cubicBezTo>
                    <a:pt x="234934" y="58490"/>
                    <a:pt x="233844" y="59580"/>
                    <a:pt x="233844" y="60670"/>
                  </a:cubicBezTo>
                  <a:cubicBezTo>
                    <a:pt x="233844" y="65248"/>
                    <a:pt x="227307" y="62632"/>
                    <a:pt x="225999" y="57400"/>
                  </a:cubicBezTo>
                  <a:cubicBezTo>
                    <a:pt x="224256" y="50641"/>
                    <a:pt x="224256" y="50641"/>
                    <a:pt x="234498" y="49115"/>
                  </a:cubicBezTo>
                  <a:cubicBezTo>
                    <a:pt x="241253" y="48025"/>
                    <a:pt x="242560" y="48461"/>
                    <a:pt x="242560" y="51731"/>
                  </a:cubicBezTo>
                  <a:cubicBezTo>
                    <a:pt x="242560" y="56746"/>
                    <a:pt x="246701" y="60670"/>
                    <a:pt x="252148" y="60670"/>
                  </a:cubicBezTo>
                  <a:cubicBezTo>
                    <a:pt x="254981" y="60670"/>
                    <a:pt x="257814" y="63068"/>
                    <a:pt x="259339" y="66556"/>
                  </a:cubicBezTo>
                  <a:cubicBezTo>
                    <a:pt x="262608" y="73314"/>
                    <a:pt x="261518" y="75494"/>
                    <a:pt x="256724" y="71570"/>
                  </a:cubicBezTo>
                  <a:cubicBezTo>
                    <a:pt x="253674" y="68954"/>
                    <a:pt x="252366" y="69608"/>
                    <a:pt x="248008" y="75058"/>
                  </a:cubicBezTo>
                  <a:cubicBezTo>
                    <a:pt x="244957" y="78546"/>
                    <a:pt x="242778" y="82253"/>
                    <a:pt x="242560" y="83125"/>
                  </a:cubicBezTo>
                  <a:cubicBezTo>
                    <a:pt x="242560" y="86613"/>
                    <a:pt x="249098" y="87049"/>
                    <a:pt x="255417" y="83997"/>
                  </a:cubicBezTo>
                  <a:cubicBezTo>
                    <a:pt x="261082" y="81162"/>
                    <a:pt x="262390" y="81162"/>
                    <a:pt x="266530" y="83997"/>
                  </a:cubicBezTo>
                  <a:cubicBezTo>
                    <a:pt x="272849" y="88575"/>
                    <a:pt x="271978" y="100783"/>
                    <a:pt x="265005" y="101655"/>
                  </a:cubicBezTo>
                  <a:cubicBezTo>
                    <a:pt x="261300" y="102309"/>
                    <a:pt x="260211" y="101219"/>
                    <a:pt x="259557" y="96205"/>
                  </a:cubicBezTo>
                  <a:cubicBezTo>
                    <a:pt x="258686" y="88357"/>
                    <a:pt x="255853" y="88575"/>
                    <a:pt x="250187" y="96859"/>
                  </a:cubicBezTo>
                  <a:cubicBezTo>
                    <a:pt x="245611" y="103617"/>
                    <a:pt x="245393" y="103617"/>
                    <a:pt x="240599" y="100129"/>
                  </a:cubicBezTo>
                  <a:cubicBezTo>
                    <a:pt x="236895" y="97295"/>
                    <a:pt x="236023" y="95115"/>
                    <a:pt x="237113" y="90755"/>
                  </a:cubicBezTo>
                  <a:cubicBezTo>
                    <a:pt x="237984" y="87049"/>
                    <a:pt x="237548" y="84869"/>
                    <a:pt x="235369" y="83997"/>
                  </a:cubicBezTo>
                  <a:cubicBezTo>
                    <a:pt x="230575" y="82253"/>
                    <a:pt x="228178" y="84869"/>
                    <a:pt x="225346" y="95551"/>
                  </a:cubicBezTo>
                  <a:cubicBezTo>
                    <a:pt x="220988" y="112120"/>
                    <a:pt x="220770" y="111902"/>
                    <a:pt x="230575" y="111248"/>
                  </a:cubicBezTo>
                  <a:cubicBezTo>
                    <a:pt x="235369" y="110812"/>
                    <a:pt x="240381" y="109503"/>
                    <a:pt x="241689" y="108413"/>
                  </a:cubicBezTo>
                  <a:cubicBezTo>
                    <a:pt x="242996" y="107323"/>
                    <a:pt x="244957" y="107541"/>
                    <a:pt x="246483" y="109067"/>
                  </a:cubicBezTo>
                  <a:cubicBezTo>
                    <a:pt x="248662" y="111248"/>
                    <a:pt x="250187" y="111248"/>
                    <a:pt x="253674" y="109067"/>
                  </a:cubicBezTo>
                  <a:cubicBezTo>
                    <a:pt x="259557" y="105361"/>
                    <a:pt x="261736" y="107541"/>
                    <a:pt x="257160" y="112556"/>
                  </a:cubicBezTo>
                  <a:cubicBezTo>
                    <a:pt x="254981" y="114736"/>
                    <a:pt x="253456" y="117788"/>
                    <a:pt x="253456" y="119096"/>
                  </a:cubicBezTo>
                  <a:cubicBezTo>
                    <a:pt x="253456" y="123674"/>
                    <a:pt x="260429" y="121930"/>
                    <a:pt x="265876" y="116044"/>
                  </a:cubicBezTo>
                  <a:cubicBezTo>
                    <a:pt x="268927" y="112556"/>
                    <a:pt x="272632" y="110812"/>
                    <a:pt x="275029" y="111466"/>
                  </a:cubicBezTo>
                  <a:cubicBezTo>
                    <a:pt x="277426" y="111902"/>
                    <a:pt x="280040" y="110594"/>
                    <a:pt x="281566" y="108195"/>
                  </a:cubicBezTo>
                  <a:cubicBezTo>
                    <a:pt x="284181" y="104053"/>
                    <a:pt x="284399" y="104053"/>
                    <a:pt x="288321" y="107541"/>
                  </a:cubicBezTo>
                  <a:cubicBezTo>
                    <a:pt x="291807" y="110812"/>
                    <a:pt x="293115" y="110812"/>
                    <a:pt x="295948" y="108631"/>
                  </a:cubicBezTo>
                  <a:cubicBezTo>
                    <a:pt x="300524" y="104707"/>
                    <a:pt x="302703" y="111030"/>
                    <a:pt x="298998" y="117788"/>
                  </a:cubicBezTo>
                  <a:cubicBezTo>
                    <a:pt x="297473" y="120622"/>
                    <a:pt x="295948" y="123238"/>
                    <a:pt x="295948" y="123892"/>
                  </a:cubicBezTo>
                  <a:cubicBezTo>
                    <a:pt x="294204" y="134574"/>
                    <a:pt x="286142" y="141333"/>
                    <a:pt x="281784" y="135882"/>
                  </a:cubicBezTo>
                  <a:cubicBezTo>
                    <a:pt x="279605" y="133048"/>
                    <a:pt x="279605" y="131740"/>
                    <a:pt x="282655" y="128688"/>
                  </a:cubicBezTo>
                  <a:cubicBezTo>
                    <a:pt x="287231" y="123456"/>
                    <a:pt x="287013" y="121712"/>
                    <a:pt x="281784" y="121712"/>
                  </a:cubicBezTo>
                  <a:cubicBezTo>
                    <a:pt x="279169" y="121712"/>
                    <a:pt x="277426" y="120186"/>
                    <a:pt x="277426" y="118006"/>
                  </a:cubicBezTo>
                  <a:cubicBezTo>
                    <a:pt x="277426" y="114736"/>
                    <a:pt x="276772" y="114954"/>
                    <a:pt x="272632" y="119096"/>
                  </a:cubicBezTo>
                  <a:cubicBezTo>
                    <a:pt x="268927" y="122802"/>
                    <a:pt x="267838" y="126072"/>
                    <a:pt x="268273" y="133702"/>
                  </a:cubicBezTo>
                  <a:cubicBezTo>
                    <a:pt x="268491" y="139152"/>
                    <a:pt x="268056" y="143513"/>
                    <a:pt x="267402" y="143513"/>
                  </a:cubicBezTo>
                  <a:cubicBezTo>
                    <a:pt x="265223" y="143513"/>
                    <a:pt x="251712" y="128688"/>
                    <a:pt x="250405" y="124546"/>
                  </a:cubicBezTo>
                  <a:cubicBezTo>
                    <a:pt x="249315" y="121058"/>
                    <a:pt x="238420" y="115172"/>
                    <a:pt x="233190" y="115172"/>
                  </a:cubicBezTo>
                  <a:cubicBezTo>
                    <a:pt x="232319" y="115172"/>
                    <a:pt x="229922" y="118660"/>
                    <a:pt x="227961" y="123238"/>
                  </a:cubicBezTo>
                  <a:cubicBezTo>
                    <a:pt x="225781" y="127598"/>
                    <a:pt x="222295" y="132176"/>
                    <a:pt x="220116" y="133484"/>
                  </a:cubicBezTo>
                  <a:cubicBezTo>
                    <a:pt x="216194" y="135882"/>
                    <a:pt x="216411" y="136318"/>
                    <a:pt x="203555" y="119532"/>
                  </a:cubicBezTo>
                  <a:cubicBezTo>
                    <a:pt x="200068" y="115172"/>
                    <a:pt x="198761" y="114518"/>
                    <a:pt x="196364" y="116916"/>
                  </a:cubicBezTo>
                  <a:cubicBezTo>
                    <a:pt x="193095" y="120186"/>
                    <a:pt x="195928" y="125854"/>
                    <a:pt x="202901" y="129342"/>
                  </a:cubicBezTo>
                  <a:cubicBezTo>
                    <a:pt x="205952" y="131086"/>
                    <a:pt x="206824" y="132612"/>
                    <a:pt x="205298" y="135010"/>
                  </a:cubicBezTo>
                  <a:cubicBezTo>
                    <a:pt x="203991" y="137626"/>
                    <a:pt x="201376" y="138062"/>
                    <a:pt x="195274" y="137190"/>
                  </a:cubicBezTo>
                  <a:cubicBezTo>
                    <a:pt x="188084" y="135882"/>
                    <a:pt x="186994" y="135010"/>
                    <a:pt x="186994" y="129996"/>
                  </a:cubicBezTo>
                  <a:cubicBezTo>
                    <a:pt x="187212" y="125854"/>
                    <a:pt x="185904" y="123892"/>
                    <a:pt x="182418" y="123020"/>
                  </a:cubicBezTo>
                  <a:cubicBezTo>
                    <a:pt x="176970" y="121494"/>
                    <a:pt x="173484" y="111466"/>
                    <a:pt x="176970" y="107977"/>
                  </a:cubicBezTo>
                  <a:cubicBezTo>
                    <a:pt x="178278" y="106669"/>
                    <a:pt x="179367" y="103835"/>
                    <a:pt x="179367" y="101873"/>
                  </a:cubicBezTo>
                  <a:cubicBezTo>
                    <a:pt x="179367" y="98603"/>
                    <a:pt x="177624" y="98167"/>
                    <a:pt x="170215" y="98603"/>
                  </a:cubicBezTo>
                  <a:cubicBezTo>
                    <a:pt x="164985" y="98821"/>
                    <a:pt x="159538" y="98167"/>
                    <a:pt x="158230" y="97077"/>
                  </a:cubicBezTo>
                  <a:cubicBezTo>
                    <a:pt x="156269" y="95551"/>
                    <a:pt x="155397" y="95987"/>
                    <a:pt x="155397" y="98385"/>
                  </a:cubicBezTo>
                  <a:cubicBezTo>
                    <a:pt x="155397" y="100347"/>
                    <a:pt x="157576" y="103399"/>
                    <a:pt x="159973" y="105143"/>
                  </a:cubicBezTo>
                  <a:cubicBezTo>
                    <a:pt x="163242" y="107323"/>
                    <a:pt x="164332" y="109721"/>
                    <a:pt x="163460" y="112774"/>
                  </a:cubicBezTo>
                  <a:cubicBezTo>
                    <a:pt x="162806" y="115826"/>
                    <a:pt x="163896" y="118442"/>
                    <a:pt x="167382" y="121058"/>
                  </a:cubicBezTo>
                  <a:cubicBezTo>
                    <a:pt x="171958" y="124546"/>
                    <a:pt x="172830" y="127380"/>
                    <a:pt x="173920" y="143513"/>
                  </a:cubicBezTo>
                  <a:cubicBezTo>
                    <a:pt x="174791" y="155067"/>
                    <a:pt x="176317" y="163133"/>
                    <a:pt x="178278" y="165095"/>
                  </a:cubicBezTo>
                  <a:cubicBezTo>
                    <a:pt x="182636" y="169456"/>
                    <a:pt x="184815" y="166621"/>
                    <a:pt x="184161" y="157901"/>
                  </a:cubicBezTo>
                  <a:cubicBezTo>
                    <a:pt x="183725" y="153759"/>
                    <a:pt x="185033" y="149617"/>
                    <a:pt x="186776" y="148091"/>
                  </a:cubicBezTo>
                  <a:cubicBezTo>
                    <a:pt x="191352" y="144167"/>
                    <a:pt x="198979" y="147219"/>
                    <a:pt x="198979" y="152669"/>
                  </a:cubicBezTo>
                  <a:cubicBezTo>
                    <a:pt x="198979" y="157683"/>
                    <a:pt x="184379" y="172508"/>
                    <a:pt x="181328" y="170764"/>
                  </a:cubicBezTo>
                  <a:cubicBezTo>
                    <a:pt x="177624" y="168365"/>
                    <a:pt x="174791" y="171854"/>
                    <a:pt x="177188" y="175996"/>
                  </a:cubicBezTo>
                  <a:cubicBezTo>
                    <a:pt x="178713" y="179048"/>
                    <a:pt x="178060" y="181010"/>
                    <a:pt x="174137" y="184716"/>
                  </a:cubicBezTo>
                  <a:cubicBezTo>
                    <a:pt x="167818" y="190602"/>
                    <a:pt x="166293" y="190602"/>
                    <a:pt x="166293" y="184280"/>
                  </a:cubicBezTo>
                  <a:cubicBezTo>
                    <a:pt x="166293" y="177740"/>
                    <a:pt x="164985" y="176432"/>
                    <a:pt x="159756" y="177740"/>
                  </a:cubicBezTo>
                  <a:cubicBezTo>
                    <a:pt x="152565" y="179702"/>
                    <a:pt x="151693" y="193654"/>
                    <a:pt x="158666" y="193654"/>
                  </a:cubicBezTo>
                  <a:cubicBezTo>
                    <a:pt x="164550" y="193654"/>
                    <a:pt x="166729" y="199541"/>
                    <a:pt x="164114" y="207607"/>
                  </a:cubicBezTo>
                  <a:cubicBezTo>
                    <a:pt x="160845" y="217853"/>
                    <a:pt x="163242" y="221559"/>
                    <a:pt x="168908" y="214365"/>
                  </a:cubicBezTo>
                  <a:cubicBezTo>
                    <a:pt x="173266" y="208697"/>
                    <a:pt x="183725" y="206735"/>
                    <a:pt x="183725" y="211749"/>
                  </a:cubicBezTo>
                  <a:cubicBezTo>
                    <a:pt x="183725" y="213275"/>
                    <a:pt x="181764" y="216109"/>
                    <a:pt x="179367" y="218289"/>
                  </a:cubicBezTo>
                  <a:cubicBezTo>
                    <a:pt x="173920" y="222867"/>
                    <a:pt x="173920" y="226355"/>
                    <a:pt x="179367" y="227882"/>
                  </a:cubicBezTo>
                  <a:cubicBezTo>
                    <a:pt x="181546" y="228536"/>
                    <a:pt x="184161" y="230934"/>
                    <a:pt x="185033" y="233332"/>
                  </a:cubicBezTo>
                  <a:cubicBezTo>
                    <a:pt x="188301" y="243578"/>
                    <a:pt x="176970" y="240090"/>
                    <a:pt x="173048" y="229626"/>
                  </a:cubicBezTo>
                  <a:cubicBezTo>
                    <a:pt x="170433" y="221995"/>
                    <a:pt x="166511" y="219379"/>
                    <a:pt x="166075" y="224829"/>
                  </a:cubicBezTo>
                  <a:cubicBezTo>
                    <a:pt x="165857" y="226137"/>
                    <a:pt x="165421" y="234204"/>
                    <a:pt x="165203" y="242270"/>
                  </a:cubicBezTo>
                  <a:cubicBezTo>
                    <a:pt x="164767" y="252080"/>
                    <a:pt x="163242" y="258403"/>
                    <a:pt x="161063" y="261019"/>
                  </a:cubicBezTo>
                  <a:cubicBezTo>
                    <a:pt x="157141" y="265379"/>
                    <a:pt x="156487" y="269957"/>
                    <a:pt x="159756" y="269957"/>
                  </a:cubicBezTo>
                  <a:cubicBezTo>
                    <a:pt x="161063" y="269957"/>
                    <a:pt x="161935" y="273009"/>
                    <a:pt x="161935" y="276497"/>
                  </a:cubicBezTo>
                  <a:cubicBezTo>
                    <a:pt x="161935" y="284563"/>
                    <a:pt x="163242" y="284782"/>
                    <a:pt x="168908" y="277587"/>
                  </a:cubicBezTo>
                  <a:cubicBezTo>
                    <a:pt x="171305" y="274535"/>
                    <a:pt x="175445" y="272137"/>
                    <a:pt x="178496" y="272137"/>
                  </a:cubicBezTo>
                  <a:cubicBezTo>
                    <a:pt x="183507" y="272137"/>
                    <a:pt x="183290" y="272573"/>
                    <a:pt x="173920" y="285000"/>
                  </a:cubicBezTo>
                  <a:cubicBezTo>
                    <a:pt x="164114" y="297862"/>
                    <a:pt x="162153" y="302658"/>
                    <a:pt x="166293" y="302658"/>
                  </a:cubicBezTo>
                  <a:cubicBezTo>
                    <a:pt x="167600" y="302658"/>
                    <a:pt x="170869" y="305056"/>
                    <a:pt x="173484" y="307890"/>
                  </a:cubicBezTo>
                  <a:cubicBezTo>
                    <a:pt x="178931" y="313777"/>
                    <a:pt x="192442" y="316393"/>
                    <a:pt x="193967" y="312032"/>
                  </a:cubicBezTo>
                  <a:cubicBezTo>
                    <a:pt x="194621" y="310288"/>
                    <a:pt x="193095" y="309198"/>
                    <a:pt x="190698" y="309198"/>
                  </a:cubicBezTo>
                  <a:cubicBezTo>
                    <a:pt x="184815" y="309198"/>
                    <a:pt x="175009" y="300914"/>
                    <a:pt x="175009" y="295900"/>
                  </a:cubicBezTo>
                  <a:cubicBezTo>
                    <a:pt x="175009" y="290886"/>
                    <a:pt x="177188" y="290668"/>
                    <a:pt x="182854" y="295028"/>
                  </a:cubicBezTo>
                  <a:cubicBezTo>
                    <a:pt x="188737" y="299388"/>
                    <a:pt x="192660" y="298952"/>
                    <a:pt x="199633" y="292848"/>
                  </a:cubicBezTo>
                  <a:cubicBezTo>
                    <a:pt x="203991" y="288924"/>
                    <a:pt x="205516" y="285654"/>
                    <a:pt x="205516" y="279985"/>
                  </a:cubicBezTo>
                  <a:cubicBezTo>
                    <a:pt x="205516" y="274317"/>
                    <a:pt x="206606" y="272137"/>
                    <a:pt x="209874" y="271047"/>
                  </a:cubicBezTo>
                  <a:cubicBezTo>
                    <a:pt x="220334" y="267777"/>
                    <a:pt x="221423" y="277151"/>
                    <a:pt x="212271" y="290232"/>
                  </a:cubicBezTo>
                  <a:cubicBezTo>
                    <a:pt x="205516" y="299606"/>
                    <a:pt x="203337" y="312250"/>
                    <a:pt x="206388" y="321843"/>
                  </a:cubicBezTo>
                  <a:cubicBezTo>
                    <a:pt x="209438" y="330999"/>
                    <a:pt x="202247" y="340373"/>
                    <a:pt x="197889" y="332961"/>
                  </a:cubicBezTo>
                  <a:close/>
                  <a:moveTo>
                    <a:pt x="113341" y="251426"/>
                  </a:moveTo>
                  <a:cubicBezTo>
                    <a:pt x="110726" y="242924"/>
                    <a:pt x="105932" y="242270"/>
                    <a:pt x="107240" y="250554"/>
                  </a:cubicBezTo>
                  <a:cubicBezTo>
                    <a:pt x="107894" y="255350"/>
                    <a:pt x="110944" y="258839"/>
                    <a:pt x="114431" y="259057"/>
                  </a:cubicBezTo>
                  <a:cubicBezTo>
                    <a:pt x="115085" y="259057"/>
                    <a:pt x="114649" y="255568"/>
                    <a:pt x="113341" y="251426"/>
                  </a:cubicBezTo>
                  <a:close/>
                  <a:moveTo>
                    <a:pt x="154962" y="199759"/>
                  </a:moveTo>
                  <a:cubicBezTo>
                    <a:pt x="154308" y="194308"/>
                    <a:pt x="151257" y="192782"/>
                    <a:pt x="146899" y="195616"/>
                  </a:cubicBezTo>
                  <a:cubicBezTo>
                    <a:pt x="144284" y="197360"/>
                    <a:pt x="144284" y="198233"/>
                    <a:pt x="146463" y="201067"/>
                  </a:cubicBezTo>
                  <a:cubicBezTo>
                    <a:pt x="150821" y="206299"/>
                    <a:pt x="155833" y="205427"/>
                    <a:pt x="154962" y="199759"/>
                  </a:cubicBezTo>
                  <a:close/>
                  <a:moveTo>
                    <a:pt x="121840" y="199105"/>
                  </a:moveTo>
                  <a:cubicBezTo>
                    <a:pt x="121186" y="197360"/>
                    <a:pt x="120096" y="194526"/>
                    <a:pt x="119443" y="193218"/>
                  </a:cubicBezTo>
                  <a:cubicBezTo>
                    <a:pt x="119007" y="191692"/>
                    <a:pt x="120314" y="187986"/>
                    <a:pt x="122711" y="185152"/>
                  </a:cubicBezTo>
                  <a:cubicBezTo>
                    <a:pt x="126416" y="181010"/>
                    <a:pt x="127723" y="180574"/>
                    <a:pt x="130338" y="182754"/>
                  </a:cubicBezTo>
                  <a:cubicBezTo>
                    <a:pt x="132299" y="184498"/>
                    <a:pt x="133171" y="187332"/>
                    <a:pt x="132299" y="190602"/>
                  </a:cubicBezTo>
                  <a:cubicBezTo>
                    <a:pt x="130120" y="199323"/>
                    <a:pt x="137311" y="196924"/>
                    <a:pt x="142105" y="187332"/>
                  </a:cubicBezTo>
                  <a:cubicBezTo>
                    <a:pt x="144502" y="182754"/>
                    <a:pt x="147989" y="178394"/>
                    <a:pt x="149732" y="177740"/>
                  </a:cubicBezTo>
                  <a:cubicBezTo>
                    <a:pt x="151257" y="177086"/>
                    <a:pt x="153872" y="172944"/>
                    <a:pt x="155397" y="168802"/>
                  </a:cubicBezTo>
                  <a:cubicBezTo>
                    <a:pt x="157141" y="163569"/>
                    <a:pt x="159320" y="160953"/>
                    <a:pt x="161935" y="160953"/>
                  </a:cubicBezTo>
                  <a:cubicBezTo>
                    <a:pt x="167382" y="160953"/>
                    <a:pt x="170651" y="154631"/>
                    <a:pt x="170651" y="144821"/>
                  </a:cubicBezTo>
                  <a:cubicBezTo>
                    <a:pt x="170651" y="139370"/>
                    <a:pt x="169779" y="136972"/>
                    <a:pt x="167382" y="136972"/>
                  </a:cubicBezTo>
                  <a:cubicBezTo>
                    <a:pt x="165203" y="136972"/>
                    <a:pt x="164114" y="139152"/>
                    <a:pt x="164114" y="143077"/>
                  </a:cubicBezTo>
                  <a:cubicBezTo>
                    <a:pt x="164114" y="146783"/>
                    <a:pt x="161499" y="152015"/>
                    <a:pt x="157359" y="156375"/>
                  </a:cubicBezTo>
                  <a:cubicBezTo>
                    <a:pt x="153654" y="160517"/>
                    <a:pt x="149732" y="166185"/>
                    <a:pt x="148642" y="168802"/>
                  </a:cubicBezTo>
                  <a:cubicBezTo>
                    <a:pt x="147117" y="173380"/>
                    <a:pt x="146245" y="173816"/>
                    <a:pt x="141233" y="171418"/>
                  </a:cubicBezTo>
                  <a:cubicBezTo>
                    <a:pt x="136657" y="169238"/>
                    <a:pt x="135350" y="169456"/>
                    <a:pt x="132735" y="172944"/>
                  </a:cubicBezTo>
                  <a:cubicBezTo>
                    <a:pt x="129902" y="176868"/>
                    <a:pt x="129466" y="176432"/>
                    <a:pt x="125544" y="167275"/>
                  </a:cubicBezTo>
                  <a:cubicBezTo>
                    <a:pt x="120750" y="156811"/>
                    <a:pt x="122275" y="151361"/>
                    <a:pt x="128595" y="157247"/>
                  </a:cubicBezTo>
                  <a:cubicBezTo>
                    <a:pt x="131863" y="160081"/>
                    <a:pt x="134914" y="160299"/>
                    <a:pt x="143412" y="159209"/>
                  </a:cubicBezTo>
                  <a:cubicBezTo>
                    <a:pt x="153436" y="157683"/>
                    <a:pt x="154308" y="157029"/>
                    <a:pt x="153654" y="152233"/>
                  </a:cubicBezTo>
                  <a:cubicBezTo>
                    <a:pt x="153436" y="149181"/>
                    <a:pt x="153218" y="140679"/>
                    <a:pt x="153218" y="133266"/>
                  </a:cubicBezTo>
                  <a:cubicBezTo>
                    <a:pt x="153436" y="121712"/>
                    <a:pt x="152783" y="119532"/>
                    <a:pt x="148860" y="117352"/>
                  </a:cubicBezTo>
                  <a:cubicBezTo>
                    <a:pt x="143412" y="114518"/>
                    <a:pt x="140798" y="119096"/>
                    <a:pt x="144284" y="125636"/>
                  </a:cubicBezTo>
                  <a:cubicBezTo>
                    <a:pt x="145809" y="128688"/>
                    <a:pt x="145592" y="131086"/>
                    <a:pt x="143195" y="134574"/>
                  </a:cubicBezTo>
                  <a:cubicBezTo>
                    <a:pt x="140362" y="138716"/>
                    <a:pt x="140144" y="140461"/>
                    <a:pt x="142323" y="145911"/>
                  </a:cubicBezTo>
                  <a:cubicBezTo>
                    <a:pt x="144502" y="150707"/>
                    <a:pt x="144502" y="153105"/>
                    <a:pt x="142759" y="154849"/>
                  </a:cubicBezTo>
                  <a:cubicBezTo>
                    <a:pt x="139272" y="158337"/>
                    <a:pt x="132953" y="152669"/>
                    <a:pt x="134260" y="147437"/>
                  </a:cubicBezTo>
                  <a:cubicBezTo>
                    <a:pt x="135350" y="143295"/>
                    <a:pt x="130556" y="141769"/>
                    <a:pt x="128159" y="145693"/>
                  </a:cubicBezTo>
                  <a:cubicBezTo>
                    <a:pt x="127505" y="147001"/>
                    <a:pt x="124890" y="147873"/>
                    <a:pt x="122493" y="147873"/>
                  </a:cubicBezTo>
                  <a:cubicBezTo>
                    <a:pt x="120314" y="147873"/>
                    <a:pt x="118353" y="148745"/>
                    <a:pt x="118353" y="149835"/>
                  </a:cubicBezTo>
                  <a:cubicBezTo>
                    <a:pt x="118353" y="150707"/>
                    <a:pt x="114867" y="156157"/>
                    <a:pt x="110726" y="161607"/>
                  </a:cubicBezTo>
                  <a:cubicBezTo>
                    <a:pt x="106586" y="167057"/>
                    <a:pt x="103100" y="172290"/>
                    <a:pt x="103100" y="173162"/>
                  </a:cubicBezTo>
                  <a:cubicBezTo>
                    <a:pt x="103100" y="174034"/>
                    <a:pt x="106586" y="174034"/>
                    <a:pt x="110944" y="173380"/>
                  </a:cubicBezTo>
                  <a:lnTo>
                    <a:pt x="119007" y="172072"/>
                  </a:lnTo>
                  <a:lnTo>
                    <a:pt x="114213" y="176868"/>
                  </a:lnTo>
                  <a:cubicBezTo>
                    <a:pt x="110726" y="180792"/>
                    <a:pt x="110291" y="182536"/>
                    <a:pt x="112252" y="184498"/>
                  </a:cubicBezTo>
                  <a:cubicBezTo>
                    <a:pt x="114213" y="186460"/>
                    <a:pt x="113777" y="187986"/>
                    <a:pt x="110944" y="191256"/>
                  </a:cubicBezTo>
                  <a:cubicBezTo>
                    <a:pt x="107458" y="195180"/>
                    <a:pt x="107458" y="195616"/>
                    <a:pt x="112252" y="198887"/>
                  </a:cubicBezTo>
                  <a:cubicBezTo>
                    <a:pt x="118571" y="203247"/>
                    <a:pt x="123583" y="203465"/>
                    <a:pt x="121840" y="199105"/>
                  </a:cubicBezTo>
                  <a:close/>
                  <a:moveTo>
                    <a:pt x="137965" y="135228"/>
                  </a:moveTo>
                  <a:cubicBezTo>
                    <a:pt x="137965" y="132394"/>
                    <a:pt x="135350" y="130432"/>
                    <a:pt x="133171" y="131740"/>
                  </a:cubicBezTo>
                  <a:cubicBezTo>
                    <a:pt x="130992" y="133048"/>
                    <a:pt x="132953" y="136972"/>
                    <a:pt x="136004" y="136972"/>
                  </a:cubicBezTo>
                  <a:cubicBezTo>
                    <a:pt x="137093" y="136972"/>
                    <a:pt x="137965" y="136100"/>
                    <a:pt x="137965" y="135228"/>
                  </a:cubicBezTo>
                  <a:close/>
                  <a:moveTo>
                    <a:pt x="155397" y="106015"/>
                  </a:moveTo>
                  <a:cubicBezTo>
                    <a:pt x="155397" y="105143"/>
                    <a:pt x="154090" y="104271"/>
                    <a:pt x="152565" y="104271"/>
                  </a:cubicBezTo>
                  <a:cubicBezTo>
                    <a:pt x="148860" y="104271"/>
                    <a:pt x="135350" y="89229"/>
                    <a:pt x="136875" y="86831"/>
                  </a:cubicBezTo>
                  <a:cubicBezTo>
                    <a:pt x="137529" y="85741"/>
                    <a:pt x="136875" y="84215"/>
                    <a:pt x="135568" y="83343"/>
                  </a:cubicBezTo>
                  <a:cubicBezTo>
                    <a:pt x="133607" y="82253"/>
                    <a:pt x="133389" y="85087"/>
                    <a:pt x="134042" y="93371"/>
                  </a:cubicBezTo>
                  <a:cubicBezTo>
                    <a:pt x="135568" y="107759"/>
                    <a:pt x="141451" y="114300"/>
                    <a:pt x="150168" y="110375"/>
                  </a:cubicBezTo>
                  <a:cubicBezTo>
                    <a:pt x="153000" y="109067"/>
                    <a:pt x="155397" y="107105"/>
                    <a:pt x="155397" y="106015"/>
                  </a:cubicBezTo>
                  <a:close/>
                  <a:moveTo>
                    <a:pt x="122711" y="99693"/>
                  </a:moveTo>
                  <a:cubicBezTo>
                    <a:pt x="122711" y="98603"/>
                    <a:pt x="121840" y="97731"/>
                    <a:pt x="120532" y="97731"/>
                  </a:cubicBezTo>
                  <a:cubicBezTo>
                    <a:pt x="119443" y="97731"/>
                    <a:pt x="118353" y="99257"/>
                    <a:pt x="118353" y="101219"/>
                  </a:cubicBezTo>
                  <a:cubicBezTo>
                    <a:pt x="118353" y="102963"/>
                    <a:pt x="119443" y="103835"/>
                    <a:pt x="120532" y="103181"/>
                  </a:cubicBezTo>
                  <a:cubicBezTo>
                    <a:pt x="121840" y="102527"/>
                    <a:pt x="122711" y="101001"/>
                    <a:pt x="122711" y="99693"/>
                  </a:cubicBezTo>
                  <a:close/>
                  <a:moveTo>
                    <a:pt x="109419" y="65248"/>
                  </a:moveTo>
                  <a:cubicBezTo>
                    <a:pt x="112905" y="63068"/>
                    <a:pt x="110726" y="58490"/>
                    <a:pt x="106368" y="58490"/>
                  </a:cubicBezTo>
                  <a:cubicBezTo>
                    <a:pt x="102664" y="58490"/>
                    <a:pt x="100267" y="62196"/>
                    <a:pt x="102010" y="65030"/>
                  </a:cubicBezTo>
                  <a:cubicBezTo>
                    <a:pt x="103753" y="67646"/>
                    <a:pt x="105497" y="67646"/>
                    <a:pt x="109419" y="65248"/>
                  </a:cubicBezTo>
                  <a:close/>
                  <a:moveTo>
                    <a:pt x="94165" y="56528"/>
                  </a:moveTo>
                  <a:cubicBezTo>
                    <a:pt x="97216" y="51077"/>
                    <a:pt x="90897" y="44755"/>
                    <a:pt x="87628" y="49987"/>
                  </a:cubicBezTo>
                  <a:cubicBezTo>
                    <a:pt x="84577" y="54784"/>
                    <a:pt x="85231" y="60670"/>
                    <a:pt x="88936" y="60670"/>
                  </a:cubicBezTo>
                  <a:cubicBezTo>
                    <a:pt x="90679" y="60670"/>
                    <a:pt x="93076" y="58708"/>
                    <a:pt x="94165" y="56528"/>
                  </a:cubicBezTo>
                  <a:close/>
                </a:path>
              </a:pathLst>
            </a:custGeom>
            <a:grpFill/>
            <a:ln w="218" cap="flat">
              <a:noFill/>
              <a:prstDash val="solid"/>
              <a:miter/>
            </a:ln>
          </p:spPr>
          <p:txBody>
            <a:bodyPr rtlCol="0" anchor="ctr"/>
            <a:lstStyle/>
            <a:p>
              <a:endParaRPr lang="en-GB" dirty="0"/>
            </a:p>
          </p:txBody>
        </p:sp>
        <p:sp>
          <p:nvSpPr>
            <p:cNvPr id="39" name="Freihandform: Form 38">
              <a:extLst>
                <a:ext uri="{FF2B5EF4-FFF2-40B4-BE49-F238E27FC236}">
                  <a16:creationId xmlns:a16="http://schemas.microsoft.com/office/drawing/2014/main" xmlns="" id="{655E31E9-B206-4AE5-922D-0F9FBF7BFC71}"/>
                </a:ext>
              </a:extLst>
            </p:cNvPr>
            <p:cNvSpPr/>
            <p:nvPr/>
          </p:nvSpPr>
          <p:spPr>
            <a:xfrm flipV="1">
              <a:off x="4905342" y="5203723"/>
              <a:ext cx="151405" cy="195239"/>
            </a:xfrm>
            <a:custGeom>
              <a:avLst/>
              <a:gdLst>
                <a:gd name="connsiteX0" fmla="*/ 97775 w 151405"/>
                <a:gd name="connsiteY0" fmla="*/ 191971 h 195239"/>
                <a:gd name="connsiteX1" fmla="*/ 100826 w 151405"/>
                <a:gd name="connsiteY1" fmla="*/ 187175 h 195239"/>
                <a:gd name="connsiteX2" fmla="*/ 104748 w 151405"/>
                <a:gd name="connsiteY2" fmla="*/ 176711 h 195239"/>
                <a:gd name="connsiteX3" fmla="*/ 110849 w 151405"/>
                <a:gd name="connsiteY3" fmla="*/ 167336 h 195239"/>
                <a:gd name="connsiteX4" fmla="*/ 130461 w 151405"/>
                <a:gd name="connsiteY4" fmla="*/ 149024 h 195239"/>
                <a:gd name="connsiteX5" fmla="*/ 126103 w 151405"/>
                <a:gd name="connsiteY5" fmla="*/ 144882 h 195239"/>
                <a:gd name="connsiteX6" fmla="*/ 119130 w 151405"/>
                <a:gd name="connsiteY6" fmla="*/ 144228 h 195239"/>
                <a:gd name="connsiteX7" fmla="*/ 115207 w 151405"/>
                <a:gd name="connsiteY7" fmla="*/ 150550 h 195239"/>
                <a:gd name="connsiteX8" fmla="*/ 101697 w 151405"/>
                <a:gd name="connsiteY8" fmla="*/ 156872 h 195239"/>
                <a:gd name="connsiteX9" fmla="*/ 89276 w 151405"/>
                <a:gd name="connsiteY9" fmla="*/ 156436 h 195239"/>
                <a:gd name="connsiteX10" fmla="*/ 85572 w 151405"/>
                <a:gd name="connsiteY10" fmla="*/ 165810 h 195239"/>
                <a:gd name="connsiteX11" fmla="*/ 83611 w 151405"/>
                <a:gd name="connsiteY11" fmla="*/ 179763 h 195239"/>
                <a:gd name="connsiteX12" fmla="*/ 77074 w 151405"/>
                <a:gd name="connsiteY12" fmla="*/ 193061 h 195239"/>
                <a:gd name="connsiteX13" fmla="*/ 73805 w 151405"/>
                <a:gd name="connsiteY13" fmla="*/ 186957 h 195239"/>
                <a:gd name="connsiteX14" fmla="*/ 66832 w 151405"/>
                <a:gd name="connsiteY14" fmla="*/ 175621 h 195239"/>
                <a:gd name="connsiteX15" fmla="*/ 62910 w 151405"/>
                <a:gd name="connsiteY15" fmla="*/ 181071 h 195239"/>
                <a:gd name="connsiteX16" fmla="*/ 55283 w 151405"/>
                <a:gd name="connsiteY16" fmla="*/ 184341 h 195239"/>
                <a:gd name="connsiteX17" fmla="*/ 47438 w 151405"/>
                <a:gd name="connsiteY17" fmla="*/ 182161 h 195239"/>
                <a:gd name="connsiteX18" fmla="*/ 41555 w 151405"/>
                <a:gd name="connsiteY18" fmla="*/ 178455 h 195239"/>
                <a:gd name="connsiteX19" fmla="*/ 46349 w 151405"/>
                <a:gd name="connsiteY19" fmla="*/ 174531 h 195239"/>
                <a:gd name="connsiteX20" fmla="*/ 46131 w 151405"/>
                <a:gd name="connsiteY20" fmla="*/ 168644 h 195239"/>
                <a:gd name="connsiteX21" fmla="*/ 43080 w 151405"/>
                <a:gd name="connsiteY21" fmla="*/ 156218 h 195239"/>
                <a:gd name="connsiteX22" fmla="*/ 55719 w 151405"/>
                <a:gd name="connsiteY22" fmla="*/ 162322 h 195239"/>
                <a:gd name="connsiteX23" fmla="*/ 64217 w 151405"/>
                <a:gd name="connsiteY23" fmla="*/ 168208 h 195239"/>
                <a:gd name="connsiteX24" fmla="*/ 83175 w 151405"/>
                <a:gd name="connsiteY24" fmla="*/ 154474 h 195239"/>
                <a:gd name="connsiteX25" fmla="*/ 78163 w 151405"/>
                <a:gd name="connsiteY25" fmla="*/ 154910 h 195239"/>
                <a:gd name="connsiteX26" fmla="*/ 60077 w 151405"/>
                <a:gd name="connsiteY26" fmla="*/ 154910 h 195239"/>
                <a:gd name="connsiteX27" fmla="*/ 53104 w 151405"/>
                <a:gd name="connsiteY27" fmla="*/ 143792 h 195239"/>
                <a:gd name="connsiteX28" fmla="*/ 54193 w 151405"/>
                <a:gd name="connsiteY28" fmla="*/ 137469 h 195239"/>
                <a:gd name="connsiteX29" fmla="*/ 54629 w 151405"/>
                <a:gd name="connsiteY29" fmla="*/ 130493 h 195239"/>
                <a:gd name="connsiteX30" fmla="*/ 62038 w 151405"/>
                <a:gd name="connsiteY30" fmla="*/ 136379 h 195239"/>
                <a:gd name="connsiteX31" fmla="*/ 72280 w 151405"/>
                <a:gd name="connsiteY31" fmla="*/ 145536 h 195239"/>
                <a:gd name="connsiteX32" fmla="*/ 94070 w 151405"/>
                <a:gd name="connsiteY32" fmla="*/ 144664 h 195239"/>
                <a:gd name="connsiteX33" fmla="*/ 98646 w 151405"/>
                <a:gd name="connsiteY33" fmla="*/ 131365 h 195239"/>
                <a:gd name="connsiteX34" fmla="*/ 94724 w 151405"/>
                <a:gd name="connsiteY34" fmla="*/ 113707 h 195239"/>
                <a:gd name="connsiteX35" fmla="*/ 90366 w 151405"/>
                <a:gd name="connsiteY35" fmla="*/ 105858 h 195239"/>
                <a:gd name="connsiteX36" fmla="*/ 84700 w 151405"/>
                <a:gd name="connsiteY36" fmla="*/ 109128 h 195239"/>
                <a:gd name="connsiteX37" fmla="*/ 86662 w 151405"/>
                <a:gd name="connsiteY37" fmla="*/ 112398 h 195239"/>
                <a:gd name="connsiteX38" fmla="*/ 89712 w 151405"/>
                <a:gd name="connsiteY38" fmla="*/ 125479 h 195239"/>
                <a:gd name="connsiteX39" fmla="*/ 83175 w 151405"/>
                <a:gd name="connsiteY39" fmla="*/ 122863 h 195239"/>
                <a:gd name="connsiteX40" fmla="*/ 78163 w 151405"/>
                <a:gd name="connsiteY40" fmla="*/ 112398 h 195239"/>
                <a:gd name="connsiteX41" fmla="*/ 72933 w 151405"/>
                <a:gd name="connsiteY41" fmla="*/ 108474 h 195239"/>
                <a:gd name="connsiteX42" fmla="*/ 73587 w 151405"/>
                <a:gd name="connsiteY42" fmla="*/ 102588 h 195239"/>
                <a:gd name="connsiteX43" fmla="*/ 77727 w 151405"/>
                <a:gd name="connsiteY43" fmla="*/ 99318 h 195239"/>
                <a:gd name="connsiteX44" fmla="*/ 80996 w 151405"/>
                <a:gd name="connsiteY44" fmla="*/ 93868 h 195239"/>
                <a:gd name="connsiteX45" fmla="*/ 71626 w 151405"/>
                <a:gd name="connsiteY45" fmla="*/ 94304 h 195239"/>
                <a:gd name="connsiteX46" fmla="*/ 64217 w 151405"/>
                <a:gd name="connsiteY46" fmla="*/ 112398 h 195239"/>
                <a:gd name="connsiteX47" fmla="*/ 54629 w 151405"/>
                <a:gd name="connsiteY47" fmla="*/ 121555 h 195239"/>
                <a:gd name="connsiteX48" fmla="*/ 41119 w 151405"/>
                <a:gd name="connsiteY48" fmla="*/ 120029 h 195239"/>
                <a:gd name="connsiteX49" fmla="*/ 32403 w 151405"/>
                <a:gd name="connsiteY49" fmla="*/ 115451 h 195239"/>
                <a:gd name="connsiteX50" fmla="*/ 24776 w 151405"/>
                <a:gd name="connsiteY50" fmla="*/ 101498 h 195239"/>
                <a:gd name="connsiteX51" fmla="*/ 21507 w 151405"/>
                <a:gd name="connsiteY51" fmla="*/ 118067 h 195239"/>
                <a:gd name="connsiteX52" fmla="*/ 21943 w 151405"/>
                <a:gd name="connsiteY52" fmla="*/ 132455 h 195239"/>
                <a:gd name="connsiteX53" fmla="*/ 23250 w 151405"/>
                <a:gd name="connsiteY53" fmla="*/ 137687 h 195239"/>
                <a:gd name="connsiteX54" fmla="*/ 19982 w 151405"/>
                <a:gd name="connsiteY54" fmla="*/ 143792 h 195239"/>
                <a:gd name="connsiteX55" fmla="*/ 12573 w 151405"/>
                <a:gd name="connsiteY55" fmla="*/ 139213 h 195239"/>
                <a:gd name="connsiteX56" fmla="*/ 10394 w 151405"/>
                <a:gd name="connsiteY56" fmla="*/ 127223 h 195239"/>
                <a:gd name="connsiteX57" fmla="*/ 6690 w 151405"/>
                <a:gd name="connsiteY57" fmla="*/ 121119 h 195239"/>
                <a:gd name="connsiteX58" fmla="*/ -4642 w 151405"/>
                <a:gd name="connsiteY58" fmla="*/ 110654 h 195239"/>
                <a:gd name="connsiteX59" fmla="*/ 2549 w 151405"/>
                <a:gd name="connsiteY59" fmla="*/ 108038 h 195239"/>
                <a:gd name="connsiteX60" fmla="*/ 20418 w 151405"/>
                <a:gd name="connsiteY60" fmla="*/ 90162 h 195239"/>
                <a:gd name="connsiteX61" fmla="*/ 24558 w 151405"/>
                <a:gd name="connsiteY61" fmla="*/ 82313 h 195239"/>
                <a:gd name="connsiteX62" fmla="*/ 24776 w 151405"/>
                <a:gd name="connsiteY62" fmla="*/ 74465 h 195239"/>
                <a:gd name="connsiteX63" fmla="*/ 26955 w 151405"/>
                <a:gd name="connsiteY63" fmla="*/ 66399 h 195239"/>
                <a:gd name="connsiteX64" fmla="*/ 37850 w 151405"/>
                <a:gd name="connsiteY64" fmla="*/ 69451 h 195239"/>
                <a:gd name="connsiteX65" fmla="*/ 52668 w 151405"/>
                <a:gd name="connsiteY65" fmla="*/ 65963 h 195239"/>
                <a:gd name="connsiteX66" fmla="*/ 55283 w 151405"/>
                <a:gd name="connsiteY66" fmla="*/ 53536 h 195239"/>
                <a:gd name="connsiteX67" fmla="*/ 72062 w 151405"/>
                <a:gd name="connsiteY67" fmla="*/ 61167 h 195239"/>
                <a:gd name="connsiteX68" fmla="*/ 70318 w 151405"/>
                <a:gd name="connsiteY68" fmla="*/ 68797 h 195239"/>
                <a:gd name="connsiteX69" fmla="*/ 78381 w 151405"/>
                <a:gd name="connsiteY69" fmla="*/ 78389 h 195239"/>
                <a:gd name="connsiteX70" fmla="*/ 91238 w 151405"/>
                <a:gd name="connsiteY70" fmla="*/ 84058 h 195239"/>
                <a:gd name="connsiteX71" fmla="*/ 111067 w 151405"/>
                <a:gd name="connsiteY71" fmla="*/ 94958 h 195239"/>
                <a:gd name="connsiteX72" fmla="*/ 117386 w 151405"/>
                <a:gd name="connsiteY72" fmla="*/ 89944 h 195239"/>
                <a:gd name="connsiteX73" fmla="*/ 106055 w 151405"/>
                <a:gd name="connsiteY73" fmla="*/ 79261 h 195239"/>
                <a:gd name="connsiteX74" fmla="*/ 91238 w 151405"/>
                <a:gd name="connsiteY74" fmla="*/ 78607 h 195239"/>
                <a:gd name="connsiteX75" fmla="*/ 92981 w 151405"/>
                <a:gd name="connsiteY75" fmla="*/ 75337 h 195239"/>
                <a:gd name="connsiteX76" fmla="*/ 91891 w 151405"/>
                <a:gd name="connsiteY76" fmla="*/ 53100 h 195239"/>
                <a:gd name="connsiteX77" fmla="*/ 89059 w 151405"/>
                <a:gd name="connsiteY77" fmla="*/ 46342 h 195239"/>
                <a:gd name="connsiteX78" fmla="*/ 93852 w 151405"/>
                <a:gd name="connsiteY78" fmla="*/ 43726 h 195239"/>
                <a:gd name="connsiteX79" fmla="*/ 96685 w 151405"/>
                <a:gd name="connsiteY79" fmla="*/ 41328 h 195239"/>
                <a:gd name="connsiteX80" fmla="*/ 93852 w 151405"/>
                <a:gd name="connsiteY80" fmla="*/ 31954 h 195239"/>
                <a:gd name="connsiteX81" fmla="*/ 75330 w 151405"/>
                <a:gd name="connsiteY81" fmla="*/ 14295 h 195239"/>
                <a:gd name="connsiteX82" fmla="*/ 72715 w 151405"/>
                <a:gd name="connsiteY82" fmla="*/ 9499 h 195239"/>
                <a:gd name="connsiteX83" fmla="*/ 82739 w 151405"/>
                <a:gd name="connsiteY83" fmla="*/ 343 h 195239"/>
                <a:gd name="connsiteX84" fmla="*/ 84700 w 151405"/>
                <a:gd name="connsiteY84" fmla="*/ 7101 h 195239"/>
                <a:gd name="connsiteX85" fmla="*/ 95596 w 151405"/>
                <a:gd name="connsiteY85" fmla="*/ 23451 h 195239"/>
                <a:gd name="connsiteX86" fmla="*/ 106491 w 151405"/>
                <a:gd name="connsiteY86" fmla="*/ 36968 h 195239"/>
                <a:gd name="connsiteX87" fmla="*/ 103222 w 151405"/>
                <a:gd name="connsiteY87" fmla="*/ 47868 h 195239"/>
                <a:gd name="connsiteX88" fmla="*/ 105619 w 151405"/>
                <a:gd name="connsiteY88" fmla="*/ 69015 h 195239"/>
                <a:gd name="connsiteX89" fmla="*/ 108670 w 151405"/>
                <a:gd name="connsiteY89" fmla="*/ 66835 h 195239"/>
                <a:gd name="connsiteX90" fmla="*/ 106491 w 151405"/>
                <a:gd name="connsiteY90" fmla="*/ 62257 h 195239"/>
                <a:gd name="connsiteX91" fmla="*/ 107581 w 151405"/>
                <a:gd name="connsiteY91" fmla="*/ 54408 h 195239"/>
                <a:gd name="connsiteX92" fmla="*/ 114554 w 151405"/>
                <a:gd name="connsiteY92" fmla="*/ 55935 h 195239"/>
                <a:gd name="connsiteX93" fmla="*/ 113900 w 151405"/>
                <a:gd name="connsiteY93" fmla="*/ 38058 h 195239"/>
                <a:gd name="connsiteX94" fmla="*/ 118258 w 151405"/>
                <a:gd name="connsiteY94" fmla="*/ 33044 h 195239"/>
                <a:gd name="connsiteX95" fmla="*/ 127192 w 151405"/>
                <a:gd name="connsiteY95" fmla="*/ 31736 h 195239"/>
                <a:gd name="connsiteX96" fmla="*/ 138088 w 151405"/>
                <a:gd name="connsiteY96" fmla="*/ 32826 h 195239"/>
                <a:gd name="connsiteX97" fmla="*/ 143535 w 151405"/>
                <a:gd name="connsiteY97" fmla="*/ 45034 h 195239"/>
                <a:gd name="connsiteX98" fmla="*/ 136998 w 151405"/>
                <a:gd name="connsiteY98" fmla="*/ 46560 h 195239"/>
                <a:gd name="connsiteX99" fmla="*/ 124795 w 151405"/>
                <a:gd name="connsiteY99" fmla="*/ 54844 h 195239"/>
                <a:gd name="connsiteX100" fmla="*/ 131550 w 151405"/>
                <a:gd name="connsiteY100" fmla="*/ 59205 h 195239"/>
                <a:gd name="connsiteX101" fmla="*/ 132640 w 151405"/>
                <a:gd name="connsiteY101" fmla="*/ 65527 h 195239"/>
                <a:gd name="connsiteX102" fmla="*/ 121745 w 151405"/>
                <a:gd name="connsiteY102" fmla="*/ 67925 h 195239"/>
                <a:gd name="connsiteX103" fmla="*/ 116515 w 151405"/>
                <a:gd name="connsiteY103" fmla="*/ 71413 h 195239"/>
                <a:gd name="connsiteX104" fmla="*/ 123052 w 151405"/>
                <a:gd name="connsiteY104" fmla="*/ 80351 h 195239"/>
                <a:gd name="connsiteX105" fmla="*/ 123924 w 151405"/>
                <a:gd name="connsiteY105" fmla="*/ 94958 h 195239"/>
                <a:gd name="connsiteX106" fmla="*/ 119566 w 151405"/>
                <a:gd name="connsiteY106" fmla="*/ 101280 h 195239"/>
                <a:gd name="connsiteX107" fmla="*/ 108670 w 151405"/>
                <a:gd name="connsiteY107" fmla="*/ 106948 h 195239"/>
                <a:gd name="connsiteX108" fmla="*/ 99082 w 151405"/>
                <a:gd name="connsiteY108" fmla="*/ 117631 h 195239"/>
                <a:gd name="connsiteX109" fmla="*/ 105619 w 151405"/>
                <a:gd name="connsiteY109" fmla="*/ 117849 h 195239"/>
                <a:gd name="connsiteX110" fmla="*/ 113900 w 151405"/>
                <a:gd name="connsiteY110" fmla="*/ 123081 h 195239"/>
                <a:gd name="connsiteX111" fmla="*/ 117386 w 151405"/>
                <a:gd name="connsiteY111" fmla="*/ 132019 h 195239"/>
                <a:gd name="connsiteX112" fmla="*/ 126321 w 151405"/>
                <a:gd name="connsiteY112" fmla="*/ 130711 h 195239"/>
                <a:gd name="connsiteX113" fmla="*/ 133947 w 151405"/>
                <a:gd name="connsiteY113" fmla="*/ 130275 h 195239"/>
                <a:gd name="connsiteX114" fmla="*/ 135037 w 151405"/>
                <a:gd name="connsiteY114" fmla="*/ 138123 h 195239"/>
                <a:gd name="connsiteX115" fmla="*/ 136127 w 151405"/>
                <a:gd name="connsiteY115" fmla="*/ 144664 h 195239"/>
                <a:gd name="connsiteX116" fmla="*/ 135691 w 151405"/>
                <a:gd name="connsiteY116" fmla="*/ 156872 h 195239"/>
                <a:gd name="connsiteX117" fmla="*/ 126756 w 151405"/>
                <a:gd name="connsiteY117" fmla="*/ 168208 h 195239"/>
                <a:gd name="connsiteX118" fmla="*/ 120873 w 151405"/>
                <a:gd name="connsiteY118" fmla="*/ 174095 h 195239"/>
                <a:gd name="connsiteX119" fmla="*/ 110849 w 151405"/>
                <a:gd name="connsiteY119" fmla="*/ 183905 h 195239"/>
                <a:gd name="connsiteX120" fmla="*/ 102133 w 151405"/>
                <a:gd name="connsiteY120" fmla="*/ 191971 h 195239"/>
                <a:gd name="connsiteX121" fmla="*/ 99954 w 151405"/>
                <a:gd name="connsiteY121" fmla="*/ 195241 h 195239"/>
                <a:gd name="connsiteX122" fmla="*/ 97775 w 151405"/>
                <a:gd name="connsiteY122" fmla="*/ 191971 h 195239"/>
                <a:gd name="connsiteX123" fmla="*/ 57244 w 151405"/>
                <a:gd name="connsiteY123" fmla="*/ 99100 h 195239"/>
                <a:gd name="connsiteX124" fmla="*/ 60513 w 151405"/>
                <a:gd name="connsiteY124" fmla="*/ 94958 h 195239"/>
                <a:gd name="connsiteX125" fmla="*/ 68793 w 151405"/>
                <a:gd name="connsiteY125" fmla="*/ 91470 h 195239"/>
                <a:gd name="connsiteX126" fmla="*/ 72933 w 151405"/>
                <a:gd name="connsiteY126" fmla="*/ 89290 h 195239"/>
                <a:gd name="connsiteX127" fmla="*/ 77292 w 151405"/>
                <a:gd name="connsiteY127" fmla="*/ 82531 h 195239"/>
                <a:gd name="connsiteX128" fmla="*/ 72933 w 151405"/>
                <a:gd name="connsiteY128" fmla="*/ 83185 h 195239"/>
                <a:gd name="connsiteX129" fmla="*/ 64217 w 151405"/>
                <a:gd name="connsiteY129" fmla="*/ 82095 h 195239"/>
                <a:gd name="connsiteX130" fmla="*/ 55283 w 151405"/>
                <a:gd name="connsiteY130" fmla="*/ 79697 h 195239"/>
                <a:gd name="connsiteX131" fmla="*/ 48964 w 151405"/>
                <a:gd name="connsiteY131" fmla="*/ 79915 h 195239"/>
                <a:gd name="connsiteX132" fmla="*/ 42208 w 151405"/>
                <a:gd name="connsiteY132" fmla="*/ 82749 h 195239"/>
                <a:gd name="connsiteX133" fmla="*/ 30224 w 151405"/>
                <a:gd name="connsiteY133" fmla="*/ 85802 h 195239"/>
                <a:gd name="connsiteX134" fmla="*/ 28044 w 151405"/>
                <a:gd name="connsiteY134" fmla="*/ 86238 h 195239"/>
                <a:gd name="connsiteX135" fmla="*/ 29352 w 151405"/>
                <a:gd name="connsiteY135" fmla="*/ 92996 h 195239"/>
                <a:gd name="connsiteX136" fmla="*/ 32403 w 151405"/>
                <a:gd name="connsiteY136" fmla="*/ 98882 h 195239"/>
                <a:gd name="connsiteX137" fmla="*/ 35235 w 151405"/>
                <a:gd name="connsiteY137" fmla="*/ 101498 h 195239"/>
                <a:gd name="connsiteX138" fmla="*/ 41119 w 151405"/>
                <a:gd name="connsiteY138" fmla="*/ 106730 h 195239"/>
                <a:gd name="connsiteX139" fmla="*/ 43952 w 151405"/>
                <a:gd name="connsiteY139" fmla="*/ 112180 h 195239"/>
                <a:gd name="connsiteX140" fmla="*/ 52450 w 151405"/>
                <a:gd name="connsiteY140" fmla="*/ 107820 h 195239"/>
                <a:gd name="connsiteX141" fmla="*/ 57244 w 151405"/>
                <a:gd name="connsiteY141" fmla="*/ 99100 h 195239"/>
                <a:gd name="connsiteX142" fmla="*/ 97121 w 151405"/>
                <a:gd name="connsiteY142" fmla="*/ 95830 h 195239"/>
                <a:gd name="connsiteX143" fmla="*/ 92545 w 151405"/>
                <a:gd name="connsiteY143" fmla="*/ 99754 h 195239"/>
                <a:gd name="connsiteX144" fmla="*/ 96249 w 151405"/>
                <a:gd name="connsiteY144" fmla="*/ 99536 h 195239"/>
                <a:gd name="connsiteX145" fmla="*/ 97121 w 151405"/>
                <a:gd name="connsiteY145" fmla="*/ 95830 h 19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151405" h="195239">
                  <a:moveTo>
                    <a:pt x="97775" y="191971"/>
                  </a:moveTo>
                  <a:cubicBezTo>
                    <a:pt x="97775" y="190445"/>
                    <a:pt x="99082" y="188047"/>
                    <a:pt x="100826" y="187175"/>
                  </a:cubicBezTo>
                  <a:cubicBezTo>
                    <a:pt x="102569" y="186303"/>
                    <a:pt x="104312" y="181507"/>
                    <a:pt x="104748" y="176711"/>
                  </a:cubicBezTo>
                  <a:cubicBezTo>
                    <a:pt x="105402" y="169298"/>
                    <a:pt x="106273" y="167990"/>
                    <a:pt x="110849" y="167336"/>
                  </a:cubicBezTo>
                  <a:cubicBezTo>
                    <a:pt x="117604" y="166464"/>
                    <a:pt x="130461" y="154474"/>
                    <a:pt x="130461" y="149024"/>
                  </a:cubicBezTo>
                  <a:cubicBezTo>
                    <a:pt x="130461" y="146626"/>
                    <a:pt x="128718" y="144882"/>
                    <a:pt x="126103" y="144882"/>
                  </a:cubicBezTo>
                  <a:cubicBezTo>
                    <a:pt x="123706" y="144664"/>
                    <a:pt x="120437" y="144446"/>
                    <a:pt x="119130" y="144228"/>
                  </a:cubicBezTo>
                  <a:cubicBezTo>
                    <a:pt x="117604" y="144010"/>
                    <a:pt x="115861" y="147062"/>
                    <a:pt x="115207" y="150550"/>
                  </a:cubicBezTo>
                  <a:cubicBezTo>
                    <a:pt x="114118" y="156872"/>
                    <a:pt x="113900" y="157090"/>
                    <a:pt x="101697" y="156872"/>
                  </a:cubicBezTo>
                  <a:lnTo>
                    <a:pt x="89276" y="156436"/>
                  </a:lnTo>
                  <a:lnTo>
                    <a:pt x="85572" y="165810"/>
                  </a:lnTo>
                  <a:cubicBezTo>
                    <a:pt x="83611" y="171043"/>
                    <a:pt x="82739" y="177147"/>
                    <a:pt x="83611" y="179763"/>
                  </a:cubicBezTo>
                  <a:cubicBezTo>
                    <a:pt x="85354" y="185213"/>
                    <a:pt x="81432" y="193061"/>
                    <a:pt x="77074" y="193061"/>
                  </a:cubicBezTo>
                  <a:cubicBezTo>
                    <a:pt x="74895" y="193061"/>
                    <a:pt x="73805" y="190881"/>
                    <a:pt x="73805" y="186957"/>
                  </a:cubicBezTo>
                  <a:cubicBezTo>
                    <a:pt x="73805" y="181071"/>
                    <a:pt x="70536" y="175621"/>
                    <a:pt x="66832" y="175621"/>
                  </a:cubicBezTo>
                  <a:cubicBezTo>
                    <a:pt x="65742" y="175621"/>
                    <a:pt x="63999" y="178019"/>
                    <a:pt x="62910" y="181071"/>
                  </a:cubicBezTo>
                  <a:cubicBezTo>
                    <a:pt x="60731" y="186739"/>
                    <a:pt x="57680" y="188047"/>
                    <a:pt x="55283" y="184341"/>
                  </a:cubicBezTo>
                  <a:cubicBezTo>
                    <a:pt x="54629" y="183251"/>
                    <a:pt x="50925" y="182161"/>
                    <a:pt x="47438" y="182161"/>
                  </a:cubicBezTo>
                  <a:cubicBezTo>
                    <a:pt x="42208" y="182161"/>
                    <a:pt x="40901" y="181289"/>
                    <a:pt x="41555" y="178455"/>
                  </a:cubicBezTo>
                  <a:cubicBezTo>
                    <a:pt x="41991" y="176275"/>
                    <a:pt x="44170" y="174531"/>
                    <a:pt x="46349" y="174531"/>
                  </a:cubicBezTo>
                  <a:cubicBezTo>
                    <a:pt x="53104" y="174531"/>
                    <a:pt x="52886" y="169516"/>
                    <a:pt x="46131" y="168644"/>
                  </a:cubicBezTo>
                  <a:cubicBezTo>
                    <a:pt x="38504" y="167772"/>
                    <a:pt x="36543" y="159706"/>
                    <a:pt x="43080" y="156218"/>
                  </a:cubicBezTo>
                  <a:cubicBezTo>
                    <a:pt x="48964" y="152948"/>
                    <a:pt x="52886" y="154910"/>
                    <a:pt x="55719" y="162322"/>
                  </a:cubicBezTo>
                  <a:cubicBezTo>
                    <a:pt x="57462" y="167336"/>
                    <a:pt x="59205" y="168426"/>
                    <a:pt x="64217" y="168208"/>
                  </a:cubicBezTo>
                  <a:cubicBezTo>
                    <a:pt x="72280" y="167772"/>
                    <a:pt x="84700" y="158616"/>
                    <a:pt x="83175" y="154474"/>
                  </a:cubicBezTo>
                  <a:cubicBezTo>
                    <a:pt x="82085" y="151858"/>
                    <a:pt x="81432" y="152076"/>
                    <a:pt x="78163" y="154910"/>
                  </a:cubicBezTo>
                  <a:cubicBezTo>
                    <a:pt x="73587" y="159052"/>
                    <a:pt x="69883" y="159052"/>
                    <a:pt x="60077" y="154910"/>
                  </a:cubicBezTo>
                  <a:cubicBezTo>
                    <a:pt x="50271" y="150768"/>
                    <a:pt x="48092" y="147498"/>
                    <a:pt x="53104" y="143792"/>
                  </a:cubicBezTo>
                  <a:cubicBezTo>
                    <a:pt x="56372" y="141393"/>
                    <a:pt x="56590" y="140303"/>
                    <a:pt x="54193" y="137469"/>
                  </a:cubicBezTo>
                  <a:cubicBezTo>
                    <a:pt x="51796" y="134635"/>
                    <a:pt x="51796" y="133327"/>
                    <a:pt x="54629" y="130493"/>
                  </a:cubicBezTo>
                  <a:cubicBezTo>
                    <a:pt x="59423" y="125697"/>
                    <a:pt x="63563" y="128967"/>
                    <a:pt x="62038" y="136379"/>
                  </a:cubicBezTo>
                  <a:cubicBezTo>
                    <a:pt x="60513" y="144446"/>
                    <a:pt x="65525" y="149024"/>
                    <a:pt x="72280" y="145536"/>
                  </a:cubicBezTo>
                  <a:cubicBezTo>
                    <a:pt x="79035" y="142048"/>
                    <a:pt x="86879" y="141829"/>
                    <a:pt x="94070" y="144664"/>
                  </a:cubicBezTo>
                  <a:cubicBezTo>
                    <a:pt x="106273" y="149678"/>
                    <a:pt x="107363" y="146626"/>
                    <a:pt x="98646" y="131365"/>
                  </a:cubicBezTo>
                  <a:cubicBezTo>
                    <a:pt x="94288" y="123517"/>
                    <a:pt x="93417" y="119593"/>
                    <a:pt x="94724" y="113707"/>
                  </a:cubicBezTo>
                  <a:cubicBezTo>
                    <a:pt x="96032" y="106294"/>
                    <a:pt x="95814" y="105858"/>
                    <a:pt x="90366" y="105858"/>
                  </a:cubicBezTo>
                  <a:cubicBezTo>
                    <a:pt x="86879" y="105858"/>
                    <a:pt x="84700" y="106948"/>
                    <a:pt x="84700" y="109128"/>
                  </a:cubicBezTo>
                  <a:cubicBezTo>
                    <a:pt x="84700" y="110872"/>
                    <a:pt x="85572" y="112398"/>
                    <a:pt x="86662" y="112398"/>
                  </a:cubicBezTo>
                  <a:cubicBezTo>
                    <a:pt x="89712" y="112398"/>
                    <a:pt x="91238" y="118503"/>
                    <a:pt x="89712" y="125479"/>
                  </a:cubicBezTo>
                  <a:cubicBezTo>
                    <a:pt x="87751" y="135725"/>
                    <a:pt x="82739" y="133763"/>
                    <a:pt x="83175" y="122863"/>
                  </a:cubicBezTo>
                  <a:cubicBezTo>
                    <a:pt x="83611" y="114797"/>
                    <a:pt x="82957" y="113707"/>
                    <a:pt x="78163" y="112398"/>
                  </a:cubicBezTo>
                  <a:cubicBezTo>
                    <a:pt x="75112" y="111744"/>
                    <a:pt x="72715" y="110000"/>
                    <a:pt x="72933" y="108474"/>
                  </a:cubicBezTo>
                  <a:cubicBezTo>
                    <a:pt x="73151" y="106948"/>
                    <a:pt x="73369" y="104332"/>
                    <a:pt x="73587" y="102588"/>
                  </a:cubicBezTo>
                  <a:cubicBezTo>
                    <a:pt x="73587" y="100844"/>
                    <a:pt x="75548" y="99318"/>
                    <a:pt x="77727" y="99318"/>
                  </a:cubicBezTo>
                  <a:cubicBezTo>
                    <a:pt x="83611" y="99318"/>
                    <a:pt x="85136" y="96920"/>
                    <a:pt x="80996" y="93868"/>
                  </a:cubicBezTo>
                  <a:cubicBezTo>
                    <a:pt x="78381" y="91906"/>
                    <a:pt x="76202" y="91906"/>
                    <a:pt x="71626" y="94304"/>
                  </a:cubicBezTo>
                  <a:cubicBezTo>
                    <a:pt x="64871" y="97574"/>
                    <a:pt x="62474" y="103460"/>
                    <a:pt x="64217" y="112398"/>
                  </a:cubicBezTo>
                  <a:cubicBezTo>
                    <a:pt x="65742" y="119811"/>
                    <a:pt x="60077" y="125479"/>
                    <a:pt x="54629" y="121555"/>
                  </a:cubicBezTo>
                  <a:cubicBezTo>
                    <a:pt x="47656" y="116541"/>
                    <a:pt x="45259" y="116323"/>
                    <a:pt x="41119" y="120029"/>
                  </a:cubicBezTo>
                  <a:cubicBezTo>
                    <a:pt x="36107" y="124607"/>
                    <a:pt x="32403" y="122645"/>
                    <a:pt x="32403" y="115451"/>
                  </a:cubicBezTo>
                  <a:cubicBezTo>
                    <a:pt x="32403" y="108256"/>
                    <a:pt x="28698" y="101498"/>
                    <a:pt x="24776" y="101498"/>
                  </a:cubicBezTo>
                  <a:cubicBezTo>
                    <a:pt x="19546" y="101498"/>
                    <a:pt x="18674" y="106076"/>
                    <a:pt x="21507" y="118067"/>
                  </a:cubicBezTo>
                  <a:cubicBezTo>
                    <a:pt x="23686" y="127005"/>
                    <a:pt x="23686" y="130711"/>
                    <a:pt x="21943" y="132455"/>
                  </a:cubicBezTo>
                  <a:cubicBezTo>
                    <a:pt x="20200" y="134199"/>
                    <a:pt x="20418" y="135725"/>
                    <a:pt x="23250" y="137687"/>
                  </a:cubicBezTo>
                  <a:cubicBezTo>
                    <a:pt x="27391" y="140739"/>
                    <a:pt x="26955" y="141829"/>
                    <a:pt x="19982" y="143792"/>
                  </a:cubicBezTo>
                  <a:cubicBezTo>
                    <a:pt x="15842" y="145100"/>
                    <a:pt x="14534" y="144228"/>
                    <a:pt x="12573" y="139213"/>
                  </a:cubicBezTo>
                  <a:cubicBezTo>
                    <a:pt x="11048" y="135943"/>
                    <a:pt x="10176" y="130493"/>
                    <a:pt x="10394" y="127223"/>
                  </a:cubicBezTo>
                  <a:cubicBezTo>
                    <a:pt x="10612" y="122645"/>
                    <a:pt x="9740" y="121119"/>
                    <a:pt x="6690" y="121119"/>
                  </a:cubicBezTo>
                  <a:cubicBezTo>
                    <a:pt x="2331" y="121119"/>
                    <a:pt x="-4642" y="114797"/>
                    <a:pt x="-4642" y="110654"/>
                  </a:cubicBezTo>
                  <a:cubicBezTo>
                    <a:pt x="-4642" y="109128"/>
                    <a:pt x="-1373" y="108038"/>
                    <a:pt x="2549" y="108038"/>
                  </a:cubicBezTo>
                  <a:cubicBezTo>
                    <a:pt x="11701" y="108038"/>
                    <a:pt x="19546" y="100190"/>
                    <a:pt x="20418" y="90162"/>
                  </a:cubicBezTo>
                  <a:cubicBezTo>
                    <a:pt x="20636" y="85584"/>
                    <a:pt x="22161" y="82749"/>
                    <a:pt x="24558" y="82313"/>
                  </a:cubicBezTo>
                  <a:cubicBezTo>
                    <a:pt x="28916" y="81441"/>
                    <a:pt x="28916" y="78825"/>
                    <a:pt x="24776" y="74465"/>
                  </a:cubicBezTo>
                  <a:cubicBezTo>
                    <a:pt x="19110" y="69015"/>
                    <a:pt x="21289" y="61167"/>
                    <a:pt x="26955" y="66399"/>
                  </a:cubicBezTo>
                  <a:cubicBezTo>
                    <a:pt x="28262" y="67489"/>
                    <a:pt x="33056" y="68797"/>
                    <a:pt x="37850" y="69451"/>
                  </a:cubicBezTo>
                  <a:cubicBezTo>
                    <a:pt x="47220" y="70759"/>
                    <a:pt x="56590" y="68361"/>
                    <a:pt x="52668" y="65963"/>
                  </a:cubicBezTo>
                  <a:cubicBezTo>
                    <a:pt x="49835" y="64219"/>
                    <a:pt x="51361" y="56807"/>
                    <a:pt x="55283" y="53536"/>
                  </a:cubicBezTo>
                  <a:cubicBezTo>
                    <a:pt x="58551" y="50702"/>
                    <a:pt x="65742" y="53972"/>
                    <a:pt x="72062" y="61167"/>
                  </a:cubicBezTo>
                  <a:cubicBezTo>
                    <a:pt x="77292" y="67053"/>
                    <a:pt x="76856" y="68797"/>
                    <a:pt x="70318" y="68797"/>
                  </a:cubicBezTo>
                  <a:cubicBezTo>
                    <a:pt x="61384" y="68797"/>
                    <a:pt x="65307" y="73375"/>
                    <a:pt x="78381" y="78389"/>
                  </a:cubicBezTo>
                  <a:cubicBezTo>
                    <a:pt x="84700" y="80787"/>
                    <a:pt x="90584" y="83403"/>
                    <a:pt x="91238" y="84058"/>
                  </a:cubicBezTo>
                  <a:cubicBezTo>
                    <a:pt x="95814" y="89290"/>
                    <a:pt x="106055" y="94958"/>
                    <a:pt x="111067" y="94958"/>
                  </a:cubicBezTo>
                  <a:cubicBezTo>
                    <a:pt x="116297" y="94958"/>
                    <a:pt x="117386" y="94086"/>
                    <a:pt x="117386" y="89944"/>
                  </a:cubicBezTo>
                  <a:cubicBezTo>
                    <a:pt x="117386" y="82967"/>
                    <a:pt x="109542" y="75773"/>
                    <a:pt x="106055" y="79261"/>
                  </a:cubicBezTo>
                  <a:cubicBezTo>
                    <a:pt x="102133" y="83185"/>
                    <a:pt x="91238" y="82531"/>
                    <a:pt x="91238" y="78607"/>
                  </a:cubicBezTo>
                  <a:cubicBezTo>
                    <a:pt x="91238" y="76863"/>
                    <a:pt x="92109" y="75337"/>
                    <a:pt x="92981" y="75337"/>
                  </a:cubicBezTo>
                  <a:cubicBezTo>
                    <a:pt x="95814" y="75337"/>
                    <a:pt x="94724" y="56153"/>
                    <a:pt x="91891" y="53100"/>
                  </a:cubicBezTo>
                  <a:cubicBezTo>
                    <a:pt x="90366" y="51792"/>
                    <a:pt x="89059" y="48740"/>
                    <a:pt x="89059" y="46342"/>
                  </a:cubicBezTo>
                  <a:cubicBezTo>
                    <a:pt x="89059" y="43290"/>
                    <a:pt x="90148" y="42636"/>
                    <a:pt x="93852" y="43726"/>
                  </a:cubicBezTo>
                  <a:cubicBezTo>
                    <a:pt x="97775" y="45034"/>
                    <a:pt x="98211" y="44598"/>
                    <a:pt x="96685" y="41328"/>
                  </a:cubicBezTo>
                  <a:cubicBezTo>
                    <a:pt x="95814" y="38930"/>
                    <a:pt x="94506" y="34788"/>
                    <a:pt x="93852" y="31954"/>
                  </a:cubicBezTo>
                  <a:cubicBezTo>
                    <a:pt x="92545" y="25631"/>
                    <a:pt x="80778" y="14513"/>
                    <a:pt x="75330" y="14295"/>
                  </a:cubicBezTo>
                  <a:cubicBezTo>
                    <a:pt x="72280" y="14295"/>
                    <a:pt x="71626" y="13205"/>
                    <a:pt x="72715" y="9499"/>
                  </a:cubicBezTo>
                  <a:cubicBezTo>
                    <a:pt x="74459" y="3831"/>
                    <a:pt x="80124" y="-1401"/>
                    <a:pt x="82739" y="343"/>
                  </a:cubicBezTo>
                  <a:cubicBezTo>
                    <a:pt x="83829" y="997"/>
                    <a:pt x="84700" y="4049"/>
                    <a:pt x="84700" y="7101"/>
                  </a:cubicBezTo>
                  <a:cubicBezTo>
                    <a:pt x="84700" y="11025"/>
                    <a:pt x="88187" y="16039"/>
                    <a:pt x="95596" y="23451"/>
                  </a:cubicBezTo>
                  <a:cubicBezTo>
                    <a:pt x="101697" y="29338"/>
                    <a:pt x="106491" y="35442"/>
                    <a:pt x="106491" y="36968"/>
                  </a:cubicBezTo>
                  <a:cubicBezTo>
                    <a:pt x="106491" y="38712"/>
                    <a:pt x="104966" y="43508"/>
                    <a:pt x="103222" y="47868"/>
                  </a:cubicBezTo>
                  <a:cubicBezTo>
                    <a:pt x="99736" y="56371"/>
                    <a:pt x="100608" y="64873"/>
                    <a:pt x="105619" y="69015"/>
                  </a:cubicBezTo>
                  <a:cubicBezTo>
                    <a:pt x="108016" y="70977"/>
                    <a:pt x="108670" y="70541"/>
                    <a:pt x="108670" y="66835"/>
                  </a:cubicBezTo>
                  <a:cubicBezTo>
                    <a:pt x="108670" y="64437"/>
                    <a:pt x="107799" y="62257"/>
                    <a:pt x="106491" y="62257"/>
                  </a:cubicBezTo>
                  <a:cubicBezTo>
                    <a:pt x="103005" y="62257"/>
                    <a:pt x="103876" y="55717"/>
                    <a:pt x="107581" y="54408"/>
                  </a:cubicBezTo>
                  <a:cubicBezTo>
                    <a:pt x="109324" y="53536"/>
                    <a:pt x="112593" y="54408"/>
                    <a:pt x="114554" y="55935"/>
                  </a:cubicBezTo>
                  <a:cubicBezTo>
                    <a:pt x="118476" y="59205"/>
                    <a:pt x="118476" y="60295"/>
                    <a:pt x="113900" y="38058"/>
                  </a:cubicBezTo>
                  <a:cubicBezTo>
                    <a:pt x="112593" y="31736"/>
                    <a:pt x="112810" y="31518"/>
                    <a:pt x="118258" y="33044"/>
                  </a:cubicBezTo>
                  <a:cubicBezTo>
                    <a:pt x="121527" y="33698"/>
                    <a:pt x="125231" y="33262"/>
                    <a:pt x="127192" y="31736"/>
                  </a:cubicBezTo>
                  <a:cubicBezTo>
                    <a:pt x="129589" y="29774"/>
                    <a:pt x="131986" y="29992"/>
                    <a:pt x="138088" y="32826"/>
                  </a:cubicBezTo>
                  <a:cubicBezTo>
                    <a:pt x="148111" y="37840"/>
                    <a:pt x="148765" y="38930"/>
                    <a:pt x="143535" y="45034"/>
                  </a:cubicBezTo>
                  <a:cubicBezTo>
                    <a:pt x="139395" y="49830"/>
                    <a:pt x="138959" y="50048"/>
                    <a:pt x="136998" y="46560"/>
                  </a:cubicBezTo>
                  <a:cubicBezTo>
                    <a:pt x="131986" y="38276"/>
                    <a:pt x="122398" y="45034"/>
                    <a:pt x="124795" y="54844"/>
                  </a:cubicBezTo>
                  <a:cubicBezTo>
                    <a:pt x="126103" y="59641"/>
                    <a:pt x="127192" y="60295"/>
                    <a:pt x="131550" y="59205"/>
                  </a:cubicBezTo>
                  <a:cubicBezTo>
                    <a:pt x="138088" y="57461"/>
                    <a:pt x="138524" y="60077"/>
                    <a:pt x="132640" y="65527"/>
                  </a:cubicBezTo>
                  <a:cubicBezTo>
                    <a:pt x="129589" y="68361"/>
                    <a:pt x="126539" y="69015"/>
                    <a:pt x="121745" y="67925"/>
                  </a:cubicBezTo>
                  <a:cubicBezTo>
                    <a:pt x="115425" y="66835"/>
                    <a:pt x="114989" y="67053"/>
                    <a:pt x="116515" y="71413"/>
                  </a:cubicBezTo>
                  <a:cubicBezTo>
                    <a:pt x="117386" y="74029"/>
                    <a:pt x="120219" y="78171"/>
                    <a:pt x="123052" y="80351"/>
                  </a:cubicBezTo>
                  <a:cubicBezTo>
                    <a:pt x="129371" y="85366"/>
                    <a:pt x="129807" y="91906"/>
                    <a:pt x="123924" y="94958"/>
                  </a:cubicBezTo>
                  <a:cubicBezTo>
                    <a:pt x="121527" y="96266"/>
                    <a:pt x="119566" y="99100"/>
                    <a:pt x="119566" y="101280"/>
                  </a:cubicBezTo>
                  <a:cubicBezTo>
                    <a:pt x="119566" y="105858"/>
                    <a:pt x="114118" y="108692"/>
                    <a:pt x="108670" y="106948"/>
                  </a:cubicBezTo>
                  <a:cubicBezTo>
                    <a:pt x="103876" y="105422"/>
                    <a:pt x="97339" y="112834"/>
                    <a:pt x="99082" y="117631"/>
                  </a:cubicBezTo>
                  <a:cubicBezTo>
                    <a:pt x="100390" y="120901"/>
                    <a:pt x="100826" y="120901"/>
                    <a:pt x="105619" y="117849"/>
                  </a:cubicBezTo>
                  <a:cubicBezTo>
                    <a:pt x="112593" y="113489"/>
                    <a:pt x="115425" y="115233"/>
                    <a:pt x="113900" y="123081"/>
                  </a:cubicBezTo>
                  <a:cubicBezTo>
                    <a:pt x="112810" y="128095"/>
                    <a:pt x="113464" y="130057"/>
                    <a:pt x="117386" y="132019"/>
                  </a:cubicBezTo>
                  <a:cubicBezTo>
                    <a:pt x="121309" y="133981"/>
                    <a:pt x="122834" y="133763"/>
                    <a:pt x="126321" y="130711"/>
                  </a:cubicBezTo>
                  <a:cubicBezTo>
                    <a:pt x="130243" y="127223"/>
                    <a:pt x="130897" y="127223"/>
                    <a:pt x="133947" y="130275"/>
                  </a:cubicBezTo>
                  <a:cubicBezTo>
                    <a:pt x="136780" y="132891"/>
                    <a:pt x="136998" y="134635"/>
                    <a:pt x="135037" y="138123"/>
                  </a:cubicBezTo>
                  <a:cubicBezTo>
                    <a:pt x="133076" y="141829"/>
                    <a:pt x="133294" y="143138"/>
                    <a:pt x="136127" y="144664"/>
                  </a:cubicBezTo>
                  <a:cubicBezTo>
                    <a:pt x="139613" y="146626"/>
                    <a:pt x="139613" y="147498"/>
                    <a:pt x="135691" y="156872"/>
                  </a:cubicBezTo>
                  <a:cubicBezTo>
                    <a:pt x="133076" y="163412"/>
                    <a:pt x="129807" y="167554"/>
                    <a:pt x="126756" y="168208"/>
                  </a:cubicBezTo>
                  <a:cubicBezTo>
                    <a:pt x="124142" y="168862"/>
                    <a:pt x="121527" y="171479"/>
                    <a:pt x="120873" y="174095"/>
                  </a:cubicBezTo>
                  <a:cubicBezTo>
                    <a:pt x="120219" y="176711"/>
                    <a:pt x="115643" y="181071"/>
                    <a:pt x="110849" y="183905"/>
                  </a:cubicBezTo>
                  <a:cubicBezTo>
                    <a:pt x="106055" y="186521"/>
                    <a:pt x="102133" y="190227"/>
                    <a:pt x="102133" y="191971"/>
                  </a:cubicBezTo>
                  <a:cubicBezTo>
                    <a:pt x="102133" y="193715"/>
                    <a:pt x="101261" y="195241"/>
                    <a:pt x="99954" y="195241"/>
                  </a:cubicBezTo>
                  <a:cubicBezTo>
                    <a:pt x="98864" y="195241"/>
                    <a:pt x="97775" y="193715"/>
                    <a:pt x="97775" y="191971"/>
                  </a:cubicBezTo>
                  <a:close/>
                  <a:moveTo>
                    <a:pt x="57244" y="99100"/>
                  </a:moveTo>
                  <a:cubicBezTo>
                    <a:pt x="53540" y="95176"/>
                    <a:pt x="53758" y="94958"/>
                    <a:pt x="60513" y="94958"/>
                  </a:cubicBezTo>
                  <a:cubicBezTo>
                    <a:pt x="64653" y="94958"/>
                    <a:pt x="67922" y="93650"/>
                    <a:pt x="68793" y="91470"/>
                  </a:cubicBezTo>
                  <a:cubicBezTo>
                    <a:pt x="69447" y="89726"/>
                    <a:pt x="71408" y="88636"/>
                    <a:pt x="72933" y="89290"/>
                  </a:cubicBezTo>
                  <a:cubicBezTo>
                    <a:pt x="76638" y="90816"/>
                    <a:pt x="79035" y="87110"/>
                    <a:pt x="77292" y="82531"/>
                  </a:cubicBezTo>
                  <a:cubicBezTo>
                    <a:pt x="75984" y="79479"/>
                    <a:pt x="75548" y="79479"/>
                    <a:pt x="72933" y="83185"/>
                  </a:cubicBezTo>
                  <a:cubicBezTo>
                    <a:pt x="69883" y="87110"/>
                    <a:pt x="69665" y="87110"/>
                    <a:pt x="64217" y="82095"/>
                  </a:cubicBezTo>
                  <a:cubicBezTo>
                    <a:pt x="59641" y="77735"/>
                    <a:pt x="58116" y="77299"/>
                    <a:pt x="55283" y="79697"/>
                  </a:cubicBezTo>
                  <a:cubicBezTo>
                    <a:pt x="52668" y="81877"/>
                    <a:pt x="51361" y="81877"/>
                    <a:pt x="48964" y="79915"/>
                  </a:cubicBezTo>
                  <a:cubicBezTo>
                    <a:pt x="46349" y="77735"/>
                    <a:pt x="45041" y="78389"/>
                    <a:pt x="42208" y="82749"/>
                  </a:cubicBezTo>
                  <a:cubicBezTo>
                    <a:pt x="38286" y="88636"/>
                    <a:pt x="30224" y="90598"/>
                    <a:pt x="30224" y="85802"/>
                  </a:cubicBezTo>
                  <a:cubicBezTo>
                    <a:pt x="30224" y="83839"/>
                    <a:pt x="29570" y="84058"/>
                    <a:pt x="28044" y="86238"/>
                  </a:cubicBezTo>
                  <a:cubicBezTo>
                    <a:pt x="26737" y="88418"/>
                    <a:pt x="27173" y="90598"/>
                    <a:pt x="29352" y="92996"/>
                  </a:cubicBezTo>
                  <a:cubicBezTo>
                    <a:pt x="30877" y="94740"/>
                    <a:pt x="32403" y="97574"/>
                    <a:pt x="32403" y="98882"/>
                  </a:cubicBezTo>
                  <a:cubicBezTo>
                    <a:pt x="32403" y="100408"/>
                    <a:pt x="33710" y="101498"/>
                    <a:pt x="35235" y="101498"/>
                  </a:cubicBezTo>
                  <a:cubicBezTo>
                    <a:pt x="36979" y="101498"/>
                    <a:pt x="39594" y="103896"/>
                    <a:pt x="41119" y="106730"/>
                  </a:cubicBezTo>
                  <a:lnTo>
                    <a:pt x="43952" y="112180"/>
                  </a:lnTo>
                  <a:lnTo>
                    <a:pt x="52450" y="107820"/>
                  </a:lnTo>
                  <a:cubicBezTo>
                    <a:pt x="60948" y="103460"/>
                    <a:pt x="60948" y="103242"/>
                    <a:pt x="57244" y="99100"/>
                  </a:cubicBezTo>
                  <a:close/>
                  <a:moveTo>
                    <a:pt x="97121" y="95830"/>
                  </a:moveTo>
                  <a:cubicBezTo>
                    <a:pt x="95160" y="93868"/>
                    <a:pt x="91020" y="97138"/>
                    <a:pt x="92545" y="99754"/>
                  </a:cubicBezTo>
                  <a:cubicBezTo>
                    <a:pt x="93417" y="101062"/>
                    <a:pt x="94724" y="101062"/>
                    <a:pt x="96249" y="99536"/>
                  </a:cubicBezTo>
                  <a:cubicBezTo>
                    <a:pt x="97557" y="98228"/>
                    <a:pt x="97993" y="96702"/>
                    <a:pt x="97121" y="95830"/>
                  </a:cubicBezTo>
                  <a:close/>
                </a:path>
              </a:pathLst>
            </a:custGeom>
            <a:grpFill/>
            <a:ln w="218" cap="flat">
              <a:noFill/>
              <a:prstDash val="solid"/>
              <a:miter/>
            </a:ln>
          </p:spPr>
          <p:txBody>
            <a:bodyPr rtlCol="0" anchor="ctr"/>
            <a:lstStyle/>
            <a:p>
              <a:endParaRPr lang="en-GB" dirty="0"/>
            </a:p>
          </p:txBody>
        </p:sp>
        <p:sp>
          <p:nvSpPr>
            <p:cNvPr id="40" name="Freihandform: Form 39">
              <a:extLst>
                <a:ext uri="{FF2B5EF4-FFF2-40B4-BE49-F238E27FC236}">
                  <a16:creationId xmlns:a16="http://schemas.microsoft.com/office/drawing/2014/main" xmlns="" id="{7F725B52-1166-45A3-8429-6B9E0B27DB33}"/>
                </a:ext>
              </a:extLst>
            </p:cNvPr>
            <p:cNvSpPr/>
            <p:nvPr/>
          </p:nvSpPr>
          <p:spPr>
            <a:xfrm flipV="1">
              <a:off x="4951103" y="5300458"/>
              <a:ext cx="5775" cy="5483"/>
            </a:xfrm>
            <a:custGeom>
              <a:avLst/>
              <a:gdLst>
                <a:gd name="connsiteX0" fmla="*/ -4530 w 5775"/>
                <a:gd name="connsiteY0" fmla="*/ 4562 h 5483"/>
                <a:gd name="connsiteX1" fmla="*/ 1136 w 5775"/>
                <a:gd name="connsiteY1" fmla="*/ 420 h 5483"/>
                <a:gd name="connsiteX2" fmla="*/ -1261 w 5775"/>
                <a:gd name="connsiteY2" fmla="*/ 4126 h 5483"/>
                <a:gd name="connsiteX3" fmla="*/ -4530 w 5775"/>
                <a:gd name="connsiteY3" fmla="*/ 4562 h 5483"/>
              </a:gdLst>
              <a:ahLst/>
              <a:cxnLst>
                <a:cxn ang="0">
                  <a:pos x="connsiteX0" y="connsiteY0"/>
                </a:cxn>
                <a:cxn ang="0">
                  <a:pos x="connsiteX1" y="connsiteY1"/>
                </a:cxn>
                <a:cxn ang="0">
                  <a:pos x="connsiteX2" y="connsiteY2"/>
                </a:cxn>
                <a:cxn ang="0">
                  <a:pos x="connsiteX3" y="connsiteY3"/>
                </a:cxn>
              </a:cxnLst>
              <a:rect l="l" t="t" r="r" b="b"/>
              <a:pathLst>
                <a:path w="5775" h="5483">
                  <a:moveTo>
                    <a:pt x="-4530" y="4562"/>
                  </a:moveTo>
                  <a:cubicBezTo>
                    <a:pt x="-4530" y="1946"/>
                    <a:pt x="-390" y="-1106"/>
                    <a:pt x="1136" y="420"/>
                  </a:cubicBezTo>
                  <a:cubicBezTo>
                    <a:pt x="1571" y="856"/>
                    <a:pt x="700" y="2600"/>
                    <a:pt x="-1261" y="4126"/>
                  </a:cubicBezTo>
                  <a:cubicBezTo>
                    <a:pt x="-3222" y="5870"/>
                    <a:pt x="-4530" y="5870"/>
                    <a:pt x="-4530" y="4562"/>
                  </a:cubicBezTo>
                  <a:close/>
                </a:path>
              </a:pathLst>
            </a:custGeom>
            <a:grpFill/>
            <a:ln w="218" cap="flat">
              <a:noFill/>
              <a:prstDash val="solid"/>
              <a:miter/>
            </a:ln>
          </p:spPr>
          <p:txBody>
            <a:bodyPr rtlCol="0" anchor="ctr"/>
            <a:lstStyle/>
            <a:p>
              <a:endParaRPr lang="en-GB" dirty="0"/>
            </a:p>
          </p:txBody>
        </p:sp>
        <p:sp>
          <p:nvSpPr>
            <p:cNvPr id="42" name="Freihandform: Form 41">
              <a:extLst>
                <a:ext uri="{FF2B5EF4-FFF2-40B4-BE49-F238E27FC236}">
                  <a16:creationId xmlns:a16="http://schemas.microsoft.com/office/drawing/2014/main" xmlns="" id="{319E8855-137D-453E-A831-81FA6EAF05EE}"/>
                </a:ext>
              </a:extLst>
            </p:cNvPr>
            <p:cNvSpPr/>
            <p:nvPr/>
          </p:nvSpPr>
          <p:spPr>
            <a:xfrm flipV="1">
              <a:off x="5028570" y="5203723"/>
              <a:ext cx="28901" cy="25812"/>
            </a:xfrm>
            <a:custGeom>
              <a:avLst/>
              <a:gdLst>
                <a:gd name="connsiteX0" fmla="*/ -4790 w 28901"/>
                <a:gd name="connsiteY0" fmla="*/ 23424 h 25812"/>
                <a:gd name="connsiteX1" fmla="*/ 440 w 28901"/>
                <a:gd name="connsiteY1" fmla="*/ 14268 h 25812"/>
                <a:gd name="connsiteX2" fmla="*/ 8284 w 28901"/>
                <a:gd name="connsiteY2" fmla="*/ 3150 h 25812"/>
                <a:gd name="connsiteX3" fmla="*/ 18962 w 28901"/>
                <a:gd name="connsiteY3" fmla="*/ 5984 h 25812"/>
                <a:gd name="connsiteX4" fmla="*/ 19398 w 28901"/>
                <a:gd name="connsiteY4" fmla="*/ 24950 h 25812"/>
                <a:gd name="connsiteX5" fmla="*/ 17001 w 28901"/>
                <a:gd name="connsiteY5" fmla="*/ 16884 h 25812"/>
                <a:gd name="connsiteX6" fmla="*/ 15911 w 28901"/>
                <a:gd name="connsiteY6" fmla="*/ 7946 h 25812"/>
                <a:gd name="connsiteX7" fmla="*/ 13514 w 28901"/>
                <a:gd name="connsiteY7" fmla="*/ 10344 h 25812"/>
                <a:gd name="connsiteX8" fmla="*/ -2175 w 28901"/>
                <a:gd name="connsiteY8" fmla="*/ 25386 h 25812"/>
                <a:gd name="connsiteX9" fmla="*/ -4790 w 28901"/>
                <a:gd name="connsiteY9" fmla="*/ 23424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01" h="25812">
                  <a:moveTo>
                    <a:pt x="-4790" y="23424"/>
                  </a:moveTo>
                  <a:cubicBezTo>
                    <a:pt x="-5444" y="22334"/>
                    <a:pt x="-3047" y="18192"/>
                    <a:pt x="440" y="14268"/>
                  </a:cubicBezTo>
                  <a:cubicBezTo>
                    <a:pt x="3926" y="10126"/>
                    <a:pt x="7413" y="5112"/>
                    <a:pt x="8284" y="3150"/>
                  </a:cubicBezTo>
                  <a:cubicBezTo>
                    <a:pt x="10028" y="-2300"/>
                    <a:pt x="12425" y="-1646"/>
                    <a:pt x="18962" y="5984"/>
                  </a:cubicBezTo>
                  <a:cubicBezTo>
                    <a:pt x="25499" y="13832"/>
                    <a:pt x="25717" y="23860"/>
                    <a:pt x="19398" y="24950"/>
                  </a:cubicBezTo>
                  <a:cubicBezTo>
                    <a:pt x="16129" y="25604"/>
                    <a:pt x="15693" y="24514"/>
                    <a:pt x="17001" y="16884"/>
                  </a:cubicBezTo>
                  <a:cubicBezTo>
                    <a:pt x="17872" y="10780"/>
                    <a:pt x="17654" y="7946"/>
                    <a:pt x="15911" y="7946"/>
                  </a:cubicBezTo>
                  <a:cubicBezTo>
                    <a:pt x="14604" y="7946"/>
                    <a:pt x="13514" y="9036"/>
                    <a:pt x="13514" y="10344"/>
                  </a:cubicBezTo>
                  <a:cubicBezTo>
                    <a:pt x="13514" y="12742"/>
                    <a:pt x="440" y="25386"/>
                    <a:pt x="-2175" y="25386"/>
                  </a:cubicBezTo>
                  <a:cubicBezTo>
                    <a:pt x="-3047" y="25386"/>
                    <a:pt x="-4136" y="24514"/>
                    <a:pt x="-4790" y="23424"/>
                  </a:cubicBezTo>
                  <a:close/>
                </a:path>
              </a:pathLst>
            </a:custGeom>
            <a:grpFill/>
            <a:ln w="218" cap="flat">
              <a:noFill/>
              <a:prstDash val="solid"/>
              <a:miter/>
            </a:ln>
          </p:spPr>
          <p:txBody>
            <a:bodyPr rtlCol="0" anchor="ctr"/>
            <a:lstStyle/>
            <a:p>
              <a:endParaRPr lang="en-GB" dirty="0"/>
            </a:p>
          </p:txBody>
        </p:sp>
        <p:sp>
          <p:nvSpPr>
            <p:cNvPr id="43" name="Freihandform: Form 42">
              <a:extLst>
                <a:ext uri="{FF2B5EF4-FFF2-40B4-BE49-F238E27FC236}">
                  <a16:creationId xmlns:a16="http://schemas.microsoft.com/office/drawing/2014/main" xmlns="" id="{6A86E3BB-A86F-42C6-9F20-0309A6B23E0F}"/>
                </a:ext>
              </a:extLst>
            </p:cNvPr>
            <p:cNvSpPr/>
            <p:nvPr/>
          </p:nvSpPr>
          <p:spPr>
            <a:xfrm flipV="1">
              <a:off x="5165496" y="5204568"/>
              <a:ext cx="4849" cy="4851"/>
            </a:xfrm>
            <a:custGeom>
              <a:avLst/>
              <a:gdLst>
                <a:gd name="connsiteX0" fmla="*/ -4950 w 4849"/>
                <a:gd name="connsiteY0" fmla="*/ 3260 h 4851"/>
                <a:gd name="connsiteX1" fmla="*/ -4296 w 4849"/>
                <a:gd name="connsiteY1" fmla="*/ -11 h 4851"/>
                <a:gd name="connsiteX2" fmla="*/ -1027 w 4849"/>
                <a:gd name="connsiteY2" fmla="*/ 643 h 4851"/>
                <a:gd name="connsiteX3" fmla="*/ -1681 w 4849"/>
                <a:gd name="connsiteY3" fmla="*/ 3914 h 4851"/>
                <a:gd name="connsiteX4" fmla="*/ -4950 w 4849"/>
                <a:gd name="connsiteY4" fmla="*/ 3260 h 4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9" h="4851">
                  <a:moveTo>
                    <a:pt x="-4950" y="3260"/>
                  </a:moveTo>
                  <a:cubicBezTo>
                    <a:pt x="-5821" y="2169"/>
                    <a:pt x="-5386" y="643"/>
                    <a:pt x="-4296" y="-11"/>
                  </a:cubicBezTo>
                  <a:cubicBezTo>
                    <a:pt x="-3207" y="-883"/>
                    <a:pt x="-1681" y="-447"/>
                    <a:pt x="-1027" y="643"/>
                  </a:cubicBezTo>
                  <a:cubicBezTo>
                    <a:pt x="-156" y="1733"/>
                    <a:pt x="-592" y="3260"/>
                    <a:pt x="-1681" y="3914"/>
                  </a:cubicBezTo>
                  <a:cubicBezTo>
                    <a:pt x="-2771" y="4786"/>
                    <a:pt x="-4296" y="4350"/>
                    <a:pt x="-4950" y="3260"/>
                  </a:cubicBezTo>
                  <a:close/>
                </a:path>
              </a:pathLst>
            </a:custGeom>
            <a:grpFill/>
            <a:ln w="218" cap="flat">
              <a:noFill/>
              <a:prstDash val="solid"/>
              <a:miter/>
            </a:ln>
          </p:spPr>
          <p:txBody>
            <a:bodyPr rtlCol="0" anchor="ctr"/>
            <a:lstStyle/>
            <a:p>
              <a:endParaRPr lang="en-GB" dirty="0"/>
            </a:p>
          </p:txBody>
        </p:sp>
        <p:sp>
          <p:nvSpPr>
            <p:cNvPr id="45" name="Freihandform: Form 44">
              <a:extLst>
                <a:ext uri="{FF2B5EF4-FFF2-40B4-BE49-F238E27FC236}">
                  <a16:creationId xmlns:a16="http://schemas.microsoft.com/office/drawing/2014/main" xmlns="" id="{FD81B283-4448-4155-BDBF-614AA5533815}"/>
                </a:ext>
              </a:extLst>
            </p:cNvPr>
            <p:cNvSpPr/>
            <p:nvPr/>
          </p:nvSpPr>
          <p:spPr>
            <a:xfrm flipV="1">
              <a:off x="5264889" y="5204982"/>
              <a:ext cx="30232" cy="16155"/>
            </a:xfrm>
            <a:custGeom>
              <a:avLst/>
              <a:gdLst>
                <a:gd name="connsiteX0" fmla="*/ -2172 w 30232"/>
                <a:gd name="connsiteY0" fmla="*/ 14572 h 16155"/>
                <a:gd name="connsiteX1" fmla="*/ -5876 w 30232"/>
                <a:gd name="connsiteY1" fmla="*/ 8032 h 16155"/>
                <a:gd name="connsiteX2" fmla="*/ 5237 w 30232"/>
                <a:gd name="connsiteY2" fmla="*/ 4108 h 16155"/>
                <a:gd name="connsiteX3" fmla="*/ 18311 w 30232"/>
                <a:gd name="connsiteY3" fmla="*/ 1492 h 16155"/>
                <a:gd name="connsiteX4" fmla="*/ 22452 w 30232"/>
                <a:gd name="connsiteY4" fmla="*/ 1710 h 16155"/>
                <a:gd name="connsiteX5" fmla="*/ 19837 w 30232"/>
                <a:gd name="connsiteY5" fmla="*/ 11302 h 16155"/>
                <a:gd name="connsiteX6" fmla="*/ -2172 w 30232"/>
                <a:gd name="connsiteY6" fmla="*/ 14572 h 16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32" h="16155">
                  <a:moveTo>
                    <a:pt x="-2172" y="14572"/>
                  </a:moveTo>
                  <a:cubicBezTo>
                    <a:pt x="-4133" y="13264"/>
                    <a:pt x="-5876" y="10430"/>
                    <a:pt x="-5876" y="8032"/>
                  </a:cubicBezTo>
                  <a:cubicBezTo>
                    <a:pt x="-5876" y="4108"/>
                    <a:pt x="-4569" y="3672"/>
                    <a:pt x="5237" y="4108"/>
                  </a:cubicBezTo>
                  <a:cubicBezTo>
                    <a:pt x="12864" y="4544"/>
                    <a:pt x="16786" y="3890"/>
                    <a:pt x="18311" y="1492"/>
                  </a:cubicBezTo>
                  <a:cubicBezTo>
                    <a:pt x="20055" y="-1124"/>
                    <a:pt x="20490" y="-1124"/>
                    <a:pt x="22452" y="1710"/>
                  </a:cubicBezTo>
                  <a:cubicBezTo>
                    <a:pt x="25502" y="6506"/>
                    <a:pt x="25066" y="7814"/>
                    <a:pt x="19837" y="11302"/>
                  </a:cubicBezTo>
                  <a:cubicBezTo>
                    <a:pt x="12864" y="15444"/>
                    <a:pt x="2404" y="16970"/>
                    <a:pt x="-2172" y="14572"/>
                  </a:cubicBezTo>
                  <a:close/>
                </a:path>
              </a:pathLst>
            </a:custGeom>
            <a:grpFill/>
            <a:ln w="218" cap="flat">
              <a:noFill/>
              <a:prstDash val="solid"/>
              <a:miter/>
            </a:ln>
          </p:spPr>
          <p:txBody>
            <a:bodyPr rtlCol="0" anchor="ctr"/>
            <a:lstStyle/>
            <a:p>
              <a:endParaRPr lang="en-GB" dirty="0"/>
            </a:p>
          </p:txBody>
        </p:sp>
        <p:sp>
          <p:nvSpPr>
            <p:cNvPr id="51" name="Freihandform: Form 50">
              <a:extLst>
                <a:ext uri="{FF2B5EF4-FFF2-40B4-BE49-F238E27FC236}">
                  <a16:creationId xmlns:a16="http://schemas.microsoft.com/office/drawing/2014/main" xmlns="" id="{1B00925E-5340-4425-BD18-00924AFB0521}"/>
                </a:ext>
              </a:extLst>
            </p:cNvPr>
            <p:cNvSpPr/>
            <p:nvPr/>
          </p:nvSpPr>
          <p:spPr>
            <a:xfrm flipV="1">
              <a:off x="4540396" y="5205904"/>
              <a:ext cx="6440" cy="8720"/>
            </a:xfrm>
            <a:custGeom>
              <a:avLst/>
              <a:gdLst>
                <a:gd name="connsiteX0" fmla="*/ -1358 w 6440"/>
                <a:gd name="connsiteY0" fmla="*/ 3902 h 8720"/>
                <a:gd name="connsiteX1" fmla="*/ -2230 w 6440"/>
                <a:gd name="connsiteY1" fmla="*/ -458 h 8720"/>
                <a:gd name="connsiteX2" fmla="*/ 2128 w 6440"/>
                <a:gd name="connsiteY2" fmla="*/ 3902 h 8720"/>
                <a:gd name="connsiteX3" fmla="*/ 3000 w 6440"/>
                <a:gd name="connsiteY3" fmla="*/ 8262 h 8720"/>
                <a:gd name="connsiteX4" fmla="*/ -1358 w 6440"/>
                <a:gd name="connsiteY4" fmla="*/ 3902 h 8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40" h="8720">
                  <a:moveTo>
                    <a:pt x="-1358" y="3902"/>
                  </a:moveTo>
                  <a:cubicBezTo>
                    <a:pt x="-2883" y="1504"/>
                    <a:pt x="-3319" y="-458"/>
                    <a:pt x="-2230" y="-458"/>
                  </a:cubicBezTo>
                  <a:cubicBezTo>
                    <a:pt x="-1358" y="-458"/>
                    <a:pt x="603" y="1504"/>
                    <a:pt x="2128" y="3902"/>
                  </a:cubicBezTo>
                  <a:cubicBezTo>
                    <a:pt x="3654" y="6300"/>
                    <a:pt x="4090" y="8262"/>
                    <a:pt x="3000" y="8262"/>
                  </a:cubicBezTo>
                  <a:cubicBezTo>
                    <a:pt x="2128" y="8262"/>
                    <a:pt x="167" y="6300"/>
                    <a:pt x="-1358" y="3902"/>
                  </a:cubicBezTo>
                  <a:close/>
                </a:path>
              </a:pathLst>
            </a:custGeom>
            <a:grpFill/>
            <a:ln w="218" cap="flat">
              <a:noFill/>
              <a:prstDash val="solid"/>
              <a:miter/>
            </a:ln>
          </p:spPr>
          <p:txBody>
            <a:bodyPr rtlCol="0" anchor="ctr"/>
            <a:lstStyle/>
            <a:p>
              <a:endParaRPr lang="en-GB" dirty="0"/>
            </a:p>
          </p:txBody>
        </p:sp>
        <p:sp>
          <p:nvSpPr>
            <p:cNvPr id="52" name="Freihandform: Form 51">
              <a:extLst>
                <a:ext uri="{FF2B5EF4-FFF2-40B4-BE49-F238E27FC236}">
                  <a16:creationId xmlns:a16="http://schemas.microsoft.com/office/drawing/2014/main" xmlns="" id="{EE0FE7AE-F775-47BA-9229-CB5DDBDC9B88}"/>
                </a:ext>
              </a:extLst>
            </p:cNvPr>
            <p:cNvSpPr/>
            <p:nvPr/>
          </p:nvSpPr>
          <p:spPr>
            <a:xfrm flipV="1">
              <a:off x="4590203" y="5206256"/>
              <a:ext cx="33737" cy="36157"/>
            </a:xfrm>
            <a:custGeom>
              <a:avLst/>
              <a:gdLst>
                <a:gd name="connsiteX0" fmla="*/ 3921 w 33737"/>
                <a:gd name="connsiteY0" fmla="*/ 28275 h 36157"/>
                <a:gd name="connsiteX1" fmla="*/ -2398 w 33737"/>
                <a:gd name="connsiteY1" fmla="*/ 16720 h 36157"/>
                <a:gd name="connsiteX2" fmla="*/ 4357 w 33737"/>
                <a:gd name="connsiteY2" fmla="*/ 13668 h 36157"/>
                <a:gd name="connsiteX3" fmla="*/ 9587 w 33737"/>
                <a:gd name="connsiteY3" fmla="*/ 7128 h 36157"/>
                <a:gd name="connsiteX4" fmla="*/ 18303 w 33737"/>
                <a:gd name="connsiteY4" fmla="*/ -284 h 36157"/>
                <a:gd name="connsiteX5" fmla="*/ 27891 w 33737"/>
                <a:gd name="connsiteY5" fmla="*/ 3858 h 36157"/>
                <a:gd name="connsiteX6" fmla="*/ 23097 w 33737"/>
                <a:gd name="connsiteY6" fmla="*/ 13450 h 36157"/>
                <a:gd name="connsiteX7" fmla="*/ 14163 w 33737"/>
                <a:gd name="connsiteY7" fmla="*/ 18682 h 36157"/>
                <a:gd name="connsiteX8" fmla="*/ 11330 w 33737"/>
                <a:gd name="connsiteY8" fmla="*/ 23043 h 36157"/>
                <a:gd name="connsiteX9" fmla="*/ 21354 w 33737"/>
                <a:gd name="connsiteY9" fmla="*/ 27403 h 36157"/>
                <a:gd name="connsiteX10" fmla="*/ 30506 w 33737"/>
                <a:gd name="connsiteY10" fmla="*/ 31327 h 36157"/>
                <a:gd name="connsiteX11" fmla="*/ 21136 w 33737"/>
                <a:gd name="connsiteY11" fmla="*/ 35687 h 36157"/>
                <a:gd name="connsiteX12" fmla="*/ 3921 w 33737"/>
                <a:gd name="connsiteY12" fmla="*/ 28275 h 3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37" h="36157">
                  <a:moveTo>
                    <a:pt x="3921" y="28275"/>
                  </a:moveTo>
                  <a:cubicBezTo>
                    <a:pt x="-2834" y="21735"/>
                    <a:pt x="-4141" y="19554"/>
                    <a:pt x="-2398" y="16720"/>
                  </a:cubicBezTo>
                  <a:cubicBezTo>
                    <a:pt x="-1091" y="14758"/>
                    <a:pt x="1960" y="13450"/>
                    <a:pt x="4357" y="13668"/>
                  </a:cubicBezTo>
                  <a:cubicBezTo>
                    <a:pt x="8061" y="14104"/>
                    <a:pt x="8933" y="12796"/>
                    <a:pt x="9587" y="7128"/>
                  </a:cubicBezTo>
                  <a:cubicBezTo>
                    <a:pt x="10240" y="806"/>
                    <a:pt x="10894" y="152"/>
                    <a:pt x="18303" y="-284"/>
                  </a:cubicBezTo>
                  <a:cubicBezTo>
                    <a:pt x="24840" y="-720"/>
                    <a:pt x="26584" y="152"/>
                    <a:pt x="27891" y="3858"/>
                  </a:cubicBezTo>
                  <a:cubicBezTo>
                    <a:pt x="28763" y="7128"/>
                    <a:pt x="27673" y="9526"/>
                    <a:pt x="23097" y="13450"/>
                  </a:cubicBezTo>
                  <a:cubicBezTo>
                    <a:pt x="19610" y="16284"/>
                    <a:pt x="15470" y="18464"/>
                    <a:pt x="14163" y="18682"/>
                  </a:cubicBezTo>
                  <a:cubicBezTo>
                    <a:pt x="12637" y="18682"/>
                    <a:pt x="11330" y="20645"/>
                    <a:pt x="11330" y="23043"/>
                  </a:cubicBezTo>
                  <a:cubicBezTo>
                    <a:pt x="11330" y="26749"/>
                    <a:pt x="12855" y="27403"/>
                    <a:pt x="21354" y="27403"/>
                  </a:cubicBezTo>
                  <a:cubicBezTo>
                    <a:pt x="29634" y="27403"/>
                    <a:pt x="31160" y="28057"/>
                    <a:pt x="30506" y="31327"/>
                  </a:cubicBezTo>
                  <a:cubicBezTo>
                    <a:pt x="30070" y="33943"/>
                    <a:pt x="27455" y="35251"/>
                    <a:pt x="21136" y="35687"/>
                  </a:cubicBezTo>
                  <a:cubicBezTo>
                    <a:pt x="13727" y="36123"/>
                    <a:pt x="11112" y="35033"/>
                    <a:pt x="3921" y="28275"/>
                  </a:cubicBezTo>
                  <a:close/>
                </a:path>
              </a:pathLst>
            </a:custGeom>
            <a:grpFill/>
            <a:ln w="218" cap="flat">
              <a:noFill/>
              <a:prstDash val="solid"/>
              <a:miter/>
            </a:ln>
          </p:spPr>
          <p:txBody>
            <a:bodyPr rtlCol="0" anchor="ctr"/>
            <a:lstStyle/>
            <a:p>
              <a:endParaRPr lang="en-GB" dirty="0"/>
            </a:p>
          </p:txBody>
        </p:sp>
        <p:sp>
          <p:nvSpPr>
            <p:cNvPr id="53" name="Freihandform: Form 52">
              <a:extLst>
                <a:ext uri="{FF2B5EF4-FFF2-40B4-BE49-F238E27FC236}">
                  <a16:creationId xmlns:a16="http://schemas.microsoft.com/office/drawing/2014/main" xmlns="" id="{3B600767-2B24-484F-881A-B85249AB137C}"/>
                </a:ext>
              </a:extLst>
            </p:cNvPr>
            <p:cNvSpPr/>
            <p:nvPr/>
          </p:nvSpPr>
          <p:spPr>
            <a:xfrm flipV="1">
              <a:off x="4678718" y="5206613"/>
              <a:ext cx="4274" cy="5381"/>
            </a:xfrm>
            <a:custGeom>
              <a:avLst/>
              <a:gdLst>
                <a:gd name="connsiteX0" fmla="*/ -1876 w 4274"/>
                <a:gd name="connsiteY0" fmla="*/ 4102 h 5381"/>
                <a:gd name="connsiteX1" fmla="*/ -3402 w 4274"/>
                <a:gd name="connsiteY1" fmla="*/ 396 h 5381"/>
                <a:gd name="connsiteX2" fmla="*/ -787 w 4274"/>
                <a:gd name="connsiteY2" fmla="*/ 832 h 5381"/>
                <a:gd name="connsiteX3" fmla="*/ 738 w 4274"/>
                <a:gd name="connsiteY3" fmla="*/ 4538 h 5381"/>
                <a:gd name="connsiteX4" fmla="*/ -1876 w 4274"/>
                <a:gd name="connsiteY4" fmla="*/ 4102 h 5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4" h="5381">
                  <a:moveTo>
                    <a:pt x="-1876" y="4102"/>
                  </a:moveTo>
                  <a:cubicBezTo>
                    <a:pt x="-2748" y="3448"/>
                    <a:pt x="-3402" y="1704"/>
                    <a:pt x="-3402" y="396"/>
                  </a:cubicBezTo>
                  <a:cubicBezTo>
                    <a:pt x="-3402" y="-912"/>
                    <a:pt x="-2312" y="-694"/>
                    <a:pt x="-787" y="832"/>
                  </a:cubicBezTo>
                  <a:cubicBezTo>
                    <a:pt x="521" y="2140"/>
                    <a:pt x="1174" y="3884"/>
                    <a:pt x="738" y="4538"/>
                  </a:cubicBezTo>
                  <a:cubicBezTo>
                    <a:pt x="85" y="5192"/>
                    <a:pt x="-1223" y="4974"/>
                    <a:pt x="-1876" y="4102"/>
                  </a:cubicBezTo>
                  <a:close/>
                </a:path>
              </a:pathLst>
            </a:custGeom>
            <a:grpFill/>
            <a:ln w="218" cap="flat">
              <a:noFill/>
              <a:prstDash val="solid"/>
              <a:miter/>
            </a:ln>
          </p:spPr>
          <p:txBody>
            <a:bodyPr rtlCol="0" anchor="ctr"/>
            <a:lstStyle/>
            <a:p>
              <a:endParaRPr lang="en-GB" dirty="0"/>
            </a:p>
          </p:txBody>
        </p:sp>
        <p:sp>
          <p:nvSpPr>
            <p:cNvPr id="54" name="Freihandform: Form 53">
              <a:extLst>
                <a:ext uri="{FF2B5EF4-FFF2-40B4-BE49-F238E27FC236}">
                  <a16:creationId xmlns:a16="http://schemas.microsoft.com/office/drawing/2014/main" xmlns="" id="{11B7D67A-E0CE-4820-BC4E-BDDCA23E1129}"/>
                </a:ext>
              </a:extLst>
            </p:cNvPr>
            <p:cNvSpPr/>
            <p:nvPr/>
          </p:nvSpPr>
          <p:spPr>
            <a:xfrm flipV="1">
              <a:off x="4766552" y="5206144"/>
              <a:ext cx="18753" cy="16222"/>
            </a:xfrm>
            <a:custGeom>
              <a:avLst/>
              <a:gdLst>
                <a:gd name="connsiteX0" fmla="*/ -3158 w 18753"/>
                <a:gd name="connsiteY0" fmla="*/ 12537 h 16222"/>
                <a:gd name="connsiteX1" fmla="*/ 1200 w 18753"/>
                <a:gd name="connsiteY1" fmla="*/ 5125 h 16222"/>
                <a:gd name="connsiteX2" fmla="*/ 9699 w 18753"/>
                <a:gd name="connsiteY2" fmla="*/ 1636 h 16222"/>
                <a:gd name="connsiteX3" fmla="*/ 9263 w 18753"/>
                <a:gd name="connsiteY3" fmla="*/ 9267 h 16222"/>
                <a:gd name="connsiteX4" fmla="*/ -3158 w 18753"/>
                <a:gd name="connsiteY4" fmla="*/ 12537 h 16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53" h="16222">
                  <a:moveTo>
                    <a:pt x="-3158" y="12537"/>
                  </a:moveTo>
                  <a:cubicBezTo>
                    <a:pt x="-4901" y="8177"/>
                    <a:pt x="-2940" y="5125"/>
                    <a:pt x="1200" y="5125"/>
                  </a:cubicBezTo>
                  <a:cubicBezTo>
                    <a:pt x="2944" y="5125"/>
                    <a:pt x="6866" y="3599"/>
                    <a:pt x="9699" y="1636"/>
                  </a:cubicBezTo>
                  <a:cubicBezTo>
                    <a:pt x="16890" y="-3160"/>
                    <a:pt x="16672" y="764"/>
                    <a:pt x="9263" y="9267"/>
                  </a:cubicBezTo>
                  <a:cubicBezTo>
                    <a:pt x="2726" y="16679"/>
                    <a:pt x="-1197" y="17769"/>
                    <a:pt x="-3158" y="12537"/>
                  </a:cubicBezTo>
                  <a:close/>
                </a:path>
              </a:pathLst>
            </a:custGeom>
            <a:grpFill/>
            <a:ln w="218" cap="flat">
              <a:noFill/>
              <a:prstDash val="solid"/>
              <a:miter/>
            </a:ln>
          </p:spPr>
          <p:txBody>
            <a:bodyPr rtlCol="0" anchor="ctr"/>
            <a:lstStyle/>
            <a:p>
              <a:endParaRPr lang="en-GB" dirty="0"/>
            </a:p>
          </p:txBody>
        </p:sp>
        <p:sp>
          <p:nvSpPr>
            <p:cNvPr id="55" name="Freihandform: Form 54">
              <a:extLst>
                <a:ext uri="{FF2B5EF4-FFF2-40B4-BE49-F238E27FC236}">
                  <a16:creationId xmlns:a16="http://schemas.microsoft.com/office/drawing/2014/main" xmlns="" id="{E7792F8B-43F5-47BB-98FE-51DED565C79B}"/>
                </a:ext>
              </a:extLst>
            </p:cNvPr>
            <p:cNvSpPr/>
            <p:nvPr/>
          </p:nvSpPr>
          <p:spPr>
            <a:xfrm flipV="1">
              <a:off x="5149547" y="5205904"/>
              <a:ext cx="12337" cy="16433"/>
            </a:xfrm>
            <a:custGeom>
              <a:avLst/>
              <a:gdLst>
                <a:gd name="connsiteX0" fmla="*/ -2896 w 12337"/>
                <a:gd name="connsiteY0" fmla="*/ 13378 h 16433"/>
                <a:gd name="connsiteX1" fmla="*/ -1371 w 12337"/>
                <a:gd name="connsiteY1" fmla="*/ 2042 h 16433"/>
                <a:gd name="connsiteX2" fmla="*/ 5384 w 12337"/>
                <a:gd name="connsiteY2" fmla="*/ 1824 h 16433"/>
                <a:gd name="connsiteX3" fmla="*/ 2551 w 12337"/>
                <a:gd name="connsiteY3" fmla="*/ 15994 h 16433"/>
                <a:gd name="connsiteX4" fmla="*/ -2896 w 12337"/>
                <a:gd name="connsiteY4" fmla="*/ 13378 h 16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37" h="16433">
                  <a:moveTo>
                    <a:pt x="-2896" y="13378"/>
                  </a:moveTo>
                  <a:cubicBezTo>
                    <a:pt x="-6601" y="9672"/>
                    <a:pt x="-6165" y="6402"/>
                    <a:pt x="-1371" y="2042"/>
                  </a:cubicBezTo>
                  <a:cubicBezTo>
                    <a:pt x="2115" y="-1228"/>
                    <a:pt x="2987" y="-1228"/>
                    <a:pt x="5384" y="1824"/>
                  </a:cubicBezTo>
                  <a:cubicBezTo>
                    <a:pt x="8653" y="5748"/>
                    <a:pt x="6474" y="15994"/>
                    <a:pt x="2551" y="15994"/>
                  </a:cubicBezTo>
                  <a:cubicBezTo>
                    <a:pt x="1026" y="15994"/>
                    <a:pt x="-1371" y="14904"/>
                    <a:pt x="-2896" y="13378"/>
                  </a:cubicBezTo>
                  <a:close/>
                </a:path>
              </a:pathLst>
            </a:custGeom>
            <a:grpFill/>
            <a:ln w="218" cap="flat">
              <a:noFill/>
              <a:prstDash val="solid"/>
              <a:miter/>
            </a:ln>
          </p:spPr>
          <p:txBody>
            <a:bodyPr rtlCol="0" anchor="ctr"/>
            <a:lstStyle/>
            <a:p>
              <a:endParaRPr lang="en-GB" dirty="0"/>
            </a:p>
          </p:txBody>
        </p:sp>
        <p:sp>
          <p:nvSpPr>
            <p:cNvPr id="56" name="Freihandform: Form 55">
              <a:extLst>
                <a:ext uri="{FF2B5EF4-FFF2-40B4-BE49-F238E27FC236}">
                  <a16:creationId xmlns:a16="http://schemas.microsoft.com/office/drawing/2014/main" xmlns="" id="{7335CC64-4F1F-44C6-BF83-367C87B9B7BF}"/>
                </a:ext>
              </a:extLst>
            </p:cNvPr>
            <p:cNvSpPr/>
            <p:nvPr/>
          </p:nvSpPr>
          <p:spPr>
            <a:xfrm flipV="1">
              <a:off x="5129017" y="5210197"/>
              <a:ext cx="29005" cy="44337"/>
            </a:xfrm>
            <a:custGeom>
              <a:avLst/>
              <a:gdLst>
                <a:gd name="connsiteX0" fmla="*/ -4107 w 29005"/>
                <a:gd name="connsiteY0" fmla="*/ 41091 h 44337"/>
                <a:gd name="connsiteX1" fmla="*/ -4543 w 29005"/>
                <a:gd name="connsiteY1" fmla="*/ 35205 h 44337"/>
                <a:gd name="connsiteX2" fmla="*/ -2364 w 29005"/>
                <a:gd name="connsiteY2" fmla="*/ 27138 h 44337"/>
                <a:gd name="connsiteX3" fmla="*/ 7006 w 29005"/>
                <a:gd name="connsiteY3" fmla="*/ 21906 h 44337"/>
                <a:gd name="connsiteX4" fmla="*/ 10710 w 29005"/>
                <a:gd name="connsiteY4" fmla="*/ 20162 h 44337"/>
                <a:gd name="connsiteX5" fmla="*/ 6570 w 29005"/>
                <a:gd name="connsiteY5" fmla="*/ 17764 h 44337"/>
                <a:gd name="connsiteX6" fmla="*/ 3955 w 29005"/>
                <a:gd name="connsiteY6" fmla="*/ 11878 h 44337"/>
                <a:gd name="connsiteX7" fmla="*/ 8095 w 29005"/>
                <a:gd name="connsiteY7" fmla="*/ 4902 h 44337"/>
                <a:gd name="connsiteX8" fmla="*/ 15068 w 29005"/>
                <a:gd name="connsiteY8" fmla="*/ -113 h 44337"/>
                <a:gd name="connsiteX9" fmla="*/ 23567 w 29005"/>
                <a:gd name="connsiteY9" fmla="*/ 1632 h 44337"/>
                <a:gd name="connsiteX10" fmla="*/ 19427 w 29005"/>
                <a:gd name="connsiteY10" fmla="*/ 9480 h 44337"/>
                <a:gd name="connsiteX11" fmla="*/ 16812 w 29005"/>
                <a:gd name="connsiteY11" fmla="*/ 19944 h 44337"/>
                <a:gd name="connsiteX12" fmla="*/ 12671 w 29005"/>
                <a:gd name="connsiteY12" fmla="*/ 29536 h 44337"/>
                <a:gd name="connsiteX13" fmla="*/ 6352 w 29005"/>
                <a:gd name="connsiteY13" fmla="*/ 39565 h 44337"/>
                <a:gd name="connsiteX14" fmla="*/ -4107 w 29005"/>
                <a:gd name="connsiteY14" fmla="*/ 41091 h 44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005" h="44337">
                  <a:moveTo>
                    <a:pt x="-4107" y="41091"/>
                  </a:moveTo>
                  <a:cubicBezTo>
                    <a:pt x="-5633" y="39347"/>
                    <a:pt x="-5633" y="37167"/>
                    <a:pt x="-4543" y="35205"/>
                  </a:cubicBezTo>
                  <a:cubicBezTo>
                    <a:pt x="-3236" y="33461"/>
                    <a:pt x="-2364" y="29754"/>
                    <a:pt x="-2364" y="27138"/>
                  </a:cubicBezTo>
                  <a:cubicBezTo>
                    <a:pt x="-2364" y="22124"/>
                    <a:pt x="-621" y="21252"/>
                    <a:pt x="7006" y="21906"/>
                  </a:cubicBezTo>
                  <a:cubicBezTo>
                    <a:pt x="8967" y="22124"/>
                    <a:pt x="10710" y="21252"/>
                    <a:pt x="10710" y="20162"/>
                  </a:cubicBezTo>
                  <a:cubicBezTo>
                    <a:pt x="10710" y="18854"/>
                    <a:pt x="8749" y="17764"/>
                    <a:pt x="6570" y="17764"/>
                  </a:cubicBezTo>
                  <a:cubicBezTo>
                    <a:pt x="469" y="17764"/>
                    <a:pt x="-1493" y="13404"/>
                    <a:pt x="3955" y="11878"/>
                  </a:cubicBezTo>
                  <a:cubicBezTo>
                    <a:pt x="7442" y="11006"/>
                    <a:pt x="8531" y="9262"/>
                    <a:pt x="8095" y="4902"/>
                  </a:cubicBezTo>
                  <a:cubicBezTo>
                    <a:pt x="7442" y="-331"/>
                    <a:pt x="7878" y="-767"/>
                    <a:pt x="15068" y="-113"/>
                  </a:cubicBezTo>
                  <a:cubicBezTo>
                    <a:pt x="19209" y="323"/>
                    <a:pt x="23131" y="1195"/>
                    <a:pt x="23567" y="1632"/>
                  </a:cubicBezTo>
                  <a:cubicBezTo>
                    <a:pt x="24221" y="2068"/>
                    <a:pt x="22259" y="5556"/>
                    <a:pt x="19427" y="9480"/>
                  </a:cubicBezTo>
                  <a:cubicBezTo>
                    <a:pt x="15504" y="14712"/>
                    <a:pt x="14851" y="17110"/>
                    <a:pt x="16812" y="19944"/>
                  </a:cubicBezTo>
                  <a:cubicBezTo>
                    <a:pt x="18773" y="23214"/>
                    <a:pt x="17901" y="24958"/>
                    <a:pt x="12671" y="29536"/>
                  </a:cubicBezTo>
                  <a:cubicBezTo>
                    <a:pt x="9185" y="32589"/>
                    <a:pt x="6352" y="37167"/>
                    <a:pt x="6352" y="39565"/>
                  </a:cubicBezTo>
                  <a:cubicBezTo>
                    <a:pt x="6352" y="44579"/>
                    <a:pt x="-403" y="45669"/>
                    <a:pt x="-4107" y="41091"/>
                  </a:cubicBezTo>
                  <a:close/>
                </a:path>
              </a:pathLst>
            </a:custGeom>
            <a:grpFill/>
            <a:ln w="218" cap="flat">
              <a:noFill/>
              <a:prstDash val="solid"/>
              <a:miter/>
            </a:ln>
          </p:spPr>
          <p:txBody>
            <a:bodyPr rtlCol="0" anchor="ctr"/>
            <a:lstStyle/>
            <a:p>
              <a:endParaRPr lang="en-GB" dirty="0"/>
            </a:p>
          </p:txBody>
        </p:sp>
        <p:sp>
          <p:nvSpPr>
            <p:cNvPr id="57" name="Freihandform: Form 56">
              <a:extLst>
                <a:ext uri="{FF2B5EF4-FFF2-40B4-BE49-F238E27FC236}">
                  <a16:creationId xmlns:a16="http://schemas.microsoft.com/office/drawing/2014/main" xmlns="" id="{64D1D212-2475-428B-9EE1-DA1D7BB9A553}"/>
                </a:ext>
              </a:extLst>
            </p:cNvPr>
            <p:cNvSpPr/>
            <p:nvPr/>
          </p:nvSpPr>
          <p:spPr>
            <a:xfrm flipV="1">
              <a:off x="5206054" y="5210788"/>
              <a:ext cx="14891" cy="12555"/>
            </a:xfrm>
            <a:custGeom>
              <a:avLst/>
              <a:gdLst>
                <a:gd name="connsiteX0" fmla="*/ 1807 w 14891"/>
                <a:gd name="connsiteY0" fmla="*/ 9605 h 12555"/>
                <a:gd name="connsiteX1" fmla="*/ -2551 w 14891"/>
                <a:gd name="connsiteY1" fmla="*/ 6117 h 12555"/>
                <a:gd name="connsiteX2" fmla="*/ -5602 w 14891"/>
                <a:gd name="connsiteY2" fmla="*/ 2846 h 12555"/>
                <a:gd name="connsiteX3" fmla="*/ -3423 w 14891"/>
                <a:gd name="connsiteY3" fmla="*/ -424 h 12555"/>
                <a:gd name="connsiteX4" fmla="*/ 64 w 14891"/>
                <a:gd name="connsiteY4" fmla="*/ 2846 h 12555"/>
                <a:gd name="connsiteX5" fmla="*/ 5729 w 14891"/>
                <a:gd name="connsiteY5" fmla="*/ 6117 h 12555"/>
                <a:gd name="connsiteX6" fmla="*/ 9216 w 14891"/>
                <a:gd name="connsiteY6" fmla="*/ 8733 h 12555"/>
                <a:gd name="connsiteX7" fmla="*/ 1807 w 14891"/>
                <a:gd name="connsiteY7" fmla="*/ 9605 h 12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891" h="12555">
                  <a:moveTo>
                    <a:pt x="1807" y="9605"/>
                  </a:moveTo>
                  <a:cubicBezTo>
                    <a:pt x="1153" y="7643"/>
                    <a:pt x="-808" y="6117"/>
                    <a:pt x="-2551" y="6117"/>
                  </a:cubicBezTo>
                  <a:cubicBezTo>
                    <a:pt x="-4294" y="6117"/>
                    <a:pt x="-5602" y="4590"/>
                    <a:pt x="-5602" y="2846"/>
                  </a:cubicBezTo>
                  <a:cubicBezTo>
                    <a:pt x="-5602" y="1102"/>
                    <a:pt x="-4512" y="-424"/>
                    <a:pt x="-3423" y="-424"/>
                  </a:cubicBezTo>
                  <a:cubicBezTo>
                    <a:pt x="-2115" y="-424"/>
                    <a:pt x="-590" y="1102"/>
                    <a:pt x="64" y="2846"/>
                  </a:cubicBezTo>
                  <a:cubicBezTo>
                    <a:pt x="935" y="4590"/>
                    <a:pt x="3332" y="6117"/>
                    <a:pt x="5729" y="6117"/>
                  </a:cubicBezTo>
                  <a:cubicBezTo>
                    <a:pt x="8126" y="6117"/>
                    <a:pt x="9652" y="7207"/>
                    <a:pt x="9216" y="8733"/>
                  </a:cubicBezTo>
                  <a:cubicBezTo>
                    <a:pt x="7691" y="12875"/>
                    <a:pt x="3332" y="13311"/>
                    <a:pt x="1807" y="9605"/>
                  </a:cubicBezTo>
                  <a:close/>
                </a:path>
              </a:pathLst>
            </a:custGeom>
            <a:grpFill/>
            <a:ln w="218" cap="flat">
              <a:noFill/>
              <a:prstDash val="solid"/>
              <a:miter/>
            </a:ln>
          </p:spPr>
          <p:txBody>
            <a:bodyPr rtlCol="0" anchor="ctr"/>
            <a:lstStyle/>
            <a:p>
              <a:endParaRPr lang="en-GB" dirty="0"/>
            </a:p>
          </p:txBody>
        </p:sp>
        <p:sp>
          <p:nvSpPr>
            <p:cNvPr id="58" name="Freihandform: Form 57">
              <a:extLst>
                <a:ext uri="{FF2B5EF4-FFF2-40B4-BE49-F238E27FC236}">
                  <a16:creationId xmlns:a16="http://schemas.microsoft.com/office/drawing/2014/main" xmlns="" id="{2B12BFCB-C316-4198-AADF-881779276F27}"/>
                </a:ext>
              </a:extLst>
            </p:cNvPr>
            <p:cNvSpPr/>
            <p:nvPr/>
          </p:nvSpPr>
          <p:spPr>
            <a:xfrm flipV="1">
              <a:off x="5299754" y="5215334"/>
              <a:ext cx="4274" cy="5381"/>
            </a:xfrm>
            <a:custGeom>
              <a:avLst/>
              <a:gdLst>
                <a:gd name="connsiteX0" fmla="*/ -4441 w 4274"/>
                <a:gd name="connsiteY0" fmla="*/ 4146 h 5381"/>
                <a:gd name="connsiteX1" fmla="*/ -5967 w 4274"/>
                <a:gd name="connsiteY1" fmla="*/ 440 h 5381"/>
                <a:gd name="connsiteX2" fmla="*/ -3352 w 4274"/>
                <a:gd name="connsiteY2" fmla="*/ 876 h 5381"/>
                <a:gd name="connsiteX3" fmla="*/ -1827 w 4274"/>
                <a:gd name="connsiteY3" fmla="*/ 4582 h 5381"/>
                <a:gd name="connsiteX4" fmla="*/ -4441 w 4274"/>
                <a:gd name="connsiteY4" fmla="*/ 4146 h 5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4" h="5381">
                  <a:moveTo>
                    <a:pt x="-4441" y="4146"/>
                  </a:moveTo>
                  <a:cubicBezTo>
                    <a:pt x="-5313" y="3492"/>
                    <a:pt x="-5967" y="1748"/>
                    <a:pt x="-5967" y="440"/>
                  </a:cubicBezTo>
                  <a:cubicBezTo>
                    <a:pt x="-5967" y="-868"/>
                    <a:pt x="-4877" y="-650"/>
                    <a:pt x="-3352" y="876"/>
                  </a:cubicBezTo>
                  <a:cubicBezTo>
                    <a:pt x="-2044" y="2184"/>
                    <a:pt x="-1391" y="3928"/>
                    <a:pt x="-1827" y="4582"/>
                  </a:cubicBezTo>
                  <a:cubicBezTo>
                    <a:pt x="-2480" y="5236"/>
                    <a:pt x="-3788" y="5018"/>
                    <a:pt x="-4441" y="4146"/>
                  </a:cubicBezTo>
                  <a:close/>
                </a:path>
              </a:pathLst>
            </a:custGeom>
            <a:grpFill/>
            <a:ln w="218" cap="flat">
              <a:noFill/>
              <a:prstDash val="solid"/>
              <a:miter/>
            </a:ln>
          </p:spPr>
          <p:txBody>
            <a:bodyPr rtlCol="0" anchor="ctr"/>
            <a:lstStyle/>
            <a:p>
              <a:endParaRPr lang="en-GB" dirty="0"/>
            </a:p>
          </p:txBody>
        </p:sp>
        <p:sp>
          <p:nvSpPr>
            <p:cNvPr id="59" name="Freihandform: Form 58">
              <a:extLst>
                <a:ext uri="{FF2B5EF4-FFF2-40B4-BE49-F238E27FC236}">
                  <a16:creationId xmlns:a16="http://schemas.microsoft.com/office/drawing/2014/main" xmlns="" id="{98593BCB-60FC-4307-82A6-04D87F3F9ED5}"/>
                </a:ext>
              </a:extLst>
            </p:cNvPr>
            <p:cNvSpPr/>
            <p:nvPr/>
          </p:nvSpPr>
          <p:spPr>
            <a:xfrm flipV="1">
              <a:off x="4672393" y="5216979"/>
              <a:ext cx="10389" cy="12664"/>
            </a:xfrm>
            <a:custGeom>
              <a:avLst/>
              <a:gdLst>
                <a:gd name="connsiteX0" fmla="*/ -113 w 10389"/>
                <a:gd name="connsiteY0" fmla="*/ 7651 h 12664"/>
                <a:gd name="connsiteX1" fmla="*/ 1412 w 10389"/>
                <a:gd name="connsiteY1" fmla="*/ -198 h 12664"/>
                <a:gd name="connsiteX2" fmla="*/ 6860 w 10389"/>
                <a:gd name="connsiteY2" fmla="*/ 6561 h 12664"/>
                <a:gd name="connsiteX3" fmla="*/ -113 w 10389"/>
                <a:gd name="connsiteY3" fmla="*/ 7651 h 12664"/>
              </a:gdLst>
              <a:ahLst/>
              <a:cxnLst>
                <a:cxn ang="0">
                  <a:pos x="connsiteX0" y="connsiteY0"/>
                </a:cxn>
                <a:cxn ang="0">
                  <a:pos x="connsiteX1" y="connsiteY1"/>
                </a:cxn>
                <a:cxn ang="0">
                  <a:pos x="connsiteX2" y="connsiteY2"/>
                </a:cxn>
                <a:cxn ang="0">
                  <a:pos x="connsiteX3" y="connsiteY3"/>
                </a:cxn>
              </a:cxnLst>
              <a:rect l="l" t="t" r="r" b="b"/>
              <a:pathLst>
                <a:path w="10389" h="12664">
                  <a:moveTo>
                    <a:pt x="-113" y="7651"/>
                  </a:moveTo>
                  <a:cubicBezTo>
                    <a:pt x="-4907" y="892"/>
                    <a:pt x="-4471" y="-1070"/>
                    <a:pt x="1412" y="-198"/>
                  </a:cubicBezTo>
                  <a:cubicBezTo>
                    <a:pt x="4899" y="238"/>
                    <a:pt x="6424" y="2201"/>
                    <a:pt x="6860" y="6561"/>
                  </a:cubicBezTo>
                  <a:cubicBezTo>
                    <a:pt x="7732" y="13755"/>
                    <a:pt x="4463" y="14191"/>
                    <a:pt x="-113" y="7651"/>
                  </a:cubicBezTo>
                  <a:close/>
                </a:path>
              </a:pathLst>
            </a:custGeom>
            <a:grpFill/>
            <a:ln w="218" cap="flat">
              <a:noFill/>
              <a:prstDash val="solid"/>
              <a:miter/>
            </a:ln>
          </p:spPr>
          <p:txBody>
            <a:bodyPr rtlCol="0" anchor="ctr"/>
            <a:lstStyle/>
            <a:p>
              <a:endParaRPr lang="en-GB" dirty="0"/>
            </a:p>
          </p:txBody>
        </p:sp>
        <p:sp>
          <p:nvSpPr>
            <p:cNvPr id="60" name="Freihandform: Form 59">
              <a:extLst>
                <a:ext uri="{FF2B5EF4-FFF2-40B4-BE49-F238E27FC236}">
                  <a16:creationId xmlns:a16="http://schemas.microsoft.com/office/drawing/2014/main" xmlns="" id="{9E5A1E24-351C-417B-BCB1-A3F8F3018330}"/>
                </a:ext>
              </a:extLst>
            </p:cNvPr>
            <p:cNvSpPr/>
            <p:nvPr/>
          </p:nvSpPr>
          <p:spPr>
            <a:xfrm flipV="1">
              <a:off x="4752927" y="5216804"/>
              <a:ext cx="19491" cy="19520"/>
            </a:xfrm>
            <a:custGeom>
              <a:avLst/>
              <a:gdLst>
                <a:gd name="connsiteX0" fmla="*/ -1681 w 19491"/>
                <a:gd name="connsiteY0" fmla="*/ 16529 h 19520"/>
                <a:gd name="connsiteX1" fmla="*/ -3206 w 19491"/>
                <a:gd name="connsiteY1" fmla="*/ 8463 h 19520"/>
                <a:gd name="connsiteX2" fmla="*/ 934 w 19491"/>
                <a:gd name="connsiteY2" fmla="*/ 4538 h 19520"/>
                <a:gd name="connsiteX3" fmla="*/ 7907 w 19491"/>
                <a:gd name="connsiteY3" fmla="*/ 2794 h 19520"/>
                <a:gd name="connsiteX4" fmla="*/ 15752 w 19491"/>
                <a:gd name="connsiteY4" fmla="*/ 2358 h 19520"/>
                <a:gd name="connsiteX5" fmla="*/ -156 w 19491"/>
                <a:gd name="connsiteY5" fmla="*/ 19145 h 19520"/>
                <a:gd name="connsiteX6" fmla="*/ -1681 w 19491"/>
                <a:gd name="connsiteY6" fmla="*/ 16529 h 19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91" h="19520">
                  <a:moveTo>
                    <a:pt x="-1681" y="16529"/>
                  </a:moveTo>
                  <a:cubicBezTo>
                    <a:pt x="-1681" y="15003"/>
                    <a:pt x="-2335" y="11297"/>
                    <a:pt x="-3206" y="8463"/>
                  </a:cubicBezTo>
                  <a:cubicBezTo>
                    <a:pt x="-4296" y="3666"/>
                    <a:pt x="-4078" y="3448"/>
                    <a:pt x="934" y="4538"/>
                  </a:cubicBezTo>
                  <a:cubicBezTo>
                    <a:pt x="4856" y="5629"/>
                    <a:pt x="7035" y="4974"/>
                    <a:pt x="7907" y="2794"/>
                  </a:cubicBezTo>
                  <a:cubicBezTo>
                    <a:pt x="9432" y="-1130"/>
                    <a:pt x="15752" y="-1566"/>
                    <a:pt x="15752" y="2358"/>
                  </a:cubicBezTo>
                  <a:cubicBezTo>
                    <a:pt x="15752" y="5193"/>
                    <a:pt x="2677" y="19145"/>
                    <a:pt x="-156" y="19145"/>
                  </a:cubicBezTo>
                  <a:cubicBezTo>
                    <a:pt x="-1027" y="19145"/>
                    <a:pt x="-1681" y="17837"/>
                    <a:pt x="-1681" y="16529"/>
                  </a:cubicBezTo>
                  <a:close/>
                </a:path>
              </a:pathLst>
            </a:custGeom>
            <a:grpFill/>
            <a:ln w="218" cap="flat">
              <a:noFill/>
              <a:prstDash val="solid"/>
              <a:miter/>
            </a:ln>
          </p:spPr>
          <p:txBody>
            <a:bodyPr rtlCol="0" anchor="ctr"/>
            <a:lstStyle/>
            <a:p>
              <a:endParaRPr lang="en-GB" dirty="0"/>
            </a:p>
          </p:txBody>
        </p:sp>
        <p:sp>
          <p:nvSpPr>
            <p:cNvPr id="61" name="Freihandform: Form 60">
              <a:extLst>
                <a:ext uri="{FF2B5EF4-FFF2-40B4-BE49-F238E27FC236}">
                  <a16:creationId xmlns:a16="http://schemas.microsoft.com/office/drawing/2014/main" xmlns="" id="{1016A765-1D56-43BE-B9F1-5713DA56878B}"/>
                </a:ext>
              </a:extLst>
            </p:cNvPr>
            <p:cNvSpPr/>
            <p:nvPr/>
          </p:nvSpPr>
          <p:spPr>
            <a:xfrm flipV="1">
              <a:off x="5002298" y="5216770"/>
              <a:ext cx="9173" cy="15294"/>
            </a:xfrm>
            <a:custGeom>
              <a:avLst/>
              <a:gdLst>
                <a:gd name="connsiteX0" fmla="*/ -4518 w 9173"/>
                <a:gd name="connsiteY0" fmla="*/ 12912 h 15294"/>
                <a:gd name="connsiteX1" fmla="*/ 930 w 9173"/>
                <a:gd name="connsiteY1" fmla="*/ -387 h 15294"/>
                <a:gd name="connsiteX2" fmla="*/ 3981 w 9173"/>
                <a:gd name="connsiteY2" fmla="*/ 10732 h 15294"/>
                <a:gd name="connsiteX3" fmla="*/ -4518 w 9173"/>
                <a:gd name="connsiteY3" fmla="*/ 12912 h 15294"/>
              </a:gdLst>
              <a:ahLst/>
              <a:cxnLst>
                <a:cxn ang="0">
                  <a:pos x="connsiteX0" y="connsiteY0"/>
                </a:cxn>
                <a:cxn ang="0">
                  <a:pos x="connsiteX1" y="connsiteY1"/>
                </a:cxn>
                <a:cxn ang="0">
                  <a:pos x="connsiteX2" y="connsiteY2"/>
                </a:cxn>
                <a:cxn ang="0">
                  <a:pos x="connsiteX3" y="connsiteY3"/>
                </a:cxn>
              </a:cxnLst>
              <a:rect l="l" t="t" r="r" b="b"/>
              <a:pathLst>
                <a:path w="9173" h="15294">
                  <a:moveTo>
                    <a:pt x="-4518" y="12912"/>
                  </a:moveTo>
                  <a:cubicBezTo>
                    <a:pt x="-5825" y="10950"/>
                    <a:pt x="-1249" y="-387"/>
                    <a:pt x="930" y="-387"/>
                  </a:cubicBezTo>
                  <a:cubicBezTo>
                    <a:pt x="3545" y="-387"/>
                    <a:pt x="5288" y="6590"/>
                    <a:pt x="3981" y="10732"/>
                  </a:cubicBezTo>
                  <a:cubicBezTo>
                    <a:pt x="2455" y="15092"/>
                    <a:pt x="-2556" y="16400"/>
                    <a:pt x="-4518" y="12912"/>
                  </a:cubicBezTo>
                  <a:close/>
                </a:path>
              </a:pathLst>
            </a:custGeom>
            <a:grpFill/>
            <a:ln w="218" cap="flat">
              <a:noFill/>
              <a:prstDash val="solid"/>
              <a:miter/>
            </a:ln>
          </p:spPr>
          <p:txBody>
            <a:bodyPr rtlCol="0" anchor="ctr"/>
            <a:lstStyle/>
            <a:p>
              <a:endParaRPr lang="en-GB" dirty="0"/>
            </a:p>
          </p:txBody>
        </p:sp>
        <p:sp>
          <p:nvSpPr>
            <p:cNvPr id="62" name="Freihandform: Form 61">
              <a:extLst>
                <a:ext uri="{FF2B5EF4-FFF2-40B4-BE49-F238E27FC236}">
                  <a16:creationId xmlns:a16="http://schemas.microsoft.com/office/drawing/2014/main" xmlns="" id="{178CF280-3917-49D7-9353-482E7070C800}"/>
                </a:ext>
              </a:extLst>
            </p:cNvPr>
            <p:cNvSpPr/>
            <p:nvPr/>
          </p:nvSpPr>
          <p:spPr>
            <a:xfrm flipV="1">
              <a:off x="5171457" y="5216885"/>
              <a:ext cx="7573" cy="6275"/>
            </a:xfrm>
            <a:custGeom>
              <a:avLst/>
              <a:gdLst>
                <a:gd name="connsiteX0" fmla="*/ -4622 w 7573"/>
                <a:gd name="connsiteY0" fmla="*/ 3550 h 6275"/>
                <a:gd name="connsiteX1" fmla="*/ -264 w 7573"/>
                <a:gd name="connsiteY1" fmla="*/ 280 h 6275"/>
                <a:gd name="connsiteX2" fmla="*/ 1915 w 7573"/>
                <a:gd name="connsiteY2" fmla="*/ 3768 h 6275"/>
                <a:gd name="connsiteX3" fmla="*/ -4622 w 7573"/>
                <a:gd name="connsiteY3" fmla="*/ 3550 h 6275"/>
              </a:gdLst>
              <a:ahLst/>
              <a:cxnLst>
                <a:cxn ang="0">
                  <a:pos x="connsiteX0" y="connsiteY0"/>
                </a:cxn>
                <a:cxn ang="0">
                  <a:pos x="connsiteX1" y="connsiteY1"/>
                </a:cxn>
                <a:cxn ang="0">
                  <a:pos x="connsiteX2" y="connsiteY2"/>
                </a:cxn>
                <a:cxn ang="0">
                  <a:pos x="connsiteX3" y="connsiteY3"/>
                </a:cxn>
              </a:cxnLst>
              <a:rect l="l" t="t" r="r" b="b"/>
              <a:pathLst>
                <a:path w="7573" h="6275">
                  <a:moveTo>
                    <a:pt x="-4622" y="3550"/>
                  </a:moveTo>
                  <a:cubicBezTo>
                    <a:pt x="-6801" y="280"/>
                    <a:pt x="-4404" y="-1464"/>
                    <a:pt x="-264" y="280"/>
                  </a:cubicBezTo>
                  <a:cubicBezTo>
                    <a:pt x="1697" y="934"/>
                    <a:pt x="2569" y="2460"/>
                    <a:pt x="1915" y="3768"/>
                  </a:cubicBezTo>
                  <a:cubicBezTo>
                    <a:pt x="172" y="6602"/>
                    <a:pt x="-2879" y="6602"/>
                    <a:pt x="-4622" y="3550"/>
                  </a:cubicBezTo>
                  <a:close/>
                </a:path>
              </a:pathLst>
            </a:custGeom>
            <a:grpFill/>
            <a:ln w="218" cap="flat">
              <a:noFill/>
              <a:prstDash val="solid"/>
              <a:miter/>
            </a:ln>
          </p:spPr>
          <p:txBody>
            <a:bodyPr rtlCol="0" anchor="ctr"/>
            <a:lstStyle/>
            <a:p>
              <a:endParaRPr lang="en-GB" dirty="0"/>
            </a:p>
          </p:txBody>
        </p:sp>
        <p:sp>
          <p:nvSpPr>
            <p:cNvPr id="63" name="Freihandform: Form 62">
              <a:extLst>
                <a:ext uri="{FF2B5EF4-FFF2-40B4-BE49-F238E27FC236}">
                  <a16:creationId xmlns:a16="http://schemas.microsoft.com/office/drawing/2014/main" xmlns="" id="{E3A781AF-11A7-4E58-974A-CCA2D2E7E4E5}"/>
                </a:ext>
              </a:extLst>
            </p:cNvPr>
            <p:cNvSpPr/>
            <p:nvPr/>
          </p:nvSpPr>
          <p:spPr>
            <a:xfrm flipV="1">
              <a:off x="5055854" y="5225524"/>
              <a:ext cx="12851" cy="21855"/>
            </a:xfrm>
            <a:custGeom>
              <a:avLst/>
              <a:gdLst>
                <a:gd name="connsiteX0" fmla="*/ -1210 w 12851"/>
                <a:gd name="connsiteY0" fmla="*/ 19131 h 21855"/>
                <a:gd name="connsiteX1" fmla="*/ -1864 w 12851"/>
                <a:gd name="connsiteY1" fmla="*/ 2781 h 21855"/>
                <a:gd name="connsiteX2" fmla="*/ 4673 w 12851"/>
                <a:gd name="connsiteY2" fmla="*/ 2781 h 21855"/>
                <a:gd name="connsiteX3" fmla="*/ 5327 w 12851"/>
                <a:gd name="connsiteY3" fmla="*/ 21529 h 21855"/>
                <a:gd name="connsiteX4" fmla="*/ -1210 w 12851"/>
                <a:gd name="connsiteY4" fmla="*/ 19131 h 218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51" h="21855">
                  <a:moveTo>
                    <a:pt x="-1210" y="19131"/>
                  </a:moveTo>
                  <a:cubicBezTo>
                    <a:pt x="-6004" y="16515"/>
                    <a:pt x="-6222" y="8667"/>
                    <a:pt x="-1864" y="2781"/>
                  </a:cubicBezTo>
                  <a:cubicBezTo>
                    <a:pt x="1404" y="-1361"/>
                    <a:pt x="1404" y="-1361"/>
                    <a:pt x="4673" y="2781"/>
                  </a:cubicBezTo>
                  <a:cubicBezTo>
                    <a:pt x="8595" y="8013"/>
                    <a:pt x="9031" y="21529"/>
                    <a:pt x="5327" y="21529"/>
                  </a:cubicBezTo>
                  <a:cubicBezTo>
                    <a:pt x="3801" y="21529"/>
                    <a:pt x="751" y="20439"/>
                    <a:pt x="-1210" y="19131"/>
                  </a:cubicBezTo>
                  <a:close/>
                </a:path>
              </a:pathLst>
            </a:custGeom>
            <a:grpFill/>
            <a:ln w="218" cap="flat">
              <a:noFill/>
              <a:prstDash val="solid"/>
              <a:miter/>
            </a:ln>
          </p:spPr>
          <p:txBody>
            <a:bodyPr rtlCol="0" anchor="ctr"/>
            <a:lstStyle/>
            <a:p>
              <a:endParaRPr lang="en-GB" dirty="0"/>
            </a:p>
          </p:txBody>
        </p:sp>
        <p:sp>
          <p:nvSpPr>
            <p:cNvPr id="64" name="Freihandform: Form 63">
              <a:extLst>
                <a:ext uri="{FF2B5EF4-FFF2-40B4-BE49-F238E27FC236}">
                  <a16:creationId xmlns:a16="http://schemas.microsoft.com/office/drawing/2014/main" xmlns="" id="{3DBEAC8C-089E-4921-91A0-3D32AAEDCEE9}"/>
                </a:ext>
              </a:extLst>
            </p:cNvPr>
            <p:cNvSpPr/>
            <p:nvPr/>
          </p:nvSpPr>
          <p:spPr>
            <a:xfrm flipV="1">
              <a:off x="4683077" y="5232064"/>
              <a:ext cx="6537" cy="4360"/>
            </a:xfrm>
            <a:custGeom>
              <a:avLst/>
              <a:gdLst>
                <a:gd name="connsiteX0" fmla="*/ -3425 w 6537"/>
                <a:gd name="connsiteY0" fmla="*/ 1843 h 4360"/>
                <a:gd name="connsiteX1" fmla="*/ -156 w 6537"/>
                <a:gd name="connsiteY1" fmla="*/ -337 h 4360"/>
                <a:gd name="connsiteX2" fmla="*/ 3113 w 6537"/>
                <a:gd name="connsiteY2" fmla="*/ 1843 h 4360"/>
                <a:gd name="connsiteX3" fmla="*/ -156 w 6537"/>
                <a:gd name="connsiteY3" fmla="*/ 4023 h 4360"/>
                <a:gd name="connsiteX4" fmla="*/ -3425 w 6537"/>
                <a:gd name="connsiteY4" fmla="*/ 1843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7" h="4360">
                  <a:moveTo>
                    <a:pt x="-3425" y="1843"/>
                  </a:moveTo>
                  <a:cubicBezTo>
                    <a:pt x="-3425" y="753"/>
                    <a:pt x="-1899" y="-337"/>
                    <a:pt x="-156" y="-337"/>
                  </a:cubicBezTo>
                  <a:cubicBezTo>
                    <a:pt x="1587" y="-337"/>
                    <a:pt x="3113" y="753"/>
                    <a:pt x="3113" y="1843"/>
                  </a:cubicBezTo>
                  <a:cubicBezTo>
                    <a:pt x="3113" y="3151"/>
                    <a:pt x="1587" y="4023"/>
                    <a:pt x="-156" y="4023"/>
                  </a:cubicBezTo>
                  <a:cubicBezTo>
                    <a:pt x="-1899" y="4023"/>
                    <a:pt x="-3425" y="3151"/>
                    <a:pt x="-3425" y="1843"/>
                  </a:cubicBezTo>
                  <a:close/>
                </a:path>
              </a:pathLst>
            </a:custGeom>
            <a:grpFill/>
            <a:ln w="218" cap="flat">
              <a:noFill/>
              <a:prstDash val="solid"/>
              <a:miter/>
            </a:ln>
          </p:spPr>
          <p:txBody>
            <a:bodyPr rtlCol="0" anchor="ctr"/>
            <a:lstStyle/>
            <a:p>
              <a:endParaRPr lang="en-GB" dirty="0"/>
            </a:p>
          </p:txBody>
        </p:sp>
        <p:sp>
          <p:nvSpPr>
            <p:cNvPr id="65" name="Freihandform: Form 64">
              <a:extLst>
                <a:ext uri="{FF2B5EF4-FFF2-40B4-BE49-F238E27FC236}">
                  <a16:creationId xmlns:a16="http://schemas.microsoft.com/office/drawing/2014/main" xmlns="" id="{2B346958-7A17-462D-8CF9-9C1DEDA6B8F5}"/>
                </a:ext>
              </a:extLst>
            </p:cNvPr>
            <p:cNvSpPr/>
            <p:nvPr/>
          </p:nvSpPr>
          <p:spPr>
            <a:xfrm flipV="1">
              <a:off x="5041267" y="5238925"/>
              <a:ext cx="59020" cy="68542"/>
            </a:xfrm>
            <a:custGeom>
              <a:avLst/>
              <a:gdLst>
                <a:gd name="connsiteX0" fmla="*/ 30338 w 59020"/>
                <a:gd name="connsiteY0" fmla="*/ 61310 h 68542"/>
                <a:gd name="connsiteX1" fmla="*/ 18789 w 59020"/>
                <a:gd name="connsiteY1" fmla="*/ 53026 h 68542"/>
                <a:gd name="connsiteX2" fmla="*/ 17045 w 59020"/>
                <a:gd name="connsiteY2" fmla="*/ 42561 h 68542"/>
                <a:gd name="connsiteX3" fmla="*/ 22493 w 59020"/>
                <a:gd name="connsiteY3" fmla="*/ 28391 h 68542"/>
                <a:gd name="connsiteX4" fmla="*/ 20314 w 59020"/>
                <a:gd name="connsiteY4" fmla="*/ 19452 h 68542"/>
                <a:gd name="connsiteX5" fmla="*/ 15520 w 59020"/>
                <a:gd name="connsiteY5" fmla="*/ 13130 h 68542"/>
                <a:gd name="connsiteX6" fmla="*/ 3753 w 59020"/>
                <a:gd name="connsiteY6" fmla="*/ 21197 h 68542"/>
                <a:gd name="connsiteX7" fmla="*/ -2131 w 59020"/>
                <a:gd name="connsiteY7" fmla="*/ 17054 h 68542"/>
                <a:gd name="connsiteX8" fmla="*/ 1356 w 59020"/>
                <a:gd name="connsiteY8" fmla="*/ 10514 h 68542"/>
                <a:gd name="connsiteX9" fmla="*/ 702 w 59020"/>
                <a:gd name="connsiteY9" fmla="*/ 6372 h 68542"/>
                <a:gd name="connsiteX10" fmla="*/ 4189 w 59020"/>
                <a:gd name="connsiteY10" fmla="*/ 4192 h 68542"/>
                <a:gd name="connsiteX11" fmla="*/ 14212 w 59020"/>
                <a:gd name="connsiteY11" fmla="*/ 2012 h 68542"/>
                <a:gd name="connsiteX12" fmla="*/ 33606 w 59020"/>
                <a:gd name="connsiteY12" fmla="*/ 3756 h 68542"/>
                <a:gd name="connsiteX13" fmla="*/ 32299 w 59020"/>
                <a:gd name="connsiteY13" fmla="*/ 14438 h 68542"/>
                <a:gd name="connsiteX14" fmla="*/ 32735 w 59020"/>
                <a:gd name="connsiteY14" fmla="*/ 31661 h 68542"/>
                <a:gd name="connsiteX15" fmla="*/ 38618 w 59020"/>
                <a:gd name="connsiteY15" fmla="*/ 28391 h 68542"/>
                <a:gd name="connsiteX16" fmla="*/ 42758 w 59020"/>
                <a:gd name="connsiteY16" fmla="*/ 20106 h 68542"/>
                <a:gd name="connsiteX17" fmla="*/ 44502 w 59020"/>
                <a:gd name="connsiteY17" fmla="*/ 19670 h 68542"/>
                <a:gd name="connsiteX18" fmla="*/ 51257 w 59020"/>
                <a:gd name="connsiteY18" fmla="*/ 28609 h 68542"/>
                <a:gd name="connsiteX19" fmla="*/ 48642 w 59020"/>
                <a:gd name="connsiteY19" fmla="*/ 40381 h 68542"/>
                <a:gd name="connsiteX20" fmla="*/ 46027 w 59020"/>
                <a:gd name="connsiteY20" fmla="*/ 50192 h 68542"/>
                <a:gd name="connsiteX21" fmla="*/ 43194 w 59020"/>
                <a:gd name="connsiteY21" fmla="*/ 64362 h 68542"/>
                <a:gd name="connsiteX22" fmla="*/ 30338 w 59020"/>
                <a:gd name="connsiteY22" fmla="*/ 61310 h 68542"/>
                <a:gd name="connsiteX23" fmla="*/ 42105 w 59020"/>
                <a:gd name="connsiteY23" fmla="*/ 53244 h 68542"/>
                <a:gd name="connsiteX24" fmla="*/ 29684 w 59020"/>
                <a:gd name="connsiteY24" fmla="*/ 45613 h 68542"/>
                <a:gd name="connsiteX25" fmla="*/ 31209 w 59020"/>
                <a:gd name="connsiteY25" fmla="*/ 53244 h 68542"/>
                <a:gd name="connsiteX26" fmla="*/ 37964 w 59020"/>
                <a:gd name="connsiteY26" fmla="*/ 57168 h 68542"/>
                <a:gd name="connsiteX27" fmla="*/ 42105 w 59020"/>
                <a:gd name="connsiteY27" fmla="*/ 53244 h 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020" h="68542">
                  <a:moveTo>
                    <a:pt x="30338" y="61310"/>
                  </a:moveTo>
                  <a:cubicBezTo>
                    <a:pt x="27287" y="54988"/>
                    <a:pt x="25544" y="53680"/>
                    <a:pt x="18789" y="53026"/>
                  </a:cubicBezTo>
                  <a:cubicBezTo>
                    <a:pt x="8111" y="52154"/>
                    <a:pt x="7457" y="48447"/>
                    <a:pt x="17045" y="42561"/>
                  </a:cubicBezTo>
                  <a:cubicBezTo>
                    <a:pt x="24454" y="37983"/>
                    <a:pt x="27069" y="31225"/>
                    <a:pt x="22493" y="28391"/>
                  </a:cubicBezTo>
                  <a:cubicBezTo>
                    <a:pt x="21403" y="27737"/>
                    <a:pt x="20314" y="23595"/>
                    <a:pt x="20314" y="19452"/>
                  </a:cubicBezTo>
                  <a:cubicBezTo>
                    <a:pt x="20314" y="12476"/>
                    <a:pt x="19878" y="11822"/>
                    <a:pt x="15520" y="13130"/>
                  </a:cubicBezTo>
                  <a:cubicBezTo>
                    <a:pt x="12687" y="14002"/>
                    <a:pt x="7457" y="17708"/>
                    <a:pt x="3753" y="21197"/>
                  </a:cubicBezTo>
                  <a:cubicBezTo>
                    <a:pt x="-4310" y="28827"/>
                    <a:pt x="-8014" y="26211"/>
                    <a:pt x="-2131" y="17054"/>
                  </a:cubicBezTo>
                  <a:cubicBezTo>
                    <a:pt x="49" y="13784"/>
                    <a:pt x="1574" y="10950"/>
                    <a:pt x="1356" y="10514"/>
                  </a:cubicBezTo>
                  <a:cubicBezTo>
                    <a:pt x="920" y="10078"/>
                    <a:pt x="702" y="8334"/>
                    <a:pt x="702" y="6372"/>
                  </a:cubicBezTo>
                  <a:cubicBezTo>
                    <a:pt x="702" y="3974"/>
                    <a:pt x="1792" y="3320"/>
                    <a:pt x="4189" y="4192"/>
                  </a:cubicBezTo>
                  <a:cubicBezTo>
                    <a:pt x="5932" y="4846"/>
                    <a:pt x="10508" y="3974"/>
                    <a:pt x="14212" y="2012"/>
                  </a:cubicBezTo>
                  <a:cubicBezTo>
                    <a:pt x="20968" y="-1476"/>
                    <a:pt x="30991" y="-604"/>
                    <a:pt x="33606" y="3756"/>
                  </a:cubicBezTo>
                  <a:cubicBezTo>
                    <a:pt x="34478" y="5064"/>
                    <a:pt x="33824" y="9860"/>
                    <a:pt x="32299" y="14438"/>
                  </a:cubicBezTo>
                  <a:cubicBezTo>
                    <a:pt x="29684" y="21633"/>
                    <a:pt x="29902" y="31661"/>
                    <a:pt x="32735" y="31661"/>
                  </a:cubicBezTo>
                  <a:cubicBezTo>
                    <a:pt x="33170" y="31661"/>
                    <a:pt x="35785" y="30135"/>
                    <a:pt x="38618" y="28391"/>
                  </a:cubicBezTo>
                  <a:cubicBezTo>
                    <a:pt x="42323" y="25993"/>
                    <a:pt x="43412" y="23377"/>
                    <a:pt x="42758" y="20106"/>
                  </a:cubicBezTo>
                  <a:cubicBezTo>
                    <a:pt x="41887" y="15528"/>
                    <a:pt x="41887" y="15528"/>
                    <a:pt x="44502" y="19670"/>
                  </a:cubicBezTo>
                  <a:cubicBezTo>
                    <a:pt x="45809" y="22069"/>
                    <a:pt x="48860" y="25993"/>
                    <a:pt x="51257" y="28609"/>
                  </a:cubicBezTo>
                  <a:cubicBezTo>
                    <a:pt x="55833" y="33841"/>
                    <a:pt x="54525" y="40381"/>
                    <a:pt x="48642" y="40381"/>
                  </a:cubicBezTo>
                  <a:cubicBezTo>
                    <a:pt x="45373" y="40381"/>
                    <a:pt x="44937" y="41907"/>
                    <a:pt x="46027" y="50192"/>
                  </a:cubicBezTo>
                  <a:cubicBezTo>
                    <a:pt x="46681" y="57822"/>
                    <a:pt x="46027" y="61092"/>
                    <a:pt x="43194" y="64362"/>
                  </a:cubicBezTo>
                  <a:cubicBezTo>
                    <a:pt x="37529" y="70466"/>
                    <a:pt x="34478" y="69812"/>
                    <a:pt x="30338" y="61310"/>
                  </a:cubicBezTo>
                  <a:close/>
                  <a:moveTo>
                    <a:pt x="42105" y="53244"/>
                  </a:moveTo>
                  <a:cubicBezTo>
                    <a:pt x="42105" y="51064"/>
                    <a:pt x="30991" y="44305"/>
                    <a:pt x="29684" y="45613"/>
                  </a:cubicBezTo>
                  <a:cubicBezTo>
                    <a:pt x="29030" y="46267"/>
                    <a:pt x="29684" y="49756"/>
                    <a:pt x="31209" y="53244"/>
                  </a:cubicBezTo>
                  <a:cubicBezTo>
                    <a:pt x="33388" y="58912"/>
                    <a:pt x="34260" y="59348"/>
                    <a:pt x="37964" y="57168"/>
                  </a:cubicBezTo>
                  <a:cubicBezTo>
                    <a:pt x="40143" y="55860"/>
                    <a:pt x="42105" y="53898"/>
                    <a:pt x="42105" y="53244"/>
                  </a:cubicBezTo>
                  <a:close/>
                </a:path>
              </a:pathLst>
            </a:custGeom>
            <a:grpFill/>
            <a:ln w="218" cap="flat">
              <a:noFill/>
              <a:prstDash val="solid"/>
              <a:miter/>
            </a:ln>
          </p:spPr>
          <p:txBody>
            <a:bodyPr rtlCol="0" anchor="ctr"/>
            <a:lstStyle/>
            <a:p>
              <a:endParaRPr lang="en-GB" dirty="0"/>
            </a:p>
          </p:txBody>
        </p:sp>
        <p:sp>
          <p:nvSpPr>
            <p:cNvPr id="66" name="Freihandform: Form 65">
              <a:extLst>
                <a:ext uri="{FF2B5EF4-FFF2-40B4-BE49-F238E27FC236}">
                  <a16:creationId xmlns:a16="http://schemas.microsoft.com/office/drawing/2014/main" xmlns="" id="{3BE8537E-F770-4F2B-A116-514C09E72A9C}"/>
                </a:ext>
              </a:extLst>
            </p:cNvPr>
            <p:cNvSpPr/>
            <p:nvPr/>
          </p:nvSpPr>
          <p:spPr>
            <a:xfrm flipV="1">
              <a:off x="4800857" y="5247782"/>
              <a:ext cx="15142" cy="20293"/>
            </a:xfrm>
            <a:custGeom>
              <a:avLst/>
              <a:gdLst>
                <a:gd name="connsiteX0" fmla="*/ 2062 w 15142"/>
                <a:gd name="connsiteY0" fmla="*/ 15519 h 20293"/>
                <a:gd name="connsiteX1" fmla="*/ 754 w 15142"/>
                <a:gd name="connsiteY1" fmla="*/ 258 h 20293"/>
                <a:gd name="connsiteX2" fmla="*/ 11214 w 15142"/>
                <a:gd name="connsiteY2" fmla="*/ 12031 h 20293"/>
                <a:gd name="connsiteX3" fmla="*/ 2062 w 15142"/>
                <a:gd name="connsiteY3" fmla="*/ 15519 h 20293"/>
              </a:gdLst>
              <a:ahLst/>
              <a:cxnLst>
                <a:cxn ang="0">
                  <a:pos x="connsiteX0" y="connsiteY0"/>
                </a:cxn>
                <a:cxn ang="0">
                  <a:pos x="connsiteX1" y="connsiteY1"/>
                </a:cxn>
                <a:cxn ang="0">
                  <a:pos x="connsiteX2" y="connsiteY2"/>
                </a:cxn>
                <a:cxn ang="0">
                  <a:pos x="connsiteX3" y="connsiteY3"/>
                </a:cxn>
              </a:cxnLst>
              <a:rect l="l" t="t" r="r" b="b"/>
              <a:pathLst>
                <a:path w="15142" h="20293">
                  <a:moveTo>
                    <a:pt x="2062" y="15519"/>
                  </a:moveTo>
                  <a:cubicBezTo>
                    <a:pt x="-5347" y="9415"/>
                    <a:pt x="-6001" y="2002"/>
                    <a:pt x="754" y="258"/>
                  </a:cubicBezTo>
                  <a:cubicBezTo>
                    <a:pt x="7728" y="-1704"/>
                    <a:pt x="11214" y="2438"/>
                    <a:pt x="11214" y="12031"/>
                  </a:cubicBezTo>
                  <a:cubicBezTo>
                    <a:pt x="11214" y="21841"/>
                    <a:pt x="10124" y="22277"/>
                    <a:pt x="2062" y="15519"/>
                  </a:cubicBezTo>
                  <a:close/>
                </a:path>
              </a:pathLst>
            </a:custGeom>
            <a:grpFill/>
            <a:ln w="218" cap="flat">
              <a:noFill/>
              <a:prstDash val="solid"/>
              <a:miter/>
            </a:ln>
          </p:spPr>
          <p:txBody>
            <a:bodyPr rtlCol="0" anchor="ctr"/>
            <a:lstStyle/>
            <a:p>
              <a:endParaRPr lang="en-GB" dirty="0"/>
            </a:p>
          </p:txBody>
        </p:sp>
        <p:sp>
          <p:nvSpPr>
            <p:cNvPr id="67" name="Freihandform: Form 66">
              <a:extLst>
                <a:ext uri="{FF2B5EF4-FFF2-40B4-BE49-F238E27FC236}">
                  <a16:creationId xmlns:a16="http://schemas.microsoft.com/office/drawing/2014/main" xmlns="" id="{2A7A9936-B621-4BB5-85B7-A2111F6CBA73}"/>
                </a:ext>
              </a:extLst>
            </p:cNvPr>
            <p:cNvSpPr/>
            <p:nvPr/>
          </p:nvSpPr>
          <p:spPr>
            <a:xfrm flipV="1">
              <a:off x="4857821" y="5260860"/>
              <a:ext cx="10123" cy="10073"/>
            </a:xfrm>
            <a:custGeom>
              <a:avLst/>
              <a:gdLst>
                <a:gd name="connsiteX0" fmla="*/ -3700 w 10123"/>
                <a:gd name="connsiteY0" fmla="*/ 7081 h 10073"/>
                <a:gd name="connsiteX1" fmla="*/ -2829 w 10123"/>
                <a:gd name="connsiteY1" fmla="*/ 1195 h 10073"/>
                <a:gd name="connsiteX2" fmla="*/ 5888 w 10123"/>
                <a:gd name="connsiteY2" fmla="*/ 5337 h 10073"/>
                <a:gd name="connsiteX3" fmla="*/ -3700 w 10123"/>
                <a:gd name="connsiteY3" fmla="*/ 7081 h 10073"/>
              </a:gdLst>
              <a:ahLst/>
              <a:cxnLst>
                <a:cxn ang="0">
                  <a:pos x="connsiteX0" y="connsiteY0"/>
                </a:cxn>
                <a:cxn ang="0">
                  <a:pos x="connsiteX1" y="connsiteY1"/>
                </a:cxn>
                <a:cxn ang="0">
                  <a:pos x="connsiteX2" y="connsiteY2"/>
                </a:cxn>
                <a:cxn ang="0">
                  <a:pos x="connsiteX3" y="connsiteY3"/>
                </a:cxn>
              </a:cxnLst>
              <a:rect l="l" t="t" r="r" b="b"/>
              <a:pathLst>
                <a:path w="10123" h="10073">
                  <a:moveTo>
                    <a:pt x="-3700" y="7081"/>
                  </a:moveTo>
                  <a:cubicBezTo>
                    <a:pt x="-4572" y="5119"/>
                    <a:pt x="-4136" y="2503"/>
                    <a:pt x="-2829" y="1195"/>
                  </a:cubicBezTo>
                  <a:cubicBezTo>
                    <a:pt x="440" y="-2075"/>
                    <a:pt x="6759" y="977"/>
                    <a:pt x="5888" y="5337"/>
                  </a:cubicBezTo>
                  <a:cubicBezTo>
                    <a:pt x="5016" y="10351"/>
                    <a:pt x="-1957" y="11659"/>
                    <a:pt x="-3700" y="7081"/>
                  </a:cubicBezTo>
                  <a:close/>
                </a:path>
              </a:pathLst>
            </a:custGeom>
            <a:grpFill/>
            <a:ln w="218" cap="flat">
              <a:noFill/>
              <a:prstDash val="solid"/>
              <a:miter/>
            </a:ln>
          </p:spPr>
          <p:txBody>
            <a:bodyPr rtlCol="0" anchor="ctr"/>
            <a:lstStyle/>
            <a:p>
              <a:endParaRPr lang="en-GB" dirty="0"/>
            </a:p>
          </p:txBody>
        </p:sp>
        <p:sp>
          <p:nvSpPr>
            <p:cNvPr id="68" name="Freihandform: Form 67">
              <a:extLst>
                <a:ext uri="{FF2B5EF4-FFF2-40B4-BE49-F238E27FC236}">
                  <a16:creationId xmlns:a16="http://schemas.microsoft.com/office/drawing/2014/main" xmlns="" id="{68B5374B-8A08-46A0-A3A5-753E507E0D06}"/>
                </a:ext>
              </a:extLst>
            </p:cNvPr>
            <p:cNvSpPr/>
            <p:nvPr/>
          </p:nvSpPr>
          <p:spPr>
            <a:xfrm flipV="1">
              <a:off x="5058313" y="5263217"/>
              <a:ext cx="174844" cy="133674"/>
            </a:xfrm>
            <a:custGeom>
              <a:avLst/>
              <a:gdLst>
                <a:gd name="connsiteX0" fmla="*/ 151136 w 174844"/>
                <a:gd name="connsiteY0" fmla="*/ 129439 h 133674"/>
                <a:gd name="connsiteX1" fmla="*/ 145688 w 174844"/>
                <a:gd name="connsiteY1" fmla="*/ 122681 h 133674"/>
                <a:gd name="connsiteX2" fmla="*/ 140676 w 174844"/>
                <a:gd name="connsiteY2" fmla="*/ 113088 h 133674"/>
                <a:gd name="connsiteX3" fmla="*/ 134793 w 174844"/>
                <a:gd name="connsiteY3" fmla="*/ 105022 h 133674"/>
                <a:gd name="connsiteX4" fmla="*/ 128909 w 174844"/>
                <a:gd name="connsiteY4" fmla="*/ 102406 h 133674"/>
                <a:gd name="connsiteX5" fmla="*/ 129999 w 174844"/>
                <a:gd name="connsiteY5" fmla="*/ 96956 h 133674"/>
                <a:gd name="connsiteX6" fmla="*/ 125640 w 174844"/>
                <a:gd name="connsiteY6" fmla="*/ 94776 h 133674"/>
                <a:gd name="connsiteX7" fmla="*/ 120193 w 174844"/>
                <a:gd name="connsiteY7" fmla="*/ 88235 h 133674"/>
                <a:gd name="connsiteX8" fmla="*/ 111476 w 174844"/>
                <a:gd name="connsiteY8" fmla="*/ 87581 h 133674"/>
                <a:gd name="connsiteX9" fmla="*/ 100581 w 174844"/>
                <a:gd name="connsiteY9" fmla="*/ 99572 h 133674"/>
                <a:gd name="connsiteX10" fmla="*/ 98838 w 174844"/>
                <a:gd name="connsiteY10" fmla="*/ 89761 h 133674"/>
                <a:gd name="connsiteX11" fmla="*/ 104068 w 174844"/>
                <a:gd name="connsiteY11" fmla="*/ 79951 h 133674"/>
                <a:gd name="connsiteX12" fmla="*/ 109515 w 174844"/>
                <a:gd name="connsiteY12" fmla="*/ 68833 h 133674"/>
                <a:gd name="connsiteX13" fmla="*/ 91865 w 174844"/>
                <a:gd name="connsiteY13" fmla="*/ 70577 h 133674"/>
                <a:gd name="connsiteX14" fmla="*/ 93390 w 174844"/>
                <a:gd name="connsiteY14" fmla="*/ 62728 h 133674"/>
                <a:gd name="connsiteX15" fmla="*/ 107772 w 174844"/>
                <a:gd name="connsiteY15" fmla="*/ 53790 h 133674"/>
                <a:gd name="connsiteX16" fmla="*/ 114091 w 174844"/>
                <a:gd name="connsiteY16" fmla="*/ 49648 h 133674"/>
                <a:gd name="connsiteX17" fmla="*/ 103632 w 174844"/>
                <a:gd name="connsiteY17" fmla="*/ 42890 h 133674"/>
                <a:gd name="connsiteX18" fmla="*/ 99709 w 174844"/>
                <a:gd name="connsiteY18" fmla="*/ 37440 h 133674"/>
                <a:gd name="connsiteX19" fmla="*/ 97966 w 174844"/>
                <a:gd name="connsiteY19" fmla="*/ 28719 h 133674"/>
                <a:gd name="connsiteX20" fmla="*/ 90122 w 174844"/>
                <a:gd name="connsiteY20" fmla="*/ 29591 h 133674"/>
                <a:gd name="connsiteX21" fmla="*/ 86853 w 174844"/>
                <a:gd name="connsiteY21" fmla="*/ 35042 h 133674"/>
                <a:gd name="connsiteX22" fmla="*/ 86635 w 174844"/>
                <a:gd name="connsiteY22" fmla="*/ 42890 h 133674"/>
                <a:gd name="connsiteX23" fmla="*/ 91211 w 174844"/>
                <a:gd name="connsiteY23" fmla="*/ 44852 h 133674"/>
                <a:gd name="connsiteX24" fmla="*/ 82059 w 174844"/>
                <a:gd name="connsiteY24" fmla="*/ 61420 h 133674"/>
                <a:gd name="connsiteX25" fmla="*/ 82495 w 174844"/>
                <a:gd name="connsiteY25" fmla="*/ 77771 h 133674"/>
                <a:gd name="connsiteX26" fmla="*/ 87943 w 174844"/>
                <a:gd name="connsiteY26" fmla="*/ 81259 h 133674"/>
                <a:gd name="connsiteX27" fmla="*/ 72471 w 174844"/>
                <a:gd name="connsiteY27" fmla="*/ 92377 h 133674"/>
                <a:gd name="connsiteX28" fmla="*/ 67241 w 174844"/>
                <a:gd name="connsiteY28" fmla="*/ 108728 h 133674"/>
                <a:gd name="connsiteX29" fmla="*/ 58525 w 174844"/>
                <a:gd name="connsiteY29" fmla="*/ 120500 h 133674"/>
                <a:gd name="connsiteX30" fmla="*/ 54603 w 174844"/>
                <a:gd name="connsiteY30" fmla="*/ 113960 h 133674"/>
                <a:gd name="connsiteX31" fmla="*/ 50245 w 174844"/>
                <a:gd name="connsiteY31" fmla="*/ 114396 h 133674"/>
                <a:gd name="connsiteX32" fmla="*/ 44143 w 174844"/>
                <a:gd name="connsiteY32" fmla="*/ 111998 h 133674"/>
                <a:gd name="connsiteX33" fmla="*/ 40657 w 174844"/>
                <a:gd name="connsiteY33" fmla="*/ 103932 h 133674"/>
                <a:gd name="connsiteX34" fmla="*/ 30633 w 174844"/>
                <a:gd name="connsiteY34" fmla="*/ 100880 h 133674"/>
                <a:gd name="connsiteX35" fmla="*/ 30415 w 174844"/>
                <a:gd name="connsiteY35" fmla="*/ 94994 h 133674"/>
                <a:gd name="connsiteX36" fmla="*/ 38042 w 174844"/>
                <a:gd name="connsiteY36" fmla="*/ 94776 h 133674"/>
                <a:gd name="connsiteX37" fmla="*/ 41746 w 174844"/>
                <a:gd name="connsiteY37" fmla="*/ 93250 h 133674"/>
                <a:gd name="connsiteX38" fmla="*/ 43054 w 174844"/>
                <a:gd name="connsiteY38" fmla="*/ 84529 h 133674"/>
                <a:gd name="connsiteX39" fmla="*/ 51770 w 174844"/>
                <a:gd name="connsiteY39" fmla="*/ 79515 h 133674"/>
                <a:gd name="connsiteX40" fmla="*/ 55692 w 174844"/>
                <a:gd name="connsiteY40" fmla="*/ 75809 h 133674"/>
                <a:gd name="connsiteX41" fmla="*/ 59615 w 174844"/>
                <a:gd name="connsiteY41" fmla="*/ 64691 h 133674"/>
                <a:gd name="connsiteX42" fmla="*/ 62883 w 174844"/>
                <a:gd name="connsiteY42" fmla="*/ 69705 h 133674"/>
                <a:gd name="connsiteX43" fmla="*/ 64408 w 174844"/>
                <a:gd name="connsiteY43" fmla="*/ 74501 h 133674"/>
                <a:gd name="connsiteX44" fmla="*/ 66152 w 174844"/>
                <a:gd name="connsiteY44" fmla="*/ 69051 h 133674"/>
                <a:gd name="connsiteX45" fmla="*/ 63319 w 174844"/>
                <a:gd name="connsiteY45" fmla="*/ 55970 h 133674"/>
                <a:gd name="connsiteX46" fmla="*/ 55910 w 174844"/>
                <a:gd name="connsiteY46" fmla="*/ 53572 h 133674"/>
                <a:gd name="connsiteX47" fmla="*/ 45451 w 174844"/>
                <a:gd name="connsiteY47" fmla="*/ 62946 h 133674"/>
                <a:gd name="connsiteX48" fmla="*/ 35209 w 174844"/>
                <a:gd name="connsiteY48" fmla="*/ 72975 h 133674"/>
                <a:gd name="connsiteX49" fmla="*/ 31287 w 174844"/>
                <a:gd name="connsiteY49" fmla="*/ 66653 h 133674"/>
                <a:gd name="connsiteX50" fmla="*/ 22134 w 174844"/>
                <a:gd name="connsiteY50" fmla="*/ 61638 h 133674"/>
                <a:gd name="connsiteX51" fmla="*/ 23006 w 174844"/>
                <a:gd name="connsiteY51" fmla="*/ 55534 h 133674"/>
                <a:gd name="connsiteX52" fmla="*/ 8842 w 174844"/>
                <a:gd name="connsiteY52" fmla="*/ 56406 h 133674"/>
                <a:gd name="connsiteX53" fmla="*/ -5322 w 174844"/>
                <a:gd name="connsiteY53" fmla="*/ 57278 h 133674"/>
                <a:gd name="connsiteX54" fmla="*/ -4886 w 174844"/>
                <a:gd name="connsiteY54" fmla="*/ 48994 h 133674"/>
                <a:gd name="connsiteX55" fmla="*/ 6009 w 174844"/>
                <a:gd name="connsiteY55" fmla="*/ 43980 h 133674"/>
                <a:gd name="connsiteX56" fmla="*/ 13854 w 174844"/>
                <a:gd name="connsiteY56" fmla="*/ 43980 h 133674"/>
                <a:gd name="connsiteX57" fmla="*/ 9278 w 174844"/>
                <a:gd name="connsiteY57" fmla="*/ 36132 h 133674"/>
                <a:gd name="connsiteX58" fmla="*/ 6227 w 174844"/>
                <a:gd name="connsiteY58" fmla="*/ 26103 h 133674"/>
                <a:gd name="connsiteX59" fmla="*/ 4920 w 174844"/>
                <a:gd name="connsiteY59" fmla="*/ 17601 h 133674"/>
                <a:gd name="connsiteX60" fmla="*/ 11239 w 174844"/>
                <a:gd name="connsiteY60" fmla="*/ 13459 h 133674"/>
                <a:gd name="connsiteX61" fmla="*/ 13418 w 174844"/>
                <a:gd name="connsiteY61" fmla="*/ 22179 h 133674"/>
                <a:gd name="connsiteX62" fmla="*/ 16469 w 174844"/>
                <a:gd name="connsiteY62" fmla="*/ 28065 h 133674"/>
                <a:gd name="connsiteX63" fmla="*/ 25839 w 174844"/>
                <a:gd name="connsiteY63" fmla="*/ 40710 h 133674"/>
                <a:gd name="connsiteX64" fmla="*/ 29107 w 174844"/>
                <a:gd name="connsiteY64" fmla="*/ 54880 h 133674"/>
                <a:gd name="connsiteX65" fmla="*/ 31504 w 174844"/>
                <a:gd name="connsiteY65" fmla="*/ 61202 h 133674"/>
                <a:gd name="connsiteX66" fmla="*/ 35645 w 174844"/>
                <a:gd name="connsiteY66" fmla="*/ 54662 h 133674"/>
                <a:gd name="connsiteX67" fmla="*/ 40003 w 174844"/>
                <a:gd name="connsiteY67" fmla="*/ 45288 h 133674"/>
                <a:gd name="connsiteX68" fmla="*/ 45233 w 174844"/>
                <a:gd name="connsiteY68" fmla="*/ 43762 h 133674"/>
                <a:gd name="connsiteX69" fmla="*/ 57435 w 174844"/>
                <a:gd name="connsiteY69" fmla="*/ 33733 h 133674"/>
                <a:gd name="connsiteX70" fmla="*/ 60268 w 174844"/>
                <a:gd name="connsiteY70" fmla="*/ 26103 h 133674"/>
                <a:gd name="connsiteX71" fmla="*/ 62229 w 174844"/>
                <a:gd name="connsiteY71" fmla="*/ 32861 h 133674"/>
                <a:gd name="connsiteX72" fmla="*/ 76611 w 174844"/>
                <a:gd name="connsiteY72" fmla="*/ 50738 h 133674"/>
                <a:gd name="connsiteX73" fmla="*/ 78572 w 174844"/>
                <a:gd name="connsiteY73" fmla="*/ 40056 h 133674"/>
                <a:gd name="connsiteX74" fmla="*/ 73343 w 174844"/>
                <a:gd name="connsiteY74" fmla="*/ 30899 h 133674"/>
                <a:gd name="connsiteX75" fmla="*/ 67023 w 174844"/>
                <a:gd name="connsiteY75" fmla="*/ 20217 h 133674"/>
                <a:gd name="connsiteX76" fmla="*/ 75958 w 174844"/>
                <a:gd name="connsiteY76" fmla="*/ 16729 h 133674"/>
                <a:gd name="connsiteX77" fmla="*/ 84456 w 174844"/>
                <a:gd name="connsiteY77" fmla="*/ 18909 h 133674"/>
                <a:gd name="connsiteX78" fmla="*/ 96223 w 174844"/>
                <a:gd name="connsiteY78" fmla="*/ 8881 h 133674"/>
                <a:gd name="connsiteX79" fmla="*/ 108426 w 174844"/>
                <a:gd name="connsiteY79" fmla="*/ 4520 h 133674"/>
                <a:gd name="connsiteX80" fmla="*/ 106029 w 174844"/>
                <a:gd name="connsiteY80" fmla="*/ 12369 h 133674"/>
                <a:gd name="connsiteX81" fmla="*/ 101017 w 174844"/>
                <a:gd name="connsiteY81" fmla="*/ 20217 h 133674"/>
                <a:gd name="connsiteX82" fmla="*/ 103632 w 174844"/>
                <a:gd name="connsiteY82" fmla="*/ 21525 h 133674"/>
                <a:gd name="connsiteX83" fmla="*/ 114091 w 174844"/>
                <a:gd name="connsiteY83" fmla="*/ 21743 h 133674"/>
                <a:gd name="connsiteX84" fmla="*/ 109733 w 174844"/>
                <a:gd name="connsiteY84" fmla="*/ 28719 h 133674"/>
                <a:gd name="connsiteX85" fmla="*/ 112566 w 174844"/>
                <a:gd name="connsiteY85" fmla="*/ 36786 h 133674"/>
                <a:gd name="connsiteX86" fmla="*/ 120193 w 174844"/>
                <a:gd name="connsiteY86" fmla="*/ 42454 h 133674"/>
                <a:gd name="connsiteX87" fmla="*/ 130217 w 174844"/>
                <a:gd name="connsiteY87" fmla="*/ 43980 h 133674"/>
                <a:gd name="connsiteX88" fmla="*/ 142419 w 174844"/>
                <a:gd name="connsiteY88" fmla="*/ 45942 h 133674"/>
                <a:gd name="connsiteX89" fmla="*/ 134793 w 174844"/>
                <a:gd name="connsiteY89" fmla="*/ 51392 h 133674"/>
                <a:gd name="connsiteX90" fmla="*/ 127166 w 174844"/>
                <a:gd name="connsiteY90" fmla="*/ 56188 h 133674"/>
                <a:gd name="connsiteX91" fmla="*/ 122808 w 174844"/>
                <a:gd name="connsiteY91" fmla="*/ 57060 h 133674"/>
                <a:gd name="connsiteX92" fmla="*/ 118450 w 174844"/>
                <a:gd name="connsiteY92" fmla="*/ 59022 h 133674"/>
                <a:gd name="connsiteX93" fmla="*/ 120847 w 174844"/>
                <a:gd name="connsiteY93" fmla="*/ 62510 h 133674"/>
                <a:gd name="connsiteX94" fmla="*/ 120629 w 174844"/>
                <a:gd name="connsiteY94" fmla="*/ 65781 h 133674"/>
                <a:gd name="connsiteX95" fmla="*/ 123679 w 174844"/>
                <a:gd name="connsiteY95" fmla="*/ 75591 h 133674"/>
                <a:gd name="connsiteX96" fmla="*/ 134575 w 174844"/>
                <a:gd name="connsiteY96" fmla="*/ 84529 h 133674"/>
                <a:gd name="connsiteX97" fmla="*/ 156801 w 174844"/>
                <a:gd name="connsiteY97" fmla="*/ 99572 h 133674"/>
                <a:gd name="connsiteX98" fmla="*/ 157237 w 174844"/>
                <a:gd name="connsiteY98" fmla="*/ 103278 h 133674"/>
                <a:gd name="connsiteX99" fmla="*/ 150918 w 174844"/>
                <a:gd name="connsiteY99" fmla="*/ 105458 h 133674"/>
                <a:gd name="connsiteX100" fmla="*/ 154404 w 174844"/>
                <a:gd name="connsiteY100" fmla="*/ 117012 h 133674"/>
                <a:gd name="connsiteX101" fmla="*/ 164210 w 174844"/>
                <a:gd name="connsiteY101" fmla="*/ 106112 h 133674"/>
                <a:gd name="connsiteX102" fmla="*/ 167697 w 174844"/>
                <a:gd name="connsiteY102" fmla="*/ 106112 h 133674"/>
                <a:gd name="connsiteX103" fmla="*/ 165300 w 174844"/>
                <a:gd name="connsiteY103" fmla="*/ 114396 h 133674"/>
                <a:gd name="connsiteX104" fmla="*/ 161813 w 174844"/>
                <a:gd name="connsiteY104" fmla="*/ 122027 h 133674"/>
                <a:gd name="connsiteX105" fmla="*/ 160506 w 174844"/>
                <a:gd name="connsiteY105" fmla="*/ 130965 h 133674"/>
                <a:gd name="connsiteX106" fmla="*/ 153968 w 174844"/>
                <a:gd name="connsiteY106" fmla="*/ 133581 h 133674"/>
                <a:gd name="connsiteX107" fmla="*/ 151136 w 174844"/>
                <a:gd name="connsiteY107" fmla="*/ 129439 h 133674"/>
                <a:gd name="connsiteX108" fmla="*/ 58525 w 174844"/>
                <a:gd name="connsiteY108" fmla="*/ 101534 h 133674"/>
                <a:gd name="connsiteX109" fmla="*/ 61140 w 174844"/>
                <a:gd name="connsiteY109" fmla="*/ 92813 h 133674"/>
                <a:gd name="connsiteX110" fmla="*/ 54603 w 174844"/>
                <a:gd name="connsiteY110" fmla="*/ 91505 h 133674"/>
                <a:gd name="connsiteX111" fmla="*/ 51988 w 174844"/>
                <a:gd name="connsiteY111" fmla="*/ 100226 h 133674"/>
                <a:gd name="connsiteX112" fmla="*/ 53731 w 174844"/>
                <a:gd name="connsiteY112" fmla="*/ 103932 h 133674"/>
                <a:gd name="connsiteX113" fmla="*/ 58525 w 174844"/>
                <a:gd name="connsiteY113" fmla="*/ 101534 h 133674"/>
                <a:gd name="connsiteX114" fmla="*/ 66152 w 174844"/>
                <a:gd name="connsiteY114" fmla="*/ 79079 h 133674"/>
                <a:gd name="connsiteX115" fmla="*/ 63973 w 174844"/>
                <a:gd name="connsiteY115" fmla="*/ 76681 h 133674"/>
                <a:gd name="connsiteX116" fmla="*/ 61794 w 174844"/>
                <a:gd name="connsiteY116" fmla="*/ 77553 h 133674"/>
                <a:gd name="connsiteX117" fmla="*/ 63973 w 174844"/>
                <a:gd name="connsiteY117" fmla="*/ 79951 h 133674"/>
                <a:gd name="connsiteX118" fmla="*/ 66152 w 174844"/>
                <a:gd name="connsiteY118" fmla="*/ 79079 h 133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174844" h="133674">
                  <a:moveTo>
                    <a:pt x="151136" y="129439"/>
                  </a:moveTo>
                  <a:cubicBezTo>
                    <a:pt x="151136" y="125515"/>
                    <a:pt x="149610" y="123553"/>
                    <a:pt x="145688" y="122681"/>
                  </a:cubicBezTo>
                  <a:cubicBezTo>
                    <a:pt x="140676" y="121372"/>
                    <a:pt x="140240" y="120282"/>
                    <a:pt x="140676" y="113088"/>
                  </a:cubicBezTo>
                  <a:cubicBezTo>
                    <a:pt x="141330" y="105458"/>
                    <a:pt x="140894" y="105022"/>
                    <a:pt x="134793" y="105022"/>
                  </a:cubicBezTo>
                  <a:cubicBezTo>
                    <a:pt x="130652" y="105022"/>
                    <a:pt x="128473" y="103932"/>
                    <a:pt x="128909" y="102406"/>
                  </a:cubicBezTo>
                  <a:cubicBezTo>
                    <a:pt x="129127" y="100880"/>
                    <a:pt x="129563" y="98264"/>
                    <a:pt x="129999" y="96956"/>
                  </a:cubicBezTo>
                  <a:cubicBezTo>
                    <a:pt x="130217" y="95212"/>
                    <a:pt x="128473" y="94340"/>
                    <a:pt x="125640" y="94776"/>
                  </a:cubicBezTo>
                  <a:cubicBezTo>
                    <a:pt x="121718" y="95430"/>
                    <a:pt x="120847" y="94122"/>
                    <a:pt x="120193" y="88235"/>
                  </a:cubicBezTo>
                  <a:cubicBezTo>
                    <a:pt x="119321" y="79079"/>
                    <a:pt x="113873" y="78643"/>
                    <a:pt x="111476" y="87581"/>
                  </a:cubicBezTo>
                  <a:cubicBezTo>
                    <a:pt x="109951" y="93686"/>
                    <a:pt x="104503" y="99572"/>
                    <a:pt x="100581" y="99572"/>
                  </a:cubicBezTo>
                  <a:cubicBezTo>
                    <a:pt x="99709" y="99572"/>
                    <a:pt x="98838" y="95212"/>
                    <a:pt x="98838" y="89761"/>
                  </a:cubicBezTo>
                  <a:cubicBezTo>
                    <a:pt x="98838" y="80823"/>
                    <a:pt x="99274" y="79951"/>
                    <a:pt x="104068" y="79951"/>
                  </a:cubicBezTo>
                  <a:cubicBezTo>
                    <a:pt x="110387" y="79951"/>
                    <a:pt x="114309" y="71885"/>
                    <a:pt x="109515" y="68833"/>
                  </a:cubicBezTo>
                  <a:cubicBezTo>
                    <a:pt x="104721" y="65781"/>
                    <a:pt x="96223" y="66653"/>
                    <a:pt x="91865" y="70577"/>
                  </a:cubicBezTo>
                  <a:cubicBezTo>
                    <a:pt x="84238" y="77335"/>
                    <a:pt x="85546" y="71667"/>
                    <a:pt x="93390" y="62728"/>
                  </a:cubicBezTo>
                  <a:cubicBezTo>
                    <a:pt x="99274" y="56188"/>
                    <a:pt x="103196" y="53790"/>
                    <a:pt x="107772" y="53790"/>
                  </a:cubicBezTo>
                  <a:cubicBezTo>
                    <a:pt x="112566" y="53790"/>
                    <a:pt x="114091" y="52700"/>
                    <a:pt x="114091" y="49648"/>
                  </a:cubicBezTo>
                  <a:cubicBezTo>
                    <a:pt x="114091" y="45506"/>
                    <a:pt x="110169" y="42890"/>
                    <a:pt x="103632" y="42890"/>
                  </a:cubicBezTo>
                  <a:cubicBezTo>
                    <a:pt x="101235" y="42890"/>
                    <a:pt x="99709" y="40928"/>
                    <a:pt x="99709" y="37440"/>
                  </a:cubicBezTo>
                  <a:cubicBezTo>
                    <a:pt x="99492" y="34387"/>
                    <a:pt x="98838" y="30463"/>
                    <a:pt x="97966" y="28719"/>
                  </a:cubicBezTo>
                  <a:cubicBezTo>
                    <a:pt x="96223" y="23923"/>
                    <a:pt x="90122" y="24795"/>
                    <a:pt x="90122" y="29591"/>
                  </a:cubicBezTo>
                  <a:cubicBezTo>
                    <a:pt x="90122" y="31771"/>
                    <a:pt x="88596" y="34169"/>
                    <a:pt x="86853" y="35042"/>
                  </a:cubicBezTo>
                  <a:cubicBezTo>
                    <a:pt x="82713" y="36568"/>
                    <a:pt x="82495" y="42890"/>
                    <a:pt x="86635" y="42890"/>
                  </a:cubicBezTo>
                  <a:cubicBezTo>
                    <a:pt x="88378" y="42890"/>
                    <a:pt x="90339" y="43762"/>
                    <a:pt x="91211" y="44852"/>
                  </a:cubicBezTo>
                  <a:cubicBezTo>
                    <a:pt x="92954" y="48122"/>
                    <a:pt x="87725" y="57714"/>
                    <a:pt x="82059" y="61420"/>
                  </a:cubicBezTo>
                  <a:cubicBezTo>
                    <a:pt x="75086" y="65999"/>
                    <a:pt x="75304" y="74937"/>
                    <a:pt x="82495" y="77771"/>
                  </a:cubicBezTo>
                  <a:cubicBezTo>
                    <a:pt x="85546" y="78861"/>
                    <a:pt x="87943" y="80387"/>
                    <a:pt x="87943" y="81259"/>
                  </a:cubicBezTo>
                  <a:cubicBezTo>
                    <a:pt x="87943" y="84965"/>
                    <a:pt x="76176" y="93250"/>
                    <a:pt x="72471" y="92377"/>
                  </a:cubicBezTo>
                  <a:cubicBezTo>
                    <a:pt x="67895" y="91069"/>
                    <a:pt x="67677" y="91941"/>
                    <a:pt x="67241" y="108728"/>
                  </a:cubicBezTo>
                  <a:cubicBezTo>
                    <a:pt x="67023" y="121372"/>
                    <a:pt x="63101" y="126605"/>
                    <a:pt x="58525" y="120500"/>
                  </a:cubicBezTo>
                  <a:cubicBezTo>
                    <a:pt x="56782" y="118320"/>
                    <a:pt x="55038" y="115268"/>
                    <a:pt x="54603" y="113960"/>
                  </a:cubicBezTo>
                  <a:cubicBezTo>
                    <a:pt x="53949" y="112216"/>
                    <a:pt x="52641" y="112434"/>
                    <a:pt x="50245" y="114396"/>
                  </a:cubicBezTo>
                  <a:cubicBezTo>
                    <a:pt x="46104" y="117884"/>
                    <a:pt x="40439" y="115704"/>
                    <a:pt x="44143" y="111998"/>
                  </a:cubicBezTo>
                  <a:cubicBezTo>
                    <a:pt x="48501" y="107638"/>
                    <a:pt x="46758" y="103932"/>
                    <a:pt x="40657" y="103932"/>
                  </a:cubicBezTo>
                  <a:cubicBezTo>
                    <a:pt x="37170" y="103932"/>
                    <a:pt x="32812" y="102406"/>
                    <a:pt x="30633" y="100880"/>
                  </a:cubicBezTo>
                  <a:cubicBezTo>
                    <a:pt x="27146" y="98264"/>
                    <a:pt x="27146" y="97610"/>
                    <a:pt x="30415" y="94994"/>
                  </a:cubicBezTo>
                  <a:cubicBezTo>
                    <a:pt x="33030" y="92813"/>
                    <a:pt x="34773" y="92813"/>
                    <a:pt x="38042" y="94776"/>
                  </a:cubicBezTo>
                  <a:cubicBezTo>
                    <a:pt x="43925" y="98482"/>
                    <a:pt x="44797" y="98046"/>
                    <a:pt x="41746" y="93250"/>
                  </a:cubicBezTo>
                  <a:cubicBezTo>
                    <a:pt x="39567" y="89761"/>
                    <a:pt x="39785" y="88235"/>
                    <a:pt x="43054" y="84529"/>
                  </a:cubicBezTo>
                  <a:cubicBezTo>
                    <a:pt x="45233" y="82131"/>
                    <a:pt x="49155" y="79951"/>
                    <a:pt x="51770" y="79515"/>
                  </a:cubicBezTo>
                  <a:cubicBezTo>
                    <a:pt x="54167" y="79079"/>
                    <a:pt x="56128" y="77553"/>
                    <a:pt x="55692" y="75809"/>
                  </a:cubicBezTo>
                  <a:cubicBezTo>
                    <a:pt x="54821" y="71885"/>
                    <a:pt x="57218" y="64691"/>
                    <a:pt x="59615" y="64691"/>
                  </a:cubicBezTo>
                  <a:cubicBezTo>
                    <a:pt x="60486" y="64691"/>
                    <a:pt x="62012" y="66871"/>
                    <a:pt x="62883" y="69705"/>
                  </a:cubicBezTo>
                  <a:lnTo>
                    <a:pt x="64408" y="74501"/>
                  </a:lnTo>
                  <a:lnTo>
                    <a:pt x="66152" y="69051"/>
                  </a:lnTo>
                  <a:cubicBezTo>
                    <a:pt x="69420" y="59022"/>
                    <a:pt x="68767" y="55970"/>
                    <a:pt x="63319" y="55970"/>
                  </a:cubicBezTo>
                  <a:cubicBezTo>
                    <a:pt x="60486" y="55970"/>
                    <a:pt x="57218" y="54880"/>
                    <a:pt x="55910" y="53572"/>
                  </a:cubicBezTo>
                  <a:cubicBezTo>
                    <a:pt x="51552" y="49212"/>
                    <a:pt x="46976" y="53136"/>
                    <a:pt x="45451" y="62946"/>
                  </a:cubicBezTo>
                  <a:cubicBezTo>
                    <a:pt x="42618" y="79951"/>
                    <a:pt x="36516" y="85837"/>
                    <a:pt x="35209" y="72975"/>
                  </a:cubicBezTo>
                  <a:cubicBezTo>
                    <a:pt x="34773" y="67961"/>
                    <a:pt x="33684" y="65999"/>
                    <a:pt x="31287" y="66653"/>
                  </a:cubicBezTo>
                  <a:cubicBezTo>
                    <a:pt x="22788" y="68615"/>
                    <a:pt x="21481" y="67961"/>
                    <a:pt x="22134" y="61638"/>
                  </a:cubicBezTo>
                  <a:lnTo>
                    <a:pt x="23006" y="55534"/>
                  </a:lnTo>
                  <a:lnTo>
                    <a:pt x="8842" y="56406"/>
                  </a:lnTo>
                  <a:lnTo>
                    <a:pt x="-5322" y="57278"/>
                  </a:lnTo>
                  <a:lnTo>
                    <a:pt x="-4886" y="48994"/>
                  </a:lnTo>
                  <a:cubicBezTo>
                    <a:pt x="-4668" y="39838"/>
                    <a:pt x="-3143" y="39184"/>
                    <a:pt x="6009" y="43980"/>
                  </a:cubicBezTo>
                  <a:cubicBezTo>
                    <a:pt x="13636" y="47904"/>
                    <a:pt x="13854" y="47904"/>
                    <a:pt x="13854" y="43980"/>
                  </a:cubicBezTo>
                  <a:cubicBezTo>
                    <a:pt x="13854" y="42236"/>
                    <a:pt x="11893" y="38748"/>
                    <a:pt x="9278" y="36132"/>
                  </a:cubicBezTo>
                  <a:cubicBezTo>
                    <a:pt x="6009" y="32861"/>
                    <a:pt x="5138" y="30027"/>
                    <a:pt x="6227" y="26103"/>
                  </a:cubicBezTo>
                  <a:cubicBezTo>
                    <a:pt x="6881" y="23051"/>
                    <a:pt x="6445" y="19345"/>
                    <a:pt x="4920" y="17601"/>
                  </a:cubicBezTo>
                  <a:cubicBezTo>
                    <a:pt x="780" y="12587"/>
                    <a:pt x="5573" y="9535"/>
                    <a:pt x="11239" y="13459"/>
                  </a:cubicBezTo>
                  <a:cubicBezTo>
                    <a:pt x="15161" y="16293"/>
                    <a:pt x="15597" y="17601"/>
                    <a:pt x="13418" y="22179"/>
                  </a:cubicBezTo>
                  <a:cubicBezTo>
                    <a:pt x="10585" y="28283"/>
                    <a:pt x="12547" y="31989"/>
                    <a:pt x="16469" y="28065"/>
                  </a:cubicBezTo>
                  <a:cubicBezTo>
                    <a:pt x="21699" y="22833"/>
                    <a:pt x="24531" y="26757"/>
                    <a:pt x="25839" y="40710"/>
                  </a:cubicBezTo>
                  <a:cubicBezTo>
                    <a:pt x="26275" y="45070"/>
                    <a:pt x="27800" y="51392"/>
                    <a:pt x="29107" y="54880"/>
                  </a:cubicBezTo>
                  <a:lnTo>
                    <a:pt x="31504" y="61202"/>
                  </a:lnTo>
                  <a:lnTo>
                    <a:pt x="35645" y="54662"/>
                  </a:lnTo>
                  <a:cubicBezTo>
                    <a:pt x="38042" y="51174"/>
                    <a:pt x="40003" y="47032"/>
                    <a:pt x="40003" y="45288"/>
                  </a:cubicBezTo>
                  <a:cubicBezTo>
                    <a:pt x="40003" y="43326"/>
                    <a:pt x="41746" y="42890"/>
                    <a:pt x="45233" y="43762"/>
                  </a:cubicBezTo>
                  <a:cubicBezTo>
                    <a:pt x="54167" y="45942"/>
                    <a:pt x="57435" y="43326"/>
                    <a:pt x="57435" y="33733"/>
                  </a:cubicBezTo>
                  <a:cubicBezTo>
                    <a:pt x="57435" y="27847"/>
                    <a:pt x="58307" y="25449"/>
                    <a:pt x="60268" y="26103"/>
                  </a:cubicBezTo>
                  <a:cubicBezTo>
                    <a:pt x="61576" y="26539"/>
                    <a:pt x="62665" y="29591"/>
                    <a:pt x="62229" y="32861"/>
                  </a:cubicBezTo>
                  <a:cubicBezTo>
                    <a:pt x="61576" y="39402"/>
                    <a:pt x="72689" y="53136"/>
                    <a:pt x="76611" y="50738"/>
                  </a:cubicBezTo>
                  <a:cubicBezTo>
                    <a:pt x="77919" y="50084"/>
                    <a:pt x="78790" y="45288"/>
                    <a:pt x="78572" y="40056"/>
                  </a:cubicBezTo>
                  <a:cubicBezTo>
                    <a:pt x="78137" y="32207"/>
                    <a:pt x="77483" y="30899"/>
                    <a:pt x="73343" y="30899"/>
                  </a:cubicBezTo>
                  <a:cubicBezTo>
                    <a:pt x="65280" y="30681"/>
                    <a:pt x="62665" y="26539"/>
                    <a:pt x="67023" y="20217"/>
                  </a:cubicBezTo>
                  <a:cubicBezTo>
                    <a:pt x="70728" y="14331"/>
                    <a:pt x="73779" y="13241"/>
                    <a:pt x="75958" y="16729"/>
                  </a:cubicBezTo>
                  <a:cubicBezTo>
                    <a:pt x="76611" y="18037"/>
                    <a:pt x="80534" y="18909"/>
                    <a:pt x="84456" y="18909"/>
                  </a:cubicBezTo>
                  <a:cubicBezTo>
                    <a:pt x="90557" y="18909"/>
                    <a:pt x="92083" y="17819"/>
                    <a:pt x="96223" y="8881"/>
                  </a:cubicBezTo>
                  <a:cubicBezTo>
                    <a:pt x="101235" y="-1148"/>
                    <a:pt x="104286" y="-2456"/>
                    <a:pt x="108426" y="4520"/>
                  </a:cubicBezTo>
                  <a:cubicBezTo>
                    <a:pt x="110387" y="7573"/>
                    <a:pt x="109733" y="9099"/>
                    <a:pt x="106029" y="12369"/>
                  </a:cubicBezTo>
                  <a:cubicBezTo>
                    <a:pt x="103196" y="14549"/>
                    <a:pt x="101017" y="18037"/>
                    <a:pt x="101017" y="20217"/>
                  </a:cubicBezTo>
                  <a:cubicBezTo>
                    <a:pt x="101017" y="23269"/>
                    <a:pt x="101671" y="23487"/>
                    <a:pt x="103632" y="21525"/>
                  </a:cubicBezTo>
                  <a:cubicBezTo>
                    <a:pt x="107118" y="18037"/>
                    <a:pt x="114091" y="18255"/>
                    <a:pt x="114091" y="21743"/>
                  </a:cubicBezTo>
                  <a:cubicBezTo>
                    <a:pt x="114091" y="23487"/>
                    <a:pt x="112130" y="26539"/>
                    <a:pt x="109733" y="28719"/>
                  </a:cubicBezTo>
                  <a:cubicBezTo>
                    <a:pt x="103632" y="34169"/>
                    <a:pt x="104286" y="35914"/>
                    <a:pt x="112566" y="36786"/>
                  </a:cubicBezTo>
                  <a:cubicBezTo>
                    <a:pt x="117796" y="37222"/>
                    <a:pt x="119757" y="38530"/>
                    <a:pt x="120193" y="42454"/>
                  </a:cubicBezTo>
                  <a:cubicBezTo>
                    <a:pt x="121064" y="47904"/>
                    <a:pt x="126512" y="48776"/>
                    <a:pt x="130217" y="43980"/>
                  </a:cubicBezTo>
                  <a:cubicBezTo>
                    <a:pt x="133049" y="40274"/>
                    <a:pt x="142419" y="41800"/>
                    <a:pt x="142419" y="45942"/>
                  </a:cubicBezTo>
                  <a:cubicBezTo>
                    <a:pt x="142419" y="47468"/>
                    <a:pt x="138933" y="49866"/>
                    <a:pt x="134793" y="51392"/>
                  </a:cubicBezTo>
                  <a:cubicBezTo>
                    <a:pt x="130652" y="52918"/>
                    <a:pt x="127166" y="55098"/>
                    <a:pt x="127166" y="56188"/>
                  </a:cubicBezTo>
                  <a:cubicBezTo>
                    <a:pt x="127166" y="57496"/>
                    <a:pt x="125205" y="57714"/>
                    <a:pt x="122808" y="57060"/>
                  </a:cubicBezTo>
                  <a:cubicBezTo>
                    <a:pt x="119757" y="55970"/>
                    <a:pt x="118450" y="56624"/>
                    <a:pt x="118450" y="59022"/>
                  </a:cubicBezTo>
                  <a:cubicBezTo>
                    <a:pt x="118450" y="60984"/>
                    <a:pt x="119539" y="62510"/>
                    <a:pt x="120847" y="62510"/>
                  </a:cubicBezTo>
                  <a:cubicBezTo>
                    <a:pt x="122590" y="62510"/>
                    <a:pt x="122590" y="63600"/>
                    <a:pt x="120629" y="65781"/>
                  </a:cubicBezTo>
                  <a:cubicBezTo>
                    <a:pt x="117360" y="69705"/>
                    <a:pt x="119321" y="75591"/>
                    <a:pt x="123679" y="75591"/>
                  </a:cubicBezTo>
                  <a:cubicBezTo>
                    <a:pt x="125423" y="75591"/>
                    <a:pt x="130217" y="79733"/>
                    <a:pt x="134575" y="84529"/>
                  </a:cubicBezTo>
                  <a:cubicBezTo>
                    <a:pt x="142201" y="93468"/>
                    <a:pt x="151136" y="99572"/>
                    <a:pt x="156801" y="99572"/>
                  </a:cubicBezTo>
                  <a:cubicBezTo>
                    <a:pt x="161595" y="99572"/>
                    <a:pt x="162031" y="103060"/>
                    <a:pt x="157237" y="103278"/>
                  </a:cubicBezTo>
                  <a:cubicBezTo>
                    <a:pt x="154622" y="103496"/>
                    <a:pt x="151789" y="104586"/>
                    <a:pt x="150918" y="105458"/>
                  </a:cubicBezTo>
                  <a:cubicBezTo>
                    <a:pt x="148303" y="108074"/>
                    <a:pt x="151136" y="117012"/>
                    <a:pt x="154404" y="117012"/>
                  </a:cubicBezTo>
                  <a:cubicBezTo>
                    <a:pt x="157673" y="117012"/>
                    <a:pt x="164210" y="110036"/>
                    <a:pt x="164210" y="106112"/>
                  </a:cubicBezTo>
                  <a:cubicBezTo>
                    <a:pt x="164210" y="103932"/>
                    <a:pt x="164864" y="103932"/>
                    <a:pt x="167697" y="106112"/>
                  </a:cubicBezTo>
                  <a:cubicBezTo>
                    <a:pt x="170529" y="108728"/>
                    <a:pt x="170312" y="109600"/>
                    <a:pt x="165300" y="114396"/>
                  </a:cubicBezTo>
                  <a:cubicBezTo>
                    <a:pt x="161159" y="118102"/>
                    <a:pt x="160070" y="120282"/>
                    <a:pt x="161813" y="122027"/>
                  </a:cubicBezTo>
                  <a:cubicBezTo>
                    <a:pt x="165300" y="125515"/>
                    <a:pt x="164646" y="129439"/>
                    <a:pt x="160506" y="130965"/>
                  </a:cubicBezTo>
                  <a:cubicBezTo>
                    <a:pt x="158327" y="131619"/>
                    <a:pt x="155276" y="132927"/>
                    <a:pt x="153968" y="133581"/>
                  </a:cubicBezTo>
                  <a:cubicBezTo>
                    <a:pt x="152007" y="134453"/>
                    <a:pt x="151136" y="132927"/>
                    <a:pt x="151136" y="129439"/>
                  </a:cubicBezTo>
                  <a:close/>
                  <a:moveTo>
                    <a:pt x="58525" y="101534"/>
                  </a:moveTo>
                  <a:cubicBezTo>
                    <a:pt x="59397" y="100444"/>
                    <a:pt x="60486" y="96520"/>
                    <a:pt x="61140" y="92813"/>
                  </a:cubicBezTo>
                  <a:cubicBezTo>
                    <a:pt x="62229" y="85183"/>
                    <a:pt x="56346" y="83657"/>
                    <a:pt x="54603" y="91505"/>
                  </a:cubicBezTo>
                  <a:cubicBezTo>
                    <a:pt x="54167" y="94122"/>
                    <a:pt x="52859" y="98046"/>
                    <a:pt x="51988" y="100226"/>
                  </a:cubicBezTo>
                  <a:cubicBezTo>
                    <a:pt x="50898" y="102842"/>
                    <a:pt x="51334" y="103932"/>
                    <a:pt x="53731" y="103932"/>
                  </a:cubicBezTo>
                  <a:cubicBezTo>
                    <a:pt x="55692" y="103932"/>
                    <a:pt x="57871" y="102842"/>
                    <a:pt x="58525" y="101534"/>
                  </a:cubicBezTo>
                  <a:close/>
                  <a:moveTo>
                    <a:pt x="66152" y="79079"/>
                  </a:moveTo>
                  <a:cubicBezTo>
                    <a:pt x="66152" y="78425"/>
                    <a:pt x="65280" y="77335"/>
                    <a:pt x="63973" y="76681"/>
                  </a:cubicBezTo>
                  <a:cubicBezTo>
                    <a:pt x="62883" y="76027"/>
                    <a:pt x="61794" y="76463"/>
                    <a:pt x="61794" y="77553"/>
                  </a:cubicBezTo>
                  <a:cubicBezTo>
                    <a:pt x="61794" y="78861"/>
                    <a:pt x="62883" y="79951"/>
                    <a:pt x="63973" y="79951"/>
                  </a:cubicBezTo>
                  <a:cubicBezTo>
                    <a:pt x="65280" y="79951"/>
                    <a:pt x="66152" y="79515"/>
                    <a:pt x="66152" y="79079"/>
                  </a:cubicBezTo>
                  <a:close/>
                </a:path>
              </a:pathLst>
            </a:custGeom>
            <a:grpFill/>
            <a:ln w="218" cap="flat">
              <a:noFill/>
              <a:prstDash val="solid"/>
              <a:miter/>
            </a:ln>
          </p:spPr>
          <p:txBody>
            <a:bodyPr rtlCol="0" anchor="ctr"/>
            <a:lstStyle/>
            <a:p>
              <a:endParaRPr lang="en-GB" dirty="0"/>
            </a:p>
          </p:txBody>
        </p:sp>
        <p:sp>
          <p:nvSpPr>
            <p:cNvPr id="69" name="Freihandform: Form 68">
              <a:extLst>
                <a:ext uri="{FF2B5EF4-FFF2-40B4-BE49-F238E27FC236}">
                  <a16:creationId xmlns:a16="http://schemas.microsoft.com/office/drawing/2014/main" xmlns="" id="{69A2A0A9-4A48-4AF9-9CDF-D723D00F9EDA}"/>
                </a:ext>
              </a:extLst>
            </p:cNvPr>
            <p:cNvSpPr/>
            <p:nvPr/>
          </p:nvSpPr>
          <p:spPr>
            <a:xfrm flipV="1">
              <a:off x="4781135" y="5266946"/>
              <a:ext cx="5664" cy="4360"/>
            </a:xfrm>
            <a:custGeom>
              <a:avLst/>
              <a:gdLst>
                <a:gd name="connsiteX0" fmla="*/ -3828 w 5664"/>
                <a:gd name="connsiteY0" fmla="*/ 2019 h 4360"/>
                <a:gd name="connsiteX1" fmla="*/ -341 w 5664"/>
                <a:gd name="connsiteY1" fmla="*/ -161 h 4360"/>
                <a:gd name="connsiteX2" fmla="*/ 1620 w 5664"/>
                <a:gd name="connsiteY2" fmla="*/ 2019 h 4360"/>
                <a:gd name="connsiteX3" fmla="*/ -1867 w 5664"/>
                <a:gd name="connsiteY3" fmla="*/ 4199 h 4360"/>
                <a:gd name="connsiteX4" fmla="*/ -3828 w 5664"/>
                <a:gd name="connsiteY4" fmla="*/ 2019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 h="4360">
                  <a:moveTo>
                    <a:pt x="-3828" y="2019"/>
                  </a:moveTo>
                  <a:cubicBezTo>
                    <a:pt x="-3828" y="929"/>
                    <a:pt x="-2302" y="-161"/>
                    <a:pt x="-341" y="-161"/>
                  </a:cubicBezTo>
                  <a:cubicBezTo>
                    <a:pt x="1402" y="-161"/>
                    <a:pt x="2274" y="929"/>
                    <a:pt x="1620" y="2019"/>
                  </a:cubicBezTo>
                  <a:cubicBezTo>
                    <a:pt x="966" y="3327"/>
                    <a:pt x="-559" y="4199"/>
                    <a:pt x="-1867" y="4199"/>
                  </a:cubicBezTo>
                  <a:cubicBezTo>
                    <a:pt x="-2956" y="4199"/>
                    <a:pt x="-3828" y="3327"/>
                    <a:pt x="-3828" y="2019"/>
                  </a:cubicBezTo>
                  <a:close/>
                </a:path>
              </a:pathLst>
            </a:custGeom>
            <a:grpFill/>
            <a:ln w="218" cap="flat">
              <a:noFill/>
              <a:prstDash val="solid"/>
              <a:miter/>
            </a:ln>
          </p:spPr>
          <p:txBody>
            <a:bodyPr rtlCol="0" anchor="ctr"/>
            <a:lstStyle/>
            <a:p>
              <a:endParaRPr lang="en-GB" dirty="0"/>
            </a:p>
          </p:txBody>
        </p:sp>
        <p:sp>
          <p:nvSpPr>
            <p:cNvPr id="70" name="Freihandform: Form 69">
              <a:extLst>
                <a:ext uri="{FF2B5EF4-FFF2-40B4-BE49-F238E27FC236}">
                  <a16:creationId xmlns:a16="http://schemas.microsoft.com/office/drawing/2014/main" xmlns="" id="{BD261C57-5AE6-420C-8E9D-9B7779380860}"/>
                </a:ext>
              </a:extLst>
            </p:cNvPr>
            <p:cNvSpPr/>
            <p:nvPr/>
          </p:nvSpPr>
          <p:spPr>
            <a:xfrm flipV="1">
              <a:off x="4980180" y="5268181"/>
              <a:ext cx="8864" cy="9664"/>
            </a:xfrm>
            <a:custGeom>
              <a:avLst/>
              <a:gdLst>
                <a:gd name="connsiteX0" fmla="*/ -3227 w 8864"/>
                <a:gd name="connsiteY0" fmla="*/ 7707 h 9664"/>
                <a:gd name="connsiteX1" fmla="*/ 42 w 8864"/>
                <a:gd name="connsiteY1" fmla="*/ -141 h 9664"/>
                <a:gd name="connsiteX2" fmla="*/ 2439 w 8864"/>
                <a:gd name="connsiteY2" fmla="*/ 8361 h 9664"/>
                <a:gd name="connsiteX3" fmla="*/ -3227 w 8864"/>
                <a:gd name="connsiteY3" fmla="*/ 7707 h 9664"/>
              </a:gdLst>
              <a:ahLst/>
              <a:cxnLst>
                <a:cxn ang="0">
                  <a:pos x="connsiteX0" y="connsiteY0"/>
                </a:cxn>
                <a:cxn ang="0">
                  <a:pos x="connsiteX1" y="connsiteY1"/>
                </a:cxn>
                <a:cxn ang="0">
                  <a:pos x="connsiteX2" y="connsiteY2"/>
                </a:cxn>
                <a:cxn ang="0">
                  <a:pos x="connsiteX3" y="connsiteY3"/>
                </a:cxn>
              </a:cxnLst>
              <a:rect l="l" t="t" r="r" b="b"/>
              <a:pathLst>
                <a:path w="8864" h="9664">
                  <a:moveTo>
                    <a:pt x="-3227" y="7707"/>
                  </a:moveTo>
                  <a:cubicBezTo>
                    <a:pt x="-6060" y="4001"/>
                    <a:pt x="-4534" y="-141"/>
                    <a:pt x="42" y="-141"/>
                  </a:cubicBezTo>
                  <a:cubicBezTo>
                    <a:pt x="4182" y="-141"/>
                    <a:pt x="5707" y="5745"/>
                    <a:pt x="2439" y="8361"/>
                  </a:cubicBezTo>
                  <a:cubicBezTo>
                    <a:pt x="260" y="10105"/>
                    <a:pt x="-1266" y="9887"/>
                    <a:pt x="-3227" y="7707"/>
                  </a:cubicBezTo>
                  <a:close/>
                </a:path>
              </a:pathLst>
            </a:custGeom>
            <a:grpFill/>
            <a:ln w="218" cap="flat">
              <a:noFill/>
              <a:prstDash val="solid"/>
              <a:miter/>
            </a:ln>
          </p:spPr>
          <p:txBody>
            <a:bodyPr rtlCol="0" anchor="ctr"/>
            <a:lstStyle/>
            <a:p>
              <a:endParaRPr lang="en-GB" dirty="0"/>
            </a:p>
          </p:txBody>
        </p:sp>
        <p:sp>
          <p:nvSpPr>
            <p:cNvPr id="71" name="Freihandform: Form 70">
              <a:extLst>
                <a:ext uri="{FF2B5EF4-FFF2-40B4-BE49-F238E27FC236}">
                  <a16:creationId xmlns:a16="http://schemas.microsoft.com/office/drawing/2014/main" xmlns="" id="{E799607E-A373-42E0-9E4A-35FE3F1EB1AB}"/>
                </a:ext>
              </a:extLst>
            </p:cNvPr>
            <p:cNvSpPr/>
            <p:nvPr/>
          </p:nvSpPr>
          <p:spPr>
            <a:xfrm flipV="1">
              <a:off x="4789851" y="5269126"/>
              <a:ext cx="12817" cy="14576"/>
            </a:xfrm>
            <a:custGeom>
              <a:avLst/>
              <a:gdLst>
                <a:gd name="connsiteX0" fmla="*/ -3878 w 12817"/>
                <a:gd name="connsiteY0" fmla="*/ 12490 h 14576"/>
                <a:gd name="connsiteX1" fmla="*/ 8542 w 12817"/>
                <a:gd name="connsiteY1" fmla="*/ 63 h 14576"/>
                <a:gd name="connsiteX2" fmla="*/ 7453 w 12817"/>
                <a:gd name="connsiteY2" fmla="*/ 3988 h 14576"/>
                <a:gd name="connsiteX3" fmla="*/ 4838 w 12817"/>
                <a:gd name="connsiteY3" fmla="*/ 10528 h 14576"/>
                <a:gd name="connsiteX4" fmla="*/ 480 w 12817"/>
                <a:gd name="connsiteY4" fmla="*/ 14452 h 14576"/>
                <a:gd name="connsiteX5" fmla="*/ -3878 w 12817"/>
                <a:gd name="connsiteY5" fmla="*/ 12490 h 14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17" h="14576">
                  <a:moveTo>
                    <a:pt x="-3878" y="12490"/>
                  </a:moveTo>
                  <a:cubicBezTo>
                    <a:pt x="-3878" y="9220"/>
                    <a:pt x="6799" y="-1681"/>
                    <a:pt x="8542" y="63"/>
                  </a:cubicBezTo>
                  <a:cubicBezTo>
                    <a:pt x="9414" y="717"/>
                    <a:pt x="8760" y="2680"/>
                    <a:pt x="7453" y="3988"/>
                  </a:cubicBezTo>
                  <a:cubicBezTo>
                    <a:pt x="5927" y="5514"/>
                    <a:pt x="4838" y="8348"/>
                    <a:pt x="4838" y="10528"/>
                  </a:cubicBezTo>
                  <a:cubicBezTo>
                    <a:pt x="4838" y="12926"/>
                    <a:pt x="3312" y="14452"/>
                    <a:pt x="480" y="14452"/>
                  </a:cubicBezTo>
                  <a:cubicBezTo>
                    <a:pt x="-1917" y="14452"/>
                    <a:pt x="-3878" y="13580"/>
                    <a:pt x="-3878" y="12490"/>
                  </a:cubicBezTo>
                  <a:close/>
                </a:path>
              </a:pathLst>
            </a:custGeom>
            <a:grpFill/>
            <a:ln w="218" cap="flat">
              <a:noFill/>
              <a:prstDash val="solid"/>
              <a:miter/>
            </a:ln>
          </p:spPr>
          <p:txBody>
            <a:bodyPr rtlCol="0" anchor="ctr"/>
            <a:lstStyle/>
            <a:p>
              <a:endParaRPr lang="en-GB" dirty="0"/>
            </a:p>
          </p:txBody>
        </p:sp>
        <p:sp>
          <p:nvSpPr>
            <p:cNvPr id="72" name="Freihandform: Form 71">
              <a:extLst>
                <a:ext uri="{FF2B5EF4-FFF2-40B4-BE49-F238E27FC236}">
                  <a16:creationId xmlns:a16="http://schemas.microsoft.com/office/drawing/2014/main" xmlns="" id="{93608862-12F0-4609-924A-383C338A380B}"/>
                </a:ext>
              </a:extLst>
            </p:cNvPr>
            <p:cNvSpPr/>
            <p:nvPr/>
          </p:nvSpPr>
          <p:spPr>
            <a:xfrm flipV="1">
              <a:off x="5055924" y="5269383"/>
              <a:ext cx="6926" cy="12823"/>
            </a:xfrm>
            <a:custGeom>
              <a:avLst/>
              <a:gdLst>
                <a:gd name="connsiteX0" fmla="*/ -4537 w 6926"/>
                <a:gd name="connsiteY0" fmla="*/ 8375 h 12823"/>
                <a:gd name="connsiteX1" fmla="*/ -3012 w 6926"/>
                <a:gd name="connsiteY1" fmla="*/ 1617 h 12823"/>
                <a:gd name="connsiteX2" fmla="*/ 39 w 6926"/>
                <a:gd name="connsiteY2" fmla="*/ -127 h 12823"/>
                <a:gd name="connsiteX3" fmla="*/ -3012 w 6926"/>
                <a:gd name="connsiteY3" fmla="*/ 12517 h 12823"/>
                <a:gd name="connsiteX4" fmla="*/ -4537 w 6926"/>
                <a:gd name="connsiteY4" fmla="*/ 8375 h 128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6" h="12823">
                  <a:moveTo>
                    <a:pt x="-4537" y="8375"/>
                  </a:moveTo>
                  <a:cubicBezTo>
                    <a:pt x="-3666" y="5541"/>
                    <a:pt x="-3012" y="2489"/>
                    <a:pt x="-3012" y="1617"/>
                  </a:cubicBezTo>
                  <a:cubicBezTo>
                    <a:pt x="-3012" y="527"/>
                    <a:pt x="-1704" y="-127"/>
                    <a:pt x="39" y="-127"/>
                  </a:cubicBezTo>
                  <a:cubicBezTo>
                    <a:pt x="3961" y="-127"/>
                    <a:pt x="1346" y="11209"/>
                    <a:pt x="-3012" y="12517"/>
                  </a:cubicBezTo>
                  <a:cubicBezTo>
                    <a:pt x="-4973" y="13171"/>
                    <a:pt x="-5409" y="12081"/>
                    <a:pt x="-4537" y="8375"/>
                  </a:cubicBezTo>
                  <a:close/>
                </a:path>
              </a:pathLst>
            </a:custGeom>
            <a:grpFill/>
            <a:ln w="218" cap="flat">
              <a:noFill/>
              <a:prstDash val="solid"/>
              <a:miter/>
            </a:ln>
          </p:spPr>
          <p:txBody>
            <a:bodyPr rtlCol="0" anchor="ctr"/>
            <a:lstStyle/>
            <a:p>
              <a:endParaRPr lang="en-GB" dirty="0"/>
            </a:p>
          </p:txBody>
        </p:sp>
        <p:sp>
          <p:nvSpPr>
            <p:cNvPr id="73" name="Freihandform: Form 72">
              <a:extLst>
                <a:ext uri="{FF2B5EF4-FFF2-40B4-BE49-F238E27FC236}">
                  <a16:creationId xmlns:a16="http://schemas.microsoft.com/office/drawing/2014/main" xmlns="" id="{02B5782B-9B19-40B6-A5D9-7982581E1B0C}"/>
                </a:ext>
              </a:extLst>
            </p:cNvPr>
            <p:cNvSpPr/>
            <p:nvPr/>
          </p:nvSpPr>
          <p:spPr>
            <a:xfrm flipV="1">
              <a:off x="5029549" y="5280420"/>
              <a:ext cx="8445" cy="12186"/>
            </a:xfrm>
            <a:custGeom>
              <a:avLst/>
              <a:gdLst>
                <a:gd name="connsiteX0" fmla="*/ -4859 w 8445"/>
                <a:gd name="connsiteY0" fmla="*/ 8800 h 12186"/>
                <a:gd name="connsiteX1" fmla="*/ -2680 w 8445"/>
                <a:gd name="connsiteY1" fmla="*/ 1606 h 12186"/>
                <a:gd name="connsiteX2" fmla="*/ 3421 w 8445"/>
                <a:gd name="connsiteY2" fmla="*/ 7274 h 12186"/>
                <a:gd name="connsiteX3" fmla="*/ -4859 w 8445"/>
                <a:gd name="connsiteY3" fmla="*/ 8800 h 12186"/>
              </a:gdLst>
              <a:ahLst/>
              <a:cxnLst>
                <a:cxn ang="0">
                  <a:pos x="connsiteX0" y="connsiteY0"/>
                </a:cxn>
                <a:cxn ang="0">
                  <a:pos x="connsiteX1" y="connsiteY1"/>
                </a:cxn>
                <a:cxn ang="0">
                  <a:pos x="connsiteX2" y="connsiteY2"/>
                </a:cxn>
                <a:cxn ang="0">
                  <a:pos x="connsiteX3" y="connsiteY3"/>
                </a:cxn>
              </a:cxnLst>
              <a:rect l="l" t="t" r="r" b="b"/>
              <a:pathLst>
                <a:path w="8445" h="12186">
                  <a:moveTo>
                    <a:pt x="-4859" y="8800"/>
                  </a:moveTo>
                  <a:cubicBezTo>
                    <a:pt x="-4859" y="6620"/>
                    <a:pt x="-3770" y="3350"/>
                    <a:pt x="-2680" y="1606"/>
                  </a:cubicBezTo>
                  <a:cubicBezTo>
                    <a:pt x="-65" y="-2536"/>
                    <a:pt x="4511" y="1606"/>
                    <a:pt x="3421" y="7274"/>
                  </a:cubicBezTo>
                  <a:cubicBezTo>
                    <a:pt x="2549" y="12725"/>
                    <a:pt x="-4859" y="14033"/>
                    <a:pt x="-4859" y="8800"/>
                  </a:cubicBezTo>
                  <a:close/>
                </a:path>
              </a:pathLst>
            </a:custGeom>
            <a:grpFill/>
            <a:ln w="218" cap="flat">
              <a:noFill/>
              <a:prstDash val="solid"/>
              <a:miter/>
            </a:ln>
          </p:spPr>
          <p:txBody>
            <a:bodyPr rtlCol="0" anchor="ctr"/>
            <a:lstStyle/>
            <a:p>
              <a:endParaRPr lang="en-GB" dirty="0"/>
            </a:p>
          </p:txBody>
        </p:sp>
        <p:sp>
          <p:nvSpPr>
            <p:cNvPr id="74" name="Freihandform: Form 73">
              <a:extLst>
                <a:ext uri="{FF2B5EF4-FFF2-40B4-BE49-F238E27FC236}">
                  <a16:creationId xmlns:a16="http://schemas.microsoft.com/office/drawing/2014/main" xmlns="" id="{2D3F0CEE-0978-473F-BEE6-966DAB5EF084}"/>
                </a:ext>
              </a:extLst>
            </p:cNvPr>
            <p:cNvSpPr/>
            <p:nvPr/>
          </p:nvSpPr>
          <p:spPr>
            <a:xfrm flipV="1">
              <a:off x="4421636" y="5292218"/>
              <a:ext cx="10763" cy="11788"/>
            </a:xfrm>
            <a:custGeom>
              <a:avLst/>
              <a:gdLst>
                <a:gd name="connsiteX0" fmla="*/ 2392 w 10763"/>
                <a:gd name="connsiteY0" fmla="*/ 9796 h 11788"/>
                <a:gd name="connsiteX1" fmla="*/ 867 w 10763"/>
                <a:gd name="connsiteY1" fmla="*/ -15 h 11788"/>
                <a:gd name="connsiteX2" fmla="*/ 4136 w 10763"/>
                <a:gd name="connsiteY2" fmla="*/ 3037 h 11788"/>
                <a:gd name="connsiteX3" fmla="*/ 6751 w 10763"/>
                <a:gd name="connsiteY3" fmla="*/ 6961 h 11788"/>
                <a:gd name="connsiteX4" fmla="*/ 8276 w 10763"/>
                <a:gd name="connsiteY4" fmla="*/ 10450 h 11788"/>
                <a:gd name="connsiteX5" fmla="*/ 2392 w 10763"/>
                <a:gd name="connsiteY5" fmla="*/ 9796 h 1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63" h="11788">
                  <a:moveTo>
                    <a:pt x="2392" y="9796"/>
                  </a:moveTo>
                  <a:cubicBezTo>
                    <a:pt x="-3055" y="5871"/>
                    <a:pt x="-4145" y="-15"/>
                    <a:pt x="867" y="-15"/>
                  </a:cubicBezTo>
                  <a:cubicBezTo>
                    <a:pt x="2610" y="-15"/>
                    <a:pt x="4136" y="1293"/>
                    <a:pt x="4136" y="3037"/>
                  </a:cubicBezTo>
                  <a:cubicBezTo>
                    <a:pt x="4136" y="4781"/>
                    <a:pt x="5225" y="6525"/>
                    <a:pt x="6751" y="6961"/>
                  </a:cubicBezTo>
                  <a:cubicBezTo>
                    <a:pt x="8058" y="7398"/>
                    <a:pt x="8712" y="8924"/>
                    <a:pt x="8276" y="10450"/>
                  </a:cubicBezTo>
                  <a:cubicBezTo>
                    <a:pt x="7622" y="12412"/>
                    <a:pt x="6097" y="12194"/>
                    <a:pt x="2392" y="9796"/>
                  </a:cubicBezTo>
                  <a:close/>
                </a:path>
              </a:pathLst>
            </a:custGeom>
            <a:grpFill/>
            <a:ln w="218" cap="flat">
              <a:noFill/>
              <a:prstDash val="solid"/>
              <a:miter/>
            </a:ln>
          </p:spPr>
          <p:txBody>
            <a:bodyPr rtlCol="0" anchor="ctr"/>
            <a:lstStyle/>
            <a:p>
              <a:endParaRPr lang="en-GB" dirty="0"/>
            </a:p>
          </p:txBody>
        </p:sp>
        <p:sp>
          <p:nvSpPr>
            <p:cNvPr id="75" name="Freihandform: Form 74">
              <a:extLst>
                <a:ext uri="{FF2B5EF4-FFF2-40B4-BE49-F238E27FC236}">
                  <a16:creationId xmlns:a16="http://schemas.microsoft.com/office/drawing/2014/main" xmlns="" id="{8733AA78-276E-4AAA-861B-6B3957EED620}"/>
                </a:ext>
              </a:extLst>
            </p:cNvPr>
            <p:cNvSpPr/>
            <p:nvPr/>
          </p:nvSpPr>
          <p:spPr>
            <a:xfrm flipV="1">
              <a:off x="5262627" y="5291704"/>
              <a:ext cx="6620" cy="10122"/>
            </a:xfrm>
            <a:custGeom>
              <a:avLst/>
              <a:gdLst>
                <a:gd name="connsiteX0" fmla="*/ -4427 w 6620"/>
                <a:gd name="connsiteY0" fmla="*/ 9353 h 10122"/>
                <a:gd name="connsiteX1" fmla="*/ -2466 w 6620"/>
                <a:gd name="connsiteY1" fmla="*/ -22 h 10122"/>
                <a:gd name="connsiteX2" fmla="*/ 802 w 6620"/>
                <a:gd name="connsiteY2" fmla="*/ 4121 h 10122"/>
                <a:gd name="connsiteX3" fmla="*/ -4427 w 6620"/>
                <a:gd name="connsiteY3" fmla="*/ 9353 h 10122"/>
              </a:gdLst>
              <a:ahLst/>
              <a:cxnLst>
                <a:cxn ang="0">
                  <a:pos x="connsiteX0" y="connsiteY0"/>
                </a:cxn>
                <a:cxn ang="0">
                  <a:pos x="connsiteX1" y="connsiteY1"/>
                </a:cxn>
                <a:cxn ang="0">
                  <a:pos x="connsiteX2" y="connsiteY2"/>
                </a:cxn>
                <a:cxn ang="0">
                  <a:pos x="connsiteX3" y="connsiteY3"/>
                </a:cxn>
              </a:cxnLst>
              <a:rect l="l" t="t" r="r" b="b"/>
              <a:pathLst>
                <a:path w="6620" h="10122">
                  <a:moveTo>
                    <a:pt x="-4427" y="9353"/>
                  </a:moveTo>
                  <a:cubicBezTo>
                    <a:pt x="-7042" y="6737"/>
                    <a:pt x="-5735" y="-22"/>
                    <a:pt x="-2466" y="-22"/>
                  </a:cubicBezTo>
                  <a:cubicBezTo>
                    <a:pt x="-723" y="-22"/>
                    <a:pt x="802" y="1941"/>
                    <a:pt x="802" y="4121"/>
                  </a:cubicBezTo>
                  <a:cubicBezTo>
                    <a:pt x="802" y="8699"/>
                    <a:pt x="-2030" y="11533"/>
                    <a:pt x="-4427" y="9353"/>
                  </a:cubicBezTo>
                  <a:close/>
                </a:path>
              </a:pathLst>
            </a:custGeom>
            <a:grpFill/>
            <a:ln w="218" cap="flat">
              <a:noFill/>
              <a:prstDash val="solid"/>
              <a:miter/>
            </a:ln>
          </p:spPr>
          <p:txBody>
            <a:bodyPr rtlCol="0" anchor="ctr"/>
            <a:lstStyle/>
            <a:p>
              <a:endParaRPr lang="en-GB" dirty="0"/>
            </a:p>
          </p:txBody>
        </p:sp>
        <p:sp>
          <p:nvSpPr>
            <p:cNvPr id="76" name="Freihandform: Form 75">
              <a:extLst>
                <a:ext uri="{FF2B5EF4-FFF2-40B4-BE49-F238E27FC236}">
                  <a16:creationId xmlns:a16="http://schemas.microsoft.com/office/drawing/2014/main" xmlns="" id="{0169E8B0-9F12-4506-BAD0-4F834253F67A}"/>
                </a:ext>
              </a:extLst>
            </p:cNvPr>
            <p:cNvSpPr/>
            <p:nvPr/>
          </p:nvSpPr>
          <p:spPr>
            <a:xfrm flipV="1">
              <a:off x="4404218" y="5299692"/>
              <a:ext cx="8609" cy="16213"/>
            </a:xfrm>
            <a:custGeom>
              <a:avLst/>
              <a:gdLst>
                <a:gd name="connsiteX0" fmla="*/ 275 w 8609"/>
                <a:gd name="connsiteY0" fmla="*/ 13676 h 16213"/>
                <a:gd name="connsiteX1" fmla="*/ -379 w 8609"/>
                <a:gd name="connsiteY1" fmla="*/ 160 h 16213"/>
                <a:gd name="connsiteX2" fmla="*/ 3979 w 8609"/>
                <a:gd name="connsiteY2" fmla="*/ 4520 h 16213"/>
                <a:gd name="connsiteX3" fmla="*/ 275 w 8609"/>
                <a:gd name="connsiteY3" fmla="*/ 13676 h 16213"/>
              </a:gdLst>
              <a:ahLst/>
              <a:cxnLst>
                <a:cxn ang="0">
                  <a:pos x="connsiteX0" y="connsiteY0"/>
                </a:cxn>
                <a:cxn ang="0">
                  <a:pos x="connsiteX1" y="connsiteY1"/>
                </a:cxn>
                <a:cxn ang="0">
                  <a:pos x="connsiteX2" y="connsiteY2"/>
                </a:cxn>
                <a:cxn ang="0">
                  <a:pos x="connsiteX3" y="connsiteY3"/>
                </a:cxn>
              </a:cxnLst>
              <a:rect l="l" t="t" r="r" b="b"/>
              <a:pathLst>
                <a:path w="8609" h="16213">
                  <a:moveTo>
                    <a:pt x="275" y="13676"/>
                  </a:moveTo>
                  <a:cubicBezTo>
                    <a:pt x="-2776" y="10624"/>
                    <a:pt x="-3212" y="1904"/>
                    <a:pt x="-379" y="160"/>
                  </a:cubicBezTo>
                  <a:cubicBezTo>
                    <a:pt x="493" y="-494"/>
                    <a:pt x="2454" y="1468"/>
                    <a:pt x="3979" y="4520"/>
                  </a:cubicBezTo>
                  <a:cubicBezTo>
                    <a:pt x="8338" y="14330"/>
                    <a:pt x="6376" y="19781"/>
                    <a:pt x="275" y="13676"/>
                  </a:cubicBezTo>
                  <a:close/>
                </a:path>
              </a:pathLst>
            </a:custGeom>
            <a:grpFill/>
            <a:ln w="218" cap="flat">
              <a:noFill/>
              <a:prstDash val="solid"/>
              <a:miter/>
            </a:ln>
          </p:spPr>
          <p:txBody>
            <a:bodyPr rtlCol="0" anchor="ctr"/>
            <a:lstStyle/>
            <a:p>
              <a:endParaRPr lang="en-GB" dirty="0"/>
            </a:p>
          </p:txBody>
        </p:sp>
        <p:sp>
          <p:nvSpPr>
            <p:cNvPr id="77" name="Freihandform: Form 76">
              <a:extLst>
                <a:ext uri="{FF2B5EF4-FFF2-40B4-BE49-F238E27FC236}">
                  <a16:creationId xmlns:a16="http://schemas.microsoft.com/office/drawing/2014/main" xmlns="" id="{3F085BCD-D245-4D69-80D6-2F05BD51ECFB}"/>
                </a:ext>
              </a:extLst>
            </p:cNvPr>
            <p:cNvSpPr/>
            <p:nvPr/>
          </p:nvSpPr>
          <p:spPr>
            <a:xfrm flipV="1">
              <a:off x="5288859" y="5299647"/>
              <a:ext cx="4358" cy="4360"/>
            </a:xfrm>
            <a:custGeom>
              <a:avLst/>
              <a:gdLst>
                <a:gd name="connsiteX0" fmla="*/ -5922 w 4358"/>
                <a:gd name="connsiteY0" fmla="*/ 2184 h 4360"/>
                <a:gd name="connsiteX1" fmla="*/ -3743 w 4358"/>
                <a:gd name="connsiteY1" fmla="*/ 4 h 4360"/>
                <a:gd name="connsiteX2" fmla="*/ -1564 w 4358"/>
                <a:gd name="connsiteY2" fmla="*/ 2184 h 4360"/>
                <a:gd name="connsiteX3" fmla="*/ -3743 w 4358"/>
                <a:gd name="connsiteY3" fmla="*/ 4364 h 4360"/>
                <a:gd name="connsiteX4" fmla="*/ -5922 w 4358"/>
                <a:gd name="connsiteY4" fmla="*/ 2184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5922" y="2184"/>
                  </a:moveTo>
                  <a:cubicBezTo>
                    <a:pt x="-5922" y="1094"/>
                    <a:pt x="-4832" y="4"/>
                    <a:pt x="-3743" y="4"/>
                  </a:cubicBezTo>
                  <a:cubicBezTo>
                    <a:pt x="-2435" y="4"/>
                    <a:pt x="-1564" y="1094"/>
                    <a:pt x="-1564" y="2184"/>
                  </a:cubicBezTo>
                  <a:cubicBezTo>
                    <a:pt x="-1564" y="3492"/>
                    <a:pt x="-2435" y="4364"/>
                    <a:pt x="-3743" y="4364"/>
                  </a:cubicBezTo>
                  <a:cubicBezTo>
                    <a:pt x="-4832" y="4364"/>
                    <a:pt x="-5922" y="3492"/>
                    <a:pt x="-5922" y="2184"/>
                  </a:cubicBezTo>
                  <a:close/>
                </a:path>
              </a:pathLst>
            </a:custGeom>
            <a:grpFill/>
            <a:ln w="218" cap="flat">
              <a:noFill/>
              <a:prstDash val="solid"/>
              <a:miter/>
            </a:ln>
          </p:spPr>
          <p:txBody>
            <a:bodyPr rtlCol="0" anchor="ctr"/>
            <a:lstStyle/>
            <a:p>
              <a:endParaRPr lang="en-GB" dirty="0"/>
            </a:p>
          </p:txBody>
        </p:sp>
        <p:sp>
          <p:nvSpPr>
            <p:cNvPr id="78" name="Freihandform: Form 77">
              <a:extLst>
                <a:ext uri="{FF2B5EF4-FFF2-40B4-BE49-F238E27FC236}">
                  <a16:creationId xmlns:a16="http://schemas.microsoft.com/office/drawing/2014/main" xmlns="" id="{89CDA929-A6A6-45E4-9D5D-922F75A2C03F}"/>
                </a:ext>
              </a:extLst>
            </p:cNvPr>
            <p:cNvSpPr/>
            <p:nvPr/>
          </p:nvSpPr>
          <p:spPr>
            <a:xfrm flipV="1">
              <a:off x="4307327" y="5301876"/>
              <a:ext cx="32829" cy="55626"/>
            </a:xfrm>
            <a:custGeom>
              <a:avLst/>
              <a:gdLst>
                <a:gd name="connsiteX0" fmla="*/ -325 w 32829"/>
                <a:gd name="connsiteY0" fmla="*/ 51460 h 55626"/>
                <a:gd name="connsiteX1" fmla="*/ 1637 w 32829"/>
                <a:gd name="connsiteY1" fmla="*/ 40559 h 55626"/>
                <a:gd name="connsiteX2" fmla="*/ 2508 w 32829"/>
                <a:gd name="connsiteY2" fmla="*/ 33801 h 55626"/>
                <a:gd name="connsiteX3" fmla="*/ 5123 w 32829"/>
                <a:gd name="connsiteY3" fmla="*/ 27697 h 55626"/>
                <a:gd name="connsiteX4" fmla="*/ 9699 w 32829"/>
                <a:gd name="connsiteY4" fmla="*/ 15270 h 55626"/>
                <a:gd name="connsiteX5" fmla="*/ 5123 w 32829"/>
                <a:gd name="connsiteY5" fmla="*/ 10474 h 55626"/>
                <a:gd name="connsiteX6" fmla="*/ 9917 w 32829"/>
                <a:gd name="connsiteY6" fmla="*/ 5678 h 55626"/>
                <a:gd name="connsiteX7" fmla="*/ 18851 w 32829"/>
                <a:gd name="connsiteY7" fmla="*/ 2408 h 55626"/>
                <a:gd name="connsiteX8" fmla="*/ 26260 w 32829"/>
                <a:gd name="connsiteY8" fmla="*/ 1318 h 55626"/>
                <a:gd name="connsiteX9" fmla="*/ 30400 w 32829"/>
                <a:gd name="connsiteY9" fmla="*/ 1100 h 55626"/>
                <a:gd name="connsiteX10" fmla="*/ 24081 w 32829"/>
                <a:gd name="connsiteY10" fmla="*/ 15270 h 55626"/>
                <a:gd name="connsiteX11" fmla="*/ 21684 w 32829"/>
                <a:gd name="connsiteY11" fmla="*/ 21811 h 55626"/>
                <a:gd name="connsiteX12" fmla="*/ 17544 w 32829"/>
                <a:gd name="connsiteY12" fmla="*/ 34891 h 55626"/>
                <a:gd name="connsiteX13" fmla="*/ 12096 w 32829"/>
                <a:gd name="connsiteY13" fmla="*/ 46009 h 55626"/>
                <a:gd name="connsiteX14" fmla="*/ -325 w 32829"/>
                <a:gd name="connsiteY14" fmla="*/ 51460 h 55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829" h="55626">
                  <a:moveTo>
                    <a:pt x="-325" y="51460"/>
                  </a:moveTo>
                  <a:cubicBezTo>
                    <a:pt x="-3157" y="47100"/>
                    <a:pt x="-2068" y="40559"/>
                    <a:pt x="1637" y="40559"/>
                  </a:cubicBezTo>
                  <a:cubicBezTo>
                    <a:pt x="2944" y="40559"/>
                    <a:pt x="3380" y="37943"/>
                    <a:pt x="2508" y="33801"/>
                  </a:cubicBezTo>
                  <a:cubicBezTo>
                    <a:pt x="1419" y="28351"/>
                    <a:pt x="1855" y="27261"/>
                    <a:pt x="5123" y="27697"/>
                  </a:cubicBezTo>
                  <a:cubicBezTo>
                    <a:pt x="15583" y="28569"/>
                    <a:pt x="17544" y="23555"/>
                    <a:pt x="9699" y="15270"/>
                  </a:cubicBezTo>
                  <a:lnTo>
                    <a:pt x="5123" y="10474"/>
                  </a:lnTo>
                  <a:lnTo>
                    <a:pt x="9917" y="5678"/>
                  </a:lnTo>
                  <a:cubicBezTo>
                    <a:pt x="12968" y="2626"/>
                    <a:pt x="16019" y="1536"/>
                    <a:pt x="18851" y="2408"/>
                  </a:cubicBezTo>
                  <a:cubicBezTo>
                    <a:pt x="21248" y="3280"/>
                    <a:pt x="24517" y="2844"/>
                    <a:pt x="26260" y="1318"/>
                  </a:cubicBezTo>
                  <a:cubicBezTo>
                    <a:pt x="28003" y="-208"/>
                    <a:pt x="29529" y="-208"/>
                    <a:pt x="30400" y="1100"/>
                  </a:cubicBezTo>
                  <a:cubicBezTo>
                    <a:pt x="32362" y="4152"/>
                    <a:pt x="28221" y="13526"/>
                    <a:pt x="24081" y="15270"/>
                  </a:cubicBezTo>
                  <a:cubicBezTo>
                    <a:pt x="21466" y="16142"/>
                    <a:pt x="20812" y="18105"/>
                    <a:pt x="21684" y="21811"/>
                  </a:cubicBezTo>
                  <a:cubicBezTo>
                    <a:pt x="22556" y="25299"/>
                    <a:pt x="21248" y="29441"/>
                    <a:pt x="17544" y="34891"/>
                  </a:cubicBezTo>
                  <a:cubicBezTo>
                    <a:pt x="14493" y="39251"/>
                    <a:pt x="12096" y="44265"/>
                    <a:pt x="12096" y="46009"/>
                  </a:cubicBezTo>
                  <a:cubicBezTo>
                    <a:pt x="12096" y="55820"/>
                    <a:pt x="4469" y="59308"/>
                    <a:pt x="-325" y="51460"/>
                  </a:cubicBezTo>
                  <a:close/>
                </a:path>
              </a:pathLst>
            </a:custGeom>
            <a:grpFill/>
            <a:ln w="218" cap="flat">
              <a:noFill/>
              <a:prstDash val="solid"/>
              <a:miter/>
            </a:ln>
          </p:spPr>
          <p:txBody>
            <a:bodyPr rtlCol="0" anchor="ctr"/>
            <a:lstStyle/>
            <a:p>
              <a:endParaRPr lang="en-GB" dirty="0"/>
            </a:p>
          </p:txBody>
        </p:sp>
        <p:sp>
          <p:nvSpPr>
            <p:cNvPr id="79" name="Freihandform: Form 78">
              <a:extLst>
                <a:ext uri="{FF2B5EF4-FFF2-40B4-BE49-F238E27FC236}">
                  <a16:creationId xmlns:a16="http://schemas.microsoft.com/office/drawing/2014/main" xmlns="" id="{D4C94C71-CF9D-42D9-A6FD-8A03BBF1458D}"/>
                </a:ext>
              </a:extLst>
            </p:cNvPr>
            <p:cNvSpPr/>
            <p:nvPr/>
          </p:nvSpPr>
          <p:spPr>
            <a:xfrm flipV="1">
              <a:off x="5047000" y="5313594"/>
              <a:ext cx="33430" cy="20451"/>
            </a:xfrm>
            <a:custGeom>
              <a:avLst/>
              <a:gdLst>
                <a:gd name="connsiteX0" fmla="*/ -3476 w 33430"/>
                <a:gd name="connsiteY0" fmla="*/ 20125 h 20451"/>
                <a:gd name="connsiteX1" fmla="*/ -3040 w 33430"/>
                <a:gd name="connsiteY1" fmla="*/ 3120 h 20451"/>
                <a:gd name="connsiteX2" fmla="*/ 5676 w 33430"/>
                <a:gd name="connsiteY2" fmla="*/ 4646 h 20451"/>
                <a:gd name="connsiteX3" fmla="*/ 15918 w 33430"/>
                <a:gd name="connsiteY3" fmla="*/ 3120 h 20451"/>
                <a:gd name="connsiteX4" fmla="*/ 24198 w 33430"/>
                <a:gd name="connsiteY4" fmla="*/ 3992 h 20451"/>
                <a:gd name="connsiteX5" fmla="*/ 26377 w 33430"/>
                <a:gd name="connsiteY5" fmla="*/ 15329 h 20451"/>
                <a:gd name="connsiteX6" fmla="*/ 19840 w 33430"/>
                <a:gd name="connsiteY6" fmla="*/ 19035 h 20451"/>
                <a:gd name="connsiteX7" fmla="*/ 13738 w 33430"/>
                <a:gd name="connsiteY7" fmla="*/ 19035 h 20451"/>
                <a:gd name="connsiteX8" fmla="*/ 6330 w 33430"/>
                <a:gd name="connsiteY8" fmla="*/ 19471 h 20451"/>
                <a:gd name="connsiteX9" fmla="*/ 10 w 33430"/>
                <a:gd name="connsiteY9" fmla="*/ 19471 h 20451"/>
                <a:gd name="connsiteX10" fmla="*/ -3476 w 33430"/>
                <a:gd name="connsiteY10" fmla="*/ 20125 h 20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430" h="20451">
                  <a:moveTo>
                    <a:pt x="-3476" y="20125"/>
                  </a:moveTo>
                  <a:cubicBezTo>
                    <a:pt x="-5655" y="17945"/>
                    <a:pt x="-5437" y="4428"/>
                    <a:pt x="-3040" y="3120"/>
                  </a:cubicBezTo>
                  <a:cubicBezTo>
                    <a:pt x="-2169" y="2466"/>
                    <a:pt x="1971" y="3120"/>
                    <a:pt x="5676" y="4646"/>
                  </a:cubicBezTo>
                  <a:cubicBezTo>
                    <a:pt x="11995" y="7045"/>
                    <a:pt x="13085" y="6826"/>
                    <a:pt x="15918" y="3120"/>
                  </a:cubicBezTo>
                  <a:cubicBezTo>
                    <a:pt x="18968" y="-1022"/>
                    <a:pt x="18968" y="-1022"/>
                    <a:pt x="24198" y="3992"/>
                  </a:cubicBezTo>
                  <a:cubicBezTo>
                    <a:pt x="29428" y="8571"/>
                    <a:pt x="29428" y="9225"/>
                    <a:pt x="26377" y="15329"/>
                  </a:cubicBezTo>
                  <a:cubicBezTo>
                    <a:pt x="23762" y="20561"/>
                    <a:pt x="22455" y="21215"/>
                    <a:pt x="19840" y="19035"/>
                  </a:cubicBezTo>
                  <a:cubicBezTo>
                    <a:pt x="17443" y="17073"/>
                    <a:pt x="16135" y="17073"/>
                    <a:pt x="13738" y="19035"/>
                  </a:cubicBezTo>
                  <a:cubicBezTo>
                    <a:pt x="11341" y="20997"/>
                    <a:pt x="9380" y="20997"/>
                    <a:pt x="6330" y="19471"/>
                  </a:cubicBezTo>
                  <a:cubicBezTo>
                    <a:pt x="3715" y="18163"/>
                    <a:pt x="1536" y="17945"/>
                    <a:pt x="10" y="19471"/>
                  </a:cubicBezTo>
                  <a:cubicBezTo>
                    <a:pt x="-1079" y="20561"/>
                    <a:pt x="-2605" y="20779"/>
                    <a:pt x="-3476" y="20125"/>
                  </a:cubicBezTo>
                  <a:close/>
                </a:path>
              </a:pathLst>
            </a:custGeom>
            <a:grpFill/>
            <a:ln w="218" cap="flat">
              <a:noFill/>
              <a:prstDash val="solid"/>
              <a:miter/>
            </a:ln>
          </p:spPr>
          <p:txBody>
            <a:bodyPr rtlCol="0" anchor="ctr"/>
            <a:lstStyle/>
            <a:p>
              <a:endParaRPr lang="en-GB" dirty="0"/>
            </a:p>
          </p:txBody>
        </p:sp>
        <p:sp>
          <p:nvSpPr>
            <p:cNvPr id="80" name="Freihandform: Form 79">
              <a:extLst>
                <a:ext uri="{FF2B5EF4-FFF2-40B4-BE49-F238E27FC236}">
                  <a16:creationId xmlns:a16="http://schemas.microsoft.com/office/drawing/2014/main" xmlns="" id="{B82D459B-81B3-41E8-A1C8-E157E80620A6}"/>
                </a:ext>
              </a:extLst>
            </p:cNvPr>
            <p:cNvSpPr/>
            <p:nvPr/>
          </p:nvSpPr>
          <p:spPr>
            <a:xfrm flipV="1">
              <a:off x="4662130" y="5319368"/>
              <a:ext cx="8833" cy="10187"/>
            </a:xfrm>
            <a:custGeom>
              <a:avLst/>
              <a:gdLst>
                <a:gd name="connsiteX0" fmla="*/ -2879 w 8833"/>
                <a:gd name="connsiteY0" fmla="*/ 6700 h 10187"/>
                <a:gd name="connsiteX1" fmla="*/ -2225 w 8833"/>
                <a:gd name="connsiteY1" fmla="*/ 1032 h 10187"/>
                <a:gd name="connsiteX2" fmla="*/ 5184 w 8833"/>
                <a:gd name="connsiteY2" fmla="*/ 7354 h 10187"/>
                <a:gd name="connsiteX3" fmla="*/ -2879 w 8833"/>
                <a:gd name="connsiteY3" fmla="*/ 6700 h 10187"/>
              </a:gdLst>
              <a:ahLst/>
              <a:cxnLst>
                <a:cxn ang="0">
                  <a:pos x="connsiteX0" y="connsiteY0"/>
                </a:cxn>
                <a:cxn ang="0">
                  <a:pos x="connsiteX1" y="connsiteY1"/>
                </a:cxn>
                <a:cxn ang="0">
                  <a:pos x="connsiteX2" y="connsiteY2"/>
                </a:cxn>
                <a:cxn ang="0">
                  <a:pos x="connsiteX3" y="connsiteY3"/>
                </a:cxn>
              </a:cxnLst>
              <a:rect l="l" t="t" r="r" b="b"/>
              <a:pathLst>
                <a:path w="8833" h="10187">
                  <a:moveTo>
                    <a:pt x="-2879" y="6700"/>
                  </a:moveTo>
                  <a:cubicBezTo>
                    <a:pt x="-3751" y="4738"/>
                    <a:pt x="-3315" y="2122"/>
                    <a:pt x="-2225" y="1032"/>
                  </a:cubicBezTo>
                  <a:cubicBezTo>
                    <a:pt x="825" y="-2020"/>
                    <a:pt x="6927" y="3212"/>
                    <a:pt x="5184" y="7354"/>
                  </a:cubicBezTo>
                  <a:cubicBezTo>
                    <a:pt x="3658" y="11496"/>
                    <a:pt x="-1136" y="11278"/>
                    <a:pt x="-2879" y="6700"/>
                  </a:cubicBezTo>
                  <a:close/>
                </a:path>
              </a:pathLst>
            </a:custGeom>
            <a:grpFill/>
            <a:ln w="218" cap="flat">
              <a:noFill/>
              <a:prstDash val="solid"/>
              <a:miter/>
            </a:ln>
          </p:spPr>
          <p:txBody>
            <a:bodyPr rtlCol="0" anchor="ctr"/>
            <a:lstStyle/>
            <a:p>
              <a:endParaRPr lang="en-GB" dirty="0"/>
            </a:p>
          </p:txBody>
        </p:sp>
        <p:sp>
          <p:nvSpPr>
            <p:cNvPr id="81" name="Freihandform: Form 80">
              <a:extLst>
                <a:ext uri="{FF2B5EF4-FFF2-40B4-BE49-F238E27FC236}">
                  <a16:creationId xmlns:a16="http://schemas.microsoft.com/office/drawing/2014/main" xmlns="" id="{542F09FA-5060-4B03-9358-1B71C539C811}"/>
                </a:ext>
              </a:extLst>
            </p:cNvPr>
            <p:cNvSpPr/>
            <p:nvPr/>
          </p:nvSpPr>
          <p:spPr>
            <a:xfrm flipV="1">
              <a:off x="4509271" y="5323728"/>
              <a:ext cx="31528" cy="32957"/>
            </a:xfrm>
            <a:custGeom>
              <a:avLst/>
              <a:gdLst>
                <a:gd name="connsiteX0" fmla="*/ 4130 w 31528"/>
                <a:gd name="connsiteY0" fmla="*/ 25625 h 32957"/>
                <a:gd name="connsiteX1" fmla="*/ -446 w 31528"/>
                <a:gd name="connsiteY1" fmla="*/ 14289 h 32957"/>
                <a:gd name="connsiteX2" fmla="*/ 5873 w 31528"/>
                <a:gd name="connsiteY2" fmla="*/ 13199 h 32957"/>
                <a:gd name="connsiteX3" fmla="*/ 11321 w 31528"/>
                <a:gd name="connsiteY3" fmla="*/ 7749 h 32957"/>
                <a:gd name="connsiteX4" fmla="*/ 14154 w 31528"/>
                <a:gd name="connsiteY4" fmla="*/ 336 h 32957"/>
                <a:gd name="connsiteX5" fmla="*/ 23524 w 31528"/>
                <a:gd name="connsiteY5" fmla="*/ 1208 h 32957"/>
                <a:gd name="connsiteX6" fmla="*/ 28535 w 31528"/>
                <a:gd name="connsiteY6" fmla="*/ 4261 h 32957"/>
                <a:gd name="connsiteX7" fmla="*/ 27228 w 31528"/>
                <a:gd name="connsiteY7" fmla="*/ 11891 h 32957"/>
                <a:gd name="connsiteX8" fmla="*/ 23959 w 31528"/>
                <a:gd name="connsiteY8" fmla="*/ 13635 h 32957"/>
                <a:gd name="connsiteX9" fmla="*/ 21345 w 31528"/>
                <a:gd name="connsiteY9" fmla="*/ 17559 h 32957"/>
                <a:gd name="connsiteX10" fmla="*/ 20691 w 31528"/>
                <a:gd name="connsiteY10" fmla="*/ 28895 h 32957"/>
                <a:gd name="connsiteX11" fmla="*/ 16333 w 31528"/>
                <a:gd name="connsiteY11" fmla="*/ 31075 h 32957"/>
                <a:gd name="connsiteX12" fmla="*/ 4130 w 31528"/>
                <a:gd name="connsiteY12" fmla="*/ 25625 h 32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528" h="32957">
                  <a:moveTo>
                    <a:pt x="4130" y="25625"/>
                  </a:moveTo>
                  <a:cubicBezTo>
                    <a:pt x="-3933" y="18431"/>
                    <a:pt x="-4151" y="17777"/>
                    <a:pt x="-446" y="14289"/>
                  </a:cubicBezTo>
                  <a:cubicBezTo>
                    <a:pt x="2387" y="11455"/>
                    <a:pt x="3912" y="11237"/>
                    <a:pt x="5873" y="13199"/>
                  </a:cubicBezTo>
                  <a:cubicBezTo>
                    <a:pt x="10231" y="17559"/>
                    <a:pt x="11757" y="16033"/>
                    <a:pt x="11321" y="7749"/>
                  </a:cubicBezTo>
                  <a:cubicBezTo>
                    <a:pt x="10885" y="1208"/>
                    <a:pt x="11539" y="-318"/>
                    <a:pt x="14154" y="336"/>
                  </a:cubicBezTo>
                  <a:cubicBezTo>
                    <a:pt x="15897" y="990"/>
                    <a:pt x="20255" y="1426"/>
                    <a:pt x="23524" y="1208"/>
                  </a:cubicBezTo>
                  <a:cubicBezTo>
                    <a:pt x="27882" y="1208"/>
                    <a:pt x="29407" y="2080"/>
                    <a:pt x="28535" y="4261"/>
                  </a:cubicBezTo>
                  <a:cubicBezTo>
                    <a:pt x="27664" y="6005"/>
                    <a:pt x="27228" y="9493"/>
                    <a:pt x="27228" y="11891"/>
                  </a:cubicBezTo>
                  <a:cubicBezTo>
                    <a:pt x="27228" y="15597"/>
                    <a:pt x="26792" y="15815"/>
                    <a:pt x="23959" y="13635"/>
                  </a:cubicBezTo>
                  <a:cubicBezTo>
                    <a:pt x="19165" y="9711"/>
                    <a:pt x="17204" y="12763"/>
                    <a:pt x="21345" y="17559"/>
                  </a:cubicBezTo>
                  <a:cubicBezTo>
                    <a:pt x="26356" y="23227"/>
                    <a:pt x="26139" y="28895"/>
                    <a:pt x="20691" y="28895"/>
                  </a:cubicBezTo>
                  <a:cubicBezTo>
                    <a:pt x="18294" y="28895"/>
                    <a:pt x="16333" y="29985"/>
                    <a:pt x="16333" y="31075"/>
                  </a:cubicBezTo>
                  <a:cubicBezTo>
                    <a:pt x="16333" y="35000"/>
                    <a:pt x="13064" y="33474"/>
                    <a:pt x="4130" y="25625"/>
                  </a:cubicBezTo>
                  <a:close/>
                </a:path>
              </a:pathLst>
            </a:custGeom>
            <a:grpFill/>
            <a:ln w="218" cap="flat">
              <a:noFill/>
              <a:prstDash val="solid"/>
              <a:miter/>
            </a:ln>
          </p:spPr>
          <p:txBody>
            <a:bodyPr rtlCol="0" anchor="ctr"/>
            <a:lstStyle/>
            <a:p>
              <a:endParaRPr lang="en-GB" dirty="0"/>
            </a:p>
          </p:txBody>
        </p:sp>
        <p:sp>
          <p:nvSpPr>
            <p:cNvPr id="82" name="Freihandform: Form 81">
              <a:extLst>
                <a:ext uri="{FF2B5EF4-FFF2-40B4-BE49-F238E27FC236}">
                  <a16:creationId xmlns:a16="http://schemas.microsoft.com/office/drawing/2014/main" xmlns="" id="{361D8FD5-551C-42A9-9EDC-1B42611B0E74}"/>
                </a:ext>
              </a:extLst>
            </p:cNvPr>
            <p:cNvSpPr/>
            <p:nvPr/>
          </p:nvSpPr>
          <p:spPr>
            <a:xfrm flipV="1">
              <a:off x="4994684" y="5327988"/>
              <a:ext cx="4358" cy="4360"/>
            </a:xfrm>
            <a:custGeom>
              <a:avLst/>
              <a:gdLst>
                <a:gd name="connsiteX0" fmla="*/ -4707 w 4358"/>
                <a:gd name="connsiteY0" fmla="*/ 2327 h 4360"/>
                <a:gd name="connsiteX1" fmla="*/ -2528 w 4358"/>
                <a:gd name="connsiteY1" fmla="*/ 147 h 4360"/>
                <a:gd name="connsiteX2" fmla="*/ -349 w 4358"/>
                <a:gd name="connsiteY2" fmla="*/ 2327 h 4360"/>
                <a:gd name="connsiteX3" fmla="*/ -2528 w 4358"/>
                <a:gd name="connsiteY3" fmla="*/ 4507 h 4360"/>
                <a:gd name="connsiteX4" fmla="*/ -4707 w 4358"/>
                <a:gd name="connsiteY4" fmla="*/ 2327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4707" y="2327"/>
                  </a:moveTo>
                  <a:cubicBezTo>
                    <a:pt x="-4707" y="1237"/>
                    <a:pt x="-3617" y="147"/>
                    <a:pt x="-2528" y="147"/>
                  </a:cubicBezTo>
                  <a:cubicBezTo>
                    <a:pt x="-1220" y="147"/>
                    <a:pt x="-349" y="1237"/>
                    <a:pt x="-349" y="2327"/>
                  </a:cubicBezTo>
                  <a:cubicBezTo>
                    <a:pt x="-349" y="3635"/>
                    <a:pt x="-1220" y="4507"/>
                    <a:pt x="-2528" y="4507"/>
                  </a:cubicBezTo>
                  <a:cubicBezTo>
                    <a:pt x="-3617" y="4507"/>
                    <a:pt x="-4707" y="3635"/>
                    <a:pt x="-4707" y="2327"/>
                  </a:cubicBezTo>
                  <a:close/>
                </a:path>
              </a:pathLst>
            </a:custGeom>
            <a:grpFill/>
            <a:ln w="218" cap="flat">
              <a:noFill/>
              <a:prstDash val="solid"/>
              <a:miter/>
            </a:ln>
          </p:spPr>
          <p:txBody>
            <a:bodyPr rtlCol="0" anchor="ctr"/>
            <a:lstStyle/>
            <a:p>
              <a:endParaRPr lang="en-GB" dirty="0"/>
            </a:p>
          </p:txBody>
        </p:sp>
        <p:sp>
          <p:nvSpPr>
            <p:cNvPr id="83" name="Freihandform: Form 82">
              <a:extLst>
                <a:ext uri="{FF2B5EF4-FFF2-40B4-BE49-F238E27FC236}">
                  <a16:creationId xmlns:a16="http://schemas.microsoft.com/office/drawing/2014/main" xmlns="" id="{74BD8EAA-BA28-4D93-A646-D8506875D667}"/>
                </a:ext>
              </a:extLst>
            </p:cNvPr>
            <p:cNvSpPr/>
            <p:nvPr/>
          </p:nvSpPr>
          <p:spPr>
            <a:xfrm flipV="1">
              <a:off x="4546252" y="5339111"/>
              <a:ext cx="16630" cy="15341"/>
            </a:xfrm>
            <a:custGeom>
              <a:avLst/>
              <a:gdLst>
                <a:gd name="connsiteX0" fmla="*/ -2029 w 16630"/>
                <a:gd name="connsiteY0" fmla="*/ 10999 h 15341"/>
                <a:gd name="connsiteX1" fmla="*/ 9302 w 16630"/>
                <a:gd name="connsiteY1" fmla="*/ 4023 h 15341"/>
                <a:gd name="connsiteX2" fmla="*/ 8212 w 16630"/>
                <a:gd name="connsiteY2" fmla="*/ 13179 h 15341"/>
                <a:gd name="connsiteX3" fmla="*/ -2029 w 16630"/>
                <a:gd name="connsiteY3" fmla="*/ 10999 h 15341"/>
              </a:gdLst>
              <a:ahLst/>
              <a:cxnLst>
                <a:cxn ang="0">
                  <a:pos x="connsiteX0" y="connsiteY0"/>
                </a:cxn>
                <a:cxn ang="0">
                  <a:pos x="connsiteX1" y="connsiteY1"/>
                </a:cxn>
                <a:cxn ang="0">
                  <a:pos x="connsiteX2" y="connsiteY2"/>
                </a:cxn>
                <a:cxn ang="0">
                  <a:pos x="connsiteX3" y="connsiteY3"/>
                </a:cxn>
              </a:cxnLst>
              <a:rect l="l" t="t" r="r" b="b"/>
              <a:pathLst>
                <a:path w="16630" h="15341">
                  <a:moveTo>
                    <a:pt x="-2029" y="10999"/>
                  </a:moveTo>
                  <a:cubicBezTo>
                    <a:pt x="-4862" y="-119"/>
                    <a:pt x="-504" y="-2953"/>
                    <a:pt x="9302" y="4023"/>
                  </a:cubicBezTo>
                  <a:cubicBezTo>
                    <a:pt x="15403" y="8383"/>
                    <a:pt x="15403" y="9691"/>
                    <a:pt x="8212" y="13179"/>
                  </a:cubicBezTo>
                  <a:cubicBezTo>
                    <a:pt x="368" y="16668"/>
                    <a:pt x="-504" y="16668"/>
                    <a:pt x="-2029" y="10999"/>
                  </a:cubicBezTo>
                  <a:close/>
                </a:path>
              </a:pathLst>
            </a:custGeom>
            <a:grpFill/>
            <a:ln w="218" cap="flat">
              <a:noFill/>
              <a:prstDash val="solid"/>
              <a:miter/>
            </a:ln>
          </p:spPr>
          <p:txBody>
            <a:bodyPr rtlCol="0" anchor="ctr"/>
            <a:lstStyle/>
            <a:p>
              <a:endParaRPr lang="en-GB" dirty="0"/>
            </a:p>
          </p:txBody>
        </p:sp>
        <p:sp>
          <p:nvSpPr>
            <p:cNvPr id="84" name="Freihandform: Form 83">
              <a:extLst>
                <a:ext uri="{FF2B5EF4-FFF2-40B4-BE49-F238E27FC236}">
                  <a16:creationId xmlns:a16="http://schemas.microsoft.com/office/drawing/2014/main" xmlns="" id="{30A6AEAC-A198-48C3-8DA8-02C661D469A6}"/>
                </a:ext>
              </a:extLst>
            </p:cNvPr>
            <p:cNvSpPr/>
            <p:nvPr/>
          </p:nvSpPr>
          <p:spPr>
            <a:xfrm flipV="1">
              <a:off x="4605121" y="5339052"/>
              <a:ext cx="3721" cy="6371"/>
            </a:xfrm>
            <a:custGeom>
              <a:avLst/>
              <a:gdLst>
                <a:gd name="connsiteX0" fmla="*/ -2281 w 3721"/>
                <a:gd name="connsiteY0" fmla="*/ 4780 h 6371"/>
                <a:gd name="connsiteX1" fmla="*/ -2717 w 3721"/>
                <a:gd name="connsiteY1" fmla="*/ 856 h 6371"/>
                <a:gd name="connsiteX2" fmla="*/ 334 w 3721"/>
                <a:gd name="connsiteY2" fmla="*/ 4780 h 6371"/>
                <a:gd name="connsiteX3" fmla="*/ -2281 w 3721"/>
                <a:gd name="connsiteY3" fmla="*/ 4780 h 6371"/>
              </a:gdLst>
              <a:ahLst/>
              <a:cxnLst>
                <a:cxn ang="0">
                  <a:pos x="connsiteX0" y="connsiteY0"/>
                </a:cxn>
                <a:cxn ang="0">
                  <a:pos x="connsiteX1" y="connsiteY1"/>
                </a:cxn>
                <a:cxn ang="0">
                  <a:pos x="connsiteX2" y="connsiteY2"/>
                </a:cxn>
                <a:cxn ang="0">
                  <a:pos x="connsiteX3" y="connsiteY3"/>
                </a:cxn>
              </a:cxnLst>
              <a:rect l="l" t="t" r="r" b="b"/>
              <a:pathLst>
                <a:path w="3721" h="6371">
                  <a:moveTo>
                    <a:pt x="-2281" y="4780"/>
                  </a:moveTo>
                  <a:cubicBezTo>
                    <a:pt x="-3152" y="3254"/>
                    <a:pt x="-3370" y="1510"/>
                    <a:pt x="-2717" y="856"/>
                  </a:cubicBezTo>
                  <a:cubicBezTo>
                    <a:pt x="-755" y="-1106"/>
                    <a:pt x="1424" y="1728"/>
                    <a:pt x="334" y="4780"/>
                  </a:cubicBezTo>
                  <a:cubicBezTo>
                    <a:pt x="-538" y="7178"/>
                    <a:pt x="-973" y="7178"/>
                    <a:pt x="-2281" y="4780"/>
                  </a:cubicBezTo>
                  <a:close/>
                </a:path>
              </a:pathLst>
            </a:custGeom>
            <a:grpFill/>
            <a:ln w="218" cap="flat">
              <a:noFill/>
              <a:prstDash val="solid"/>
              <a:miter/>
            </a:ln>
          </p:spPr>
          <p:txBody>
            <a:bodyPr rtlCol="0" anchor="ctr"/>
            <a:lstStyle/>
            <a:p>
              <a:endParaRPr lang="en-GB" dirty="0"/>
            </a:p>
          </p:txBody>
        </p:sp>
        <p:sp>
          <p:nvSpPr>
            <p:cNvPr id="85" name="Freihandform: Form 84">
              <a:extLst>
                <a:ext uri="{FF2B5EF4-FFF2-40B4-BE49-F238E27FC236}">
                  <a16:creationId xmlns:a16="http://schemas.microsoft.com/office/drawing/2014/main" xmlns="" id="{955BD18A-2A65-4CDB-A790-1D3EC814D7D3}"/>
                </a:ext>
              </a:extLst>
            </p:cNvPr>
            <p:cNvSpPr/>
            <p:nvPr/>
          </p:nvSpPr>
          <p:spPr>
            <a:xfrm flipV="1">
              <a:off x="4674360" y="5338888"/>
              <a:ext cx="4358" cy="4360"/>
            </a:xfrm>
            <a:custGeom>
              <a:avLst/>
              <a:gdLst>
                <a:gd name="connsiteX0" fmla="*/ -3384 w 4358"/>
                <a:gd name="connsiteY0" fmla="*/ 2382 h 4360"/>
                <a:gd name="connsiteX1" fmla="*/ -1205 w 4358"/>
                <a:gd name="connsiteY1" fmla="*/ 202 h 4360"/>
                <a:gd name="connsiteX2" fmla="*/ 974 w 4358"/>
                <a:gd name="connsiteY2" fmla="*/ 2382 h 4360"/>
                <a:gd name="connsiteX3" fmla="*/ -1205 w 4358"/>
                <a:gd name="connsiteY3" fmla="*/ 4562 h 4360"/>
                <a:gd name="connsiteX4" fmla="*/ -3384 w 4358"/>
                <a:gd name="connsiteY4" fmla="*/ 2382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3384" y="2382"/>
                  </a:moveTo>
                  <a:cubicBezTo>
                    <a:pt x="-3384" y="1292"/>
                    <a:pt x="-2294" y="202"/>
                    <a:pt x="-1205" y="202"/>
                  </a:cubicBezTo>
                  <a:cubicBezTo>
                    <a:pt x="103" y="202"/>
                    <a:pt x="974" y="1292"/>
                    <a:pt x="974" y="2382"/>
                  </a:cubicBezTo>
                  <a:cubicBezTo>
                    <a:pt x="974" y="3690"/>
                    <a:pt x="103" y="4562"/>
                    <a:pt x="-1205" y="4562"/>
                  </a:cubicBezTo>
                  <a:cubicBezTo>
                    <a:pt x="-2294" y="4562"/>
                    <a:pt x="-3384" y="3690"/>
                    <a:pt x="-3384" y="2382"/>
                  </a:cubicBezTo>
                  <a:close/>
                </a:path>
              </a:pathLst>
            </a:custGeom>
            <a:grpFill/>
            <a:ln w="218" cap="flat">
              <a:noFill/>
              <a:prstDash val="solid"/>
              <a:miter/>
            </a:ln>
          </p:spPr>
          <p:txBody>
            <a:bodyPr rtlCol="0" anchor="ctr"/>
            <a:lstStyle/>
            <a:p>
              <a:endParaRPr lang="en-GB" dirty="0"/>
            </a:p>
          </p:txBody>
        </p:sp>
        <p:sp>
          <p:nvSpPr>
            <p:cNvPr id="86" name="Freihandform: Form 85">
              <a:extLst>
                <a:ext uri="{FF2B5EF4-FFF2-40B4-BE49-F238E27FC236}">
                  <a16:creationId xmlns:a16="http://schemas.microsoft.com/office/drawing/2014/main" xmlns="" id="{A86B1241-B26C-41C1-B63E-0EEB870A3BFC}"/>
                </a:ext>
              </a:extLst>
            </p:cNvPr>
            <p:cNvSpPr/>
            <p:nvPr/>
          </p:nvSpPr>
          <p:spPr>
            <a:xfrm flipV="1">
              <a:off x="4922121" y="5341807"/>
              <a:ext cx="21769" cy="38076"/>
            </a:xfrm>
            <a:custGeom>
              <a:avLst/>
              <a:gdLst>
                <a:gd name="connsiteX0" fmla="*/ 4055 w 21769"/>
                <a:gd name="connsiteY0" fmla="*/ 37591 h 38076"/>
                <a:gd name="connsiteX1" fmla="*/ 4055 w 21769"/>
                <a:gd name="connsiteY1" fmla="*/ 31487 h 38076"/>
                <a:gd name="connsiteX2" fmla="*/ 351 w 21769"/>
                <a:gd name="connsiteY2" fmla="*/ 24729 h 38076"/>
                <a:gd name="connsiteX3" fmla="*/ -4443 w 21769"/>
                <a:gd name="connsiteY3" fmla="*/ 22549 h 38076"/>
                <a:gd name="connsiteX4" fmla="*/ 2094 w 21769"/>
                <a:gd name="connsiteY4" fmla="*/ 14919 h 38076"/>
                <a:gd name="connsiteX5" fmla="*/ 10157 w 21769"/>
                <a:gd name="connsiteY5" fmla="*/ 3364 h 38076"/>
                <a:gd name="connsiteX6" fmla="*/ 14951 w 21769"/>
                <a:gd name="connsiteY6" fmla="*/ 2492 h 38076"/>
                <a:gd name="connsiteX7" fmla="*/ 16040 w 21769"/>
                <a:gd name="connsiteY7" fmla="*/ 10558 h 38076"/>
                <a:gd name="connsiteX8" fmla="*/ 14951 w 21769"/>
                <a:gd name="connsiteY8" fmla="*/ 20369 h 38076"/>
                <a:gd name="connsiteX9" fmla="*/ 13861 w 21769"/>
                <a:gd name="connsiteY9" fmla="*/ 26909 h 38076"/>
                <a:gd name="connsiteX10" fmla="*/ 11464 w 21769"/>
                <a:gd name="connsiteY10" fmla="*/ 32577 h 38076"/>
                <a:gd name="connsiteX11" fmla="*/ 4055 w 21769"/>
                <a:gd name="connsiteY11" fmla="*/ 37591 h 38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769" h="38076">
                  <a:moveTo>
                    <a:pt x="4055" y="37591"/>
                  </a:moveTo>
                  <a:cubicBezTo>
                    <a:pt x="3401" y="36937"/>
                    <a:pt x="3401" y="34103"/>
                    <a:pt x="4055" y="31487"/>
                  </a:cubicBezTo>
                  <a:cubicBezTo>
                    <a:pt x="4927" y="27999"/>
                    <a:pt x="3837" y="26255"/>
                    <a:pt x="351" y="24729"/>
                  </a:cubicBezTo>
                  <a:lnTo>
                    <a:pt x="-4443" y="22549"/>
                  </a:lnTo>
                  <a:lnTo>
                    <a:pt x="2094" y="14919"/>
                  </a:lnTo>
                  <a:cubicBezTo>
                    <a:pt x="5580" y="10994"/>
                    <a:pt x="9285" y="5544"/>
                    <a:pt x="10157" y="3364"/>
                  </a:cubicBezTo>
                  <a:cubicBezTo>
                    <a:pt x="11464" y="-560"/>
                    <a:pt x="11900" y="-560"/>
                    <a:pt x="14951" y="2492"/>
                  </a:cubicBezTo>
                  <a:cubicBezTo>
                    <a:pt x="17783" y="5108"/>
                    <a:pt x="18001" y="6852"/>
                    <a:pt x="16040" y="10558"/>
                  </a:cubicBezTo>
                  <a:cubicBezTo>
                    <a:pt x="14733" y="12956"/>
                    <a:pt x="14079" y="17317"/>
                    <a:pt x="14951" y="20369"/>
                  </a:cubicBezTo>
                  <a:cubicBezTo>
                    <a:pt x="15604" y="23203"/>
                    <a:pt x="15168" y="26255"/>
                    <a:pt x="13861" y="26909"/>
                  </a:cubicBezTo>
                  <a:cubicBezTo>
                    <a:pt x="12554" y="27781"/>
                    <a:pt x="11464" y="30179"/>
                    <a:pt x="11464" y="32577"/>
                  </a:cubicBezTo>
                  <a:cubicBezTo>
                    <a:pt x="11464" y="36501"/>
                    <a:pt x="6452" y="39989"/>
                    <a:pt x="4055" y="37591"/>
                  </a:cubicBezTo>
                  <a:close/>
                </a:path>
              </a:pathLst>
            </a:custGeom>
            <a:grpFill/>
            <a:ln w="218" cap="flat">
              <a:noFill/>
              <a:prstDash val="solid"/>
              <a:miter/>
            </a:ln>
          </p:spPr>
          <p:txBody>
            <a:bodyPr rtlCol="0" anchor="ctr"/>
            <a:lstStyle/>
            <a:p>
              <a:endParaRPr lang="en-GB" dirty="0"/>
            </a:p>
          </p:txBody>
        </p:sp>
        <p:sp>
          <p:nvSpPr>
            <p:cNvPr id="87" name="Freihandform: Form 86">
              <a:extLst>
                <a:ext uri="{FF2B5EF4-FFF2-40B4-BE49-F238E27FC236}">
                  <a16:creationId xmlns:a16="http://schemas.microsoft.com/office/drawing/2014/main" xmlns="" id="{3E304CB1-F179-4DD4-89A0-64E8CFF8CD5F}"/>
                </a:ext>
              </a:extLst>
            </p:cNvPr>
            <p:cNvSpPr/>
            <p:nvPr/>
          </p:nvSpPr>
          <p:spPr>
            <a:xfrm flipV="1">
              <a:off x="4942386" y="5341068"/>
              <a:ext cx="55648" cy="75333"/>
            </a:xfrm>
            <a:custGeom>
              <a:avLst/>
              <a:gdLst>
                <a:gd name="connsiteX0" fmla="*/ -4597 w 55648"/>
                <a:gd name="connsiteY0" fmla="*/ 73546 h 75333"/>
                <a:gd name="connsiteX1" fmla="*/ -1546 w 55648"/>
                <a:gd name="connsiteY1" fmla="*/ 69840 h 75333"/>
                <a:gd name="connsiteX2" fmla="*/ 6081 w 55648"/>
                <a:gd name="connsiteY2" fmla="*/ 51091 h 75333"/>
                <a:gd name="connsiteX3" fmla="*/ 10657 w 55648"/>
                <a:gd name="connsiteY3" fmla="*/ 40191 h 75333"/>
                <a:gd name="connsiteX4" fmla="*/ 15015 w 55648"/>
                <a:gd name="connsiteY4" fmla="*/ 37138 h 75333"/>
                <a:gd name="connsiteX5" fmla="*/ 8042 w 55648"/>
                <a:gd name="connsiteY5" fmla="*/ 33650 h 75333"/>
                <a:gd name="connsiteX6" fmla="*/ 4119 w 55648"/>
                <a:gd name="connsiteY6" fmla="*/ 33650 h 75333"/>
                <a:gd name="connsiteX7" fmla="*/ 6516 w 55648"/>
                <a:gd name="connsiteY7" fmla="*/ 29944 h 75333"/>
                <a:gd name="connsiteX8" fmla="*/ 8042 w 55648"/>
                <a:gd name="connsiteY8" fmla="*/ 25802 h 75333"/>
                <a:gd name="connsiteX9" fmla="*/ 30268 w 55648"/>
                <a:gd name="connsiteY9" fmla="*/ 513 h 75333"/>
                <a:gd name="connsiteX10" fmla="*/ 29179 w 55648"/>
                <a:gd name="connsiteY10" fmla="*/ 11850 h 75333"/>
                <a:gd name="connsiteX11" fmla="*/ 28961 w 55648"/>
                <a:gd name="connsiteY11" fmla="*/ 34304 h 75333"/>
                <a:gd name="connsiteX12" fmla="*/ 48572 w 55648"/>
                <a:gd name="connsiteY12" fmla="*/ 52399 h 75333"/>
                <a:gd name="connsiteX13" fmla="*/ 48790 w 55648"/>
                <a:gd name="connsiteY13" fmla="*/ 61773 h 75333"/>
                <a:gd name="connsiteX14" fmla="*/ 46611 w 55648"/>
                <a:gd name="connsiteY14" fmla="*/ 69404 h 75333"/>
                <a:gd name="connsiteX15" fmla="*/ 42471 w 55648"/>
                <a:gd name="connsiteY15" fmla="*/ 73546 h 75333"/>
                <a:gd name="connsiteX16" fmla="*/ 36370 w 55648"/>
                <a:gd name="connsiteY16" fmla="*/ 67005 h 75333"/>
                <a:gd name="connsiteX17" fmla="*/ 35716 w 55648"/>
                <a:gd name="connsiteY17" fmla="*/ 53925 h 75333"/>
                <a:gd name="connsiteX18" fmla="*/ 29179 w 55648"/>
                <a:gd name="connsiteY18" fmla="*/ 46077 h 75333"/>
                <a:gd name="connsiteX19" fmla="*/ 27000 w 55648"/>
                <a:gd name="connsiteY19" fmla="*/ 51527 h 75333"/>
                <a:gd name="connsiteX20" fmla="*/ 25910 w 55648"/>
                <a:gd name="connsiteY20" fmla="*/ 61555 h 75333"/>
                <a:gd name="connsiteX21" fmla="*/ 20245 w 55648"/>
                <a:gd name="connsiteY21" fmla="*/ 64607 h 75333"/>
                <a:gd name="connsiteX22" fmla="*/ 14797 w 55648"/>
                <a:gd name="connsiteY22" fmla="*/ 65261 h 75333"/>
                <a:gd name="connsiteX23" fmla="*/ 633 w 55648"/>
                <a:gd name="connsiteY23" fmla="*/ 75726 h 75333"/>
                <a:gd name="connsiteX24" fmla="*/ -4597 w 55648"/>
                <a:gd name="connsiteY24" fmla="*/ 73546 h 75333"/>
                <a:gd name="connsiteX25" fmla="*/ 15451 w 55648"/>
                <a:gd name="connsiteY25" fmla="*/ 53489 h 75333"/>
                <a:gd name="connsiteX26" fmla="*/ 12836 w 55648"/>
                <a:gd name="connsiteY26" fmla="*/ 53053 h 75333"/>
                <a:gd name="connsiteX27" fmla="*/ 16976 w 55648"/>
                <a:gd name="connsiteY27" fmla="*/ 57195 h 75333"/>
                <a:gd name="connsiteX28" fmla="*/ 15451 w 55648"/>
                <a:gd name="connsiteY28" fmla="*/ 53489 h 75333"/>
                <a:gd name="connsiteX29" fmla="*/ 25910 w 55648"/>
                <a:gd name="connsiteY29" fmla="*/ 39973 h 75333"/>
                <a:gd name="connsiteX30" fmla="*/ 23731 w 55648"/>
                <a:gd name="connsiteY30" fmla="*/ 37574 h 75333"/>
                <a:gd name="connsiteX31" fmla="*/ 21552 w 55648"/>
                <a:gd name="connsiteY31" fmla="*/ 38446 h 75333"/>
                <a:gd name="connsiteX32" fmla="*/ 23731 w 55648"/>
                <a:gd name="connsiteY32" fmla="*/ 40845 h 75333"/>
                <a:gd name="connsiteX33" fmla="*/ 25910 w 55648"/>
                <a:gd name="connsiteY33" fmla="*/ 39973 h 75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5648" h="75333">
                  <a:moveTo>
                    <a:pt x="-4597" y="73546"/>
                  </a:moveTo>
                  <a:cubicBezTo>
                    <a:pt x="-4597" y="72456"/>
                    <a:pt x="-3289" y="70712"/>
                    <a:pt x="-1546" y="69840"/>
                  </a:cubicBezTo>
                  <a:cubicBezTo>
                    <a:pt x="3684" y="66787"/>
                    <a:pt x="8260" y="55233"/>
                    <a:pt x="6081" y="51091"/>
                  </a:cubicBezTo>
                  <a:cubicBezTo>
                    <a:pt x="2812" y="45423"/>
                    <a:pt x="5645" y="38883"/>
                    <a:pt x="10657" y="40191"/>
                  </a:cubicBezTo>
                  <a:cubicBezTo>
                    <a:pt x="13925" y="41063"/>
                    <a:pt x="15015" y="40191"/>
                    <a:pt x="15015" y="37138"/>
                  </a:cubicBezTo>
                  <a:cubicBezTo>
                    <a:pt x="15015" y="30816"/>
                    <a:pt x="12618" y="29508"/>
                    <a:pt x="8042" y="33650"/>
                  </a:cubicBezTo>
                  <a:cubicBezTo>
                    <a:pt x="4337" y="36920"/>
                    <a:pt x="4119" y="36920"/>
                    <a:pt x="4119" y="33650"/>
                  </a:cubicBezTo>
                  <a:cubicBezTo>
                    <a:pt x="4119" y="31470"/>
                    <a:pt x="5209" y="29944"/>
                    <a:pt x="6516" y="29944"/>
                  </a:cubicBezTo>
                  <a:cubicBezTo>
                    <a:pt x="7606" y="29944"/>
                    <a:pt x="8478" y="28200"/>
                    <a:pt x="8042" y="25802"/>
                  </a:cubicBezTo>
                  <a:cubicBezTo>
                    <a:pt x="7170" y="21006"/>
                    <a:pt x="27000" y="-1449"/>
                    <a:pt x="30268" y="513"/>
                  </a:cubicBezTo>
                  <a:cubicBezTo>
                    <a:pt x="33537" y="2475"/>
                    <a:pt x="32883" y="9888"/>
                    <a:pt x="29179" y="11850"/>
                  </a:cubicBezTo>
                  <a:cubicBezTo>
                    <a:pt x="23949" y="14902"/>
                    <a:pt x="23731" y="34304"/>
                    <a:pt x="28961" y="34304"/>
                  </a:cubicBezTo>
                  <a:cubicBezTo>
                    <a:pt x="32883" y="34304"/>
                    <a:pt x="43343" y="44115"/>
                    <a:pt x="48572" y="52399"/>
                  </a:cubicBezTo>
                  <a:cubicBezTo>
                    <a:pt x="51841" y="57849"/>
                    <a:pt x="51841" y="58721"/>
                    <a:pt x="48790" y="61773"/>
                  </a:cubicBezTo>
                  <a:cubicBezTo>
                    <a:pt x="46829" y="63735"/>
                    <a:pt x="45958" y="67005"/>
                    <a:pt x="46611" y="69404"/>
                  </a:cubicBezTo>
                  <a:cubicBezTo>
                    <a:pt x="47701" y="72674"/>
                    <a:pt x="46829" y="73546"/>
                    <a:pt x="42471" y="73546"/>
                  </a:cubicBezTo>
                  <a:cubicBezTo>
                    <a:pt x="37677" y="73546"/>
                    <a:pt x="36805" y="72456"/>
                    <a:pt x="36370" y="67005"/>
                  </a:cubicBezTo>
                  <a:cubicBezTo>
                    <a:pt x="36152" y="63517"/>
                    <a:pt x="35934" y="57413"/>
                    <a:pt x="35716" y="53925"/>
                  </a:cubicBezTo>
                  <a:cubicBezTo>
                    <a:pt x="35280" y="45859"/>
                    <a:pt x="33755" y="44333"/>
                    <a:pt x="29179" y="46077"/>
                  </a:cubicBezTo>
                  <a:cubicBezTo>
                    <a:pt x="26782" y="46949"/>
                    <a:pt x="26128" y="48911"/>
                    <a:pt x="27000" y="51527"/>
                  </a:cubicBezTo>
                  <a:cubicBezTo>
                    <a:pt x="27653" y="53707"/>
                    <a:pt x="27218" y="58285"/>
                    <a:pt x="25910" y="61555"/>
                  </a:cubicBezTo>
                  <a:cubicBezTo>
                    <a:pt x="23949" y="66569"/>
                    <a:pt x="23077" y="67005"/>
                    <a:pt x="20245" y="64607"/>
                  </a:cubicBezTo>
                  <a:cubicBezTo>
                    <a:pt x="17412" y="62209"/>
                    <a:pt x="16540" y="62427"/>
                    <a:pt x="14797" y="65261"/>
                  </a:cubicBezTo>
                  <a:cubicBezTo>
                    <a:pt x="11092" y="72020"/>
                    <a:pt x="6081" y="75726"/>
                    <a:pt x="633" y="75726"/>
                  </a:cubicBezTo>
                  <a:cubicBezTo>
                    <a:pt x="-2200" y="75726"/>
                    <a:pt x="-4597" y="74854"/>
                    <a:pt x="-4597" y="73546"/>
                  </a:cubicBezTo>
                  <a:close/>
                  <a:moveTo>
                    <a:pt x="15451" y="53489"/>
                  </a:moveTo>
                  <a:cubicBezTo>
                    <a:pt x="13925" y="51963"/>
                    <a:pt x="12836" y="51745"/>
                    <a:pt x="12836" y="53053"/>
                  </a:cubicBezTo>
                  <a:cubicBezTo>
                    <a:pt x="12836" y="56105"/>
                    <a:pt x="15451" y="58721"/>
                    <a:pt x="16976" y="57195"/>
                  </a:cubicBezTo>
                  <a:cubicBezTo>
                    <a:pt x="17412" y="56541"/>
                    <a:pt x="16758" y="54797"/>
                    <a:pt x="15451" y="53489"/>
                  </a:cubicBezTo>
                  <a:close/>
                  <a:moveTo>
                    <a:pt x="25910" y="39973"/>
                  </a:moveTo>
                  <a:cubicBezTo>
                    <a:pt x="25910" y="39319"/>
                    <a:pt x="25038" y="38228"/>
                    <a:pt x="23731" y="37574"/>
                  </a:cubicBezTo>
                  <a:cubicBezTo>
                    <a:pt x="22642" y="36920"/>
                    <a:pt x="21552" y="37356"/>
                    <a:pt x="21552" y="38446"/>
                  </a:cubicBezTo>
                  <a:cubicBezTo>
                    <a:pt x="21552" y="39755"/>
                    <a:pt x="22642" y="40845"/>
                    <a:pt x="23731" y="40845"/>
                  </a:cubicBezTo>
                  <a:cubicBezTo>
                    <a:pt x="25038" y="40845"/>
                    <a:pt x="25910" y="40409"/>
                    <a:pt x="25910" y="39973"/>
                  </a:cubicBezTo>
                  <a:close/>
                </a:path>
              </a:pathLst>
            </a:custGeom>
            <a:grpFill/>
            <a:ln w="218" cap="flat">
              <a:noFill/>
              <a:prstDash val="solid"/>
              <a:miter/>
            </a:ln>
          </p:spPr>
          <p:txBody>
            <a:bodyPr rtlCol="0" anchor="ctr"/>
            <a:lstStyle/>
            <a:p>
              <a:endParaRPr lang="en-GB" dirty="0"/>
            </a:p>
          </p:txBody>
        </p:sp>
        <p:sp>
          <p:nvSpPr>
            <p:cNvPr id="88" name="Freihandform: Form 87">
              <a:extLst>
                <a:ext uri="{FF2B5EF4-FFF2-40B4-BE49-F238E27FC236}">
                  <a16:creationId xmlns:a16="http://schemas.microsoft.com/office/drawing/2014/main" xmlns="" id="{CB3FCB7A-7153-4BEB-B62E-80A28D31D330}"/>
                </a:ext>
              </a:extLst>
            </p:cNvPr>
            <p:cNvSpPr/>
            <p:nvPr/>
          </p:nvSpPr>
          <p:spPr>
            <a:xfrm flipV="1">
              <a:off x="5258352" y="5341420"/>
              <a:ext cx="4793" cy="5836"/>
            </a:xfrm>
            <a:custGeom>
              <a:avLst/>
              <a:gdLst>
                <a:gd name="connsiteX0" fmla="*/ -5797 w 4793"/>
                <a:gd name="connsiteY0" fmla="*/ 3137 h 5836"/>
                <a:gd name="connsiteX1" fmla="*/ -3400 w 4793"/>
                <a:gd name="connsiteY1" fmla="*/ 303 h 5836"/>
                <a:gd name="connsiteX2" fmla="*/ -1003 w 4793"/>
                <a:gd name="connsiteY2" fmla="*/ 3137 h 5836"/>
                <a:gd name="connsiteX3" fmla="*/ -3400 w 4793"/>
                <a:gd name="connsiteY3" fmla="*/ 5971 h 5836"/>
                <a:gd name="connsiteX4" fmla="*/ -5797 w 4793"/>
                <a:gd name="connsiteY4" fmla="*/ 3137 h 5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3" h="5836">
                  <a:moveTo>
                    <a:pt x="-5797" y="3137"/>
                  </a:moveTo>
                  <a:cubicBezTo>
                    <a:pt x="-5797" y="1175"/>
                    <a:pt x="-4707" y="-133"/>
                    <a:pt x="-3400" y="303"/>
                  </a:cubicBezTo>
                  <a:cubicBezTo>
                    <a:pt x="-2092" y="739"/>
                    <a:pt x="-1003" y="2047"/>
                    <a:pt x="-1003" y="3137"/>
                  </a:cubicBezTo>
                  <a:cubicBezTo>
                    <a:pt x="-1003" y="4227"/>
                    <a:pt x="-2092" y="5535"/>
                    <a:pt x="-3400" y="5971"/>
                  </a:cubicBezTo>
                  <a:cubicBezTo>
                    <a:pt x="-4707" y="6407"/>
                    <a:pt x="-5797" y="5099"/>
                    <a:pt x="-5797" y="3137"/>
                  </a:cubicBezTo>
                  <a:close/>
                </a:path>
              </a:pathLst>
            </a:custGeom>
            <a:grpFill/>
            <a:ln w="218" cap="flat">
              <a:noFill/>
              <a:prstDash val="solid"/>
              <a:miter/>
            </a:ln>
          </p:spPr>
          <p:txBody>
            <a:bodyPr rtlCol="0" anchor="ctr"/>
            <a:lstStyle/>
            <a:p>
              <a:endParaRPr lang="en-GB" dirty="0"/>
            </a:p>
          </p:txBody>
        </p:sp>
        <p:sp>
          <p:nvSpPr>
            <p:cNvPr id="89" name="Freihandform: Form 88">
              <a:extLst>
                <a:ext uri="{FF2B5EF4-FFF2-40B4-BE49-F238E27FC236}">
                  <a16:creationId xmlns:a16="http://schemas.microsoft.com/office/drawing/2014/main" xmlns="" id="{31A0F093-95B8-4A40-B18A-D338EAEF9481}"/>
                </a:ext>
              </a:extLst>
            </p:cNvPr>
            <p:cNvSpPr/>
            <p:nvPr/>
          </p:nvSpPr>
          <p:spPr>
            <a:xfrm flipV="1">
              <a:off x="4657597" y="5343691"/>
              <a:ext cx="13920" cy="22387"/>
            </a:xfrm>
            <a:custGeom>
              <a:avLst/>
              <a:gdLst>
                <a:gd name="connsiteX0" fmla="*/ -2043 w 13920"/>
                <a:gd name="connsiteY0" fmla="*/ 17869 h 22387"/>
                <a:gd name="connsiteX1" fmla="*/ 354 w 13920"/>
                <a:gd name="connsiteY1" fmla="*/ 5661 h 22387"/>
                <a:gd name="connsiteX2" fmla="*/ 8635 w 13920"/>
                <a:gd name="connsiteY2" fmla="*/ 1954 h 22387"/>
                <a:gd name="connsiteX3" fmla="*/ 7763 w 13920"/>
                <a:gd name="connsiteY3" fmla="*/ 14163 h 22387"/>
                <a:gd name="connsiteX4" fmla="*/ -2043 w 13920"/>
                <a:gd name="connsiteY4" fmla="*/ 17869 h 2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20" h="22387">
                  <a:moveTo>
                    <a:pt x="-2043" y="17869"/>
                  </a:moveTo>
                  <a:cubicBezTo>
                    <a:pt x="-4222" y="13509"/>
                    <a:pt x="-3786" y="11329"/>
                    <a:pt x="354" y="5661"/>
                  </a:cubicBezTo>
                  <a:cubicBezTo>
                    <a:pt x="4713" y="-444"/>
                    <a:pt x="5584" y="-880"/>
                    <a:pt x="8635" y="1954"/>
                  </a:cubicBezTo>
                  <a:cubicBezTo>
                    <a:pt x="11468" y="5006"/>
                    <a:pt x="11250" y="6315"/>
                    <a:pt x="7763" y="14163"/>
                  </a:cubicBezTo>
                  <a:cubicBezTo>
                    <a:pt x="2969" y="24409"/>
                    <a:pt x="1226" y="25063"/>
                    <a:pt x="-2043" y="17869"/>
                  </a:cubicBezTo>
                  <a:close/>
                </a:path>
              </a:pathLst>
            </a:custGeom>
            <a:grpFill/>
            <a:ln w="218" cap="flat">
              <a:noFill/>
              <a:prstDash val="solid"/>
              <a:miter/>
            </a:ln>
          </p:spPr>
          <p:txBody>
            <a:bodyPr rtlCol="0" anchor="ctr"/>
            <a:lstStyle/>
            <a:p>
              <a:endParaRPr lang="en-GB" dirty="0"/>
            </a:p>
          </p:txBody>
        </p:sp>
        <p:sp>
          <p:nvSpPr>
            <p:cNvPr id="90" name="Freihandform: Form 89">
              <a:extLst>
                <a:ext uri="{FF2B5EF4-FFF2-40B4-BE49-F238E27FC236}">
                  <a16:creationId xmlns:a16="http://schemas.microsoft.com/office/drawing/2014/main" xmlns="" id="{8E155F77-45C8-4A80-85AF-641AE15AC1B7}"/>
                </a:ext>
              </a:extLst>
            </p:cNvPr>
            <p:cNvSpPr/>
            <p:nvPr/>
          </p:nvSpPr>
          <p:spPr>
            <a:xfrm flipV="1">
              <a:off x="5232848" y="5352589"/>
              <a:ext cx="26792" cy="27938"/>
            </a:xfrm>
            <a:custGeom>
              <a:avLst/>
              <a:gdLst>
                <a:gd name="connsiteX0" fmla="*/ 6693 w 26792"/>
                <a:gd name="connsiteY0" fmla="*/ 26492 h 27938"/>
                <a:gd name="connsiteX1" fmla="*/ 1463 w 26792"/>
                <a:gd name="connsiteY1" fmla="*/ 24529 h 27938"/>
                <a:gd name="connsiteX2" fmla="*/ -3549 w 26792"/>
                <a:gd name="connsiteY2" fmla="*/ 16245 h 27938"/>
                <a:gd name="connsiteX3" fmla="*/ 2989 w 26792"/>
                <a:gd name="connsiteY3" fmla="*/ 15591 h 27938"/>
                <a:gd name="connsiteX4" fmla="*/ 7565 w 26792"/>
                <a:gd name="connsiteY4" fmla="*/ 9269 h 27938"/>
                <a:gd name="connsiteX5" fmla="*/ 8872 w 26792"/>
                <a:gd name="connsiteY5" fmla="*/ 331 h 27938"/>
                <a:gd name="connsiteX6" fmla="*/ 14320 w 26792"/>
                <a:gd name="connsiteY6" fmla="*/ 4255 h 27938"/>
                <a:gd name="connsiteX7" fmla="*/ 19767 w 26792"/>
                <a:gd name="connsiteY7" fmla="*/ 15155 h 27938"/>
                <a:gd name="connsiteX8" fmla="*/ 20857 w 26792"/>
                <a:gd name="connsiteY8" fmla="*/ 24965 h 27938"/>
                <a:gd name="connsiteX9" fmla="*/ 14320 w 26792"/>
                <a:gd name="connsiteY9" fmla="*/ 28236 h 27938"/>
                <a:gd name="connsiteX10" fmla="*/ 6693 w 26792"/>
                <a:gd name="connsiteY10" fmla="*/ 26492 h 27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792" h="27938">
                  <a:moveTo>
                    <a:pt x="6693" y="26492"/>
                  </a:moveTo>
                  <a:cubicBezTo>
                    <a:pt x="6693" y="25401"/>
                    <a:pt x="4296" y="24529"/>
                    <a:pt x="1463" y="24529"/>
                  </a:cubicBezTo>
                  <a:cubicBezTo>
                    <a:pt x="-5510" y="24529"/>
                    <a:pt x="-7907" y="20605"/>
                    <a:pt x="-3549" y="16245"/>
                  </a:cubicBezTo>
                  <a:cubicBezTo>
                    <a:pt x="-716" y="13629"/>
                    <a:pt x="592" y="13411"/>
                    <a:pt x="2989" y="15591"/>
                  </a:cubicBezTo>
                  <a:cubicBezTo>
                    <a:pt x="5603" y="17553"/>
                    <a:pt x="6475" y="16463"/>
                    <a:pt x="7565" y="9269"/>
                  </a:cubicBezTo>
                  <a:lnTo>
                    <a:pt x="8872" y="331"/>
                  </a:lnTo>
                  <a:lnTo>
                    <a:pt x="14320" y="4255"/>
                  </a:lnTo>
                  <a:cubicBezTo>
                    <a:pt x="18024" y="6871"/>
                    <a:pt x="19550" y="10359"/>
                    <a:pt x="19767" y="15155"/>
                  </a:cubicBezTo>
                  <a:cubicBezTo>
                    <a:pt x="19767" y="18861"/>
                    <a:pt x="20203" y="23221"/>
                    <a:pt x="20857" y="24965"/>
                  </a:cubicBezTo>
                  <a:cubicBezTo>
                    <a:pt x="21729" y="26928"/>
                    <a:pt x="19767" y="28018"/>
                    <a:pt x="14320" y="28236"/>
                  </a:cubicBezTo>
                  <a:cubicBezTo>
                    <a:pt x="10179" y="28454"/>
                    <a:pt x="6693" y="27582"/>
                    <a:pt x="6693" y="26492"/>
                  </a:cubicBezTo>
                  <a:close/>
                </a:path>
              </a:pathLst>
            </a:custGeom>
            <a:grpFill/>
            <a:ln w="218" cap="flat">
              <a:noFill/>
              <a:prstDash val="solid"/>
              <a:miter/>
            </a:ln>
          </p:spPr>
          <p:txBody>
            <a:bodyPr rtlCol="0" anchor="ctr"/>
            <a:lstStyle/>
            <a:p>
              <a:endParaRPr lang="en-GB" dirty="0"/>
            </a:p>
          </p:txBody>
        </p:sp>
        <p:sp>
          <p:nvSpPr>
            <p:cNvPr id="91" name="Freihandform: Form 90">
              <a:extLst>
                <a:ext uri="{FF2B5EF4-FFF2-40B4-BE49-F238E27FC236}">
                  <a16:creationId xmlns:a16="http://schemas.microsoft.com/office/drawing/2014/main" xmlns="" id="{27026273-3AC6-4EA7-85D1-AEB19E89F1C7}"/>
                </a:ext>
              </a:extLst>
            </p:cNvPr>
            <p:cNvSpPr/>
            <p:nvPr/>
          </p:nvSpPr>
          <p:spPr>
            <a:xfrm flipV="1">
              <a:off x="4589376" y="5362869"/>
              <a:ext cx="4358" cy="4360"/>
            </a:xfrm>
            <a:custGeom>
              <a:avLst/>
              <a:gdLst>
                <a:gd name="connsiteX0" fmla="*/ -3033 w 4358"/>
                <a:gd name="connsiteY0" fmla="*/ 2503 h 4360"/>
                <a:gd name="connsiteX1" fmla="*/ -854 w 4358"/>
                <a:gd name="connsiteY1" fmla="*/ 323 h 4360"/>
                <a:gd name="connsiteX2" fmla="*/ 1325 w 4358"/>
                <a:gd name="connsiteY2" fmla="*/ 2503 h 4360"/>
                <a:gd name="connsiteX3" fmla="*/ -854 w 4358"/>
                <a:gd name="connsiteY3" fmla="*/ 4683 h 4360"/>
                <a:gd name="connsiteX4" fmla="*/ -3033 w 4358"/>
                <a:gd name="connsiteY4" fmla="*/ 2503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3033" y="2503"/>
                  </a:moveTo>
                  <a:cubicBezTo>
                    <a:pt x="-3033" y="1413"/>
                    <a:pt x="-1943" y="323"/>
                    <a:pt x="-854" y="323"/>
                  </a:cubicBezTo>
                  <a:cubicBezTo>
                    <a:pt x="454" y="323"/>
                    <a:pt x="1325" y="1413"/>
                    <a:pt x="1325" y="2503"/>
                  </a:cubicBezTo>
                  <a:cubicBezTo>
                    <a:pt x="1325" y="3811"/>
                    <a:pt x="454" y="4683"/>
                    <a:pt x="-854" y="4683"/>
                  </a:cubicBezTo>
                  <a:cubicBezTo>
                    <a:pt x="-1943" y="4683"/>
                    <a:pt x="-3033" y="3811"/>
                    <a:pt x="-3033" y="2503"/>
                  </a:cubicBezTo>
                  <a:close/>
                </a:path>
              </a:pathLst>
            </a:custGeom>
            <a:grpFill/>
            <a:ln w="218" cap="flat">
              <a:noFill/>
              <a:prstDash val="solid"/>
              <a:miter/>
            </a:ln>
          </p:spPr>
          <p:txBody>
            <a:bodyPr rtlCol="0" anchor="ctr"/>
            <a:lstStyle/>
            <a:p>
              <a:endParaRPr lang="en-GB" dirty="0"/>
            </a:p>
          </p:txBody>
        </p:sp>
        <p:sp>
          <p:nvSpPr>
            <p:cNvPr id="92" name="Freihandform: Form 91">
              <a:extLst>
                <a:ext uri="{FF2B5EF4-FFF2-40B4-BE49-F238E27FC236}">
                  <a16:creationId xmlns:a16="http://schemas.microsoft.com/office/drawing/2014/main" xmlns="" id="{C8475D75-2414-454D-B552-199C6B2697FD}"/>
                </a:ext>
              </a:extLst>
            </p:cNvPr>
            <p:cNvSpPr/>
            <p:nvPr/>
          </p:nvSpPr>
          <p:spPr>
            <a:xfrm flipV="1">
              <a:off x="4285599" y="5365049"/>
              <a:ext cx="82289" cy="67049"/>
            </a:xfrm>
            <a:custGeom>
              <a:avLst/>
              <a:gdLst>
                <a:gd name="connsiteX0" fmla="*/ 12021 w 82289"/>
                <a:gd name="connsiteY0" fmla="*/ 61001 h 67049"/>
                <a:gd name="connsiteX1" fmla="*/ 6573 w 82289"/>
                <a:gd name="connsiteY1" fmla="*/ 54461 h 67049"/>
                <a:gd name="connsiteX2" fmla="*/ 1561 w 82289"/>
                <a:gd name="connsiteY2" fmla="*/ 46395 h 67049"/>
                <a:gd name="connsiteX3" fmla="*/ 12021 w 82289"/>
                <a:gd name="connsiteY3" fmla="*/ 41381 h 67049"/>
                <a:gd name="connsiteX4" fmla="*/ 21391 w 82289"/>
                <a:gd name="connsiteY4" fmla="*/ 47921 h 67049"/>
                <a:gd name="connsiteX5" fmla="*/ 22045 w 82289"/>
                <a:gd name="connsiteY5" fmla="*/ 39201 h 67049"/>
                <a:gd name="connsiteX6" fmla="*/ 8534 w 82289"/>
                <a:gd name="connsiteY6" fmla="*/ 26556 h 67049"/>
                <a:gd name="connsiteX7" fmla="*/ -1054 w 82289"/>
                <a:gd name="connsiteY7" fmla="*/ 21760 h 67049"/>
                <a:gd name="connsiteX8" fmla="*/ 20737 w 82289"/>
                <a:gd name="connsiteY8" fmla="*/ 14348 h 67049"/>
                <a:gd name="connsiteX9" fmla="*/ 26838 w 82289"/>
                <a:gd name="connsiteY9" fmla="*/ 16964 h 67049"/>
                <a:gd name="connsiteX10" fmla="*/ 33376 w 82289"/>
                <a:gd name="connsiteY10" fmla="*/ 9552 h 67049"/>
                <a:gd name="connsiteX11" fmla="*/ 43617 w 82289"/>
                <a:gd name="connsiteY11" fmla="*/ 3011 h 67049"/>
                <a:gd name="connsiteX12" fmla="*/ 56474 w 82289"/>
                <a:gd name="connsiteY12" fmla="*/ 6281 h 67049"/>
                <a:gd name="connsiteX13" fmla="*/ 64319 w 82289"/>
                <a:gd name="connsiteY13" fmla="*/ 3011 h 67049"/>
                <a:gd name="connsiteX14" fmla="*/ 71509 w 82289"/>
                <a:gd name="connsiteY14" fmla="*/ 1049 h 67049"/>
                <a:gd name="connsiteX15" fmla="*/ 77829 w 82289"/>
                <a:gd name="connsiteY15" fmla="*/ 11950 h 67049"/>
                <a:gd name="connsiteX16" fmla="*/ 69766 w 82289"/>
                <a:gd name="connsiteY16" fmla="*/ 18708 h 67049"/>
                <a:gd name="connsiteX17" fmla="*/ 59525 w 82289"/>
                <a:gd name="connsiteY17" fmla="*/ 25030 h 67049"/>
                <a:gd name="connsiteX18" fmla="*/ 54513 w 82289"/>
                <a:gd name="connsiteY18" fmla="*/ 29390 h 67049"/>
                <a:gd name="connsiteX19" fmla="*/ 47322 w 82289"/>
                <a:gd name="connsiteY19" fmla="*/ 31352 h 67049"/>
                <a:gd name="connsiteX20" fmla="*/ 43182 w 82289"/>
                <a:gd name="connsiteY20" fmla="*/ 28736 h 67049"/>
                <a:gd name="connsiteX21" fmla="*/ 33812 w 82289"/>
                <a:gd name="connsiteY21" fmla="*/ 23286 h 67049"/>
                <a:gd name="connsiteX22" fmla="*/ 33376 w 82289"/>
                <a:gd name="connsiteY22" fmla="*/ 34404 h 67049"/>
                <a:gd name="connsiteX23" fmla="*/ 39041 w 82289"/>
                <a:gd name="connsiteY23" fmla="*/ 43343 h 67049"/>
                <a:gd name="connsiteX24" fmla="*/ 45796 w 82289"/>
                <a:gd name="connsiteY24" fmla="*/ 50319 h 67049"/>
                <a:gd name="connsiteX25" fmla="*/ 42964 w 82289"/>
                <a:gd name="connsiteY25" fmla="*/ 61655 h 67049"/>
                <a:gd name="connsiteX26" fmla="*/ 27928 w 82289"/>
                <a:gd name="connsiteY26" fmla="*/ 66888 h 67049"/>
                <a:gd name="connsiteX27" fmla="*/ 12021 w 82289"/>
                <a:gd name="connsiteY27" fmla="*/ 67542 h 67049"/>
                <a:gd name="connsiteX28" fmla="*/ 12021 w 82289"/>
                <a:gd name="connsiteY28" fmla="*/ 61001 h 67049"/>
                <a:gd name="connsiteX29" fmla="*/ 34465 w 82289"/>
                <a:gd name="connsiteY29" fmla="*/ 59475 h 67049"/>
                <a:gd name="connsiteX30" fmla="*/ 26185 w 82289"/>
                <a:gd name="connsiteY30" fmla="*/ 50101 h 67049"/>
                <a:gd name="connsiteX31" fmla="*/ 22045 w 82289"/>
                <a:gd name="connsiteY31" fmla="*/ 59039 h 67049"/>
                <a:gd name="connsiteX32" fmla="*/ 34465 w 82289"/>
                <a:gd name="connsiteY32" fmla="*/ 59475 h 67049"/>
                <a:gd name="connsiteX33" fmla="*/ 52987 w 82289"/>
                <a:gd name="connsiteY33" fmla="*/ 17836 h 67049"/>
                <a:gd name="connsiteX34" fmla="*/ 44489 w 82289"/>
                <a:gd name="connsiteY34" fmla="*/ 12386 h 67049"/>
                <a:gd name="connsiteX35" fmla="*/ 45143 w 82289"/>
                <a:gd name="connsiteY35" fmla="*/ 19362 h 67049"/>
                <a:gd name="connsiteX36" fmla="*/ 52987 w 82289"/>
                <a:gd name="connsiteY36" fmla="*/ 17836 h 67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2289" h="67049">
                  <a:moveTo>
                    <a:pt x="12021" y="61001"/>
                  </a:moveTo>
                  <a:cubicBezTo>
                    <a:pt x="12021" y="55551"/>
                    <a:pt x="11149" y="54461"/>
                    <a:pt x="6573" y="54461"/>
                  </a:cubicBezTo>
                  <a:cubicBezTo>
                    <a:pt x="1779" y="54461"/>
                    <a:pt x="1343" y="53589"/>
                    <a:pt x="1561" y="46395"/>
                  </a:cubicBezTo>
                  <a:cubicBezTo>
                    <a:pt x="1779" y="34404"/>
                    <a:pt x="2651" y="33968"/>
                    <a:pt x="12021" y="41381"/>
                  </a:cubicBezTo>
                  <a:cubicBezTo>
                    <a:pt x="16597" y="44869"/>
                    <a:pt x="20737" y="47921"/>
                    <a:pt x="21391" y="47921"/>
                  </a:cubicBezTo>
                  <a:cubicBezTo>
                    <a:pt x="22045" y="47921"/>
                    <a:pt x="22262" y="43997"/>
                    <a:pt x="22045" y="39201"/>
                  </a:cubicBezTo>
                  <a:cubicBezTo>
                    <a:pt x="21609" y="28518"/>
                    <a:pt x="15943" y="23286"/>
                    <a:pt x="8534" y="26556"/>
                  </a:cubicBezTo>
                  <a:cubicBezTo>
                    <a:pt x="1125" y="30044"/>
                    <a:pt x="-4104" y="27428"/>
                    <a:pt x="-1054" y="21760"/>
                  </a:cubicBezTo>
                  <a:cubicBezTo>
                    <a:pt x="3522" y="13476"/>
                    <a:pt x="20737" y="7372"/>
                    <a:pt x="20737" y="14348"/>
                  </a:cubicBezTo>
                  <a:cubicBezTo>
                    <a:pt x="20737" y="16746"/>
                    <a:pt x="22480" y="17400"/>
                    <a:pt x="26838" y="16964"/>
                  </a:cubicBezTo>
                  <a:cubicBezTo>
                    <a:pt x="31632" y="16528"/>
                    <a:pt x="32940" y="15002"/>
                    <a:pt x="33376" y="9552"/>
                  </a:cubicBezTo>
                  <a:cubicBezTo>
                    <a:pt x="34029" y="3011"/>
                    <a:pt x="34465" y="2793"/>
                    <a:pt x="43617" y="3011"/>
                  </a:cubicBezTo>
                  <a:cubicBezTo>
                    <a:pt x="48847" y="3229"/>
                    <a:pt x="54513" y="4755"/>
                    <a:pt x="56474" y="6281"/>
                  </a:cubicBezTo>
                  <a:cubicBezTo>
                    <a:pt x="60178" y="9552"/>
                    <a:pt x="64319" y="7808"/>
                    <a:pt x="64319" y="3011"/>
                  </a:cubicBezTo>
                  <a:cubicBezTo>
                    <a:pt x="64319" y="395"/>
                    <a:pt x="65844" y="-41"/>
                    <a:pt x="71509" y="1049"/>
                  </a:cubicBezTo>
                  <a:cubicBezTo>
                    <a:pt x="81751" y="3447"/>
                    <a:pt x="81969" y="3665"/>
                    <a:pt x="77829" y="11950"/>
                  </a:cubicBezTo>
                  <a:cubicBezTo>
                    <a:pt x="74996" y="17836"/>
                    <a:pt x="73035" y="19362"/>
                    <a:pt x="69766" y="18708"/>
                  </a:cubicBezTo>
                  <a:cubicBezTo>
                    <a:pt x="64101" y="17400"/>
                    <a:pt x="60614" y="19580"/>
                    <a:pt x="59525" y="25030"/>
                  </a:cubicBezTo>
                  <a:cubicBezTo>
                    <a:pt x="59089" y="27646"/>
                    <a:pt x="57128" y="29390"/>
                    <a:pt x="54513" y="29390"/>
                  </a:cubicBezTo>
                  <a:cubicBezTo>
                    <a:pt x="52116" y="29390"/>
                    <a:pt x="48847" y="30262"/>
                    <a:pt x="47322" y="31352"/>
                  </a:cubicBezTo>
                  <a:cubicBezTo>
                    <a:pt x="45361" y="32442"/>
                    <a:pt x="44053" y="31788"/>
                    <a:pt x="43182" y="28736"/>
                  </a:cubicBezTo>
                  <a:cubicBezTo>
                    <a:pt x="42092" y="23940"/>
                    <a:pt x="36208" y="20670"/>
                    <a:pt x="33812" y="23286"/>
                  </a:cubicBezTo>
                  <a:cubicBezTo>
                    <a:pt x="32940" y="24158"/>
                    <a:pt x="32722" y="29172"/>
                    <a:pt x="33376" y="34404"/>
                  </a:cubicBezTo>
                  <a:cubicBezTo>
                    <a:pt x="34247" y="42471"/>
                    <a:pt x="34901" y="43779"/>
                    <a:pt x="39041" y="43343"/>
                  </a:cubicBezTo>
                  <a:cubicBezTo>
                    <a:pt x="48847" y="42689"/>
                    <a:pt x="49283" y="43125"/>
                    <a:pt x="45796" y="50319"/>
                  </a:cubicBezTo>
                  <a:cubicBezTo>
                    <a:pt x="43835" y="53807"/>
                    <a:pt x="42528" y="59039"/>
                    <a:pt x="42964" y="61655"/>
                  </a:cubicBezTo>
                  <a:cubicBezTo>
                    <a:pt x="43617" y="66016"/>
                    <a:pt x="42528" y="66234"/>
                    <a:pt x="27928" y="66888"/>
                  </a:cubicBezTo>
                  <a:lnTo>
                    <a:pt x="12021" y="67542"/>
                  </a:lnTo>
                  <a:lnTo>
                    <a:pt x="12021" y="61001"/>
                  </a:lnTo>
                  <a:close/>
                  <a:moveTo>
                    <a:pt x="34465" y="59475"/>
                  </a:moveTo>
                  <a:cubicBezTo>
                    <a:pt x="36426" y="57731"/>
                    <a:pt x="29671" y="50101"/>
                    <a:pt x="26185" y="50101"/>
                  </a:cubicBezTo>
                  <a:cubicBezTo>
                    <a:pt x="22916" y="50101"/>
                    <a:pt x="20083" y="56205"/>
                    <a:pt x="22045" y="59039"/>
                  </a:cubicBezTo>
                  <a:cubicBezTo>
                    <a:pt x="23352" y="61219"/>
                    <a:pt x="32286" y="61655"/>
                    <a:pt x="34465" y="59475"/>
                  </a:cubicBezTo>
                  <a:close/>
                  <a:moveTo>
                    <a:pt x="52987" y="17836"/>
                  </a:moveTo>
                  <a:cubicBezTo>
                    <a:pt x="53859" y="12386"/>
                    <a:pt x="47975" y="8898"/>
                    <a:pt x="44489" y="12386"/>
                  </a:cubicBezTo>
                  <a:cubicBezTo>
                    <a:pt x="42964" y="13912"/>
                    <a:pt x="43182" y="16310"/>
                    <a:pt x="45143" y="19362"/>
                  </a:cubicBezTo>
                  <a:cubicBezTo>
                    <a:pt x="48629" y="24812"/>
                    <a:pt x="52116" y="24158"/>
                    <a:pt x="52987" y="17836"/>
                  </a:cubicBezTo>
                  <a:close/>
                </a:path>
              </a:pathLst>
            </a:custGeom>
            <a:grpFill/>
            <a:ln w="218" cap="flat">
              <a:noFill/>
              <a:prstDash val="solid"/>
              <a:miter/>
            </a:ln>
          </p:spPr>
          <p:txBody>
            <a:bodyPr rtlCol="0" anchor="ctr"/>
            <a:lstStyle/>
            <a:p>
              <a:endParaRPr lang="en-GB" dirty="0"/>
            </a:p>
          </p:txBody>
        </p:sp>
        <p:sp>
          <p:nvSpPr>
            <p:cNvPr id="93" name="Freihandform: Form 92">
              <a:extLst>
                <a:ext uri="{FF2B5EF4-FFF2-40B4-BE49-F238E27FC236}">
                  <a16:creationId xmlns:a16="http://schemas.microsoft.com/office/drawing/2014/main" xmlns="" id="{6B6C18DF-80FE-478D-B3C8-30CD5E8F9D07}"/>
                </a:ext>
              </a:extLst>
            </p:cNvPr>
            <p:cNvSpPr/>
            <p:nvPr/>
          </p:nvSpPr>
          <p:spPr>
            <a:xfrm flipV="1">
              <a:off x="4336604" y="5365458"/>
              <a:ext cx="10605" cy="25751"/>
            </a:xfrm>
            <a:custGeom>
              <a:avLst/>
              <a:gdLst>
                <a:gd name="connsiteX0" fmla="*/ -2002 w 10605"/>
                <a:gd name="connsiteY0" fmla="*/ 22409 h 25751"/>
                <a:gd name="connsiteX1" fmla="*/ 177 w 10605"/>
                <a:gd name="connsiteY1" fmla="*/ 16741 h 25751"/>
                <a:gd name="connsiteX2" fmla="*/ 2356 w 10605"/>
                <a:gd name="connsiteY2" fmla="*/ 7802 h 25751"/>
                <a:gd name="connsiteX3" fmla="*/ 5843 w 10605"/>
                <a:gd name="connsiteY3" fmla="*/ 390 h 25751"/>
                <a:gd name="connsiteX4" fmla="*/ 8240 w 10605"/>
                <a:gd name="connsiteY4" fmla="*/ 5404 h 25751"/>
                <a:gd name="connsiteX5" fmla="*/ 5189 w 10605"/>
                <a:gd name="connsiteY5" fmla="*/ 17613 h 25751"/>
                <a:gd name="connsiteX6" fmla="*/ -2002 w 10605"/>
                <a:gd name="connsiteY6" fmla="*/ 22409 h 25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05" h="25751">
                  <a:moveTo>
                    <a:pt x="-2002" y="22409"/>
                  </a:moveTo>
                  <a:cubicBezTo>
                    <a:pt x="-2002" y="20011"/>
                    <a:pt x="-912" y="17395"/>
                    <a:pt x="177" y="16741"/>
                  </a:cubicBezTo>
                  <a:cubicBezTo>
                    <a:pt x="1485" y="16087"/>
                    <a:pt x="2356" y="11944"/>
                    <a:pt x="2356" y="7802"/>
                  </a:cubicBezTo>
                  <a:cubicBezTo>
                    <a:pt x="2356" y="2352"/>
                    <a:pt x="3228" y="390"/>
                    <a:pt x="5843" y="390"/>
                  </a:cubicBezTo>
                  <a:cubicBezTo>
                    <a:pt x="8458" y="390"/>
                    <a:pt x="9111" y="1698"/>
                    <a:pt x="8240" y="5404"/>
                  </a:cubicBezTo>
                  <a:cubicBezTo>
                    <a:pt x="7586" y="8020"/>
                    <a:pt x="6061" y="13470"/>
                    <a:pt x="5189" y="17613"/>
                  </a:cubicBezTo>
                  <a:cubicBezTo>
                    <a:pt x="3228" y="25897"/>
                    <a:pt x="-2002" y="29385"/>
                    <a:pt x="-2002" y="22409"/>
                  </a:cubicBezTo>
                  <a:close/>
                </a:path>
              </a:pathLst>
            </a:custGeom>
            <a:grpFill/>
            <a:ln w="218" cap="flat">
              <a:noFill/>
              <a:prstDash val="solid"/>
              <a:miter/>
            </a:ln>
          </p:spPr>
          <p:txBody>
            <a:bodyPr rtlCol="0" anchor="ctr"/>
            <a:lstStyle/>
            <a:p>
              <a:endParaRPr lang="en-GB" dirty="0"/>
            </a:p>
          </p:txBody>
        </p:sp>
        <p:sp>
          <p:nvSpPr>
            <p:cNvPr id="94" name="Freihandform: Form 93">
              <a:extLst>
                <a:ext uri="{FF2B5EF4-FFF2-40B4-BE49-F238E27FC236}">
                  <a16:creationId xmlns:a16="http://schemas.microsoft.com/office/drawing/2014/main" xmlns="" id="{17F88BC7-65BD-466B-8095-E6105B079F5C}"/>
                </a:ext>
              </a:extLst>
            </p:cNvPr>
            <p:cNvSpPr/>
            <p:nvPr/>
          </p:nvSpPr>
          <p:spPr>
            <a:xfrm flipV="1">
              <a:off x="4532720" y="5365049"/>
              <a:ext cx="3575" cy="4360"/>
            </a:xfrm>
            <a:custGeom>
              <a:avLst/>
              <a:gdLst>
                <a:gd name="connsiteX0" fmla="*/ -2797 w 3575"/>
                <a:gd name="connsiteY0" fmla="*/ 2514 h 4360"/>
                <a:gd name="connsiteX1" fmla="*/ -400 w 3575"/>
                <a:gd name="connsiteY1" fmla="*/ 334 h 4360"/>
                <a:gd name="connsiteX2" fmla="*/ 471 w 3575"/>
                <a:gd name="connsiteY2" fmla="*/ 2514 h 4360"/>
                <a:gd name="connsiteX3" fmla="*/ -1926 w 3575"/>
                <a:gd name="connsiteY3" fmla="*/ 4694 h 4360"/>
                <a:gd name="connsiteX4" fmla="*/ -2797 w 3575"/>
                <a:gd name="connsiteY4" fmla="*/ 2514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2797" y="2514"/>
                  </a:moveTo>
                  <a:cubicBezTo>
                    <a:pt x="-2797" y="1424"/>
                    <a:pt x="-1708" y="334"/>
                    <a:pt x="-400" y="334"/>
                  </a:cubicBezTo>
                  <a:cubicBezTo>
                    <a:pt x="689" y="334"/>
                    <a:pt x="1125" y="1424"/>
                    <a:pt x="471" y="2514"/>
                  </a:cubicBezTo>
                  <a:cubicBezTo>
                    <a:pt x="-182" y="3822"/>
                    <a:pt x="-1272" y="4694"/>
                    <a:pt x="-1926" y="4694"/>
                  </a:cubicBezTo>
                  <a:cubicBezTo>
                    <a:pt x="-2362" y="4694"/>
                    <a:pt x="-2797" y="3822"/>
                    <a:pt x="-2797" y="2514"/>
                  </a:cubicBezTo>
                  <a:close/>
                </a:path>
              </a:pathLst>
            </a:custGeom>
            <a:grpFill/>
            <a:ln w="218" cap="flat">
              <a:noFill/>
              <a:prstDash val="solid"/>
              <a:miter/>
            </a:ln>
          </p:spPr>
          <p:txBody>
            <a:bodyPr rtlCol="0" anchor="ctr"/>
            <a:lstStyle/>
            <a:p>
              <a:endParaRPr lang="en-GB" dirty="0"/>
            </a:p>
          </p:txBody>
        </p:sp>
        <p:sp>
          <p:nvSpPr>
            <p:cNvPr id="95" name="Freihandform: Form 94">
              <a:extLst>
                <a:ext uri="{FF2B5EF4-FFF2-40B4-BE49-F238E27FC236}">
                  <a16:creationId xmlns:a16="http://schemas.microsoft.com/office/drawing/2014/main" xmlns="" id="{2B59E7A0-A7C5-4CB4-96D7-8705F0F17FA3}"/>
                </a:ext>
              </a:extLst>
            </p:cNvPr>
            <p:cNvSpPr/>
            <p:nvPr/>
          </p:nvSpPr>
          <p:spPr>
            <a:xfrm flipV="1">
              <a:off x="4561668" y="5370592"/>
              <a:ext cx="78450" cy="96492"/>
            </a:xfrm>
            <a:custGeom>
              <a:avLst/>
              <a:gdLst>
                <a:gd name="connsiteX0" fmla="*/ 19625 w 78450"/>
                <a:gd name="connsiteY0" fmla="*/ 96962 h 96492"/>
                <a:gd name="connsiteX1" fmla="*/ 18100 w 78450"/>
                <a:gd name="connsiteY1" fmla="*/ 88242 h 96492"/>
                <a:gd name="connsiteX2" fmla="*/ 23112 w 78450"/>
                <a:gd name="connsiteY2" fmla="*/ 80394 h 96492"/>
                <a:gd name="connsiteX3" fmla="*/ 27906 w 78450"/>
                <a:gd name="connsiteY3" fmla="*/ 73199 h 96492"/>
                <a:gd name="connsiteX4" fmla="*/ 30739 w 78450"/>
                <a:gd name="connsiteY4" fmla="*/ 61645 h 96492"/>
                <a:gd name="connsiteX5" fmla="*/ 23766 w 78450"/>
                <a:gd name="connsiteY5" fmla="*/ 50745 h 96492"/>
                <a:gd name="connsiteX6" fmla="*/ 18754 w 78450"/>
                <a:gd name="connsiteY6" fmla="*/ 49219 h 96492"/>
                <a:gd name="connsiteX7" fmla="*/ 23112 w 78450"/>
                <a:gd name="connsiteY7" fmla="*/ 47038 h 96492"/>
                <a:gd name="connsiteX8" fmla="*/ 25727 w 78450"/>
                <a:gd name="connsiteY8" fmla="*/ 37228 h 96492"/>
                <a:gd name="connsiteX9" fmla="*/ 19843 w 78450"/>
                <a:gd name="connsiteY9" fmla="*/ 36792 h 96492"/>
                <a:gd name="connsiteX10" fmla="*/ 15049 w 78450"/>
                <a:gd name="connsiteY10" fmla="*/ 39408 h 96492"/>
                <a:gd name="connsiteX11" fmla="*/ 15485 w 78450"/>
                <a:gd name="connsiteY11" fmla="*/ 36792 h 96492"/>
                <a:gd name="connsiteX12" fmla="*/ 13742 w 78450"/>
                <a:gd name="connsiteY12" fmla="*/ 26328 h 96492"/>
                <a:gd name="connsiteX13" fmla="*/ 9384 w 78450"/>
                <a:gd name="connsiteY13" fmla="*/ 21532 h 96492"/>
                <a:gd name="connsiteX14" fmla="*/ 2411 w 78450"/>
                <a:gd name="connsiteY14" fmla="*/ 10631 h 96492"/>
                <a:gd name="connsiteX15" fmla="*/ -2165 w 78450"/>
                <a:gd name="connsiteY15" fmla="*/ 2129 h 96492"/>
                <a:gd name="connsiteX16" fmla="*/ 5897 w 78450"/>
                <a:gd name="connsiteY16" fmla="*/ 1039 h 96492"/>
                <a:gd name="connsiteX17" fmla="*/ 11563 w 78450"/>
                <a:gd name="connsiteY17" fmla="*/ 8887 h 96492"/>
                <a:gd name="connsiteX18" fmla="*/ 18972 w 78450"/>
                <a:gd name="connsiteY18" fmla="*/ 13465 h 96492"/>
                <a:gd name="connsiteX19" fmla="*/ 29431 w 78450"/>
                <a:gd name="connsiteY19" fmla="*/ 12593 h 96492"/>
                <a:gd name="connsiteX20" fmla="*/ 43595 w 78450"/>
                <a:gd name="connsiteY20" fmla="*/ 13247 h 96492"/>
                <a:gd name="connsiteX21" fmla="*/ 47300 w 78450"/>
                <a:gd name="connsiteY21" fmla="*/ 18915 h 96492"/>
                <a:gd name="connsiteX22" fmla="*/ 40109 w 78450"/>
                <a:gd name="connsiteY22" fmla="*/ 33304 h 96492"/>
                <a:gd name="connsiteX23" fmla="*/ 40544 w 78450"/>
                <a:gd name="connsiteY23" fmla="*/ 40934 h 96492"/>
                <a:gd name="connsiteX24" fmla="*/ 41852 w 78450"/>
                <a:gd name="connsiteY24" fmla="*/ 45948 h 96492"/>
                <a:gd name="connsiteX25" fmla="*/ 44467 w 78450"/>
                <a:gd name="connsiteY25" fmla="*/ 42242 h 96492"/>
                <a:gd name="connsiteX26" fmla="*/ 51440 w 78450"/>
                <a:gd name="connsiteY26" fmla="*/ 26764 h 96492"/>
                <a:gd name="connsiteX27" fmla="*/ 60592 w 78450"/>
                <a:gd name="connsiteY27" fmla="*/ 28508 h 96492"/>
                <a:gd name="connsiteX28" fmla="*/ 68219 w 78450"/>
                <a:gd name="connsiteY28" fmla="*/ 28508 h 96492"/>
                <a:gd name="connsiteX29" fmla="*/ 75192 w 78450"/>
                <a:gd name="connsiteY29" fmla="*/ 33086 h 96492"/>
                <a:gd name="connsiteX30" fmla="*/ 63425 w 78450"/>
                <a:gd name="connsiteY30" fmla="*/ 38318 h 96492"/>
                <a:gd name="connsiteX31" fmla="*/ 50350 w 78450"/>
                <a:gd name="connsiteY31" fmla="*/ 44858 h 96492"/>
                <a:gd name="connsiteX32" fmla="*/ 45120 w 78450"/>
                <a:gd name="connsiteY32" fmla="*/ 50963 h 96492"/>
                <a:gd name="connsiteX33" fmla="*/ 40544 w 78450"/>
                <a:gd name="connsiteY33" fmla="*/ 60119 h 96492"/>
                <a:gd name="connsiteX34" fmla="*/ 46428 w 78450"/>
                <a:gd name="connsiteY34" fmla="*/ 67313 h 96492"/>
                <a:gd name="connsiteX35" fmla="*/ 51658 w 78450"/>
                <a:gd name="connsiteY35" fmla="*/ 73853 h 96492"/>
                <a:gd name="connsiteX36" fmla="*/ 44249 w 78450"/>
                <a:gd name="connsiteY36" fmla="*/ 78650 h 96492"/>
                <a:gd name="connsiteX37" fmla="*/ 36186 w 78450"/>
                <a:gd name="connsiteY37" fmla="*/ 79958 h 96492"/>
                <a:gd name="connsiteX38" fmla="*/ 19625 w 78450"/>
                <a:gd name="connsiteY38" fmla="*/ 96962 h 96492"/>
                <a:gd name="connsiteX39" fmla="*/ 33353 w 78450"/>
                <a:gd name="connsiteY39" fmla="*/ 25456 h 96492"/>
                <a:gd name="connsiteX40" fmla="*/ 31174 w 78450"/>
                <a:gd name="connsiteY40" fmla="*/ 23058 h 96492"/>
                <a:gd name="connsiteX41" fmla="*/ 28995 w 78450"/>
                <a:gd name="connsiteY41" fmla="*/ 23930 h 96492"/>
                <a:gd name="connsiteX42" fmla="*/ 31174 w 78450"/>
                <a:gd name="connsiteY42" fmla="*/ 26328 h 96492"/>
                <a:gd name="connsiteX43" fmla="*/ 33353 w 78450"/>
                <a:gd name="connsiteY43" fmla="*/ 25456 h 96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8450" h="96492">
                  <a:moveTo>
                    <a:pt x="19625" y="96962"/>
                  </a:moveTo>
                  <a:cubicBezTo>
                    <a:pt x="18754" y="96090"/>
                    <a:pt x="18100" y="92166"/>
                    <a:pt x="18100" y="88242"/>
                  </a:cubicBezTo>
                  <a:cubicBezTo>
                    <a:pt x="18100" y="82574"/>
                    <a:pt x="18972" y="81048"/>
                    <a:pt x="23112" y="80394"/>
                  </a:cubicBezTo>
                  <a:cubicBezTo>
                    <a:pt x="26816" y="79958"/>
                    <a:pt x="27906" y="78214"/>
                    <a:pt x="27906" y="73199"/>
                  </a:cubicBezTo>
                  <a:cubicBezTo>
                    <a:pt x="27906" y="69711"/>
                    <a:pt x="29213" y="64479"/>
                    <a:pt x="30739" y="61645"/>
                  </a:cubicBezTo>
                  <a:cubicBezTo>
                    <a:pt x="34225" y="55323"/>
                    <a:pt x="30739" y="49873"/>
                    <a:pt x="23766" y="50745"/>
                  </a:cubicBezTo>
                  <a:cubicBezTo>
                    <a:pt x="21369" y="51181"/>
                    <a:pt x="18972" y="50527"/>
                    <a:pt x="18754" y="49219"/>
                  </a:cubicBezTo>
                  <a:cubicBezTo>
                    <a:pt x="18318" y="48128"/>
                    <a:pt x="20279" y="47038"/>
                    <a:pt x="23112" y="47038"/>
                  </a:cubicBezTo>
                  <a:cubicBezTo>
                    <a:pt x="28777" y="47038"/>
                    <a:pt x="30521" y="41152"/>
                    <a:pt x="25727" y="37228"/>
                  </a:cubicBezTo>
                  <a:cubicBezTo>
                    <a:pt x="23112" y="35048"/>
                    <a:pt x="21586" y="35048"/>
                    <a:pt x="19843" y="36792"/>
                  </a:cubicBezTo>
                  <a:cubicBezTo>
                    <a:pt x="18318" y="38318"/>
                    <a:pt x="16357" y="39408"/>
                    <a:pt x="15049" y="39408"/>
                  </a:cubicBezTo>
                  <a:cubicBezTo>
                    <a:pt x="13742" y="39408"/>
                    <a:pt x="13960" y="38318"/>
                    <a:pt x="15485" y="36792"/>
                  </a:cubicBezTo>
                  <a:cubicBezTo>
                    <a:pt x="19625" y="32650"/>
                    <a:pt x="18754" y="26328"/>
                    <a:pt x="13742" y="26328"/>
                  </a:cubicBezTo>
                  <a:cubicBezTo>
                    <a:pt x="10691" y="26328"/>
                    <a:pt x="9384" y="24802"/>
                    <a:pt x="9384" y="21532"/>
                  </a:cubicBezTo>
                  <a:cubicBezTo>
                    <a:pt x="9384" y="18479"/>
                    <a:pt x="6551" y="14119"/>
                    <a:pt x="2411" y="10631"/>
                  </a:cubicBezTo>
                  <a:cubicBezTo>
                    <a:pt x="-3037" y="6053"/>
                    <a:pt x="-4127" y="4091"/>
                    <a:pt x="-2165" y="2129"/>
                  </a:cubicBezTo>
                  <a:cubicBezTo>
                    <a:pt x="-640" y="603"/>
                    <a:pt x="2628" y="167"/>
                    <a:pt x="5897" y="1039"/>
                  </a:cubicBezTo>
                  <a:cubicBezTo>
                    <a:pt x="10473" y="2129"/>
                    <a:pt x="11563" y="3873"/>
                    <a:pt x="11563" y="8887"/>
                  </a:cubicBezTo>
                  <a:cubicBezTo>
                    <a:pt x="11563" y="15209"/>
                    <a:pt x="16139" y="18043"/>
                    <a:pt x="18972" y="13465"/>
                  </a:cubicBezTo>
                  <a:cubicBezTo>
                    <a:pt x="19625" y="12593"/>
                    <a:pt x="24419" y="11939"/>
                    <a:pt x="29431" y="12593"/>
                  </a:cubicBezTo>
                  <a:cubicBezTo>
                    <a:pt x="34661" y="13029"/>
                    <a:pt x="40980" y="13465"/>
                    <a:pt x="43595" y="13247"/>
                  </a:cubicBezTo>
                  <a:cubicBezTo>
                    <a:pt x="49696" y="13247"/>
                    <a:pt x="52529" y="17607"/>
                    <a:pt x="47300" y="18915"/>
                  </a:cubicBezTo>
                  <a:cubicBezTo>
                    <a:pt x="42070" y="20224"/>
                    <a:pt x="37712" y="29380"/>
                    <a:pt x="40109" y="33304"/>
                  </a:cubicBezTo>
                  <a:cubicBezTo>
                    <a:pt x="40980" y="34830"/>
                    <a:pt x="41416" y="38318"/>
                    <a:pt x="40544" y="40934"/>
                  </a:cubicBezTo>
                  <a:cubicBezTo>
                    <a:pt x="39891" y="43986"/>
                    <a:pt x="40326" y="45948"/>
                    <a:pt x="41852" y="45948"/>
                  </a:cubicBezTo>
                  <a:cubicBezTo>
                    <a:pt x="43159" y="45948"/>
                    <a:pt x="44249" y="44204"/>
                    <a:pt x="44467" y="42242"/>
                  </a:cubicBezTo>
                  <a:cubicBezTo>
                    <a:pt x="45338" y="27418"/>
                    <a:pt x="45338" y="27418"/>
                    <a:pt x="51440" y="26764"/>
                  </a:cubicBezTo>
                  <a:cubicBezTo>
                    <a:pt x="54926" y="26328"/>
                    <a:pt x="58849" y="27200"/>
                    <a:pt x="60592" y="28508"/>
                  </a:cubicBezTo>
                  <a:cubicBezTo>
                    <a:pt x="62771" y="30470"/>
                    <a:pt x="64732" y="30470"/>
                    <a:pt x="68219" y="28508"/>
                  </a:cubicBezTo>
                  <a:cubicBezTo>
                    <a:pt x="73884" y="25456"/>
                    <a:pt x="74538" y="25892"/>
                    <a:pt x="75192" y="33086"/>
                  </a:cubicBezTo>
                  <a:cubicBezTo>
                    <a:pt x="75845" y="38100"/>
                    <a:pt x="75410" y="38318"/>
                    <a:pt x="63425" y="38318"/>
                  </a:cubicBezTo>
                  <a:cubicBezTo>
                    <a:pt x="51222" y="38318"/>
                    <a:pt x="51004" y="38318"/>
                    <a:pt x="50350" y="44858"/>
                  </a:cubicBezTo>
                  <a:cubicBezTo>
                    <a:pt x="49914" y="50091"/>
                    <a:pt x="48825" y="51399"/>
                    <a:pt x="45120" y="50963"/>
                  </a:cubicBezTo>
                  <a:cubicBezTo>
                    <a:pt x="41198" y="50527"/>
                    <a:pt x="40544" y="51617"/>
                    <a:pt x="40544" y="60119"/>
                  </a:cubicBezTo>
                  <a:cubicBezTo>
                    <a:pt x="40544" y="71019"/>
                    <a:pt x="40544" y="71019"/>
                    <a:pt x="46428" y="67313"/>
                  </a:cubicBezTo>
                  <a:cubicBezTo>
                    <a:pt x="51876" y="63825"/>
                    <a:pt x="53401" y="65569"/>
                    <a:pt x="51658" y="73853"/>
                  </a:cubicBezTo>
                  <a:cubicBezTo>
                    <a:pt x="50350" y="80176"/>
                    <a:pt x="44249" y="84100"/>
                    <a:pt x="44249" y="78650"/>
                  </a:cubicBezTo>
                  <a:cubicBezTo>
                    <a:pt x="44249" y="75161"/>
                    <a:pt x="37712" y="76251"/>
                    <a:pt x="36186" y="79958"/>
                  </a:cubicBezTo>
                  <a:cubicBezTo>
                    <a:pt x="34007" y="85626"/>
                    <a:pt x="21369" y="98488"/>
                    <a:pt x="19625" y="96962"/>
                  </a:cubicBezTo>
                  <a:close/>
                  <a:moveTo>
                    <a:pt x="33353" y="25456"/>
                  </a:moveTo>
                  <a:cubicBezTo>
                    <a:pt x="33353" y="24802"/>
                    <a:pt x="32482" y="23712"/>
                    <a:pt x="31174" y="23058"/>
                  </a:cubicBezTo>
                  <a:cubicBezTo>
                    <a:pt x="30085" y="22404"/>
                    <a:pt x="28995" y="22840"/>
                    <a:pt x="28995" y="23930"/>
                  </a:cubicBezTo>
                  <a:cubicBezTo>
                    <a:pt x="28995" y="25238"/>
                    <a:pt x="30085" y="26328"/>
                    <a:pt x="31174" y="26328"/>
                  </a:cubicBezTo>
                  <a:cubicBezTo>
                    <a:pt x="32482" y="26328"/>
                    <a:pt x="33353" y="25892"/>
                    <a:pt x="33353" y="25456"/>
                  </a:cubicBezTo>
                  <a:close/>
                </a:path>
              </a:pathLst>
            </a:custGeom>
            <a:grpFill/>
            <a:ln w="218" cap="flat">
              <a:noFill/>
              <a:prstDash val="solid"/>
              <a:miter/>
            </a:ln>
          </p:spPr>
          <p:txBody>
            <a:bodyPr rtlCol="0" anchor="ctr"/>
            <a:lstStyle/>
            <a:p>
              <a:endParaRPr lang="en-GB" dirty="0"/>
            </a:p>
          </p:txBody>
        </p:sp>
        <p:sp>
          <p:nvSpPr>
            <p:cNvPr id="96" name="Freihandform: Form 95">
              <a:extLst>
                <a:ext uri="{FF2B5EF4-FFF2-40B4-BE49-F238E27FC236}">
                  <a16:creationId xmlns:a16="http://schemas.microsoft.com/office/drawing/2014/main" xmlns="" id="{E8733B41-FF3E-4F09-A397-8D0326EA2BB6}"/>
                </a:ext>
              </a:extLst>
            </p:cNvPr>
            <p:cNvSpPr/>
            <p:nvPr/>
          </p:nvSpPr>
          <p:spPr>
            <a:xfrm flipV="1">
              <a:off x="4781754" y="5373769"/>
              <a:ext cx="23350" cy="37876"/>
            </a:xfrm>
            <a:custGeom>
              <a:avLst/>
              <a:gdLst>
                <a:gd name="connsiteX0" fmla="*/ 8588 w 23350"/>
                <a:gd name="connsiteY0" fmla="*/ 35069 h 37876"/>
                <a:gd name="connsiteX1" fmla="*/ 2051 w 23350"/>
                <a:gd name="connsiteY1" fmla="*/ 31799 h 37876"/>
                <a:gd name="connsiteX2" fmla="*/ -2089 w 23350"/>
                <a:gd name="connsiteY2" fmla="*/ 20027 h 37876"/>
                <a:gd name="connsiteX3" fmla="*/ -2089 w 23350"/>
                <a:gd name="connsiteY3" fmla="*/ 10217 h 37876"/>
                <a:gd name="connsiteX4" fmla="*/ -3614 w 23350"/>
                <a:gd name="connsiteY4" fmla="*/ 3676 h 37876"/>
                <a:gd name="connsiteX5" fmla="*/ 7717 w 23350"/>
                <a:gd name="connsiteY5" fmla="*/ 1496 h 37876"/>
                <a:gd name="connsiteX6" fmla="*/ 14254 w 23350"/>
                <a:gd name="connsiteY6" fmla="*/ 3458 h 37876"/>
                <a:gd name="connsiteX7" fmla="*/ 17523 w 23350"/>
                <a:gd name="connsiteY7" fmla="*/ 9781 h 37876"/>
                <a:gd name="connsiteX8" fmla="*/ 12075 w 23350"/>
                <a:gd name="connsiteY8" fmla="*/ 11525 h 37876"/>
                <a:gd name="connsiteX9" fmla="*/ 9896 w 23350"/>
                <a:gd name="connsiteY9" fmla="*/ 15449 h 37876"/>
                <a:gd name="connsiteX10" fmla="*/ 7717 w 23350"/>
                <a:gd name="connsiteY10" fmla="*/ 20899 h 37876"/>
                <a:gd name="connsiteX11" fmla="*/ 6191 w 23350"/>
                <a:gd name="connsiteY11" fmla="*/ 29401 h 37876"/>
                <a:gd name="connsiteX12" fmla="*/ 9460 w 23350"/>
                <a:gd name="connsiteY12" fmla="*/ 29837 h 37876"/>
                <a:gd name="connsiteX13" fmla="*/ 19484 w 23350"/>
                <a:gd name="connsiteY13" fmla="*/ 30273 h 37876"/>
                <a:gd name="connsiteX14" fmla="*/ 12729 w 23350"/>
                <a:gd name="connsiteY14" fmla="*/ 38339 h 37876"/>
                <a:gd name="connsiteX15" fmla="*/ 8588 w 23350"/>
                <a:gd name="connsiteY15" fmla="*/ 35069 h 37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350" h="37876">
                  <a:moveTo>
                    <a:pt x="8588" y="35069"/>
                  </a:moveTo>
                  <a:cubicBezTo>
                    <a:pt x="7063" y="33325"/>
                    <a:pt x="4230" y="31799"/>
                    <a:pt x="2051" y="31799"/>
                  </a:cubicBezTo>
                  <a:cubicBezTo>
                    <a:pt x="-3179" y="31799"/>
                    <a:pt x="-4922" y="26349"/>
                    <a:pt x="-2089" y="20027"/>
                  </a:cubicBezTo>
                  <a:cubicBezTo>
                    <a:pt x="-346" y="16321"/>
                    <a:pt x="-346" y="13705"/>
                    <a:pt x="-2089" y="10217"/>
                  </a:cubicBezTo>
                  <a:cubicBezTo>
                    <a:pt x="-3614" y="7600"/>
                    <a:pt x="-4268" y="4766"/>
                    <a:pt x="-3614" y="3676"/>
                  </a:cubicBezTo>
                  <a:cubicBezTo>
                    <a:pt x="-1871" y="842"/>
                    <a:pt x="6191" y="-684"/>
                    <a:pt x="7717" y="1496"/>
                  </a:cubicBezTo>
                  <a:cubicBezTo>
                    <a:pt x="8371" y="2586"/>
                    <a:pt x="11203" y="3458"/>
                    <a:pt x="14254" y="3458"/>
                  </a:cubicBezTo>
                  <a:cubicBezTo>
                    <a:pt x="19920" y="3458"/>
                    <a:pt x="20573" y="4984"/>
                    <a:pt x="17523" y="9781"/>
                  </a:cubicBezTo>
                  <a:cubicBezTo>
                    <a:pt x="16433" y="11525"/>
                    <a:pt x="14036" y="12179"/>
                    <a:pt x="12075" y="11525"/>
                  </a:cubicBezTo>
                  <a:cubicBezTo>
                    <a:pt x="9242" y="10435"/>
                    <a:pt x="8806" y="11089"/>
                    <a:pt x="9896" y="15449"/>
                  </a:cubicBezTo>
                  <a:cubicBezTo>
                    <a:pt x="10985" y="19591"/>
                    <a:pt x="10332" y="20899"/>
                    <a:pt x="7717" y="20899"/>
                  </a:cubicBezTo>
                  <a:cubicBezTo>
                    <a:pt x="4012" y="20899"/>
                    <a:pt x="3141" y="24605"/>
                    <a:pt x="6191" y="29401"/>
                  </a:cubicBezTo>
                  <a:cubicBezTo>
                    <a:pt x="7499" y="31363"/>
                    <a:pt x="8588" y="31581"/>
                    <a:pt x="9460" y="29837"/>
                  </a:cubicBezTo>
                  <a:cubicBezTo>
                    <a:pt x="11639" y="26567"/>
                    <a:pt x="19484" y="26785"/>
                    <a:pt x="19484" y="30273"/>
                  </a:cubicBezTo>
                  <a:cubicBezTo>
                    <a:pt x="19484" y="33325"/>
                    <a:pt x="15344" y="38339"/>
                    <a:pt x="12729" y="38339"/>
                  </a:cubicBezTo>
                  <a:cubicBezTo>
                    <a:pt x="11857" y="38339"/>
                    <a:pt x="10114" y="36813"/>
                    <a:pt x="8588" y="35069"/>
                  </a:cubicBezTo>
                  <a:close/>
                </a:path>
              </a:pathLst>
            </a:custGeom>
            <a:grpFill/>
            <a:ln w="218" cap="flat">
              <a:noFill/>
              <a:prstDash val="solid"/>
              <a:miter/>
            </a:ln>
          </p:spPr>
          <p:txBody>
            <a:bodyPr rtlCol="0" anchor="ctr"/>
            <a:lstStyle/>
            <a:p>
              <a:endParaRPr lang="en-GB" dirty="0"/>
            </a:p>
          </p:txBody>
        </p:sp>
        <p:sp>
          <p:nvSpPr>
            <p:cNvPr id="97" name="Freihandform: Form 96">
              <a:extLst>
                <a:ext uri="{FF2B5EF4-FFF2-40B4-BE49-F238E27FC236}">
                  <a16:creationId xmlns:a16="http://schemas.microsoft.com/office/drawing/2014/main" xmlns="" id="{60A98ECB-91A5-4ECE-8A55-B002DD5EEFDC}"/>
                </a:ext>
              </a:extLst>
            </p:cNvPr>
            <p:cNvSpPr/>
            <p:nvPr/>
          </p:nvSpPr>
          <p:spPr>
            <a:xfrm flipV="1">
              <a:off x="5009824" y="5373981"/>
              <a:ext cx="18436" cy="21171"/>
            </a:xfrm>
            <a:custGeom>
              <a:avLst/>
              <a:gdLst>
                <a:gd name="connsiteX0" fmla="*/ 1416 w 18436"/>
                <a:gd name="connsiteY0" fmla="*/ 18099 h 21171"/>
                <a:gd name="connsiteX1" fmla="*/ 763 w 18436"/>
                <a:gd name="connsiteY1" fmla="*/ 1749 h 21171"/>
                <a:gd name="connsiteX2" fmla="*/ 10133 w 18436"/>
                <a:gd name="connsiteY2" fmla="*/ 4583 h 21171"/>
                <a:gd name="connsiteX3" fmla="*/ 13619 w 18436"/>
                <a:gd name="connsiteY3" fmla="*/ 10905 h 21171"/>
                <a:gd name="connsiteX4" fmla="*/ 8607 w 18436"/>
                <a:gd name="connsiteY4" fmla="*/ 21587 h 21171"/>
                <a:gd name="connsiteX5" fmla="*/ 1416 w 18436"/>
                <a:gd name="connsiteY5" fmla="*/ 18099 h 21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436" h="21171">
                  <a:moveTo>
                    <a:pt x="1416" y="18099"/>
                  </a:moveTo>
                  <a:cubicBezTo>
                    <a:pt x="-6646" y="13957"/>
                    <a:pt x="-6864" y="5237"/>
                    <a:pt x="763" y="1749"/>
                  </a:cubicBezTo>
                  <a:cubicBezTo>
                    <a:pt x="5774" y="-431"/>
                    <a:pt x="6864" y="-213"/>
                    <a:pt x="10133" y="4583"/>
                  </a:cubicBezTo>
                  <a:cubicBezTo>
                    <a:pt x="12094" y="7417"/>
                    <a:pt x="13837" y="10251"/>
                    <a:pt x="13619" y="10905"/>
                  </a:cubicBezTo>
                  <a:cubicBezTo>
                    <a:pt x="12530" y="15919"/>
                    <a:pt x="9697" y="21805"/>
                    <a:pt x="8607" y="21587"/>
                  </a:cubicBezTo>
                  <a:cubicBezTo>
                    <a:pt x="7954" y="21369"/>
                    <a:pt x="4685" y="19843"/>
                    <a:pt x="1416" y="18099"/>
                  </a:cubicBezTo>
                  <a:close/>
                </a:path>
              </a:pathLst>
            </a:custGeom>
            <a:grpFill/>
            <a:ln w="218" cap="flat">
              <a:noFill/>
              <a:prstDash val="solid"/>
              <a:miter/>
            </a:ln>
          </p:spPr>
          <p:txBody>
            <a:bodyPr rtlCol="0" anchor="ctr"/>
            <a:lstStyle/>
            <a:p>
              <a:endParaRPr lang="en-GB" dirty="0"/>
            </a:p>
          </p:txBody>
        </p:sp>
        <p:sp>
          <p:nvSpPr>
            <p:cNvPr id="98" name="Freihandform: Form 97">
              <a:extLst>
                <a:ext uri="{FF2B5EF4-FFF2-40B4-BE49-F238E27FC236}">
                  <a16:creationId xmlns:a16="http://schemas.microsoft.com/office/drawing/2014/main" xmlns="" id="{0798079A-68CF-4B4B-B040-84E9151369AF}"/>
                </a:ext>
              </a:extLst>
            </p:cNvPr>
            <p:cNvSpPr/>
            <p:nvPr/>
          </p:nvSpPr>
          <p:spPr>
            <a:xfrm flipV="1">
              <a:off x="5034997" y="5373769"/>
              <a:ext cx="22880" cy="45781"/>
            </a:xfrm>
            <a:custGeom>
              <a:avLst/>
              <a:gdLst>
                <a:gd name="connsiteX0" fmla="*/ 8599 w 22880"/>
                <a:gd name="connsiteY0" fmla="*/ 44738 h 45781"/>
                <a:gd name="connsiteX1" fmla="*/ 7073 w 22880"/>
                <a:gd name="connsiteY1" fmla="*/ 38198 h 45781"/>
                <a:gd name="connsiteX2" fmla="*/ 536 w 22880"/>
                <a:gd name="connsiteY2" fmla="*/ 36454 h 45781"/>
                <a:gd name="connsiteX3" fmla="*/ -4912 w 22880"/>
                <a:gd name="connsiteY3" fmla="*/ 22719 h 45781"/>
                <a:gd name="connsiteX4" fmla="*/ 1843 w 22880"/>
                <a:gd name="connsiteY4" fmla="*/ 483 h 45781"/>
                <a:gd name="connsiteX5" fmla="*/ 7291 w 22880"/>
                <a:gd name="connsiteY5" fmla="*/ 16179 h 45781"/>
                <a:gd name="connsiteX6" fmla="*/ 7509 w 22880"/>
                <a:gd name="connsiteY6" fmla="*/ 22501 h 45781"/>
                <a:gd name="connsiteX7" fmla="*/ 12739 w 22880"/>
                <a:gd name="connsiteY7" fmla="*/ 24463 h 45781"/>
                <a:gd name="connsiteX8" fmla="*/ 17969 w 22880"/>
                <a:gd name="connsiteY8" fmla="*/ 38852 h 45781"/>
                <a:gd name="connsiteX9" fmla="*/ 14046 w 22880"/>
                <a:gd name="connsiteY9" fmla="*/ 46264 h 45781"/>
                <a:gd name="connsiteX10" fmla="*/ 8599 w 22880"/>
                <a:gd name="connsiteY10" fmla="*/ 44738 h 45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880" h="45781">
                  <a:moveTo>
                    <a:pt x="8599" y="44738"/>
                  </a:moveTo>
                  <a:cubicBezTo>
                    <a:pt x="7727" y="44084"/>
                    <a:pt x="7073" y="41032"/>
                    <a:pt x="7073" y="38198"/>
                  </a:cubicBezTo>
                  <a:cubicBezTo>
                    <a:pt x="7073" y="32530"/>
                    <a:pt x="4458" y="31658"/>
                    <a:pt x="536" y="36454"/>
                  </a:cubicBezTo>
                  <a:cubicBezTo>
                    <a:pt x="-4258" y="42122"/>
                    <a:pt x="-4912" y="40160"/>
                    <a:pt x="-4912" y="22719"/>
                  </a:cubicBezTo>
                  <a:cubicBezTo>
                    <a:pt x="-4912" y="5061"/>
                    <a:pt x="-3386" y="483"/>
                    <a:pt x="1843" y="483"/>
                  </a:cubicBezTo>
                  <a:cubicBezTo>
                    <a:pt x="7073" y="483"/>
                    <a:pt x="10560" y="10729"/>
                    <a:pt x="7291" y="16179"/>
                  </a:cubicBezTo>
                  <a:cubicBezTo>
                    <a:pt x="4894" y="19885"/>
                    <a:pt x="5112" y="20975"/>
                    <a:pt x="7509" y="22501"/>
                  </a:cubicBezTo>
                  <a:cubicBezTo>
                    <a:pt x="9034" y="23591"/>
                    <a:pt x="11431" y="24463"/>
                    <a:pt x="12739" y="24463"/>
                  </a:cubicBezTo>
                  <a:cubicBezTo>
                    <a:pt x="16225" y="24463"/>
                    <a:pt x="17969" y="29696"/>
                    <a:pt x="17969" y="38852"/>
                  </a:cubicBezTo>
                  <a:cubicBezTo>
                    <a:pt x="17969" y="44520"/>
                    <a:pt x="17097" y="46264"/>
                    <a:pt x="14046" y="46264"/>
                  </a:cubicBezTo>
                  <a:cubicBezTo>
                    <a:pt x="11867" y="46264"/>
                    <a:pt x="9252" y="45610"/>
                    <a:pt x="8599" y="44738"/>
                  </a:cubicBezTo>
                  <a:close/>
                </a:path>
              </a:pathLst>
            </a:custGeom>
            <a:grpFill/>
            <a:ln w="218" cap="flat">
              <a:noFill/>
              <a:prstDash val="solid"/>
              <a:miter/>
            </a:ln>
          </p:spPr>
          <p:txBody>
            <a:bodyPr rtlCol="0" anchor="ctr"/>
            <a:lstStyle/>
            <a:p>
              <a:endParaRPr lang="en-GB" dirty="0"/>
            </a:p>
          </p:txBody>
        </p:sp>
        <p:sp>
          <p:nvSpPr>
            <p:cNvPr id="99" name="Freihandform: Form 98">
              <a:extLst>
                <a:ext uri="{FF2B5EF4-FFF2-40B4-BE49-F238E27FC236}">
                  <a16:creationId xmlns:a16="http://schemas.microsoft.com/office/drawing/2014/main" xmlns="" id="{4EEEBBD5-266E-4FD7-833E-FA8F0DE20B3C}"/>
                </a:ext>
              </a:extLst>
            </p:cNvPr>
            <p:cNvSpPr/>
            <p:nvPr/>
          </p:nvSpPr>
          <p:spPr>
            <a:xfrm flipV="1">
              <a:off x="4608988" y="5375949"/>
              <a:ext cx="4358" cy="4360"/>
            </a:xfrm>
            <a:custGeom>
              <a:avLst/>
              <a:gdLst>
                <a:gd name="connsiteX0" fmla="*/ -3114 w 4358"/>
                <a:gd name="connsiteY0" fmla="*/ 2569 h 4360"/>
                <a:gd name="connsiteX1" fmla="*/ -935 w 4358"/>
                <a:gd name="connsiteY1" fmla="*/ 389 h 4360"/>
                <a:gd name="connsiteX2" fmla="*/ 1244 w 4358"/>
                <a:gd name="connsiteY2" fmla="*/ 2569 h 4360"/>
                <a:gd name="connsiteX3" fmla="*/ -935 w 4358"/>
                <a:gd name="connsiteY3" fmla="*/ 4749 h 4360"/>
                <a:gd name="connsiteX4" fmla="*/ -3114 w 4358"/>
                <a:gd name="connsiteY4" fmla="*/ 2569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3114" y="2569"/>
                  </a:moveTo>
                  <a:cubicBezTo>
                    <a:pt x="-3114" y="1479"/>
                    <a:pt x="-2024" y="389"/>
                    <a:pt x="-935" y="389"/>
                  </a:cubicBezTo>
                  <a:cubicBezTo>
                    <a:pt x="373" y="389"/>
                    <a:pt x="1244" y="1479"/>
                    <a:pt x="1244" y="2569"/>
                  </a:cubicBezTo>
                  <a:cubicBezTo>
                    <a:pt x="1244" y="3877"/>
                    <a:pt x="373" y="4749"/>
                    <a:pt x="-935" y="4749"/>
                  </a:cubicBezTo>
                  <a:cubicBezTo>
                    <a:pt x="-2024" y="4749"/>
                    <a:pt x="-3114" y="3877"/>
                    <a:pt x="-3114" y="2569"/>
                  </a:cubicBezTo>
                  <a:close/>
                </a:path>
              </a:pathLst>
            </a:custGeom>
            <a:grpFill/>
            <a:ln w="218" cap="flat">
              <a:noFill/>
              <a:prstDash val="solid"/>
              <a:miter/>
            </a:ln>
          </p:spPr>
          <p:txBody>
            <a:bodyPr rtlCol="0" anchor="ctr"/>
            <a:lstStyle/>
            <a:p>
              <a:endParaRPr lang="en-GB" dirty="0"/>
            </a:p>
          </p:txBody>
        </p:sp>
        <p:sp>
          <p:nvSpPr>
            <p:cNvPr id="100" name="Freihandform: Form 99">
              <a:extLst>
                <a:ext uri="{FF2B5EF4-FFF2-40B4-BE49-F238E27FC236}">
                  <a16:creationId xmlns:a16="http://schemas.microsoft.com/office/drawing/2014/main" xmlns="" id="{21EC4B36-07CA-42C9-AFD5-8B2652780B75}"/>
                </a:ext>
              </a:extLst>
            </p:cNvPr>
            <p:cNvSpPr/>
            <p:nvPr/>
          </p:nvSpPr>
          <p:spPr>
            <a:xfrm flipV="1">
              <a:off x="5136324" y="5387686"/>
              <a:ext cx="14987" cy="24914"/>
            </a:xfrm>
            <a:custGeom>
              <a:avLst/>
              <a:gdLst>
                <a:gd name="connsiteX0" fmla="*/ -520 w 14987"/>
                <a:gd name="connsiteY0" fmla="*/ 21237 h 24914"/>
                <a:gd name="connsiteX1" fmla="*/ -5314 w 14987"/>
                <a:gd name="connsiteY1" fmla="*/ 16222 h 24914"/>
                <a:gd name="connsiteX2" fmla="*/ 352 w 14987"/>
                <a:gd name="connsiteY2" fmla="*/ 8156 h 24914"/>
                <a:gd name="connsiteX3" fmla="*/ 9504 w 14987"/>
                <a:gd name="connsiteY3" fmla="*/ 12516 h 24914"/>
                <a:gd name="connsiteX4" fmla="*/ -520 w 14987"/>
                <a:gd name="connsiteY4" fmla="*/ 21237 h 24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7" h="24914">
                  <a:moveTo>
                    <a:pt x="-520" y="21237"/>
                  </a:moveTo>
                  <a:lnTo>
                    <a:pt x="-5314" y="16222"/>
                  </a:lnTo>
                  <a:lnTo>
                    <a:pt x="352" y="8156"/>
                  </a:lnTo>
                  <a:cubicBezTo>
                    <a:pt x="7978" y="-3180"/>
                    <a:pt x="10375" y="-2090"/>
                    <a:pt x="9504" y="12516"/>
                  </a:cubicBezTo>
                  <a:cubicBezTo>
                    <a:pt x="8850" y="26469"/>
                    <a:pt x="6453" y="28649"/>
                    <a:pt x="-520" y="21237"/>
                  </a:cubicBezTo>
                  <a:close/>
                </a:path>
              </a:pathLst>
            </a:custGeom>
            <a:grpFill/>
            <a:ln w="218" cap="flat">
              <a:noFill/>
              <a:prstDash val="solid"/>
              <a:miter/>
            </a:ln>
          </p:spPr>
          <p:txBody>
            <a:bodyPr rtlCol="0" anchor="ctr"/>
            <a:lstStyle/>
            <a:p>
              <a:endParaRPr lang="en-GB" dirty="0"/>
            </a:p>
          </p:txBody>
        </p:sp>
        <p:sp>
          <p:nvSpPr>
            <p:cNvPr id="101" name="Freihandform: Form 100">
              <a:extLst>
                <a:ext uri="{FF2B5EF4-FFF2-40B4-BE49-F238E27FC236}">
                  <a16:creationId xmlns:a16="http://schemas.microsoft.com/office/drawing/2014/main" xmlns="" id="{984731CE-4A57-4533-8EE7-6E5C64285F3F}"/>
                </a:ext>
              </a:extLst>
            </p:cNvPr>
            <p:cNvSpPr/>
            <p:nvPr/>
          </p:nvSpPr>
          <p:spPr>
            <a:xfrm flipV="1">
              <a:off x="5299754" y="5389030"/>
              <a:ext cx="4358" cy="5667"/>
            </a:xfrm>
            <a:custGeom>
              <a:avLst/>
              <a:gdLst>
                <a:gd name="connsiteX0" fmla="*/ -5967 w 4358"/>
                <a:gd name="connsiteY0" fmla="*/ 2638 h 5667"/>
                <a:gd name="connsiteX1" fmla="*/ -3788 w 4358"/>
                <a:gd name="connsiteY1" fmla="*/ 675 h 5667"/>
                <a:gd name="connsiteX2" fmla="*/ -1609 w 4358"/>
                <a:gd name="connsiteY2" fmla="*/ 4164 h 5667"/>
                <a:gd name="connsiteX3" fmla="*/ -3788 w 4358"/>
                <a:gd name="connsiteY3" fmla="*/ 6126 h 5667"/>
                <a:gd name="connsiteX4" fmla="*/ -5967 w 4358"/>
                <a:gd name="connsiteY4" fmla="*/ 2638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5967" y="2638"/>
                  </a:moveTo>
                  <a:cubicBezTo>
                    <a:pt x="-5967" y="893"/>
                    <a:pt x="-4877" y="21"/>
                    <a:pt x="-3788" y="675"/>
                  </a:cubicBezTo>
                  <a:cubicBezTo>
                    <a:pt x="-2480" y="1329"/>
                    <a:pt x="-1609" y="2856"/>
                    <a:pt x="-1609" y="4164"/>
                  </a:cubicBezTo>
                  <a:cubicBezTo>
                    <a:pt x="-1609" y="5254"/>
                    <a:pt x="-2480" y="6126"/>
                    <a:pt x="-3788" y="6126"/>
                  </a:cubicBezTo>
                  <a:cubicBezTo>
                    <a:pt x="-4877" y="6126"/>
                    <a:pt x="-5967" y="4600"/>
                    <a:pt x="-5967" y="2638"/>
                  </a:cubicBezTo>
                  <a:close/>
                </a:path>
              </a:pathLst>
            </a:custGeom>
            <a:grpFill/>
            <a:ln w="218" cap="flat">
              <a:noFill/>
              <a:prstDash val="solid"/>
              <a:miter/>
            </a:ln>
          </p:spPr>
          <p:txBody>
            <a:bodyPr rtlCol="0" anchor="ctr"/>
            <a:lstStyle/>
            <a:p>
              <a:endParaRPr lang="en-GB" dirty="0"/>
            </a:p>
          </p:txBody>
        </p:sp>
        <p:sp>
          <p:nvSpPr>
            <p:cNvPr id="102" name="Freihandform: Form 101">
              <a:extLst>
                <a:ext uri="{FF2B5EF4-FFF2-40B4-BE49-F238E27FC236}">
                  <a16:creationId xmlns:a16="http://schemas.microsoft.com/office/drawing/2014/main" xmlns="" id="{C3C19794-829C-46C7-B884-4B8E575446B0}"/>
                </a:ext>
              </a:extLst>
            </p:cNvPr>
            <p:cNvSpPr/>
            <p:nvPr/>
          </p:nvSpPr>
          <p:spPr>
            <a:xfrm flipV="1">
              <a:off x="4770240" y="5392083"/>
              <a:ext cx="4358" cy="5667"/>
            </a:xfrm>
            <a:custGeom>
              <a:avLst/>
              <a:gdLst>
                <a:gd name="connsiteX0" fmla="*/ -3780 w 4358"/>
                <a:gd name="connsiteY0" fmla="*/ 3962 h 5667"/>
                <a:gd name="connsiteX1" fmla="*/ -1601 w 4358"/>
                <a:gd name="connsiteY1" fmla="*/ 474 h 5667"/>
                <a:gd name="connsiteX2" fmla="*/ 578 w 4358"/>
                <a:gd name="connsiteY2" fmla="*/ 2436 h 5667"/>
                <a:gd name="connsiteX3" fmla="*/ -1601 w 4358"/>
                <a:gd name="connsiteY3" fmla="*/ 5924 h 5667"/>
                <a:gd name="connsiteX4" fmla="*/ -3780 w 4358"/>
                <a:gd name="connsiteY4" fmla="*/ 3962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3780" y="3962"/>
                  </a:moveTo>
                  <a:cubicBezTo>
                    <a:pt x="-3780" y="2000"/>
                    <a:pt x="-2690" y="474"/>
                    <a:pt x="-1601" y="474"/>
                  </a:cubicBezTo>
                  <a:cubicBezTo>
                    <a:pt x="-293" y="474"/>
                    <a:pt x="578" y="1346"/>
                    <a:pt x="578" y="2436"/>
                  </a:cubicBezTo>
                  <a:cubicBezTo>
                    <a:pt x="578" y="3744"/>
                    <a:pt x="-293" y="5270"/>
                    <a:pt x="-1601" y="5924"/>
                  </a:cubicBezTo>
                  <a:cubicBezTo>
                    <a:pt x="-2690" y="6578"/>
                    <a:pt x="-3780" y="5706"/>
                    <a:pt x="-3780" y="3962"/>
                  </a:cubicBezTo>
                  <a:close/>
                </a:path>
              </a:pathLst>
            </a:custGeom>
            <a:grpFill/>
            <a:ln w="218" cap="flat">
              <a:noFill/>
              <a:prstDash val="solid"/>
              <a:miter/>
            </a:ln>
          </p:spPr>
          <p:txBody>
            <a:bodyPr rtlCol="0" anchor="ctr"/>
            <a:lstStyle/>
            <a:p>
              <a:endParaRPr lang="en-GB" dirty="0"/>
            </a:p>
          </p:txBody>
        </p:sp>
        <p:sp>
          <p:nvSpPr>
            <p:cNvPr id="103" name="Freihandform: Form 102">
              <a:extLst>
                <a:ext uri="{FF2B5EF4-FFF2-40B4-BE49-F238E27FC236}">
                  <a16:creationId xmlns:a16="http://schemas.microsoft.com/office/drawing/2014/main" xmlns="" id="{3EC4D0E6-FBBD-444F-920D-A5469A9FD414}"/>
                </a:ext>
              </a:extLst>
            </p:cNvPr>
            <p:cNvSpPr/>
            <p:nvPr/>
          </p:nvSpPr>
          <p:spPr>
            <a:xfrm flipV="1">
              <a:off x="5073131" y="5391210"/>
              <a:ext cx="4358" cy="4360"/>
            </a:xfrm>
            <a:custGeom>
              <a:avLst/>
              <a:gdLst>
                <a:gd name="connsiteX0" fmla="*/ -5031 w 4358"/>
                <a:gd name="connsiteY0" fmla="*/ 2646 h 4360"/>
                <a:gd name="connsiteX1" fmla="*/ -2852 w 4358"/>
                <a:gd name="connsiteY1" fmla="*/ 466 h 4360"/>
                <a:gd name="connsiteX2" fmla="*/ -673 w 4358"/>
                <a:gd name="connsiteY2" fmla="*/ 2646 h 4360"/>
                <a:gd name="connsiteX3" fmla="*/ -2852 w 4358"/>
                <a:gd name="connsiteY3" fmla="*/ 4826 h 4360"/>
                <a:gd name="connsiteX4" fmla="*/ -5031 w 4358"/>
                <a:gd name="connsiteY4" fmla="*/ 2646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5031" y="2646"/>
                  </a:moveTo>
                  <a:cubicBezTo>
                    <a:pt x="-5031" y="1556"/>
                    <a:pt x="-3941" y="466"/>
                    <a:pt x="-2852" y="466"/>
                  </a:cubicBezTo>
                  <a:cubicBezTo>
                    <a:pt x="-1544" y="466"/>
                    <a:pt x="-673" y="1556"/>
                    <a:pt x="-673" y="2646"/>
                  </a:cubicBezTo>
                  <a:cubicBezTo>
                    <a:pt x="-673" y="3954"/>
                    <a:pt x="-1544" y="4826"/>
                    <a:pt x="-2852" y="4826"/>
                  </a:cubicBezTo>
                  <a:cubicBezTo>
                    <a:pt x="-3941" y="4826"/>
                    <a:pt x="-5031" y="3954"/>
                    <a:pt x="-5031" y="2646"/>
                  </a:cubicBezTo>
                  <a:close/>
                </a:path>
              </a:pathLst>
            </a:custGeom>
            <a:grpFill/>
            <a:ln w="218" cap="flat">
              <a:noFill/>
              <a:prstDash val="solid"/>
              <a:miter/>
            </a:ln>
          </p:spPr>
          <p:txBody>
            <a:bodyPr rtlCol="0" anchor="ctr"/>
            <a:lstStyle/>
            <a:p>
              <a:endParaRPr lang="en-GB" dirty="0"/>
            </a:p>
          </p:txBody>
        </p:sp>
        <p:sp>
          <p:nvSpPr>
            <p:cNvPr id="104" name="Freihandform: Form 103">
              <a:extLst>
                <a:ext uri="{FF2B5EF4-FFF2-40B4-BE49-F238E27FC236}">
                  <a16:creationId xmlns:a16="http://schemas.microsoft.com/office/drawing/2014/main" xmlns="" id="{B5944EDB-7CCD-4EC3-8647-A5EE786EFE83}"/>
                </a:ext>
              </a:extLst>
            </p:cNvPr>
            <p:cNvSpPr/>
            <p:nvPr/>
          </p:nvSpPr>
          <p:spPr>
            <a:xfrm flipV="1">
              <a:off x="4434662" y="5400146"/>
              <a:ext cx="29417" cy="113147"/>
            </a:xfrm>
            <a:custGeom>
              <a:avLst/>
              <a:gdLst>
                <a:gd name="connsiteX0" fmla="*/ 9103 w 29417"/>
                <a:gd name="connsiteY0" fmla="*/ 111533 h 113147"/>
                <a:gd name="connsiteX1" fmla="*/ 6706 w 29417"/>
                <a:gd name="connsiteY1" fmla="*/ 103031 h 113147"/>
                <a:gd name="connsiteX2" fmla="*/ 10847 w 29417"/>
                <a:gd name="connsiteY2" fmla="*/ 96709 h 113147"/>
                <a:gd name="connsiteX3" fmla="*/ 12808 w 29417"/>
                <a:gd name="connsiteY3" fmla="*/ 91041 h 113147"/>
                <a:gd name="connsiteX4" fmla="*/ 5181 w 29417"/>
                <a:gd name="connsiteY4" fmla="*/ 86681 h 113147"/>
                <a:gd name="connsiteX5" fmla="*/ -2446 w 29417"/>
                <a:gd name="connsiteY5" fmla="*/ 88207 h 113147"/>
                <a:gd name="connsiteX6" fmla="*/ -2010 w 29417"/>
                <a:gd name="connsiteY6" fmla="*/ 65316 h 113147"/>
                <a:gd name="connsiteX7" fmla="*/ 2566 w 29417"/>
                <a:gd name="connsiteY7" fmla="*/ 42207 h 113147"/>
                <a:gd name="connsiteX8" fmla="*/ 9975 w 29417"/>
                <a:gd name="connsiteY8" fmla="*/ 34359 h 113147"/>
                <a:gd name="connsiteX9" fmla="*/ 9975 w 29417"/>
                <a:gd name="connsiteY9" fmla="*/ 23676 h 113147"/>
                <a:gd name="connsiteX10" fmla="*/ 10193 w 29417"/>
                <a:gd name="connsiteY10" fmla="*/ 8634 h 113147"/>
                <a:gd name="connsiteX11" fmla="*/ 18909 w 29417"/>
                <a:gd name="connsiteY11" fmla="*/ 786 h 113147"/>
                <a:gd name="connsiteX12" fmla="*/ 21742 w 29417"/>
                <a:gd name="connsiteY12" fmla="*/ 8198 h 113147"/>
                <a:gd name="connsiteX13" fmla="*/ 18255 w 29417"/>
                <a:gd name="connsiteY13" fmla="*/ 15392 h 113147"/>
                <a:gd name="connsiteX14" fmla="*/ 21960 w 29417"/>
                <a:gd name="connsiteY14" fmla="*/ 25202 h 113147"/>
                <a:gd name="connsiteX15" fmla="*/ 26972 w 29417"/>
                <a:gd name="connsiteY15" fmla="*/ 29127 h 113147"/>
                <a:gd name="connsiteX16" fmla="*/ 17820 w 29417"/>
                <a:gd name="connsiteY16" fmla="*/ 37411 h 113147"/>
                <a:gd name="connsiteX17" fmla="*/ 19127 w 29417"/>
                <a:gd name="connsiteY17" fmla="*/ 49837 h 113147"/>
                <a:gd name="connsiteX18" fmla="*/ 22614 w 29417"/>
                <a:gd name="connsiteY18" fmla="*/ 55287 h 113147"/>
                <a:gd name="connsiteX19" fmla="*/ 19345 w 29417"/>
                <a:gd name="connsiteY19" fmla="*/ 61610 h 113147"/>
                <a:gd name="connsiteX20" fmla="*/ 16076 w 29417"/>
                <a:gd name="connsiteY20" fmla="*/ 69240 h 113147"/>
                <a:gd name="connsiteX21" fmla="*/ 18909 w 29417"/>
                <a:gd name="connsiteY21" fmla="*/ 75780 h 113147"/>
                <a:gd name="connsiteX22" fmla="*/ 21960 w 29417"/>
                <a:gd name="connsiteY22" fmla="*/ 77524 h 113147"/>
                <a:gd name="connsiteX23" fmla="*/ 20652 w 29417"/>
                <a:gd name="connsiteY23" fmla="*/ 87553 h 113147"/>
                <a:gd name="connsiteX24" fmla="*/ 16512 w 29417"/>
                <a:gd name="connsiteY24" fmla="*/ 113931 h 113147"/>
                <a:gd name="connsiteX25" fmla="*/ 9103 w 29417"/>
                <a:gd name="connsiteY25" fmla="*/ 111533 h 113147"/>
                <a:gd name="connsiteX26" fmla="*/ 8450 w 29417"/>
                <a:gd name="connsiteY26" fmla="*/ 61828 h 113147"/>
                <a:gd name="connsiteX27" fmla="*/ 6053 w 29417"/>
                <a:gd name="connsiteY27" fmla="*/ 59648 h 113147"/>
                <a:gd name="connsiteX28" fmla="*/ 5181 w 29417"/>
                <a:gd name="connsiteY28" fmla="*/ 61828 h 113147"/>
                <a:gd name="connsiteX29" fmla="*/ 7578 w 29417"/>
                <a:gd name="connsiteY29" fmla="*/ 64008 h 113147"/>
                <a:gd name="connsiteX30" fmla="*/ 8450 w 29417"/>
                <a:gd name="connsiteY30" fmla="*/ 61828 h 11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9417" h="113147">
                  <a:moveTo>
                    <a:pt x="9103" y="111533"/>
                  </a:moveTo>
                  <a:cubicBezTo>
                    <a:pt x="5181" y="109571"/>
                    <a:pt x="4745" y="108481"/>
                    <a:pt x="6706" y="103031"/>
                  </a:cubicBezTo>
                  <a:cubicBezTo>
                    <a:pt x="7796" y="99543"/>
                    <a:pt x="9757" y="96709"/>
                    <a:pt x="10847" y="96709"/>
                  </a:cubicBezTo>
                  <a:cubicBezTo>
                    <a:pt x="11936" y="96709"/>
                    <a:pt x="12808" y="94093"/>
                    <a:pt x="12808" y="91041"/>
                  </a:cubicBezTo>
                  <a:cubicBezTo>
                    <a:pt x="12808" y="85590"/>
                    <a:pt x="12372" y="85372"/>
                    <a:pt x="5181" y="86681"/>
                  </a:cubicBezTo>
                  <a:lnTo>
                    <a:pt x="-2446" y="88207"/>
                  </a:lnTo>
                  <a:lnTo>
                    <a:pt x="-2010" y="65316"/>
                  </a:lnTo>
                  <a:cubicBezTo>
                    <a:pt x="-1356" y="44823"/>
                    <a:pt x="-920" y="42207"/>
                    <a:pt x="2566" y="42207"/>
                  </a:cubicBezTo>
                  <a:cubicBezTo>
                    <a:pt x="4745" y="42207"/>
                    <a:pt x="7796" y="38937"/>
                    <a:pt x="9975" y="34359"/>
                  </a:cubicBezTo>
                  <a:cubicBezTo>
                    <a:pt x="13679" y="26946"/>
                    <a:pt x="13679" y="26292"/>
                    <a:pt x="9975" y="23676"/>
                  </a:cubicBezTo>
                  <a:cubicBezTo>
                    <a:pt x="5399" y="20406"/>
                    <a:pt x="5399" y="18226"/>
                    <a:pt x="10193" y="8634"/>
                  </a:cubicBezTo>
                  <a:cubicBezTo>
                    <a:pt x="12808" y="3184"/>
                    <a:pt x="15423" y="786"/>
                    <a:pt x="18909" y="786"/>
                  </a:cubicBezTo>
                  <a:cubicBezTo>
                    <a:pt x="23703" y="786"/>
                    <a:pt x="25664" y="5800"/>
                    <a:pt x="21742" y="8198"/>
                  </a:cubicBezTo>
                  <a:cubicBezTo>
                    <a:pt x="20652" y="8852"/>
                    <a:pt x="19127" y="12122"/>
                    <a:pt x="18255" y="15392"/>
                  </a:cubicBezTo>
                  <a:cubicBezTo>
                    <a:pt x="17166" y="19970"/>
                    <a:pt x="18038" y="22150"/>
                    <a:pt x="21960" y="25202"/>
                  </a:cubicBezTo>
                  <a:lnTo>
                    <a:pt x="26972" y="29127"/>
                  </a:lnTo>
                  <a:lnTo>
                    <a:pt x="17820" y="37411"/>
                  </a:lnTo>
                  <a:cubicBezTo>
                    <a:pt x="7360" y="47003"/>
                    <a:pt x="7796" y="52453"/>
                    <a:pt x="19127" y="49837"/>
                  </a:cubicBezTo>
                  <a:cubicBezTo>
                    <a:pt x="26318" y="48311"/>
                    <a:pt x="28061" y="50709"/>
                    <a:pt x="22614" y="55287"/>
                  </a:cubicBezTo>
                  <a:cubicBezTo>
                    <a:pt x="20870" y="56813"/>
                    <a:pt x="19345" y="59648"/>
                    <a:pt x="19345" y="61610"/>
                  </a:cubicBezTo>
                  <a:cubicBezTo>
                    <a:pt x="19345" y="63572"/>
                    <a:pt x="17820" y="67060"/>
                    <a:pt x="16076" y="69240"/>
                  </a:cubicBezTo>
                  <a:cubicBezTo>
                    <a:pt x="11282" y="75562"/>
                    <a:pt x="12154" y="77306"/>
                    <a:pt x="18909" y="75780"/>
                  </a:cubicBezTo>
                  <a:cubicBezTo>
                    <a:pt x="23921" y="74472"/>
                    <a:pt x="24357" y="74690"/>
                    <a:pt x="21960" y="77524"/>
                  </a:cubicBezTo>
                  <a:cubicBezTo>
                    <a:pt x="20435" y="79486"/>
                    <a:pt x="19781" y="83410"/>
                    <a:pt x="20652" y="87553"/>
                  </a:cubicBezTo>
                  <a:cubicBezTo>
                    <a:pt x="22614" y="96709"/>
                    <a:pt x="19781" y="114149"/>
                    <a:pt x="16512" y="113931"/>
                  </a:cubicBezTo>
                  <a:cubicBezTo>
                    <a:pt x="14987" y="113931"/>
                    <a:pt x="11718" y="112841"/>
                    <a:pt x="9103" y="111533"/>
                  </a:cubicBezTo>
                  <a:close/>
                  <a:moveTo>
                    <a:pt x="8450" y="61828"/>
                  </a:moveTo>
                  <a:cubicBezTo>
                    <a:pt x="8450" y="60738"/>
                    <a:pt x="7360" y="59648"/>
                    <a:pt x="6053" y="59648"/>
                  </a:cubicBezTo>
                  <a:cubicBezTo>
                    <a:pt x="4963" y="59648"/>
                    <a:pt x="4527" y="60738"/>
                    <a:pt x="5181" y="61828"/>
                  </a:cubicBezTo>
                  <a:cubicBezTo>
                    <a:pt x="5835" y="63136"/>
                    <a:pt x="6924" y="64008"/>
                    <a:pt x="7578" y="64008"/>
                  </a:cubicBezTo>
                  <a:cubicBezTo>
                    <a:pt x="8014" y="64008"/>
                    <a:pt x="8450" y="63136"/>
                    <a:pt x="8450" y="61828"/>
                  </a:cubicBezTo>
                  <a:close/>
                </a:path>
              </a:pathLst>
            </a:custGeom>
            <a:grpFill/>
            <a:ln w="218" cap="flat">
              <a:noFill/>
              <a:prstDash val="solid"/>
              <a:miter/>
            </a:ln>
          </p:spPr>
          <p:txBody>
            <a:bodyPr rtlCol="0" anchor="ctr"/>
            <a:lstStyle/>
            <a:p>
              <a:endParaRPr lang="en-GB" dirty="0"/>
            </a:p>
          </p:txBody>
        </p:sp>
        <p:sp>
          <p:nvSpPr>
            <p:cNvPr id="105" name="Freihandform: Form 104">
              <a:extLst>
                <a:ext uri="{FF2B5EF4-FFF2-40B4-BE49-F238E27FC236}">
                  <a16:creationId xmlns:a16="http://schemas.microsoft.com/office/drawing/2014/main" xmlns="" id="{7911777E-F84E-44A4-83B7-0108FFA0AF1F}"/>
                </a:ext>
              </a:extLst>
            </p:cNvPr>
            <p:cNvSpPr/>
            <p:nvPr/>
          </p:nvSpPr>
          <p:spPr>
            <a:xfrm flipV="1">
              <a:off x="5117250" y="5402274"/>
              <a:ext cx="11991" cy="12916"/>
            </a:xfrm>
            <a:custGeom>
              <a:avLst/>
              <a:gdLst>
                <a:gd name="connsiteX0" fmla="*/ -3588 w 11991"/>
                <a:gd name="connsiteY0" fmla="*/ 10354 h 12916"/>
                <a:gd name="connsiteX1" fmla="*/ -755 w 11991"/>
                <a:gd name="connsiteY1" fmla="*/ 543 h 12916"/>
                <a:gd name="connsiteX2" fmla="*/ 5128 w 11991"/>
                <a:gd name="connsiteY2" fmla="*/ 3814 h 12916"/>
                <a:gd name="connsiteX3" fmla="*/ 5128 w 11991"/>
                <a:gd name="connsiteY3" fmla="*/ 10354 h 12916"/>
                <a:gd name="connsiteX4" fmla="*/ -3588 w 11991"/>
                <a:gd name="connsiteY4" fmla="*/ 10354 h 12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91" h="12916">
                  <a:moveTo>
                    <a:pt x="-3588" y="10354"/>
                  </a:moveTo>
                  <a:cubicBezTo>
                    <a:pt x="-6857" y="6430"/>
                    <a:pt x="-4895" y="543"/>
                    <a:pt x="-755" y="543"/>
                  </a:cubicBezTo>
                  <a:cubicBezTo>
                    <a:pt x="988" y="543"/>
                    <a:pt x="3603" y="2069"/>
                    <a:pt x="5128" y="3814"/>
                  </a:cubicBezTo>
                  <a:cubicBezTo>
                    <a:pt x="7307" y="6430"/>
                    <a:pt x="7307" y="7738"/>
                    <a:pt x="5128" y="10354"/>
                  </a:cubicBezTo>
                  <a:cubicBezTo>
                    <a:pt x="1642" y="14496"/>
                    <a:pt x="-102" y="14496"/>
                    <a:pt x="-3588" y="10354"/>
                  </a:cubicBezTo>
                  <a:close/>
                </a:path>
              </a:pathLst>
            </a:custGeom>
            <a:grpFill/>
            <a:ln w="218" cap="flat">
              <a:noFill/>
              <a:prstDash val="solid"/>
              <a:miter/>
            </a:ln>
          </p:spPr>
          <p:txBody>
            <a:bodyPr rtlCol="0" anchor="ctr"/>
            <a:lstStyle/>
            <a:p>
              <a:endParaRPr lang="en-GB" dirty="0"/>
            </a:p>
          </p:txBody>
        </p:sp>
        <p:sp>
          <p:nvSpPr>
            <p:cNvPr id="106" name="Freihandform: Form 105">
              <a:extLst>
                <a:ext uri="{FF2B5EF4-FFF2-40B4-BE49-F238E27FC236}">
                  <a16:creationId xmlns:a16="http://schemas.microsoft.com/office/drawing/2014/main" xmlns="" id="{FBEC37F7-08ED-497A-827D-BF5D23408A63}"/>
                </a:ext>
              </a:extLst>
            </p:cNvPr>
            <p:cNvSpPr/>
            <p:nvPr/>
          </p:nvSpPr>
          <p:spPr>
            <a:xfrm flipV="1">
              <a:off x="5164652" y="5404290"/>
              <a:ext cx="8716" cy="6540"/>
            </a:xfrm>
            <a:custGeom>
              <a:avLst/>
              <a:gdLst>
                <a:gd name="connsiteX0" fmla="*/ -5418 w 8716"/>
                <a:gd name="connsiteY0" fmla="*/ 3808 h 6540"/>
                <a:gd name="connsiteX1" fmla="*/ -1060 w 8716"/>
                <a:gd name="connsiteY1" fmla="*/ 538 h 6540"/>
                <a:gd name="connsiteX2" fmla="*/ 3298 w 8716"/>
                <a:gd name="connsiteY2" fmla="*/ 3808 h 6540"/>
                <a:gd name="connsiteX3" fmla="*/ -1060 w 8716"/>
                <a:gd name="connsiteY3" fmla="*/ 7078 h 6540"/>
                <a:gd name="connsiteX4" fmla="*/ -5418 w 8716"/>
                <a:gd name="connsiteY4" fmla="*/ 3808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6" h="6540">
                  <a:moveTo>
                    <a:pt x="-5418" y="3808"/>
                  </a:moveTo>
                  <a:cubicBezTo>
                    <a:pt x="-5418" y="2064"/>
                    <a:pt x="-3457" y="538"/>
                    <a:pt x="-1060" y="538"/>
                  </a:cubicBezTo>
                  <a:cubicBezTo>
                    <a:pt x="1337" y="538"/>
                    <a:pt x="3298" y="2064"/>
                    <a:pt x="3298" y="3808"/>
                  </a:cubicBezTo>
                  <a:cubicBezTo>
                    <a:pt x="3298" y="5552"/>
                    <a:pt x="1337" y="7078"/>
                    <a:pt x="-1060" y="7078"/>
                  </a:cubicBezTo>
                  <a:cubicBezTo>
                    <a:pt x="-3457" y="7078"/>
                    <a:pt x="-5418" y="5552"/>
                    <a:pt x="-5418" y="3808"/>
                  </a:cubicBezTo>
                  <a:close/>
                </a:path>
              </a:pathLst>
            </a:custGeom>
            <a:grpFill/>
            <a:ln w="218" cap="flat">
              <a:noFill/>
              <a:prstDash val="solid"/>
              <a:miter/>
            </a:ln>
          </p:spPr>
          <p:txBody>
            <a:bodyPr rtlCol="0" anchor="ctr"/>
            <a:lstStyle/>
            <a:p>
              <a:endParaRPr lang="en-GB" dirty="0"/>
            </a:p>
          </p:txBody>
        </p:sp>
        <p:sp>
          <p:nvSpPr>
            <p:cNvPr id="107" name="Freihandform: Form 106">
              <a:extLst>
                <a:ext uri="{FF2B5EF4-FFF2-40B4-BE49-F238E27FC236}">
                  <a16:creationId xmlns:a16="http://schemas.microsoft.com/office/drawing/2014/main" xmlns="" id="{67D99705-87A2-4F2B-83C0-2EA2D6B7B4AE}"/>
                </a:ext>
              </a:extLst>
            </p:cNvPr>
            <p:cNvSpPr/>
            <p:nvPr/>
          </p:nvSpPr>
          <p:spPr>
            <a:xfrm flipV="1">
              <a:off x="5179905" y="5408650"/>
              <a:ext cx="4358" cy="6540"/>
            </a:xfrm>
            <a:custGeom>
              <a:avLst/>
              <a:gdLst>
                <a:gd name="connsiteX0" fmla="*/ -5472 w 4358"/>
                <a:gd name="connsiteY0" fmla="*/ 3830 h 6540"/>
                <a:gd name="connsiteX1" fmla="*/ -3293 w 4358"/>
                <a:gd name="connsiteY1" fmla="*/ 560 h 6540"/>
                <a:gd name="connsiteX2" fmla="*/ -1114 w 4358"/>
                <a:gd name="connsiteY2" fmla="*/ 3830 h 6540"/>
                <a:gd name="connsiteX3" fmla="*/ -3293 w 4358"/>
                <a:gd name="connsiteY3" fmla="*/ 7100 h 6540"/>
                <a:gd name="connsiteX4" fmla="*/ -5472 w 4358"/>
                <a:gd name="connsiteY4" fmla="*/ 3830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6540">
                  <a:moveTo>
                    <a:pt x="-5472" y="3830"/>
                  </a:moveTo>
                  <a:cubicBezTo>
                    <a:pt x="-5472" y="2086"/>
                    <a:pt x="-4382" y="560"/>
                    <a:pt x="-3293" y="560"/>
                  </a:cubicBezTo>
                  <a:cubicBezTo>
                    <a:pt x="-1985" y="560"/>
                    <a:pt x="-1114" y="2086"/>
                    <a:pt x="-1114" y="3830"/>
                  </a:cubicBezTo>
                  <a:cubicBezTo>
                    <a:pt x="-1114" y="5574"/>
                    <a:pt x="-1985" y="7100"/>
                    <a:pt x="-3293" y="7100"/>
                  </a:cubicBezTo>
                  <a:cubicBezTo>
                    <a:pt x="-4382" y="7100"/>
                    <a:pt x="-5472" y="5574"/>
                    <a:pt x="-5472" y="3830"/>
                  </a:cubicBezTo>
                  <a:close/>
                </a:path>
              </a:pathLst>
            </a:custGeom>
            <a:grpFill/>
            <a:ln w="218" cap="flat">
              <a:noFill/>
              <a:prstDash val="solid"/>
              <a:miter/>
            </a:ln>
          </p:spPr>
          <p:txBody>
            <a:bodyPr rtlCol="0" anchor="ctr"/>
            <a:lstStyle/>
            <a:p>
              <a:endParaRPr lang="en-GB" dirty="0"/>
            </a:p>
          </p:txBody>
        </p:sp>
        <p:sp>
          <p:nvSpPr>
            <p:cNvPr id="108" name="Freihandform: Form 107">
              <a:extLst>
                <a:ext uri="{FF2B5EF4-FFF2-40B4-BE49-F238E27FC236}">
                  <a16:creationId xmlns:a16="http://schemas.microsoft.com/office/drawing/2014/main" xmlns="" id="{18D39E9A-E54D-4E99-85F0-31CAA577ED11}"/>
                </a:ext>
              </a:extLst>
            </p:cNvPr>
            <p:cNvSpPr/>
            <p:nvPr/>
          </p:nvSpPr>
          <p:spPr>
            <a:xfrm flipV="1">
              <a:off x="4833433" y="5410831"/>
              <a:ext cx="3575" cy="4360"/>
            </a:xfrm>
            <a:custGeom>
              <a:avLst/>
              <a:gdLst>
                <a:gd name="connsiteX0" fmla="*/ -4039 w 3575"/>
                <a:gd name="connsiteY0" fmla="*/ 2745 h 4360"/>
                <a:gd name="connsiteX1" fmla="*/ -1642 w 3575"/>
                <a:gd name="connsiteY1" fmla="*/ 565 h 4360"/>
                <a:gd name="connsiteX2" fmla="*/ -771 w 3575"/>
                <a:gd name="connsiteY2" fmla="*/ 2745 h 4360"/>
                <a:gd name="connsiteX3" fmla="*/ -3168 w 3575"/>
                <a:gd name="connsiteY3" fmla="*/ 4925 h 4360"/>
                <a:gd name="connsiteX4" fmla="*/ -4039 w 3575"/>
                <a:gd name="connsiteY4" fmla="*/ 2745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4039" y="2745"/>
                  </a:moveTo>
                  <a:cubicBezTo>
                    <a:pt x="-4039" y="1655"/>
                    <a:pt x="-2950" y="565"/>
                    <a:pt x="-1642" y="565"/>
                  </a:cubicBezTo>
                  <a:cubicBezTo>
                    <a:pt x="-553" y="565"/>
                    <a:pt x="-117" y="1655"/>
                    <a:pt x="-771" y="2745"/>
                  </a:cubicBezTo>
                  <a:cubicBezTo>
                    <a:pt x="-1424" y="4053"/>
                    <a:pt x="-2514" y="4925"/>
                    <a:pt x="-3168" y="4925"/>
                  </a:cubicBezTo>
                  <a:cubicBezTo>
                    <a:pt x="-3604" y="4925"/>
                    <a:pt x="-4039" y="4053"/>
                    <a:pt x="-4039" y="2745"/>
                  </a:cubicBezTo>
                  <a:close/>
                </a:path>
              </a:pathLst>
            </a:custGeom>
            <a:grpFill/>
            <a:ln w="218" cap="flat">
              <a:noFill/>
              <a:prstDash val="solid"/>
              <a:miter/>
            </a:ln>
          </p:spPr>
          <p:txBody>
            <a:bodyPr rtlCol="0" anchor="ctr"/>
            <a:lstStyle/>
            <a:p>
              <a:endParaRPr lang="en-GB" dirty="0"/>
            </a:p>
          </p:txBody>
        </p:sp>
        <p:sp>
          <p:nvSpPr>
            <p:cNvPr id="109" name="Freihandform: Form 108">
              <a:extLst>
                <a:ext uri="{FF2B5EF4-FFF2-40B4-BE49-F238E27FC236}">
                  <a16:creationId xmlns:a16="http://schemas.microsoft.com/office/drawing/2014/main" xmlns="" id="{F67FC13B-67FD-4EA2-BA38-32D70A4A82B3}"/>
                </a:ext>
              </a:extLst>
            </p:cNvPr>
            <p:cNvSpPr/>
            <p:nvPr/>
          </p:nvSpPr>
          <p:spPr>
            <a:xfrm flipV="1">
              <a:off x="4840842" y="5415191"/>
              <a:ext cx="5664" cy="4360"/>
            </a:xfrm>
            <a:custGeom>
              <a:avLst/>
              <a:gdLst>
                <a:gd name="connsiteX0" fmla="*/ -3857 w 5664"/>
                <a:gd name="connsiteY0" fmla="*/ 2767 h 4360"/>
                <a:gd name="connsiteX1" fmla="*/ -371 w 5664"/>
                <a:gd name="connsiteY1" fmla="*/ 587 h 4360"/>
                <a:gd name="connsiteX2" fmla="*/ 1590 w 5664"/>
                <a:gd name="connsiteY2" fmla="*/ 2767 h 4360"/>
                <a:gd name="connsiteX3" fmla="*/ -1896 w 5664"/>
                <a:gd name="connsiteY3" fmla="*/ 4947 h 4360"/>
                <a:gd name="connsiteX4" fmla="*/ -3857 w 5664"/>
                <a:gd name="connsiteY4" fmla="*/ 2767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 h="4360">
                  <a:moveTo>
                    <a:pt x="-3857" y="2767"/>
                  </a:moveTo>
                  <a:cubicBezTo>
                    <a:pt x="-3204" y="1677"/>
                    <a:pt x="-1678" y="587"/>
                    <a:pt x="-371" y="587"/>
                  </a:cubicBezTo>
                  <a:cubicBezTo>
                    <a:pt x="719" y="587"/>
                    <a:pt x="1590" y="1677"/>
                    <a:pt x="1590" y="2767"/>
                  </a:cubicBezTo>
                  <a:cubicBezTo>
                    <a:pt x="1590" y="4075"/>
                    <a:pt x="65" y="4947"/>
                    <a:pt x="-1896" y="4947"/>
                  </a:cubicBezTo>
                  <a:cubicBezTo>
                    <a:pt x="-3639" y="4947"/>
                    <a:pt x="-4511" y="4075"/>
                    <a:pt x="-3857" y="2767"/>
                  </a:cubicBezTo>
                  <a:close/>
                </a:path>
              </a:pathLst>
            </a:custGeom>
            <a:grpFill/>
            <a:ln w="218" cap="flat">
              <a:noFill/>
              <a:prstDash val="solid"/>
              <a:miter/>
            </a:ln>
          </p:spPr>
          <p:txBody>
            <a:bodyPr rtlCol="0" anchor="ctr"/>
            <a:lstStyle/>
            <a:p>
              <a:endParaRPr lang="en-GB" dirty="0"/>
            </a:p>
          </p:txBody>
        </p:sp>
        <p:sp>
          <p:nvSpPr>
            <p:cNvPr id="110" name="Freihandform: Form 109">
              <a:extLst>
                <a:ext uri="{FF2B5EF4-FFF2-40B4-BE49-F238E27FC236}">
                  <a16:creationId xmlns:a16="http://schemas.microsoft.com/office/drawing/2014/main" xmlns="" id="{25A58E28-50EF-4AC2-8DFB-9AE53AB537C7}"/>
                </a:ext>
              </a:extLst>
            </p:cNvPr>
            <p:cNvSpPr/>
            <p:nvPr/>
          </p:nvSpPr>
          <p:spPr>
            <a:xfrm flipV="1">
              <a:off x="4801619" y="5417371"/>
              <a:ext cx="5619" cy="3570"/>
            </a:xfrm>
            <a:custGeom>
              <a:avLst/>
              <a:gdLst>
                <a:gd name="connsiteX0" fmla="*/ -3695 w 5619"/>
                <a:gd name="connsiteY0" fmla="*/ 1987 h 3570"/>
                <a:gd name="connsiteX1" fmla="*/ -209 w 5619"/>
                <a:gd name="connsiteY1" fmla="*/ 896 h 3570"/>
                <a:gd name="connsiteX2" fmla="*/ -1734 w 5619"/>
                <a:gd name="connsiteY2" fmla="*/ 4167 h 3570"/>
                <a:gd name="connsiteX3" fmla="*/ -3695 w 5619"/>
                <a:gd name="connsiteY3" fmla="*/ 1987 h 3570"/>
              </a:gdLst>
              <a:ahLst/>
              <a:cxnLst>
                <a:cxn ang="0">
                  <a:pos x="connsiteX0" y="connsiteY0"/>
                </a:cxn>
                <a:cxn ang="0">
                  <a:pos x="connsiteX1" y="connsiteY1"/>
                </a:cxn>
                <a:cxn ang="0">
                  <a:pos x="connsiteX2" y="connsiteY2"/>
                </a:cxn>
                <a:cxn ang="0">
                  <a:pos x="connsiteX3" y="connsiteY3"/>
                </a:cxn>
              </a:cxnLst>
              <a:rect l="l" t="t" r="r" b="b"/>
              <a:pathLst>
                <a:path w="5619" h="3570">
                  <a:moveTo>
                    <a:pt x="-3695" y="1987"/>
                  </a:moveTo>
                  <a:cubicBezTo>
                    <a:pt x="-2824" y="678"/>
                    <a:pt x="-1298" y="242"/>
                    <a:pt x="-209" y="896"/>
                  </a:cubicBezTo>
                  <a:cubicBezTo>
                    <a:pt x="2842" y="2859"/>
                    <a:pt x="2188" y="4167"/>
                    <a:pt x="-1734" y="4167"/>
                  </a:cubicBezTo>
                  <a:cubicBezTo>
                    <a:pt x="-3477" y="4167"/>
                    <a:pt x="-4349" y="3077"/>
                    <a:pt x="-3695" y="1987"/>
                  </a:cubicBezTo>
                  <a:close/>
                </a:path>
              </a:pathLst>
            </a:custGeom>
            <a:grpFill/>
            <a:ln w="218" cap="flat">
              <a:noFill/>
              <a:prstDash val="solid"/>
              <a:miter/>
            </a:ln>
          </p:spPr>
          <p:txBody>
            <a:bodyPr rtlCol="0" anchor="ctr"/>
            <a:lstStyle/>
            <a:p>
              <a:endParaRPr lang="en-GB" dirty="0"/>
            </a:p>
          </p:txBody>
        </p:sp>
        <p:sp>
          <p:nvSpPr>
            <p:cNvPr id="111" name="Freihandform: Form 110">
              <a:extLst>
                <a:ext uri="{FF2B5EF4-FFF2-40B4-BE49-F238E27FC236}">
                  <a16:creationId xmlns:a16="http://schemas.microsoft.com/office/drawing/2014/main" xmlns="" id="{1393A23C-B21C-483B-A005-01F0E875357F}"/>
                </a:ext>
              </a:extLst>
            </p:cNvPr>
            <p:cNvSpPr/>
            <p:nvPr/>
          </p:nvSpPr>
          <p:spPr>
            <a:xfrm flipV="1">
              <a:off x="4199322" y="5424636"/>
              <a:ext cx="58592" cy="106098"/>
            </a:xfrm>
            <a:custGeom>
              <a:avLst/>
              <a:gdLst>
                <a:gd name="connsiteX0" fmla="*/ 23090 w 58592"/>
                <a:gd name="connsiteY0" fmla="*/ 104881 h 106098"/>
                <a:gd name="connsiteX1" fmla="*/ 17206 w 58592"/>
                <a:gd name="connsiteY1" fmla="*/ 96379 h 106098"/>
                <a:gd name="connsiteX2" fmla="*/ 12412 w 58592"/>
                <a:gd name="connsiteY2" fmla="*/ 90710 h 106098"/>
                <a:gd name="connsiteX3" fmla="*/ 7836 w 58592"/>
                <a:gd name="connsiteY3" fmla="*/ 88748 h 106098"/>
                <a:gd name="connsiteX4" fmla="*/ 8708 w 58592"/>
                <a:gd name="connsiteY4" fmla="*/ 85914 h 106098"/>
                <a:gd name="connsiteX5" fmla="*/ 13502 w 58592"/>
                <a:gd name="connsiteY5" fmla="*/ 83952 h 106098"/>
                <a:gd name="connsiteX6" fmla="*/ 13937 w 58592"/>
                <a:gd name="connsiteY6" fmla="*/ 78502 h 106098"/>
                <a:gd name="connsiteX7" fmla="*/ 13937 w 58592"/>
                <a:gd name="connsiteY7" fmla="*/ 71526 h 106098"/>
                <a:gd name="connsiteX8" fmla="*/ 4567 w 58592"/>
                <a:gd name="connsiteY8" fmla="*/ 64986 h 106098"/>
                <a:gd name="connsiteX9" fmla="*/ -1534 w 58592"/>
                <a:gd name="connsiteY9" fmla="*/ 63023 h 106098"/>
                <a:gd name="connsiteX10" fmla="*/ 7836 w 58592"/>
                <a:gd name="connsiteY10" fmla="*/ 52995 h 106098"/>
                <a:gd name="connsiteX11" fmla="*/ 24615 w 58592"/>
                <a:gd name="connsiteY11" fmla="*/ 39479 h 106098"/>
                <a:gd name="connsiteX12" fmla="*/ 19167 w 58592"/>
                <a:gd name="connsiteY12" fmla="*/ 31412 h 106098"/>
                <a:gd name="connsiteX13" fmla="*/ 13720 w 58592"/>
                <a:gd name="connsiteY13" fmla="*/ 25962 h 106098"/>
                <a:gd name="connsiteX14" fmla="*/ 18731 w 58592"/>
                <a:gd name="connsiteY14" fmla="*/ 25526 h 106098"/>
                <a:gd name="connsiteX15" fmla="*/ 28973 w 58592"/>
                <a:gd name="connsiteY15" fmla="*/ 5251 h 106098"/>
                <a:gd name="connsiteX16" fmla="*/ 31370 w 58592"/>
                <a:gd name="connsiteY16" fmla="*/ 891 h 106098"/>
                <a:gd name="connsiteX17" fmla="*/ 32677 w 58592"/>
                <a:gd name="connsiteY17" fmla="*/ 5687 h 106098"/>
                <a:gd name="connsiteX18" fmla="*/ 35510 w 58592"/>
                <a:gd name="connsiteY18" fmla="*/ 15716 h 106098"/>
                <a:gd name="connsiteX19" fmla="*/ 37036 w 58592"/>
                <a:gd name="connsiteY19" fmla="*/ 25744 h 106098"/>
                <a:gd name="connsiteX20" fmla="*/ 34421 w 58592"/>
                <a:gd name="connsiteY20" fmla="*/ 38825 h 106098"/>
                <a:gd name="connsiteX21" fmla="*/ 27230 w 58592"/>
                <a:gd name="connsiteY21" fmla="*/ 52995 h 106098"/>
                <a:gd name="connsiteX22" fmla="*/ 22218 w 58592"/>
                <a:gd name="connsiteY22" fmla="*/ 66294 h 106098"/>
                <a:gd name="connsiteX23" fmla="*/ 31152 w 58592"/>
                <a:gd name="connsiteY23" fmla="*/ 57573 h 106098"/>
                <a:gd name="connsiteX24" fmla="*/ 35510 w 58592"/>
                <a:gd name="connsiteY24" fmla="*/ 53213 h 106098"/>
                <a:gd name="connsiteX25" fmla="*/ 48585 w 58592"/>
                <a:gd name="connsiteY25" fmla="*/ 59099 h 106098"/>
                <a:gd name="connsiteX26" fmla="*/ 52071 w 58592"/>
                <a:gd name="connsiteY26" fmla="*/ 72834 h 106098"/>
                <a:gd name="connsiteX27" fmla="*/ 45970 w 58592"/>
                <a:gd name="connsiteY27" fmla="*/ 82208 h 106098"/>
                <a:gd name="connsiteX28" fmla="*/ 41176 w 58592"/>
                <a:gd name="connsiteY28" fmla="*/ 91364 h 106098"/>
                <a:gd name="connsiteX29" fmla="*/ 36382 w 58592"/>
                <a:gd name="connsiteY29" fmla="*/ 83080 h 106098"/>
                <a:gd name="connsiteX30" fmla="*/ 40304 w 58592"/>
                <a:gd name="connsiteY30" fmla="*/ 73052 h 106098"/>
                <a:gd name="connsiteX31" fmla="*/ 45534 w 58592"/>
                <a:gd name="connsiteY31" fmla="*/ 65640 h 106098"/>
                <a:gd name="connsiteX32" fmla="*/ 46188 w 58592"/>
                <a:gd name="connsiteY32" fmla="*/ 59971 h 106098"/>
                <a:gd name="connsiteX33" fmla="*/ 38561 w 58592"/>
                <a:gd name="connsiteY33" fmla="*/ 63459 h 106098"/>
                <a:gd name="connsiteX34" fmla="*/ 31152 w 58592"/>
                <a:gd name="connsiteY34" fmla="*/ 69564 h 106098"/>
                <a:gd name="connsiteX35" fmla="*/ 26794 w 58592"/>
                <a:gd name="connsiteY35" fmla="*/ 76104 h 106098"/>
                <a:gd name="connsiteX36" fmla="*/ 28537 w 58592"/>
                <a:gd name="connsiteY36" fmla="*/ 90710 h 106098"/>
                <a:gd name="connsiteX37" fmla="*/ 34421 w 58592"/>
                <a:gd name="connsiteY37" fmla="*/ 100085 h 106098"/>
                <a:gd name="connsiteX38" fmla="*/ 23090 w 58592"/>
                <a:gd name="connsiteY38" fmla="*/ 104881 h 10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8592" h="106098">
                  <a:moveTo>
                    <a:pt x="23090" y="104881"/>
                  </a:moveTo>
                  <a:cubicBezTo>
                    <a:pt x="20475" y="103573"/>
                    <a:pt x="17860" y="99649"/>
                    <a:pt x="17206" y="96379"/>
                  </a:cubicBezTo>
                  <a:cubicBezTo>
                    <a:pt x="16334" y="92018"/>
                    <a:pt x="14809" y="90274"/>
                    <a:pt x="12412" y="90710"/>
                  </a:cubicBezTo>
                  <a:cubicBezTo>
                    <a:pt x="10451" y="91146"/>
                    <a:pt x="8272" y="90056"/>
                    <a:pt x="7836" y="88748"/>
                  </a:cubicBezTo>
                  <a:cubicBezTo>
                    <a:pt x="7182" y="87222"/>
                    <a:pt x="7618" y="85914"/>
                    <a:pt x="8708" y="85914"/>
                  </a:cubicBezTo>
                  <a:cubicBezTo>
                    <a:pt x="9579" y="85914"/>
                    <a:pt x="11758" y="85042"/>
                    <a:pt x="13502" y="83952"/>
                  </a:cubicBezTo>
                  <a:cubicBezTo>
                    <a:pt x="16117" y="82208"/>
                    <a:pt x="16117" y="81336"/>
                    <a:pt x="13937" y="78502"/>
                  </a:cubicBezTo>
                  <a:cubicBezTo>
                    <a:pt x="11540" y="75668"/>
                    <a:pt x="11540" y="74360"/>
                    <a:pt x="13937" y="71526"/>
                  </a:cubicBezTo>
                  <a:cubicBezTo>
                    <a:pt x="17642" y="66948"/>
                    <a:pt x="12848" y="63677"/>
                    <a:pt x="4567" y="64986"/>
                  </a:cubicBezTo>
                  <a:cubicBezTo>
                    <a:pt x="209" y="65858"/>
                    <a:pt x="-1534" y="65204"/>
                    <a:pt x="-1534" y="63023"/>
                  </a:cubicBezTo>
                  <a:cubicBezTo>
                    <a:pt x="-1534" y="59535"/>
                    <a:pt x="4350" y="53213"/>
                    <a:pt x="7836" y="52995"/>
                  </a:cubicBezTo>
                  <a:cubicBezTo>
                    <a:pt x="22000" y="52123"/>
                    <a:pt x="24615" y="49943"/>
                    <a:pt x="24615" y="39479"/>
                  </a:cubicBezTo>
                  <a:cubicBezTo>
                    <a:pt x="24615" y="35119"/>
                    <a:pt x="23090" y="32938"/>
                    <a:pt x="19167" y="31412"/>
                  </a:cubicBezTo>
                  <a:cubicBezTo>
                    <a:pt x="16117" y="30322"/>
                    <a:pt x="13720" y="27924"/>
                    <a:pt x="13720" y="25962"/>
                  </a:cubicBezTo>
                  <a:cubicBezTo>
                    <a:pt x="13720" y="22038"/>
                    <a:pt x="17424" y="21602"/>
                    <a:pt x="18731" y="25526"/>
                  </a:cubicBezTo>
                  <a:cubicBezTo>
                    <a:pt x="19821" y="29014"/>
                    <a:pt x="28973" y="11138"/>
                    <a:pt x="28973" y="5251"/>
                  </a:cubicBezTo>
                  <a:cubicBezTo>
                    <a:pt x="28973" y="2853"/>
                    <a:pt x="30063" y="891"/>
                    <a:pt x="31370" y="891"/>
                  </a:cubicBezTo>
                  <a:cubicBezTo>
                    <a:pt x="32895" y="891"/>
                    <a:pt x="33331" y="2853"/>
                    <a:pt x="32677" y="5687"/>
                  </a:cubicBezTo>
                  <a:cubicBezTo>
                    <a:pt x="31806" y="8522"/>
                    <a:pt x="32895" y="12446"/>
                    <a:pt x="35510" y="15716"/>
                  </a:cubicBezTo>
                  <a:cubicBezTo>
                    <a:pt x="38997" y="20076"/>
                    <a:pt x="39433" y="21820"/>
                    <a:pt x="37036" y="25744"/>
                  </a:cubicBezTo>
                  <a:cubicBezTo>
                    <a:pt x="35728" y="28142"/>
                    <a:pt x="34421" y="34028"/>
                    <a:pt x="34421" y="38825"/>
                  </a:cubicBezTo>
                  <a:cubicBezTo>
                    <a:pt x="34203" y="45583"/>
                    <a:pt x="32677" y="48417"/>
                    <a:pt x="27230" y="52995"/>
                  </a:cubicBezTo>
                  <a:cubicBezTo>
                    <a:pt x="20693" y="58227"/>
                    <a:pt x="17642" y="66294"/>
                    <a:pt x="22218" y="66294"/>
                  </a:cubicBezTo>
                  <a:cubicBezTo>
                    <a:pt x="24833" y="66294"/>
                    <a:pt x="31152" y="59971"/>
                    <a:pt x="31152" y="57573"/>
                  </a:cubicBezTo>
                  <a:cubicBezTo>
                    <a:pt x="31152" y="56483"/>
                    <a:pt x="33113" y="54521"/>
                    <a:pt x="35510" y="53213"/>
                  </a:cubicBezTo>
                  <a:cubicBezTo>
                    <a:pt x="38997" y="51251"/>
                    <a:pt x="41176" y="52341"/>
                    <a:pt x="48585" y="59099"/>
                  </a:cubicBezTo>
                  <a:cubicBezTo>
                    <a:pt x="58608" y="68474"/>
                    <a:pt x="59698" y="72834"/>
                    <a:pt x="52071" y="72834"/>
                  </a:cubicBezTo>
                  <a:cubicBezTo>
                    <a:pt x="47277" y="72834"/>
                    <a:pt x="46624" y="73924"/>
                    <a:pt x="45970" y="82208"/>
                  </a:cubicBezTo>
                  <a:cubicBezTo>
                    <a:pt x="45534" y="89402"/>
                    <a:pt x="44444" y="91364"/>
                    <a:pt x="41176" y="91364"/>
                  </a:cubicBezTo>
                  <a:cubicBezTo>
                    <a:pt x="38125" y="91364"/>
                    <a:pt x="37036" y="89402"/>
                    <a:pt x="36382" y="83080"/>
                  </a:cubicBezTo>
                  <a:cubicBezTo>
                    <a:pt x="35728" y="76322"/>
                    <a:pt x="36600" y="74578"/>
                    <a:pt x="40304" y="73052"/>
                  </a:cubicBezTo>
                  <a:cubicBezTo>
                    <a:pt x="43137" y="72180"/>
                    <a:pt x="45098" y="69128"/>
                    <a:pt x="45534" y="65640"/>
                  </a:cubicBezTo>
                  <a:lnTo>
                    <a:pt x="46188" y="59971"/>
                  </a:lnTo>
                  <a:lnTo>
                    <a:pt x="38561" y="63459"/>
                  </a:lnTo>
                  <a:cubicBezTo>
                    <a:pt x="34421" y="65422"/>
                    <a:pt x="31152" y="68256"/>
                    <a:pt x="31152" y="69564"/>
                  </a:cubicBezTo>
                  <a:cubicBezTo>
                    <a:pt x="31152" y="71090"/>
                    <a:pt x="29191" y="73924"/>
                    <a:pt x="26794" y="76104"/>
                  </a:cubicBezTo>
                  <a:cubicBezTo>
                    <a:pt x="20693" y="81554"/>
                    <a:pt x="21346" y="87440"/>
                    <a:pt x="28537" y="90710"/>
                  </a:cubicBezTo>
                  <a:cubicBezTo>
                    <a:pt x="32895" y="92890"/>
                    <a:pt x="34421" y="95071"/>
                    <a:pt x="34421" y="100085"/>
                  </a:cubicBezTo>
                  <a:cubicBezTo>
                    <a:pt x="34421" y="107279"/>
                    <a:pt x="30934" y="108805"/>
                    <a:pt x="23090" y="104881"/>
                  </a:cubicBezTo>
                  <a:close/>
                </a:path>
              </a:pathLst>
            </a:custGeom>
            <a:grpFill/>
            <a:ln w="218" cap="flat">
              <a:noFill/>
              <a:prstDash val="solid"/>
              <a:miter/>
            </a:ln>
          </p:spPr>
          <p:txBody>
            <a:bodyPr rtlCol="0" anchor="ctr"/>
            <a:lstStyle/>
            <a:p>
              <a:endParaRPr lang="en-GB" dirty="0"/>
            </a:p>
          </p:txBody>
        </p:sp>
        <p:sp>
          <p:nvSpPr>
            <p:cNvPr id="112" name="Freihandform: Form 111">
              <a:extLst>
                <a:ext uri="{FF2B5EF4-FFF2-40B4-BE49-F238E27FC236}">
                  <a16:creationId xmlns:a16="http://schemas.microsoft.com/office/drawing/2014/main" xmlns="" id="{C619EB62-49FA-4F01-B8FC-F173002C2161}"/>
                </a:ext>
              </a:extLst>
            </p:cNvPr>
            <p:cNvSpPr/>
            <p:nvPr/>
          </p:nvSpPr>
          <p:spPr>
            <a:xfrm flipV="1">
              <a:off x="4309148" y="5423911"/>
              <a:ext cx="5664" cy="4360"/>
            </a:xfrm>
            <a:custGeom>
              <a:avLst/>
              <a:gdLst>
                <a:gd name="connsiteX0" fmla="*/ -1661 w 5664"/>
                <a:gd name="connsiteY0" fmla="*/ 2811 h 4360"/>
                <a:gd name="connsiteX1" fmla="*/ 1825 w 5664"/>
                <a:gd name="connsiteY1" fmla="*/ 631 h 4360"/>
                <a:gd name="connsiteX2" fmla="*/ 3786 w 5664"/>
                <a:gd name="connsiteY2" fmla="*/ 2811 h 4360"/>
                <a:gd name="connsiteX3" fmla="*/ 300 w 5664"/>
                <a:gd name="connsiteY3" fmla="*/ 4991 h 4360"/>
                <a:gd name="connsiteX4" fmla="*/ -1661 w 5664"/>
                <a:gd name="connsiteY4" fmla="*/ 2811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 h="4360">
                  <a:moveTo>
                    <a:pt x="-1661" y="2811"/>
                  </a:moveTo>
                  <a:cubicBezTo>
                    <a:pt x="-1008" y="1721"/>
                    <a:pt x="518" y="631"/>
                    <a:pt x="1825" y="631"/>
                  </a:cubicBezTo>
                  <a:cubicBezTo>
                    <a:pt x="2915" y="631"/>
                    <a:pt x="3786" y="1721"/>
                    <a:pt x="3786" y="2811"/>
                  </a:cubicBezTo>
                  <a:cubicBezTo>
                    <a:pt x="3786" y="4119"/>
                    <a:pt x="2261" y="4991"/>
                    <a:pt x="300" y="4991"/>
                  </a:cubicBezTo>
                  <a:cubicBezTo>
                    <a:pt x="-1443" y="4991"/>
                    <a:pt x="-2315" y="4119"/>
                    <a:pt x="-1661" y="2811"/>
                  </a:cubicBezTo>
                  <a:close/>
                </a:path>
              </a:pathLst>
            </a:custGeom>
            <a:grpFill/>
            <a:ln w="218" cap="flat">
              <a:noFill/>
              <a:prstDash val="solid"/>
              <a:miter/>
            </a:ln>
          </p:spPr>
          <p:txBody>
            <a:bodyPr rtlCol="0" anchor="ctr"/>
            <a:lstStyle/>
            <a:p>
              <a:endParaRPr lang="en-GB" dirty="0"/>
            </a:p>
          </p:txBody>
        </p:sp>
        <p:sp>
          <p:nvSpPr>
            <p:cNvPr id="113" name="Freihandform: Form 112">
              <a:extLst>
                <a:ext uri="{FF2B5EF4-FFF2-40B4-BE49-F238E27FC236}">
                  <a16:creationId xmlns:a16="http://schemas.microsoft.com/office/drawing/2014/main" xmlns="" id="{DD710383-F081-411A-9436-79CF654130CB}"/>
                </a:ext>
              </a:extLst>
            </p:cNvPr>
            <p:cNvSpPr/>
            <p:nvPr/>
          </p:nvSpPr>
          <p:spPr>
            <a:xfrm flipV="1">
              <a:off x="4460811" y="5423911"/>
              <a:ext cx="4358" cy="5667"/>
            </a:xfrm>
            <a:custGeom>
              <a:avLst/>
              <a:gdLst>
                <a:gd name="connsiteX0" fmla="*/ -2502 w 4358"/>
                <a:gd name="connsiteY0" fmla="*/ 4340 h 5667"/>
                <a:gd name="connsiteX1" fmla="*/ -323 w 4358"/>
                <a:gd name="connsiteY1" fmla="*/ 851 h 5667"/>
                <a:gd name="connsiteX2" fmla="*/ 1856 w 4358"/>
                <a:gd name="connsiteY2" fmla="*/ 2814 h 5667"/>
                <a:gd name="connsiteX3" fmla="*/ -323 w 4358"/>
                <a:gd name="connsiteY3" fmla="*/ 6302 h 5667"/>
                <a:gd name="connsiteX4" fmla="*/ -2502 w 4358"/>
                <a:gd name="connsiteY4" fmla="*/ 4340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2502" y="4340"/>
                  </a:moveTo>
                  <a:cubicBezTo>
                    <a:pt x="-2502" y="3032"/>
                    <a:pt x="-1412" y="1505"/>
                    <a:pt x="-323" y="851"/>
                  </a:cubicBezTo>
                  <a:cubicBezTo>
                    <a:pt x="985" y="197"/>
                    <a:pt x="1856" y="1069"/>
                    <a:pt x="1856" y="2814"/>
                  </a:cubicBezTo>
                  <a:cubicBezTo>
                    <a:pt x="1856" y="4776"/>
                    <a:pt x="985" y="6302"/>
                    <a:pt x="-323" y="6302"/>
                  </a:cubicBezTo>
                  <a:cubicBezTo>
                    <a:pt x="-1412" y="6302"/>
                    <a:pt x="-2502" y="5430"/>
                    <a:pt x="-2502" y="4340"/>
                  </a:cubicBezTo>
                  <a:close/>
                </a:path>
              </a:pathLst>
            </a:custGeom>
            <a:grpFill/>
            <a:ln w="218" cap="flat">
              <a:noFill/>
              <a:prstDash val="solid"/>
              <a:miter/>
            </a:ln>
          </p:spPr>
          <p:txBody>
            <a:bodyPr rtlCol="0" anchor="ctr"/>
            <a:lstStyle/>
            <a:p>
              <a:endParaRPr lang="en-GB" dirty="0"/>
            </a:p>
          </p:txBody>
        </p:sp>
        <p:sp>
          <p:nvSpPr>
            <p:cNvPr id="114" name="Freihandform: Form 113">
              <a:extLst>
                <a:ext uri="{FF2B5EF4-FFF2-40B4-BE49-F238E27FC236}">
                  <a16:creationId xmlns:a16="http://schemas.microsoft.com/office/drawing/2014/main" xmlns="" id="{117EBB8E-9F5E-4BE4-AD59-F2774F616CC9}"/>
                </a:ext>
              </a:extLst>
            </p:cNvPr>
            <p:cNvSpPr/>
            <p:nvPr/>
          </p:nvSpPr>
          <p:spPr>
            <a:xfrm flipV="1">
              <a:off x="4255484" y="5428347"/>
              <a:ext cx="17926" cy="26100"/>
            </a:xfrm>
            <a:custGeom>
              <a:avLst/>
              <a:gdLst>
                <a:gd name="connsiteX0" fmla="*/ -752 w 17926"/>
                <a:gd name="connsiteY0" fmla="*/ 24051 h 26100"/>
                <a:gd name="connsiteX1" fmla="*/ 6221 w 17926"/>
                <a:gd name="connsiteY1" fmla="*/ 1814 h 26100"/>
                <a:gd name="connsiteX2" fmla="*/ 12105 w 17926"/>
                <a:gd name="connsiteY2" fmla="*/ 10970 h 26100"/>
                <a:gd name="connsiteX3" fmla="*/ 12758 w 17926"/>
                <a:gd name="connsiteY3" fmla="*/ 19473 h 26100"/>
                <a:gd name="connsiteX4" fmla="*/ 16245 w 17926"/>
                <a:gd name="connsiteY4" fmla="*/ 24487 h 26100"/>
                <a:gd name="connsiteX5" fmla="*/ -752 w 17926"/>
                <a:gd name="connsiteY5" fmla="*/ 24051 h 2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26" h="26100">
                  <a:moveTo>
                    <a:pt x="-752" y="24051"/>
                  </a:moveTo>
                  <a:cubicBezTo>
                    <a:pt x="-3803" y="20563"/>
                    <a:pt x="1209" y="5084"/>
                    <a:pt x="6221" y="1814"/>
                  </a:cubicBezTo>
                  <a:cubicBezTo>
                    <a:pt x="11887" y="-1674"/>
                    <a:pt x="15373" y="3558"/>
                    <a:pt x="12105" y="10970"/>
                  </a:cubicBezTo>
                  <a:cubicBezTo>
                    <a:pt x="9708" y="15984"/>
                    <a:pt x="9925" y="17292"/>
                    <a:pt x="12758" y="19473"/>
                  </a:cubicBezTo>
                  <a:cubicBezTo>
                    <a:pt x="14719" y="20781"/>
                    <a:pt x="16245" y="22961"/>
                    <a:pt x="16245" y="24487"/>
                  </a:cubicBezTo>
                  <a:cubicBezTo>
                    <a:pt x="16245" y="27757"/>
                    <a:pt x="2081" y="27539"/>
                    <a:pt x="-752" y="24051"/>
                  </a:cubicBezTo>
                  <a:close/>
                </a:path>
              </a:pathLst>
            </a:custGeom>
            <a:grpFill/>
            <a:ln w="218" cap="flat">
              <a:noFill/>
              <a:prstDash val="solid"/>
              <a:miter/>
            </a:ln>
          </p:spPr>
          <p:txBody>
            <a:bodyPr rtlCol="0" anchor="ctr"/>
            <a:lstStyle/>
            <a:p>
              <a:endParaRPr lang="en-GB" dirty="0"/>
            </a:p>
          </p:txBody>
        </p:sp>
        <p:sp>
          <p:nvSpPr>
            <p:cNvPr id="115" name="Freihandform: Form 114">
              <a:extLst>
                <a:ext uri="{FF2B5EF4-FFF2-40B4-BE49-F238E27FC236}">
                  <a16:creationId xmlns:a16="http://schemas.microsoft.com/office/drawing/2014/main" xmlns="" id="{CD2BB05D-C250-45FE-BB6A-B87DC9087912}"/>
                </a:ext>
              </a:extLst>
            </p:cNvPr>
            <p:cNvSpPr/>
            <p:nvPr/>
          </p:nvSpPr>
          <p:spPr>
            <a:xfrm flipV="1">
              <a:off x="5094922" y="5430451"/>
              <a:ext cx="4358" cy="4360"/>
            </a:xfrm>
            <a:custGeom>
              <a:avLst/>
              <a:gdLst>
                <a:gd name="connsiteX0" fmla="*/ -5121 w 4358"/>
                <a:gd name="connsiteY0" fmla="*/ 2844 h 4360"/>
                <a:gd name="connsiteX1" fmla="*/ -2942 w 4358"/>
                <a:gd name="connsiteY1" fmla="*/ 664 h 4360"/>
                <a:gd name="connsiteX2" fmla="*/ -763 w 4358"/>
                <a:gd name="connsiteY2" fmla="*/ 2844 h 4360"/>
                <a:gd name="connsiteX3" fmla="*/ -2942 w 4358"/>
                <a:gd name="connsiteY3" fmla="*/ 5024 h 4360"/>
                <a:gd name="connsiteX4" fmla="*/ -5121 w 4358"/>
                <a:gd name="connsiteY4" fmla="*/ 2844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5121" y="2844"/>
                  </a:moveTo>
                  <a:cubicBezTo>
                    <a:pt x="-5121" y="1754"/>
                    <a:pt x="-4031" y="664"/>
                    <a:pt x="-2942" y="664"/>
                  </a:cubicBezTo>
                  <a:cubicBezTo>
                    <a:pt x="-1634" y="664"/>
                    <a:pt x="-763" y="1754"/>
                    <a:pt x="-763" y="2844"/>
                  </a:cubicBezTo>
                  <a:cubicBezTo>
                    <a:pt x="-763" y="4152"/>
                    <a:pt x="-1634" y="5024"/>
                    <a:pt x="-2942" y="5024"/>
                  </a:cubicBezTo>
                  <a:cubicBezTo>
                    <a:pt x="-4031" y="5024"/>
                    <a:pt x="-5121" y="4152"/>
                    <a:pt x="-5121" y="2844"/>
                  </a:cubicBezTo>
                  <a:close/>
                </a:path>
              </a:pathLst>
            </a:custGeom>
            <a:grpFill/>
            <a:ln w="218" cap="flat">
              <a:noFill/>
              <a:prstDash val="solid"/>
              <a:miter/>
            </a:ln>
          </p:spPr>
          <p:txBody>
            <a:bodyPr rtlCol="0" anchor="ctr"/>
            <a:lstStyle/>
            <a:p>
              <a:endParaRPr lang="en-GB" dirty="0"/>
            </a:p>
          </p:txBody>
        </p:sp>
        <p:sp>
          <p:nvSpPr>
            <p:cNvPr id="116" name="Freihandform: Form 115">
              <a:extLst>
                <a:ext uri="{FF2B5EF4-FFF2-40B4-BE49-F238E27FC236}">
                  <a16:creationId xmlns:a16="http://schemas.microsoft.com/office/drawing/2014/main" xmlns="" id="{47F36F52-CFAB-4D33-8502-1B04FFC86D9F}"/>
                </a:ext>
              </a:extLst>
            </p:cNvPr>
            <p:cNvSpPr/>
            <p:nvPr/>
          </p:nvSpPr>
          <p:spPr>
            <a:xfrm flipV="1">
              <a:off x="4300107" y="5434811"/>
              <a:ext cx="38189" cy="39387"/>
            </a:xfrm>
            <a:custGeom>
              <a:avLst/>
              <a:gdLst>
                <a:gd name="connsiteX0" fmla="*/ 29141 w 38189"/>
                <a:gd name="connsiteY0" fmla="*/ 36892 h 39387"/>
                <a:gd name="connsiteX1" fmla="*/ 26962 w 38189"/>
                <a:gd name="connsiteY1" fmla="*/ 30352 h 39387"/>
                <a:gd name="connsiteX2" fmla="*/ 21732 w 38189"/>
                <a:gd name="connsiteY2" fmla="*/ 29262 h 39387"/>
                <a:gd name="connsiteX3" fmla="*/ 16503 w 38189"/>
                <a:gd name="connsiteY3" fmla="*/ 26646 h 39387"/>
                <a:gd name="connsiteX4" fmla="*/ 14977 w 38189"/>
                <a:gd name="connsiteY4" fmla="*/ 25556 h 39387"/>
                <a:gd name="connsiteX5" fmla="*/ 7568 w 38189"/>
                <a:gd name="connsiteY5" fmla="*/ 21413 h 39387"/>
                <a:gd name="connsiteX6" fmla="*/ 2774 w 38189"/>
                <a:gd name="connsiteY6" fmla="*/ 14873 h 39387"/>
                <a:gd name="connsiteX7" fmla="*/ -276 w 38189"/>
                <a:gd name="connsiteY7" fmla="*/ 6371 h 39387"/>
                <a:gd name="connsiteX8" fmla="*/ 8658 w 38189"/>
                <a:gd name="connsiteY8" fmla="*/ 10077 h 39387"/>
                <a:gd name="connsiteX9" fmla="*/ 16721 w 38189"/>
                <a:gd name="connsiteY9" fmla="*/ 14437 h 39387"/>
                <a:gd name="connsiteX10" fmla="*/ 17592 w 38189"/>
                <a:gd name="connsiteY10" fmla="*/ 6153 h 39387"/>
                <a:gd name="connsiteX11" fmla="*/ 26744 w 38189"/>
                <a:gd name="connsiteY11" fmla="*/ 2229 h 39387"/>
                <a:gd name="connsiteX12" fmla="*/ 28923 w 38189"/>
                <a:gd name="connsiteY12" fmla="*/ 12911 h 39387"/>
                <a:gd name="connsiteX13" fmla="*/ 30013 w 38189"/>
                <a:gd name="connsiteY13" fmla="*/ 23593 h 39387"/>
                <a:gd name="connsiteX14" fmla="*/ 32410 w 38189"/>
                <a:gd name="connsiteY14" fmla="*/ 29262 h 39387"/>
                <a:gd name="connsiteX15" fmla="*/ 35025 w 38189"/>
                <a:gd name="connsiteY15" fmla="*/ 34058 h 39387"/>
                <a:gd name="connsiteX16" fmla="*/ 32192 w 38189"/>
                <a:gd name="connsiteY16" fmla="*/ 40162 h 39387"/>
                <a:gd name="connsiteX17" fmla="*/ 29141 w 38189"/>
                <a:gd name="connsiteY17" fmla="*/ 36892 h 39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89" h="39387">
                  <a:moveTo>
                    <a:pt x="29141" y="36892"/>
                  </a:moveTo>
                  <a:cubicBezTo>
                    <a:pt x="28488" y="35148"/>
                    <a:pt x="27616" y="32096"/>
                    <a:pt x="26962" y="30352"/>
                  </a:cubicBezTo>
                  <a:cubicBezTo>
                    <a:pt x="26091" y="27736"/>
                    <a:pt x="25001" y="27300"/>
                    <a:pt x="21732" y="29262"/>
                  </a:cubicBezTo>
                  <a:cubicBezTo>
                    <a:pt x="15849" y="32314"/>
                    <a:pt x="15195" y="32096"/>
                    <a:pt x="16503" y="26646"/>
                  </a:cubicBezTo>
                  <a:cubicBezTo>
                    <a:pt x="17374" y="22285"/>
                    <a:pt x="17156" y="22067"/>
                    <a:pt x="14977" y="25556"/>
                  </a:cubicBezTo>
                  <a:cubicBezTo>
                    <a:pt x="11273" y="31224"/>
                    <a:pt x="9094" y="30134"/>
                    <a:pt x="7568" y="21413"/>
                  </a:cubicBezTo>
                  <a:cubicBezTo>
                    <a:pt x="6479" y="15745"/>
                    <a:pt x="5171" y="14001"/>
                    <a:pt x="2774" y="14873"/>
                  </a:cubicBezTo>
                  <a:cubicBezTo>
                    <a:pt x="-1584" y="16617"/>
                    <a:pt x="-3545" y="10513"/>
                    <a:pt x="-276" y="6371"/>
                  </a:cubicBezTo>
                  <a:cubicBezTo>
                    <a:pt x="2121" y="3319"/>
                    <a:pt x="3428" y="3973"/>
                    <a:pt x="8658" y="10077"/>
                  </a:cubicBezTo>
                  <a:cubicBezTo>
                    <a:pt x="13452" y="15527"/>
                    <a:pt x="15413" y="16617"/>
                    <a:pt x="16721" y="14437"/>
                  </a:cubicBezTo>
                  <a:cubicBezTo>
                    <a:pt x="17810" y="12911"/>
                    <a:pt x="18246" y="9205"/>
                    <a:pt x="17592" y="6153"/>
                  </a:cubicBezTo>
                  <a:cubicBezTo>
                    <a:pt x="16721" y="703"/>
                    <a:pt x="19553" y="-605"/>
                    <a:pt x="26744" y="2229"/>
                  </a:cubicBezTo>
                  <a:cubicBezTo>
                    <a:pt x="29359" y="3319"/>
                    <a:pt x="29795" y="5499"/>
                    <a:pt x="28923" y="12911"/>
                  </a:cubicBezTo>
                  <a:cubicBezTo>
                    <a:pt x="28052" y="18579"/>
                    <a:pt x="28488" y="22721"/>
                    <a:pt x="30013" y="23593"/>
                  </a:cubicBezTo>
                  <a:cubicBezTo>
                    <a:pt x="31320" y="24465"/>
                    <a:pt x="32410" y="27082"/>
                    <a:pt x="32410" y="29262"/>
                  </a:cubicBezTo>
                  <a:cubicBezTo>
                    <a:pt x="32410" y="31442"/>
                    <a:pt x="33499" y="33622"/>
                    <a:pt x="35025" y="34058"/>
                  </a:cubicBezTo>
                  <a:cubicBezTo>
                    <a:pt x="37858" y="35148"/>
                    <a:pt x="35461" y="40162"/>
                    <a:pt x="32192" y="40162"/>
                  </a:cubicBezTo>
                  <a:cubicBezTo>
                    <a:pt x="31102" y="40162"/>
                    <a:pt x="29577" y="38636"/>
                    <a:pt x="29141" y="36892"/>
                  </a:cubicBezTo>
                  <a:close/>
                </a:path>
              </a:pathLst>
            </a:custGeom>
            <a:grpFill/>
            <a:ln w="218" cap="flat">
              <a:noFill/>
              <a:prstDash val="solid"/>
              <a:miter/>
            </a:ln>
          </p:spPr>
          <p:txBody>
            <a:bodyPr rtlCol="0" anchor="ctr"/>
            <a:lstStyle/>
            <a:p>
              <a:endParaRPr lang="en-GB" dirty="0"/>
            </a:p>
          </p:txBody>
        </p:sp>
        <p:sp>
          <p:nvSpPr>
            <p:cNvPr id="117" name="Freihandform: Form 116">
              <a:extLst>
                <a:ext uri="{FF2B5EF4-FFF2-40B4-BE49-F238E27FC236}">
                  <a16:creationId xmlns:a16="http://schemas.microsoft.com/office/drawing/2014/main" xmlns="" id="{B7DD62A9-038F-482A-8FF1-A29B77D54416}"/>
                </a:ext>
              </a:extLst>
            </p:cNvPr>
            <p:cNvSpPr/>
            <p:nvPr/>
          </p:nvSpPr>
          <p:spPr>
            <a:xfrm flipV="1">
              <a:off x="4935849" y="5441352"/>
              <a:ext cx="4358" cy="4360"/>
            </a:xfrm>
            <a:custGeom>
              <a:avLst/>
              <a:gdLst>
                <a:gd name="connsiteX0" fmla="*/ -4464 w 4358"/>
                <a:gd name="connsiteY0" fmla="*/ 2899 h 4360"/>
                <a:gd name="connsiteX1" fmla="*/ -2285 w 4358"/>
                <a:gd name="connsiteY1" fmla="*/ 719 h 4360"/>
                <a:gd name="connsiteX2" fmla="*/ -106 w 4358"/>
                <a:gd name="connsiteY2" fmla="*/ 2899 h 4360"/>
                <a:gd name="connsiteX3" fmla="*/ -2285 w 4358"/>
                <a:gd name="connsiteY3" fmla="*/ 5079 h 4360"/>
                <a:gd name="connsiteX4" fmla="*/ -4464 w 4358"/>
                <a:gd name="connsiteY4" fmla="*/ 2899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4464" y="2899"/>
                  </a:moveTo>
                  <a:cubicBezTo>
                    <a:pt x="-4464" y="1809"/>
                    <a:pt x="-3374" y="719"/>
                    <a:pt x="-2285" y="719"/>
                  </a:cubicBezTo>
                  <a:cubicBezTo>
                    <a:pt x="-977" y="719"/>
                    <a:pt x="-106" y="1809"/>
                    <a:pt x="-106" y="2899"/>
                  </a:cubicBezTo>
                  <a:cubicBezTo>
                    <a:pt x="-106" y="4207"/>
                    <a:pt x="-977" y="5079"/>
                    <a:pt x="-2285" y="5079"/>
                  </a:cubicBezTo>
                  <a:cubicBezTo>
                    <a:pt x="-3374" y="5079"/>
                    <a:pt x="-4464" y="4207"/>
                    <a:pt x="-4464" y="2899"/>
                  </a:cubicBezTo>
                  <a:close/>
                </a:path>
              </a:pathLst>
            </a:custGeom>
            <a:grpFill/>
            <a:ln w="218" cap="flat">
              <a:noFill/>
              <a:prstDash val="solid"/>
              <a:miter/>
            </a:ln>
          </p:spPr>
          <p:txBody>
            <a:bodyPr rtlCol="0" anchor="ctr"/>
            <a:lstStyle/>
            <a:p>
              <a:endParaRPr lang="en-GB" dirty="0"/>
            </a:p>
          </p:txBody>
        </p:sp>
        <p:sp>
          <p:nvSpPr>
            <p:cNvPr id="118" name="Freihandform: Form 117">
              <a:extLst>
                <a:ext uri="{FF2B5EF4-FFF2-40B4-BE49-F238E27FC236}">
                  <a16:creationId xmlns:a16="http://schemas.microsoft.com/office/drawing/2014/main" xmlns="" id="{A7CF6F81-6141-432B-9132-826BD00E6FDE}"/>
                </a:ext>
              </a:extLst>
            </p:cNvPr>
            <p:cNvSpPr/>
            <p:nvPr/>
          </p:nvSpPr>
          <p:spPr>
            <a:xfrm flipV="1">
              <a:off x="4940996" y="5452297"/>
              <a:ext cx="3568" cy="5621"/>
            </a:xfrm>
            <a:custGeom>
              <a:avLst/>
              <a:gdLst>
                <a:gd name="connsiteX0" fmla="*/ -4183 w 3568"/>
                <a:gd name="connsiteY0" fmla="*/ 4483 h 5621"/>
                <a:gd name="connsiteX1" fmla="*/ -3094 w 3568"/>
                <a:gd name="connsiteY1" fmla="*/ 995 h 5621"/>
                <a:gd name="connsiteX2" fmla="*/ -915 w 3568"/>
                <a:gd name="connsiteY2" fmla="*/ 2957 h 5621"/>
                <a:gd name="connsiteX3" fmla="*/ -4183 w 3568"/>
                <a:gd name="connsiteY3" fmla="*/ 4483 h 5621"/>
              </a:gdLst>
              <a:ahLst/>
              <a:cxnLst>
                <a:cxn ang="0">
                  <a:pos x="connsiteX0" y="connsiteY0"/>
                </a:cxn>
                <a:cxn ang="0">
                  <a:pos x="connsiteX1" y="connsiteY1"/>
                </a:cxn>
                <a:cxn ang="0">
                  <a:pos x="connsiteX2" y="connsiteY2"/>
                </a:cxn>
                <a:cxn ang="0">
                  <a:pos x="connsiteX3" y="connsiteY3"/>
                </a:cxn>
              </a:cxnLst>
              <a:rect l="l" t="t" r="r" b="b"/>
              <a:pathLst>
                <a:path w="3568" h="5621">
                  <a:moveTo>
                    <a:pt x="-4183" y="4483"/>
                  </a:moveTo>
                  <a:cubicBezTo>
                    <a:pt x="-4837" y="3393"/>
                    <a:pt x="-4401" y="1867"/>
                    <a:pt x="-3094" y="995"/>
                  </a:cubicBezTo>
                  <a:cubicBezTo>
                    <a:pt x="-2004" y="341"/>
                    <a:pt x="-915" y="1213"/>
                    <a:pt x="-915" y="2957"/>
                  </a:cubicBezTo>
                  <a:cubicBezTo>
                    <a:pt x="-915" y="6881"/>
                    <a:pt x="-2222" y="7535"/>
                    <a:pt x="-4183" y="4483"/>
                  </a:cubicBezTo>
                  <a:close/>
                </a:path>
              </a:pathLst>
            </a:custGeom>
            <a:grpFill/>
            <a:ln w="218" cap="flat">
              <a:noFill/>
              <a:prstDash val="solid"/>
              <a:miter/>
            </a:ln>
          </p:spPr>
          <p:txBody>
            <a:bodyPr rtlCol="0" anchor="ctr"/>
            <a:lstStyle/>
            <a:p>
              <a:endParaRPr lang="en-GB" dirty="0"/>
            </a:p>
          </p:txBody>
        </p:sp>
        <p:sp>
          <p:nvSpPr>
            <p:cNvPr id="119" name="Freihandform: Form 118">
              <a:extLst>
                <a:ext uri="{FF2B5EF4-FFF2-40B4-BE49-F238E27FC236}">
                  <a16:creationId xmlns:a16="http://schemas.microsoft.com/office/drawing/2014/main" xmlns="" id="{DF8BCDB9-314A-4761-9BB4-150C0EF7D7EF}"/>
                </a:ext>
              </a:extLst>
            </p:cNvPr>
            <p:cNvSpPr/>
            <p:nvPr/>
          </p:nvSpPr>
          <p:spPr>
            <a:xfrm flipV="1">
              <a:off x="4334780" y="5463768"/>
              <a:ext cx="112956" cy="74692"/>
            </a:xfrm>
            <a:custGeom>
              <a:avLst/>
              <a:gdLst>
                <a:gd name="connsiteX0" fmla="*/ 15961 w 112956"/>
                <a:gd name="connsiteY0" fmla="*/ 74137 h 74692"/>
                <a:gd name="connsiteX1" fmla="*/ 9642 w 112956"/>
                <a:gd name="connsiteY1" fmla="*/ 72829 h 74692"/>
                <a:gd name="connsiteX2" fmla="*/ 489 w 112956"/>
                <a:gd name="connsiteY2" fmla="*/ 70867 h 74692"/>
                <a:gd name="connsiteX3" fmla="*/ 2886 w 112956"/>
                <a:gd name="connsiteY3" fmla="*/ 62365 h 74692"/>
                <a:gd name="connsiteX4" fmla="*/ 6155 w 112956"/>
                <a:gd name="connsiteY4" fmla="*/ 51247 h 74692"/>
                <a:gd name="connsiteX5" fmla="*/ 6155 w 112956"/>
                <a:gd name="connsiteY5" fmla="*/ 43616 h 74692"/>
                <a:gd name="connsiteX6" fmla="*/ 14000 w 112956"/>
                <a:gd name="connsiteY6" fmla="*/ 41436 h 74692"/>
                <a:gd name="connsiteX7" fmla="*/ 20973 w 112956"/>
                <a:gd name="connsiteY7" fmla="*/ 38820 h 74692"/>
                <a:gd name="connsiteX8" fmla="*/ 27292 w 112956"/>
                <a:gd name="connsiteY8" fmla="*/ 39692 h 74692"/>
                <a:gd name="connsiteX9" fmla="*/ 19012 w 112956"/>
                <a:gd name="connsiteY9" fmla="*/ 50157 h 74692"/>
                <a:gd name="connsiteX10" fmla="*/ 12692 w 112956"/>
                <a:gd name="connsiteY10" fmla="*/ 52337 h 74692"/>
                <a:gd name="connsiteX11" fmla="*/ 16833 w 112956"/>
                <a:gd name="connsiteY11" fmla="*/ 54517 h 74692"/>
                <a:gd name="connsiteX12" fmla="*/ 24459 w 112956"/>
                <a:gd name="connsiteY12" fmla="*/ 59095 h 74692"/>
                <a:gd name="connsiteX13" fmla="*/ 32304 w 112956"/>
                <a:gd name="connsiteY13" fmla="*/ 56261 h 74692"/>
                <a:gd name="connsiteX14" fmla="*/ 36662 w 112956"/>
                <a:gd name="connsiteY14" fmla="*/ 50811 h 74692"/>
                <a:gd name="connsiteX15" fmla="*/ 38841 w 112956"/>
                <a:gd name="connsiteY15" fmla="*/ 40346 h 74692"/>
                <a:gd name="connsiteX16" fmla="*/ 33176 w 112956"/>
                <a:gd name="connsiteY16" fmla="*/ 30536 h 74692"/>
                <a:gd name="connsiteX17" fmla="*/ 25549 w 112956"/>
                <a:gd name="connsiteY17" fmla="*/ 23342 h 74692"/>
                <a:gd name="connsiteX18" fmla="*/ 21409 w 112956"/>
                <a:gd name="connsiteY18" fmla="*/ 20944 h 74692"/>
                <a:gd name="connsiteX19" fmla="*/ 18140 w 112956"/>
                <a:gd name="connsiteY19" fmla="*/ 17456 h 74692"/>
                <a:gd name="connsiteX20" fmla="*/ 14871 w 112956"/>
                <a:gd name="connsiteY20" fmla="*/ 12659 h 74692"/>
                <a:gd name="connsiteX21" fmla="*/ 16179 w 112956"/>
                <a:gd name="connsiteY21" fmla="*/ 9389 h 74692"/>
                <a:gd name="connsiteX22" fmla="*/ 24459 w 112956"/>
                <a:gd name="connsiteY22" fmla="*/ 6773 h 74692"/>
                <a:gd name="connsiteX23" fmla="*/ 35355 w 112956"/>
                <a:gd name="connsiteY23" fmla="*/ 5683 h 74692"/>
                <a:gd name="connsiteX24" fmla="*/ 31432 w 112956"/>
                <a:gd name="connsiteY24" fmla="*/ 12223 h 74692"/>
                <a:gd name="connsiteX25" fmla="*/ 27946 w 112956"/>
                <a:gd name="connsiteY25" fmla="*/ 19418 h 74692"/>
                <a:gd name="connsiteX26" fmla="*/ 41238 w 112956"/>
                <a:gd name="connsiteY26" fmla="*/ 21380 h 74692"/>
                <a:gd name="connsiteX27" fmla="*/ 46904 w 112956"/>
                <a:gd name="connsiteY27" fmla="*/ 13749 h 74692"/>
                <a:gd name="connsiteX28" fmla="*/ 58453 w 112956"/>
                <a:gd name="connsiteY28" fmla="*/ 12441 h 74692"/>
                <a:gd name="connsiteX29" fmla="*/ 66515 w 112956"/>
                <a:gd name="connsiteY29" fmla="*/ 13749 h 74692"/>
                <a:gd name="connsiteX30" fmla="*/ 78065 w 112956"/>
                <a:gd name="connsiteY30" fmla="*/ 1105 h 74692"/>
                <a:gd name="connsiteX31" fmla="*/ 78718 w 112956"/>
                <a:gd name="connsiteY31" fmla="*/ 8953 h 74692"/>
                <a:gd name="connsiteX32" fmla="*/ 77411 w 112956"/>
                <a:gd name="connsiteY32" fmla="*/ 15493 h 74692"/>
                <a:gd name="connsiteX33" fmla="*/ 85909 w 112956"/>
                <a:gd name="connsiteY33" fmla="*/ 14185 h 74692"/>
                <a:gd name="connsiteX34" fmla="*/ 98112 w 112956"/>
                <a:gd name="connsiteY34" fmla="*/ 11787 h 74692"/>
                <a:gd name="connsiteX35" fmla="*/ 110751 w 112956"/>
                <a:gd name="connsiteY35" fmla="*/ 22034 h 74692"/>
                <a:gd name="connsiteX36" fmla="*/ 92446 w 112956"/>
                <a:gd name="connsiteY36" fmla="*/ 39256 h 74692"/>
                <a:gd name="connsiteX37" fmla="*/ 94408 w 112956"/>
                <a:gd name="connsiteY37" fmla="*/ 30536 h 74692"/>
                <a:gd name="connsiteX38" fmla="*/ 97022 w 112956"/>
                <a:gd name="connsiteY38" fmla="*/ 24432 h 74692"/>
                <a:gd name="connsiteX39" fmla="*/ 89178 w 112956"/>
                <a:gd name="connsiteY39" fmla="*/ 24214 h 74692"/>
                <a:gd name="connsiteX40" fmla="*/ 77193 w 112956"/>
                <a:gd name="connsiteY40" fmla="*/ 23124 h 74692"/>
                <a:gd name="connsiteX41" fmla="*/ 65426 w 112956"/>
                <a:gd name="connsiteY41" fmla="*/ 23560 h 74692"/>
                <a:gd name="connsiteX42" fmla="*/ 62157 w 112956"/>
                <a:gd name="connsiteY42" fmla="*/ 32716 h 74692"/>
                <a:gd name="connsiteX43" fmla="*/ 58235 w 112956"/>
                <a:gd name="connsiteY43" fmla="*/ 36640 h 74692"/>
                <a:gd name="connsiteX44" fmla="*/ 52351 w 112956"/>
                <a:gd name="connsiteY44" fmla="*/ 29010 h 74692"/>
                <a:gd name="connsiteX45" fmla="*/ 45814 w 112956"/>
                <a:gd name="connsiteY45" fmla="*/ 24432 h 74692"/>
                <a:gd name="connsiteX46" fmla="*/ 46032 w 112956"/>
                <a:gd name="connsiteY46" fmla="*/ 35986 h 74692"/>
                <a:gd name="connsiteX47" fmla="*/ 54966 w 112956"/>
                <a:gd name="connsiteY47" fmla="*/ 40564 h 74692"/>
                <a:gd name="connsiteX48" fmla="*/ 57581 w 112956"/>
                <a:gd name="connsiteY48" fmla="*/ 49285 h 74692"/>
                <a:gd name="connsiteX49" fmla="*/ 47340 w 112956"/>
                <a:gd name="connsiteY49" fmla="*/ 50811 h 74692"/>
                <a:gd name="connsiteX50" fmla="*/ 41020 w 112956"/>
                <a:gd name="connsiteY50" fmla="*/ 51901 h 74692"/>
                <a:gd name="connsiteX51" fmla="*/ 25549 w 112956"/>
                <a:gd name="connsiteY51" fmla="*/ 74137 h 74692"/>
                <a:gd name="connsiteX52" fmla="*/ 20755 w 112956"/>
                <a:gd name="connsiteY52" fmla="*/ 75446 h 74692"/>
                <a:gd name="connsiteX53" fmla="*/ 15961 w 112956"/>
                <a:gd name="connsiteY53" fmla="*/ 74137 h 74692"/>
                <a:gd name="connsiteX54" fmla="*/ 16615 w 112956"/>
                <a:gd name="connsiteY54" fmla="*/ 65853 h 74692"/>
                <a:gd name="connsiteX55" fmla="*/ 14000 w 112956"/>
                <a:gd name="connsiteY55" fmla="*/ 63237 h 74692"/>
                <a:gd name="connsiteX56" fmla="*/ 10513 w 112956"/>
                <a:gd name="connsiteY56" fmla="*/ 66725 h 74692"/>
                <a:gd name="connsiteX57" fmla="*/ 16615 w 112956"/>
                <a:gd name="connsiteY57" fmla="*/ 65853 h 74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12956" h="74692">
                  <a:moveTo>
                    <a:pt x="15961" y="74137"/>
                  </a:moveTo>
                  <a:cubicBezTo>
                    <a:pt x="15089" y="72829"/>
                    <a:pt x="12256" y="72175"/>
                    <a:pt x="9642" y="72829"/>
                  </a:cubicBezTo>
                  <a:cubicBezTo>
                    <a:pt x="6809" y="73483"/>
                    <a:pt x="2886" y="72611"/>
                    <a:pt x="489" y="70867"/>
                  </a:cubicBezTo>
                  <a:cubicBezTo>
                    <a:pt x="-3433" y="67815"/>
                    <a:pt x="-3433" y="67597"/>
                    <a:pt x="2886" y="62365"/>
                  </a:cubicBezTo>
                  <a:cubicBezTo>
                    <a:pt x="8988" y="57569"/>
                    <a:pt x="9206" y="56915"/>
                    <a:pt x="6155" y="51247"/>
                  </a:cubicBezTo>
                  <a:cubicBezTo>
                    <a:pt x="3540" y="46233"/>
                    <a:pt x="3540" y="45360"/>
                    <a:pt x="6155" y="43616"/>
                  </a:cubicBezTo>
                  <a:cubicBezTo>
                    <a:pt x="7898" y="42308"/>
                    <a:pt x="11385" y="41436"/>
                    <a:pt x="14000" y="41436"/>
                  </a:cubicBezTo>
                  <a:cubicBezTo>
                    <a:pt x="16397" y="41436"/>
                    <a:pt x="19447" y="40346"/>
                    <a:pt x="20973" y="38820"/>
                  </a:cubicBezTo>
                  <a:cubicBezTo>
                    <a:pt x="23152" y="36858"/>
                    <a:pt x="24459" y="36858"/>
                    <a:pt x="27292" y="39692"/>
                  </a:cubicBezTo>
                  <a:cubicBezTo>
                    <a:pt x="32086" y="44706"/>
                    <a:pt x="27728" y="50157"/>
                    <a:pt x="19012" y="50157"/>
                  </a:cubicBezTo>
                  <a:cubicBezTo>
                    <a:pt x="15525" y="50157"/>
                    <a:pt x="12692" y="51247"/>
                    <a:pt x="12692" y="52337"/>
                  </a:cubicBezTo>
                  <a:cubicBezTo>
                    <a:pt x="12692" y="53645"/>
                    <a:pt x="14653" y="54517"/>
                    <a:pt x="16833" y="54517"/>
                  </a:cubicBezTo>
                  <a:cubicBezTo>
                    <a:pt x="19230" y="54517"/>
                    <a:pt x="22716" y="56479"/>
                    <a:pt x="24459" y="59095"/>
                  </a:cubicBezTo>
                  <a:cubicBezTo>
                    <a:pt x="28164" y="64327"/>
                    <a:pt x="32304" y="62801"/>
                    <a:pt x="32304" y="56261"/>
                  </a:cubicBezTo>
                  <a:cubicBezTo>
                    <a:pt x="32304" y="53863"/>
                    <a:pt x="34047" y="51465"/>
                    <a:pt x="36662" y="50811"/>
                  </a:cubicBezTo>
                  <a:cubicBezTo>
                    <a:pt x="41238" y="49503"/>
                    <a:pt x="42546" y="42744"/>
                    <a:pt x="38841" y="40346"/>
                  </a:cubicBezTo>
                  <a:cubicBezTo>
                    <a:pt x="37534" y="39474"/>
                    <a:pt x="34919" y="35114"/>
                    <a:pt x="33176" y="30536"/>
                  </a:cubicBezTo>
                  <a:cubicBezTo>
                    <a:pt x="30561" y="24214"/>
                    <a:pt x="28817" y="22470"/>
                    <a:pt x="25549" y="23342"/>
                  </a:cubicBezTo>
                  <a:cubicBezTo>
                    <a:pt x="22716" y="24214"/>
                    <a:pt x="21409" y="23342"/>
                    <a:pt x="21409" y="20944"/>
                  </a:cubicBezTo>
                  <a:cubicBezTo>
                    <a:pt x="21409" y="18982"/>
                    <a:pt x="19883" y="17456"/>
                    <a:pt x="18140" y="17456"/>
                  </a:cubicBezTo>
                  <a:cubicBezTo>
                    <a:pt x="16179" y="17456"/>
                    <a:pt x="14871" y="15493"/>
                    <a:pt x="14871" y="12659"/>
                  </a:cubicBezTo>
                  <a:cubicBezTo>
                    <a:pt x="14871" y="10043"/>
                    <a:pt x="15525" y="8517"/>
                    <a:pt x="16179" y="9389"/>
                  </a:cubicBezTo>
                  <a:cubicBezTo>
                    <a:pt x="16833" y="10043"/>
                    <a:pt x="20537" y="8735"/>
                    <a:pt x="24459" y="6773"/>
                  </a:cubicBezTo>
                  <a:cubicBezTo>
                    <a:pt x="30343" y="3285"/>
                    <a:pt x="32086" y="3285"/>
                    <a:pt x="35355" y="5683"/>
                  </a:cubicBezTo>
                  <a:cubicBezTo>
                    <a:pt x="40367" y="9171"/>
                    <a:pt x="37752" y="13749"/>
                    <a:pt x="31432" y="12223"/>
                  </a:cubicBezTo>
                  <a:cubicBezTo>
                    <a:pt x="22716" y="10043"/>
                    <a:pt x="20755" y="13967"/>
                    <a:pt x="27946" y="19418"/>
                  </a:cubicBezTo>
                  <a:cubicBezTo>
                    <a:pt x="34047" y="23778"/>
                    <a:pt x="35355" y="23996"/>
                    <a:pt x="41238" y="21380"/>
                  </a:cubicBezTo>
                  <a:cubicBezTo>
                    <a:pt x="46250" y="19200"/>
                    <a:pt x="47557" y="17456"/>
                    <a:pt x="46904" y="13749"/>
                  </a:cubicBezTo>
                  <a:cubicBezTo>
                    <a:pt x="45814" y="7645"/>
                    <a:pt x="49083" y="7427"/>
                    <a:pt x="58453" y="12441"/>
                  </a:cubicBezTo>
                  <a:cubicBezTo>
                    <a:pt x="63683" y="15275"/>
                    <a:pt x="65862" y="15711"/>
                    <a:pt x="66515" y="13749"/>
                  </a:cubicBezTo>
                  <a:cubicBezTo>
                    <a:pt x="68477" y="8517"/>
                    <a:pt x="76321" y="15"/>
                    <a:pt x="78065" y="1105"/>
                  </a:cubicBezTo>
                  <a:cubicBezTo>
                    <a:pt x="79154" y="1759"/>
                    <a:pt x="79590" y="5247"/>
                    <a:pt x="78718" y="8953"/>
                  </a:cubicBezTo>
                  <a:lnTo>
                    <a:pt x="77411" y="15493"/>
                  </a:lnTo>
                  <a:lnTo>
                    <a:pt x="85909" y="14185"/>
                  </a:lnTo>
                  <a:cubicBezTo>
                    <a:pt x="90485" y="13313"/>
                    <a:pt x="96151" y="12223"/>
                    <a:pt x="98112" y="11787"/>
                  </a:cubicBezTo>
                  <a:cubicBezTo>
                    <a:pt x="102034" y="10697"/>
                    <a:pt x="110751" y="17892"/>
                    <a:pt x="110751" y="22034"/>
                  </a:cubicBezTo>
                  <a:cubicBezTo>
                    <a:pt x="110751" y="25740"/>
                    <a:pt x="96369" y="39256"/>
                    <a:pt x="92446" y="39256"/>
                  </a:cubicBezTo>
                  <a:cubicBezTo>
                    <a:pt x="86999" y="39256"/>
                    <a:pt x="88306" y="33806"/>
                    <a:pt x="94408" y="30536"/>
                  </a:cubicBezTo>
                  <a:cubicBezTo>
                    <a:pt x="99202" y="27920"/>
                    <a:pt x="99637" y="27048"/>
                    <a:pt x="97022" y="24432"/>
                  </a:cubicBezTo>
                  <a:cubicBezTo>
                    <a:pt x="94408" y="22034"/>
                    <a:pt x="93100" y="21816"/>
                    <a:pt x="89178" y="24214"/>
                  </a:cubicBezTo>
                  <a:cubicBezTo>
                    <a:pt x="85255" y="26830"/>
                    <a:pt x="83512" y="26612"/>
                    <a:pt x="77193" y="23124"/>
                  </a:cubicBezTo>
                  <a:cubicBezTo>
                    <a:pt x="70002" y="19200"/>
                    <a:pt x="69784" y="19200"/>
                    <a:pt x="65426" y="23560"/>
                  </a:cubicBezTo>
                  <a:cubicBezTo>
                    <a:pt x="62593" y="26394"/>
                    <a:pt x="61286" y="29664"/>
                    <a:pt x="62157" y="32716"/>
                  </a:cubicBezTo>
                  <a:cubicBezTo>
                    <a:pt x="63247" y="36640"/>
                    <a:pt x="62593" y="37294"/>
                    <a:pt x="58235" y="36640"/>
                  </a:cubicBezTo>
                  <a:cubicBezTo>
                    <a:pt x="54095" y="36204"/>
                    <a:pt x="52787" y="34460"/>
                    <a:pt x="52351" y="29010"/>
                  </a:cubicBezTo>
                  <a:cubicBezTo>
                    <a:pt x="51698" y="21380"/>
                    <a:pt x="49954" y="20290"/>
                    <a:pt x="45814" y="24432"/>
                  </a:cubicBezTo>
                  <a:cubicBezTo>
                    <a:pt x="42328" y="27920"/>
                    <a:pt x="42328" y="37294"/>
                    <a:pt x="46032" y="35986"/>
                  </a:cubicBezTo>
                  <a:cubicBezTo>
                    <a:pt x="47340" y="35550"/>
                    <a:pt x="51480" y="37512"/>
                    <a:pt x="54966" y="40564"/>
                  </a:cubicBezTo>
                  <a:cubicBezTo>
                    <a:pt x="61068" y="46014"/>
                    <a:pt x="61286" y="46451"/>
                    <a:pt x="57581" y="49285"/>
                  </a:cubicBezTo>
                  <a:cubicBezTo>
                    <a:pt x="55184" y="51029"/>
                    <a:pt x="51044" y="51683"/>
                    <a:pt x="47340" y="50811"/>
                  </a:cubicBezTo>
                  <a:cubicBezTo>
                    <a:pt x="43417" y="50157"/>
                    <a:pt x="41020" y="50593"/>
                    <a:pt x="41020" y="51901"/>
                  </a:cubicBezTo>
                  <a:cubicBezTo>
                    <a:pt x="41020" y="54953"/>
                    <a:pt x="27728" y="74137"/>
                    <a:pt x="25549" y="74137"/>
                  </a:cubicBezTo>
                  <a:cubicBezTo>
                    <a:pt x="24677" y="74137"/>
                    <a:pt x="22498" y="74791"/>
                    <a:pt x="20755" y="75446"/>
                  </a:cubicBezTo>
                  <a:cubicBezTo>
                    <a:pt x="19012" y="76100"/>
                    <a:pt x="16833" y="75446"/>
                    <a:pt x="15961" y="74137"/>
                  </a:cubicBezTo>
                  <a:close/>
                  <a:moveTo>
                    <a:pt x="16615" y="65853"/>
                  </a:moveTo>
                  <a:cubicBezTo>
                    <a:pt x="17050" y="64327"/>
                    <a:pt x="15961" y="63237"/>
                    <a:pt x="14000" y="63237"/>
                  </a:cubicBezTo>
                  <a:cubicBezTo>
                    <a:pt x="12039" y="63237"/>
                    <a:pt x="10513" y="64763"/>
                    <a:pt x="10513" y="66725"/>
                  </a:cubicBezTo>
                  <a:cubicBezTo>
                    <a:pt x="10513" y="70431"/>
                    <a:pt x="15307" y="69777"/>
                    <a:pt x="16615" y="65853"/>
                  </a:cubicBezTo>
                  <a:close/>
                </a:path>
              </a:pathLst>
            </a:custGeom>
            <a:grpFill/>
            <a:ln w="218" cap="flat">
              <a:noFill/>
              <a:prstDash val="solid"/>
              <a:miter/>
            </a:ln>
          </p:spPr>
          <p:txBody>
            <a:bodyPr rtlCol="0" anchor="ctr"/>
            <a:lstStyle/>
            <a:p>
              <a:endParaRPr lang="en-GB" dirty="0"/>
            </a:p>
          </p:txBody>
        </p:sp>
        <p:sp>
          <p:nvSpPr>
            <p:cNvPr id="120" name="Freihandform: Form 119">
              <a:extLst>
                <a:ext uri="{FF2B5EF4-FFF2-40B4-BE49-F238E27FC236}">
                  <a16:creationId xmlns:a16="http://schemas.microsoft.com/office/drawing/2014/main" xmlns="" id="{76EFBBD0-39B5-48C7-92F4-46B1DAC182E0}"/>
                </a:ext>
              </a:extLst>
            </p:cNvPr>
            <p:cNvSpPr/>
            <p:nvPr/>
          </p:nvSpPr>
          <p:spPr>
            <a:xfrm flipV="1">
              <a:off x="4920596" y="5463456"/>
              <a:ext cx="30326" cy="35006"/>
            </a:xfrm>
            <a:custGeom>
              <a:avLst/>
              <a:gdLst>
                <a:gd name="connsiteX0" fmla="*/ -532 w 30326"/>
                <a:gd name="connsiteY0" fmla="*/ 32731 h 35006"/>
                <a:gd name="connsiteX1" fmla="*/ 4262 w 30326"/>
                <a:gd name="connsiteY1" fmla="*/ 25318 h 35006"/>
                <a:gd name="connsiteX2" fmla="*/ 6441 w 30326"/>
                <a:gd name="connsiteY2" fmla="*/ 19868 h 35006"/>
                <a:gd name="connsiteX3" fmla="*/ 2083 w 30326"/>
                <a:gd name="connsiteY3" fmla="*/ 9840 h 35006"/>
                <a:gd name="connsiteX4" fmla="*/ -4455 w 30326"/>
                <a:gd name="connsiteY4" fmla="*/ 4172 h 35006"/>
                <a:gd name="connsiteX5" fmla="*/ -968 w 30326"/>
                <a:gd name="connsiteY5" fmla="*/ 2210 h 35006"/>
                <a:gd name="connsiteX6" fmla="*/ 6223 w 30326"/>
                <a:gd name="connsiteY6" fmla="*/ 1338 h 35006"/>
                <a:gd name="connsiteX7" fmla="*/ 19515 w 30326"/>
                <a:gd name="connsiteY7" fmla="*/ 11366 h 35006"/>
                <a:gd name="connsiteX8" fmla="*/ 22784 w 30326"/>
                <a:gd name="connsiteY8" fmla="*/ 15726 h 35006"/>
                <a:gd name="connsiteX9" fmla="*/ 8402 w 30326"/>
                <a:gd name="connsiteY9" fmla="*/ 33821 h 35006"/>
                <a:gd name="connsiteX10" fmla="*/ -532 w 30326"/>
                <a:gd name="connsiteY10" fmla="*/ 32731 h 3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326" h="35006">
                  <a:moveTo>
                    <a:pt x="-532" y="32731"/>
                  </a:moveTo>
                  <a:cubicBezTo>
                    <a:pt x="2083" y="30987"/>
                    <a:pt x="4262" y="27499"/>
                    <a:pt x="4262" y="25318"/>
                  </a:cubicBezTo>
                  <a:cubicBezTo>
                    <a:pt x="4262" y="23138"/>
                    <a:pt x="5351" y="20522"/>
                    <a:pt x="6441" y="19868"/>
                  </a:cubicBezTo>
                  <a:cubicBezTo>
                    <a:pt x="10799" y="17252"/>
                    <a:pt x="8402" y="12020"/>
                    <a:pt x="2083" y="9840"/>
                  </a:cubicBezTo>
                  <a:cubicBezTo>
                    <a:pt x="-1404" y="8532"/>
                    <a:pt x="-4455" y="5916"/>
                    <a:pt x="-4455" y="4172"/>
                  </a:cubicBezTo>
                  <a:cubicBezTo>
                    <a:pt x="-4455" y="1992"/>
                    <a:pt x="-3147" y="1338"/>
                    <a:pt x="-968" y="2210"/>
                  </a:cubicBezTo>
                  <a:cubicBezTo>
                    <a:pt x="775" y="2864"/>
                    <a:pt x="4044" y="2646"/>
                    <a:pt x="6223" y="1338"/>
                  </a:cubicBezTo>
                  <a:cubicBezTo>
                    <a:pt x="10799" y="-842"/>
                    <a:pt x="19515" y="5698"/>
                    <a:pt x="19515" y="11366"/>
                  </a:cubicBezTo>
                  <a:cubicBezTo>
                    <a:pt x="19515" y="13110"/>
                    <a:pt x="21041" y="15072"/>
                    <a:pt x="22784" y="15726"/>
                  </a:cubicBezTo>
                  <a:cubicBezTo>
                    <a:pt x="31064" y="18996"/>
                    <a:pt x="21476" y="30769"/>
                    <a:pt x="8402" y="33821"/>
                  </a:cubicBezTo>
                  <a:cubicBezTo>
                    <a:pt x="-4673" y="36873"/>
                    <a:pt x="-6198" y="36655"/>
                    <a:pt x="-532" y="32731"/>
                  </a:cubicBezTo>
                  <a:close/>
                </a:path>
              </a:pathLst>
            </a:custGeom>
            <a:grpFill/>
            <a:ln w="218" cap="flat">
              <a:noFill/>
              <a:prstDash val="solid"/>
              <a:miter/>
            </a:ln>
          </p:spPr>
          <p:txBody>
            <a:bodyPr rtlCol="0" anchor="ctr"/>
            <a:lstStyle/>
            <a:p>
              <a:endParaRPr lang="en-GB" dirty="0"/>
            </a:p>
          </p:txBody>
        </p:sp>
        <p:sp>
          <p:nvSpPr>
            <p:cNvPr id="121" name="Freihandform: Form 120">
              <a:extLst>
                <a:ext uri="{FF2B5EF4-FFF2-40B4-BE49-F238E27FC236}">
                  <a16:creationId xmlns:a16="http://schemas.microsoft.com/office/drawing/2014/main" xmlns="" id="{E0436AD5-F645-487F-8B06-8ABBD51FD5EF}"/>
                </a:ext>
              </a:extLst>
            </p:cNvPr>
            <p:cNvSpPr/>
            <p:nvPr/>
          </p:nvSpPr>
          <p:spPr>
            <a:xfrm flipV="1">
              <a:off x="4727440" y="5465332"/>
              <a:ext cx="3575" cy="4360"/>
            </a:xfrm>
            <a:custGeom>
              <a:avLst/>
              <a:gdLst>
                <a:gd name="connsiteX0" fmla="*/ -3294 w 3575"/>
                <a:gd name="connsiteY0" fmla="*/ 3020 h 4360"/>
                <a:gd name="connsiteX1" fmla="*/ -897 w 3575"/>
                <a:gd name="connsiteY1" fmla="*/ 840 h 4360"/>
                <a:gd name="connsiteX2" fmla="*/ -26 w 3575"/>
                <a:gd name="connsiteY2" fmla="*/ 3020 h 4360"/>
                <a:gd name="connsiteX3" fmla="*/ -2423 w 3575"/>
                <a:gd name="connsiteY3" fmla="*/ 5200 h 4360"/>
                <a:gd name="connsiteX4" fmla="*/ -3294 w 3575"/>
                <a:gd name="connsiteY4" fmla="*/ 3020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3294" y="3020"/>
                  </a:moveTo>
                  <a:cubicBezTo>
                    <a:pt x="-2641" y="1930"/>
                    <a:pt x="-1551" y="840"/>
                    <a:pt x="-897" y="840"/>
                  </a:cubicBezTo>
                  <a:cubicBezTo>
                    <a:pt x="-462" y="840"/>
                    <a:pt x="-26" y="1930"/>
                    <a:pt x="-26" y="3020"/>
                  </a:cubicBezTo>
                  <a:cubicBezTo>
                    <a:pt x="-26" y="4328"/>
                    <a:pt x="-1115" y="5200"/>
                    <a:pt x="-2423" y="5200"/>
                  </a:cubicBezTo>
                  <a:cubicBezTo>
                    <a:pt x="-3512" y="5200"/>
                    <a:pt x="-3948" y="4328"/>
                    <a:pt x="-3294" y="3020"/>
                  </a:cubicBezTo>
                  <a:close/>
                </a:path>
              </a:pathLst>
            </a:custGeom>
            <a:grpFill/>
            <a:ln w="218" cap="flat">
              <a:noFill/>
              <a:prstDash val="solid"/>
              <a:miter/>
            </a:ln>
          </p:spPr>
          <p:txBody>
            <a:bodyPr rtlCol="0" anchor="ctr"/>
            <a:lstStyle/>
            <a:p>
              <a:endParaRPr lang="en-GB" dirty="0"/>
            </a:p>
          </p:txBody>
        </p:sp>
        <p:sp>
          <p:nvSpPr>
            <p:cNvPr id="122" name="Freihandform: Form 121">
              <a:extLst>
                <a:ext uri="{FF2B5EF4-FFF2-40B4-BE49-F238E27FC236}">
                  <a16:creationId xmlns:a16="http://schemas.microsoft.com/office/drawing/2014/main" xmlns="" id="{C126D425-7E67-4C99-9E48-D74DF6BB696A}"/>
                </a:ext>
              </a:extLst>
            </p:cNvPr>
            <p:cNvSpPr/>
            <p:nvPr/>
          </p:nvSpPr>
          <p:spPr>
            <a:xfrm flipV="1">
              <a:off x="4759927" y="5465330"/>
              <a:ext cx="12491" cy="7161"/>
            </a:xfrm>
            <a:custGeom>
              <a:avLst/>
              <a:gdLst>
                <a:gd name="connsiteX0" fmla="*/ -3466 w 12491"/>
                <a:gd name="connsiteY0" fmla="*/ 5607 h 7161"/>
                <a:gd name="connsiteX1" fmla="*/ -1940 w 12491"/>
                <a:gd name="connsiteY1" fmla="*/ 1465 h 7161"/>
                <a:gd name="connsiteX2" fmla="*/ 8737 w 12491"/>
                <a:gd name="connsiteY2" fmla="*/ 5825 h 7161"/>
                <a:gd name="connsiteX3" fmla="*/ -3466 w 12491"/>
                <a:gd name="connsiteY3" fmla="*/ 5607 h 7161"/>
              </a:gdLst>
              <a:ahLst/>
              <a:cxnLst>
                <a:cxn ang="0">
                  <a:pos x="connsiteX0" y="connsiteY0"/>
                </a:cxn>
                <a:cxn ang="0">
                  <a:pos x="connsiteX1" y="connsiteY1"/>
                </a:cxn>
                <a:cxn ang="0">
                  <a:pos x="connsiteX2" y="connsiteY2"/>
                </a:cxn>
                <a:cxn ang="0">
                  <a:pos x="connsiteX3" y="connsiteY3"/>
                </a:cxn>
              </a:cxnLst>
              <a:rect l="l" t="t" r="r" b="b"/>
              <a:pathLst>
                <a:path w="12491" h="7161">
                  <a:moveTo>
                    <a:pt x="-3466" y="5607"/>
                  </a:moveTo>
                  <a:cubicBezTo>
                    <a:pt x="-4119" y="4299"/>
                    <a:pt x="-3684" y="2337"/>
                    <a:pt x="-1940" y="1465"/>
                  </a:cubicBezTo>
                  <a:cubicBezTo>
                    <a:pt x="1110" y="-497"/>
                    <a:pt x="8737" y="2555"/>
                    <a:pt x="8737" y="5825"/>
                  </a:cubicBezTo>
                  <a:cubicBezTo>
                    <a:pt x="8737" y="8877"/>
                    <a:pt x="-1504" y="8659"/>
                    <a:pt x="-3466" y="5607"/>
                  </a:cubicBezTo>
                  <a:close/>
                </a:path>
              </a:pathLst>
            </a:custGeom>
            <a:grpFill/>
            <a:ln w="218" cap="flat">
              <a:noFill/>
              <a:prstDash val="solid"/>
              <a:miter/>
            </a:ln>
          </p:spPr>
          <p:txBody>
            <a:bodyPr rtlCol="0" anchor="ctr"/>
            <a:lstStyle/>
            <a:p>
              <a:endParaRPr lang="en-GB" dirty="0"/>
            </a:p>
          </p:txBody>
        </p:sp>
        <p:sp>
          <p:nvSpPr>
            <p:cNvPr id="123" name="Freihandform: Form 122">
              <a:extLst>
                <a:ext uri="{FF2B5EF4-FFF2-40B4-BE49-F238E27FC236}">
                  <a16:creationId xmlns:a16="http://schemas.microsoft.com/office/drawing/2014/main" xmlns="" id="{F8E3C5E3-4772-42B0-A5D1-1ED2C907BA06}"/>
                </a:ext>
              </a:extLst>
            </p:cNvPr>
            <p:cNvSpPr/>
            <p:nvPr/>
          </p:nvSpPr>
          <p:spPr>
            <a:xfrm flipV="1">
              <a:off x="4949706" y="5465332"/>
              <a:ext cx="3575" cy="4360"/>
            </a:xfrm>
            <a:custGeom>
              <a:avLst/>
              <a:gdLst>
                <a:gd name="connsiteX0" fmla="*/ -4212 w 3575"/>
                <a:gd name="connsiteY0" fmla="*/ 3020 h 4360"/>
                <a:gd name="connsiteX1" fmla="*/ -3341 w 3575"/>
                <a:gd name="connsiteY1" fmla="*/ 840 h 4360"/>
                <a:gd name="connsiteX2" fmla="*/ -944 w 3575"/>
                <a:gd name="connsiteY2" fmla="*/ 3020 h 4360"/>
                <a:gd name="connsiteX3" fmla="*/ -1815 w 3575"/>
                <a:gd name="connsiteY3" fmla="*/ 5200 h 4360"/>
                <a:gd name="connsiteX4" fmla="*/ -4212 w 3575"/>
                <a:gd name="connsiteY4" fmla="*/ 3020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4212" y="3020"/>
                  </a:moveTo>
                  <a:cubicBezTo>
                    <a:pt x="-4866" y="1930"/>
                    <a:pt x="-4430" y="840"/>
                    <a:pt x="-3341" y="840"/>
                  </a:cubicBezTo>
                  <a:cubicBezTo>
                    <a:pt x="-2033" y="840"/>
                    <a:pt x="-944" y="1930"/>
                    <a:pt x="-944" y="3020"/>
                  </a:cubicBezTo>
                  <a:cubicBezTo>
                    <a:pt x="-944" y="4328"/>
                    <a:pt x="-1380" y="5200"/>
                    <a:pt x="-1815" y="5200"/>
                  </a:cubicBezTo>
                  <a:cubicBezTo>
                    <a:pt x="-2469" y="5200"/>
                    <a:pt x="-3559" y="4328"/>
                    <a:pt x="-4212" y="3020"/>
                  </a:cubicBezTo>
                  <a:close/>
                </a:path>
              </a:pathLst>
            </a:custGeom>
            <a:grpFill/>
            <a:ln w="218" cap="flat">
              <a:noFill/>
              <a:prstDash val="solid"/>
              <a:miter/>
            </a:ln>
          </p:spPr>
          <p:txBody>
            <a:bodyPr rtlCol="0" anchor="ctr"/>
            <a:lstStyle/>
            <a:p>
              <a:endParaRPr lang="en-GB" dirty="0"/>
            </a:p>
          </p:txBody>
        </p:sp>
        <p:sp>
          <p:nvSpPr>
            <p:cNvPr id="124" name="Freihandform: Form 123">
              <a:extLst>
                <a:ext uri="{FF2B5EF4-FFF2-40B4-BE49-F238E27FC236}">
                  <a16:creationId xmlns:a16="http://schemas.microsoft.com/office/drawing/2014/main" xmlns="" id="{86A6164B-8C4D-437F-B790-44AE507E7609}"/>
                </a:ext>
              </a:extLst>
            </p:cNvPr>
            <p:cNvSpPr/>
            <p:nvPr/>
          </p:nvSpPr>
          <p:spPr>
            <a:xfrm flipV="1">
              <a:off x="4552563" y="5467513"/>
              <a:ext cx="76040" cy="41080"/>
            </a:xfrm>
            <a:custGeom>
              <a:avLst/>
              <a:gdLst>
                <a:gd name="connsiteX0" fmla="*/ 19185 w 76040"/>
                <a:gd name="connsiteY0" fmla="*/ 34394 h 41080"/>
                <a:gd name="connsiteX1" fmla="*/ 8290 w 76040"/>
                <a:gd name="connsiteY1" fmla="*/ 30034 h 41080"/>
                <a:gd name="connsiteX2" fmla="*/ -645 w 76040"/>
                <a:gd name="connsiteY2" fmla="*/ 33304 h 41080"/>
                <a:gd name="connsiteX3" fmla="*/ 3060 w 76040"/>
                <a:gd name="connsiteY3" fmla="*/ 26764 h 41080"/>
                <a:gd name="connsiteX4" fmla="*/ 3932 w 76040"/>
                <a:gd name="connsiteY4" fmla="*/ 19134 h 41080"/>
                <a:gd name="connsiteX5" fmla="*/ 2188 w 76040"/>
                <a:gd name="connsiteY5" fmla="*/ 12812 h 41080"/>
                <a:gd name="connsiteX6" fmla="*/ 5457 w 76040"/>
                <a:gd name="connsiteY6" fmla="*/ 6053 h 41080"/>
                <a:gd name="connsiteX7" fmla="*/ 13084 w 76040"/>
                <a:gd name="connsiteY7" fmla="*/ 4091 h 41080"/>
                <a:gd name="connsiteX8" fmla="*/ 20710 w 76040"/>
                <a:gd name="connsiteY8" fmla="*/ 6053 h 41080"/>
                <a:gd name="connsiteX9" fmla="*/ 26158 w 76040"/>
                <a:gd name="connsiteY9" fmla="*/ 7143 h 41080"/>
                <a:gd name="connsiteX10" fmla="*/ 26812 w 76040"/>
                <a:gd name="connsiteY10" fmla="*/ 13684 h 41080"/>
                <a:gd name="connsiteX11" fmla="*/ 21800 w 76040"/>
                <a:gd name="connsiteY11" fmla="*/ 16518 h 41080"/>
                <a:gd name="connsiteX12" fmla="*/ 17660 w 76040"/>
                <a:gd name="connsiteY12" fmla="*/ 19352 h 41080"/>
                <a:gd name="connsiteX13" fmla="*/ 22889 w 76040"/>
                <a:gd name="connsiteY13" fmla="*/ 21314 h 41080"/>
                <a:gd name="connsiteX14" fmla="*/ 30516 w 76040"/>
                <a:gd name="connsiteY14" fmla="*/ 20224 h 41080"/>
                <a:gd name="connsiteX15" fmla="*/ 36400 w 76040"/>
                <a:gd name="connsiteY15" fmla="*/ 20660 h 41080"/>
                <a:gd name="connsiteX16" fmla="*/ 44680 w 76040"/>
                <a:gd name="connsiteY16" fmla="*/ 18044 h 41080"/>
                <a:gd name="connsiteX17" fmla="*/ 55793 w 76040"/>
                <a:gd name="connsiteY17" fmla="*/ 11286 h 41080"/>
                <a:gd name="connsiteX18" fmla="*/ 67125 w 76040"/>
                <a:gd name="connsiteY18" fmla="*/ 5835 h 41080"/>
                <a:gd name="connsiteX19" fmla="*/ 62984 w 76040"/>
                <a:gd name="connsiteY19" fmla="*/ 20224 h 41080"/>
                <a:gd name="connsiteX20" fmla="*/ 53396 w 76040"/>
                <a:gd name="connsiteY20" fmla="*/ 26764 h 41080"/>
                <a:gd name="connsiteX21" fmla="*/ 38143 w 76040"/>
                <a:gd name="connsiteY21" fmla="*/ 31996 h 41080"/>
                <a:gd name="connsiteX22" fmla="*/ 27248 w 76040"/>
                <a:gd name="connsiteY22" fmla="*/ 36574 h 41080"/>
                <a:gd name="connsiteX23" fmla="*/ 26812 w 76040"/>
                <a:gd name="connsiteY23" fmla="*/ 42025 h 41080"/>
                <a:gd name="connsiteX24" fmla="*/ 19185 w 76040"/>
                <a:gd name="connsiteY24" fmla="*/ 34394 h 41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6040" h="41080">
                  <a:moveTo>
                    <a:pt x="19185" y="34394"/>
                  </a:moveTo>
                  <a:cubicBezTo>
                    <a:pt x="14391" y="27200"/>
                    <a:pt x="14173" y="26982"/>
                    <a:pt x="8290" y="30034"/>
                  </a:cubicBezTo>
                  <a:cubicBezTo>
                    <a:pt x="4803" y="31778"/>
                    <a:pt x="881" y="33304"/>
                    <a:pt x="-645" y="33304"/>
                  </a:cubicBezTo>
                  <a:cubicBezTo>
                    <a:pt x="-5439" y="33304"/>
                    <a:pt x="-2388" y="28072"/>
                    <a:pt x="3060" y="26764"/>
                  </a:cubicBezTo>
                  <a:cubicBezTo>
                    <a:pt x="9597" y="25238"/>
                    <a:pt x="9815" y="21750"/>
                    <a:pt x="3932" y="19134"/>
                  </a:cubicBezTo>
                  <a:cubicBezTo>
                    <a:pt x="-1952" y="16736"/>
                    <a:pt x="-2388" y="14556"/>
                    <a:pt x="2188" y="12812"/>
                  </a:cubicBezTo>
                  <a:cubicBezTo>
                    <a:pt x="3932" y="12158"/>
                    <a:pt x="5457" y="9105"/>
                    <a:pt x="5457" y="6053"/>
                  </a:cubicBezTo>
                  <a:cubicBezTo>
                    <a:pt x="5457" y="-269"/>
                    <a:pt x="6111" y="-487"/>
                    <a:pt x="13084" y="4091"/>
                  </a:cubicBezTo>
                  <a:cubicBezTo>
                    <a:pt x="15916" y="6053"/>
                    <a:pt x="19403" y="6925"/>
                    <a:pt x="20710" y="6053"/>
                  </a:cubicBezTo>
                  <a:cubicBezTo>
                    <a:pt x="22018" y="5181"/>
                    <a:pt x="24415" y="5835"/>
                    <a:pt x="26158" y="7143"/>
                  </a:cubicBezTo>
                  <a:cubicBezTo>
                    <a:pt x="28555" y="9105"/>
                    <a:pt x="28773" y="10632"/>
                    <a:pt x="26812" y="13684"/>
                  </a:cubicBezTo>
                  <a:cubicBezTo>
                    <a:pt x="25504" y="15864"/>
                    <a:pt x="23107" y="17172"/>
                    <a:pt x="21800" y="16518"/>
                  </a:cubicBezTo>
                  <a:cubicBezTo>
                    <a:pt x="20275" y="16082"/>
                    <a:pt x="18531" y="17390"/>
                    <a:pt x="17660" y="19352"/>
                  </a:cubicBezTo>
                  <a:cubicBezTo>
                    <a:pt x="15481" y="24802"/>
                    <a:pt x="17878" y="25892"/>
                    <a:pt x="22889" y="21314"/>
                  </a:cubicBezTo>
                  <a:cubicBezTo>
                    <a:pt x="26376" y="18044"/>
                    <a:pt x="27683" y="17826"/>
                    <a:pt x="30516" y="20224"/>
                  </a:cubicBezTo>
                  <a:cubicBezTo>
                    <a:pt x="33131" y="22404"/>
                    <a:pt x="34656" y="22404"/>
                    <a:pt x="36400" y="20660"/>
                  </a:cubicBezTo>
                  <a:cubicBezTo>
                    <a:pt x="37925" y="19134"/>
                    <a:pt x="41412" y="18044"/>
                    <a:pt x="44680" y="18044"/>
                  </a:cubicBezTo>
                  <a:cubicBezTo>
                    <a:pt x="48167" y="18044"/>
                    <a:pt x="52089" y="15646"/>
                    <a:pt x="55793" y="11286"/>
                  </a:cubicBezTo>
                  <a:cubicBezTo>
                    <a:pt x="60370" y="5617"/>
                    <a:pt x="62549" y="4527"/>
                    <a:pt x="67125" y="5835"/>
                  </a:cubicBezTo>
                  <a:cubicBezTo>
                    <a:pt x="77148" y="8233"/>
                    <a:pt x="73444" y="20224"/>
                    <a:pt x="62984" y="20224"/>
                  </a:cubicBezTo>
                  <a:cubicBezTo>
                    <a:pt x="59934" y="20224"/>
                    <a:pt x="56229" y="22840"/>
                    <a:pt x="53396" y="26764"/>
                  </a:cubicBezTo>
                  <a:cubicBezTo>
                    <a:pt x="49038" y="33086"/>
                    <a:pt x="47949" y="33304"/>
                    <a:pt x="38143" y="31996"/>
                  </a:cubicBezTo>
                  <a:cubicBezTo>
                    <a:pt x="28337" y="30688"/>
                    <a:pt x="22018" y="33304"/>
                    <a:pt x="27248" y="36574"/>
                  </a:cubicBezTo>
                  <a:cubicBezTo>
                    <a:pt x="30298" y="38536"/>
                    <a:pt x="30080" y="42025"/>
                    <a:pt x="26812" y="42025"/>
                  </a:cubicBezTo>
                  <a:cubicBezTo>
                    <a:pt x="25286" y="42025"/>
                    <a:pt x="21800" y="38536"/>
                    <a:pt x="19185" y="34394"/>
                  </a:cubicBezTo>
                  <a:close/>
                </a:path>
              </a:pathLst>
            </a:custGeom>
            <a:grpFill/>
            <a:ln w="218" cap="flat">
              <a:noFill/>
              <a:prstDash val="solid"/>
              <a:miter/>
            </a:ln>
          </p:spPr>
          <p:txBody>
            <a:bodyPr rtlCol="0" anchor="ctr"/>
            <a:lstStyle/>
            <a:p>
              <a:endParaRPr lang="en-GB" dirty="0"/>
            </a:p>
          </p:txBody>
        </p:sp>
        <p:sp>
          <p:nvSpPr>
            <p:cNvPr id="125" name="Freihandform: Form 124">
              <a:extLst>
                <a:ext uri="{FF2B5EF4-FFF2-40B4-BE49-F238E27FC236}">
                  <a16:creationId xmlns:a16="http://schemas.microsoft.com/office/drawing/2014/main" xmlns="" id="{79EAB95C-2109-4F61-A811-C5ECD435C30C}"/>
                </a:ext>
              </a:extLst>
            </p:cNvPr>
            <p:cNvSpPr/>
            <p:nvPr/>
          </p:nvSpPr>
          <p:spPr>
            <a:xfrm flipV="1">
              <a:off x="4718189" y="5472094"/>
              <a:ext cx="6507" cy="5198"/>
            </a:xfrm>
            <a:custGeom>
              <a:avLst/>
              <a:gdLst>
                <a:gd name="connsiteX0" fmla="*/ -3381 w 6507"/>
                <a:gd name="connsiteY0" fmla="*/ 3680 h 5198"/>
                <a:gd name="connsiteX1" fmla="*/ 2938 w 6507"/>
                <a:gd name="connsiteY1" fmla="*/ 3026 h 5198"/>
                <a:gd name="connsiteX2" fmla="*/ -766 w 6507"/>
                <a:gd name="connsiteY2" fmla="*/ 5860 h 5198"/>
                <a:gd name="connsiteX3" fmla="*/ -3381 w 6507"/>
                <a:gd name="connsiteY3" fmla="*/ 3680 h 5198"/>
              </a:gdLst>
              <a:ahLst/>
              <a:cxnLst>
                <a:cxn ang="0">
                  <a:pos x="connsiteX0" y="connsiteY0"/>
                </a:cxn>
                <a:cxn ang="0">
                  <a:pos x="connsiteX1" y="connsiteY1"/>
                </a:cxn>
                <a:cxn ang="0">
                  <a:pos x="connsiteX2" y="connsiteY2"/>
                </a:cxn>
                <a:cxn ang="0">
                  <a:pos x="connsiteX3" y="connsiteY3"/>
                </a:cxn>
              </a:cxnLst>
              <a:rect l="l" t="t" r="r" b="b"/>
              <a:pathLst>
                <a:path w="6507" h="5198">
                  <a:moveTo>
                    <a:pt x="-3381" y="3680"/>
                  </a:moveTo>
                  <a:cubicBezTo>
                    <a:pt x="-2292" y="410"/>
                    <a:pt x="2720" y="-244"/>
                    <a:pt x="2938" y="3026"/>
                  </a:cubicBezTo>
                  <a:cubicBezTo>
                    <a:pt x="2938" y="4334"/>
                    <a:pt x="1413" y="5642"/>
                    <a:pt x="-766" y="5860"/>
                  </a:cubicBezTo>
                  <a:cubicBezTo>
                    <a:pt x="-2945" y="6514"/>
                    <a:pt x="-4035" y="5642"/>
                    <a:pt x="-3381" y="3680"/>
                  </a:cubicBezTo>
                  <a:close/>
                </a:path>
              </a:pathLst>
            </a:custGeom>
            <a:grpFill/>
            <a:ln w="218" cap="flat">
              <a:noFill/>
              <a:prstDash val="solid"/>
              <a:miter/>
            </a:ln>
          </p:spPr>
          <p:txBody>
            <a:bodyPr rtlCol="0" anchor="ctr"/>
            <a:lstStyle/>
            <a:p>
              <a:endParaRPr lang="en-GB" dirty="0"/>
            </a:p>
          </p:txBody>
        </p:sp>
        <p:sp>
          <p:nvSpPr>
            <p:cNvPr id="126" name="Freihandform: Form 125">
              <a:extLst>
                <a:ext uri="{FF2B5EF4-FFF2-40B4-BE49-F238E27FC236}">
                  <a16:creationId xmlns:a16="http://schemas.microsoft.com/office/drawing/2014/main" xmlns="" id="{D32B30F7-A15A-4CE0-9633-AC82A22EB750}"/>
                </a:ext>
              </a:extLst>
            </p:cNvPr>
            <p:cNvSpPr/>
            <p:nvPr/>
          </p:nvSpPr>
          <p:spPr>
            <a:xfrm flipV="1">
              <a:off x="4728215" y="5474053"/>
              <a:ext cx="85356" cy="41199"/>
            </a:xfrm>
            <a:custGeom>
              <a:avLst/>
              <a:gdLst>
                <a:gd name="connsiteX0" fmla="*/ -2716 w 85356"/>
                <a:gd name="connsiteY0" fmla="*/ 35200 h 41199"/>
                <a:gd name="connsiteX1" fmla="*/ 6219 w 85356"/>
                <a:gd name="connsiteY1" fmla="*/ 16451 h 41199"/>
                <a:gd name="connsiteX2" fmla="*/ 12102 w 85356"/>
                <a:gd name="connsiteY2" fmla="*/ 8167 h 41199"/>
                <a:gd name="connsiteX3" fmla="*/ 26702 w 85356"/>
                <a:gd name="connsiteY3" fmla="*/ 6205 h 41199"/>
                <a:gd name="connsiteX4" fmla="*/ 30188 w 85356"/>
                <a:gd name="connsiteY4" fmla="*/ 13835 h 41199"/>
                <a:gd name="connsiteX5" fmla="*/ 33239 w 85356"/>
                <a:gd name="connsiteY5" fmla="*/ 18195 h 41199"/>
                <a:gd name="connsiteX6" fmla="*/ 39776 w 85356"/>
                <a:gd name="connsiteY6" fmla="*/ 15797 h 41199"/>
                <a:gd name="connsiteX7" fmla="*/ 62003 w 85356"/>
                <a:gd name="connsiteY7" fmla="*/ 25607 h 41199"/>
                <a:gd name="connsiteX8" fmla="*/ 67451 w 85356"/>
                <a:gd name="connsiteY8" fmla="*/ 30186 h 41199"/>
                <a:gd name="connsiteX9" fmla="*/ 63746 w 85356"/>
                <a:gd name="connsiteY9" fmla="*/ 24299 h 41199"/>
                <a:gd name="connsiteX10" fmla="*/ 63964 w 85356"/>
                <a:gd name="connsiteY10" fmla="*/ 2499 h 41199"/>
                <a:gd name="connsiteX11" fmla="*/ 73116 w 85356"/>
                <a:gd name="connsiteY11" fmla="*/ 8385 h 41199"/>
                <a:gd name="connsiteX12" fmla="*/ 77474 w 85356"/>
                <a:gd name="connsiteY12" fmla="*/ 12745 h 41199"/>
                <a:gd name="connsiteX13" fmla="*/ 76167 w 85356"/>
                <a:gd name="connsiteY13" fmla="*/ 21901 h 41199"/>
                <a:gd name="connsiteX14" fmla="*/ 72027 w 85356"/>
                <a:gd name="connsiteY14" fmla="*/ 31494 h 41199"/>
                <a:gd name="connsiteX15" fmla="*/ 63964 w 85356"/>
                <a:gd name="connsiteY15" fmla="*/ 42176 h 41199"/>
                <a:gd name="connsiteX16" fmla="*/ 62221 w 85356"/>
                <a:gd name="connsiteY16" fmla="*/ 38470 h 41199"/>
                <a:gd name="connsiteX17" fmla="*/ 57863 w 85356"/>
                <a:gd name="connsiteY17" fmla="*/ 29096 h 41199"/>
                <a:gd name="connsiteX18" fmla="*/ 51543 w 85356"/>
                <a:gd name="connsiteY18" fmla="*/ 26697 h 41199"/>
                <a:gd name="connsiteX19" fmla="*/ 50672 w 85356"/>
                <a:gd name="connsiteY19" fmla="*/ 33238 h 41199"/>
                <a:gd name="connsiteX20" fmla="*/ 38905 w 85356"/>
                <a:gd name="connsiteY20" fmla="*/ 40650 h 41199"/>
                <a:gd name="connsiteX21" fmla="*/ 31714 w 85356"/>
                <a:gd name="connsiteY21" fmla="*/ 35418 h 41199"/>
                <a:gd name="connsiteX22" fmla="*/ 36072 w 85356"/>
                <a:gd name="connsiteY22" fmla="*/ 31276 h 41199"/>
                <a:gd name="connsiteX23" fmla="*/ 40430 w 85356"/>
                <a:gd name="connsiteY23" fmla="*/ 27788 h 41199"/>
                <a:gd name="connsiteX24" fmla="*/ 33457 w 85356"/>
                <a:gd name="connsiteY24" fmla="*/ 25171 h 41199"/>
                <a:gd name="connsiteX25" fmla="*/ 26920 w 85356"/>
                <a:gd name="connsiteY25" fmla="*/ 19721 h 41199"/>
                <a:gd name="connsiteX26" fmla="*/ 23651 w 85356"/>
                <a:gd name="connsiteY26" fmla="*/ 14271 h 41199"/>
                <a:gd name="connsiteX27" fmla="*/ 19075 w 85356"/>
                <a:gd name="connsiteY27" fmla="*/ 22119 h 41199"/>
                <a:gd name="connsiteX28" fmla="*/ 13410 w 85356"/>
                <a:gd name="connsiteY28" fmla="*/ 27788 h 41199"/>
                <a:gd name="connsiteX29" fmla="*/ 4693 w 85356"/>
                <a:gd name="connsiteY29" fmla="*/ 34328 h 41199"/>
                <a:gd name="connsiteX30" fmla="*/ 553 w 85356"/>
                <a:gd name="connsiteY30" fmla="*/ 42176 h 41199"/>
                <a:gd name="connsiteX31" fmla="*/ -2716 w 85356"/>
                <a:gd name="connsiteY31" fmla="*/ 35200 h 41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5356" h="41199">
                  <a:moveTo>
                    <a:pt x="-2716" y="35200"/>
                  </a:moveTo>
                  <a:cubicBezTo>
                    <a:pt x="-5330" y="27788"/>
                    <a:pt x="-3369" y="23645"/>
                    <a:pt x="6219" y="16451"/>
                  </a:cubicBezTo>
                  <a:cubicBezTo>
                    <a:pt x="8398" y="14707"/>
                    <a:pt x="11013" y="11001"/>
                    <a:pt x="12102" y="8167"/>
                  </a:cubicBezTo>
                  <a:cubicBezTo>
                    <a:pt x="14499" y="2281"/>
                    <a:pt x="19947" y="1409"/>
                    <a:pt x="26702" y="6205"/>
                  </a:cubicBezTo>
                  <a:cubicBezTo>
                    <a:pt x="29753" y="8385"/>
                    <a:pt x="30842" y="11001"/>
                    <a:pt x="30188" y="13835"/>
                  </a:cubicBezTo>
                  <a:cubicBezTo>
                    <a:pt x="29317" y="17105"/>
                    <a:pt x="30188" y="18195"/>
                    <a:pt x="33239" y="18195"/>
                  </a:cubicBezTo>
                  <a:cubicBezTo>
                    <a:pt x="35418" y="18195"/>
                    <a:pt x="38469" y="17105"/>
                    <a:pt x="39776" y="15797"/>
                  </a:cubicBezTo>
                  <a:cubicBezTo>
                    <a:pt x="42391" y="13181"/>
                    <a:pt x="53287" y="17759"/>
                    <a:pt x="62003" y="25607"/>
                  </a:cubicBezTo>
                  <a:lnTo>
                    <a:pt x="67451" y="30186"/>
                  </a:lnTo>
                  <a:lnTo>
                    <a:pt x="63746" y="24299"/>
                  </a:lnTo>
                  <a:cubicBezTo>
                    <a:pt x="59824" y="18195"/>
                    <a:pt x="60042" y="6423"/>
                    <a:pt x="63964" y="2499"/>
                  </a:cubicBezTo>
                  <a:cubicBezTo>
                    <a:pt x="67668" y="-1207"/>
                    <a:pt x="73116" y="2281"/>
                    <a:pt x="73116" y="8385"/>
                  </a:cubicBezTo>
                  <a:cubicBezTo>
                    <a:pt x="73116" y="13181"/>
                    <a:pt x="73988" y="13835"/>
                    <a:pt x="77474" y="12745"/>
                  </a:cubicBezTo>
                  <a:cubicBezTo>
                    <a:pt x="83358" y="11001"/>
                    <a:pt x="82922" y="12963"/>
                    <a:pt x="76167" y="21901"/>
                  </a:cubicBezTo>
                  <a:cubicBezTo>
                    <a:pt x="73116" y="25825"/>
                    <a:pt x="71373" y="30186"/>
                    <a:pt x="72027" y="31494"/>
                  </a:cubicBezTo>
                  <a:cubicBezTo>
                    <a:pt x="73552" y="33892"/>
                    <a:pt x="67233" y="42176"/>
                    <a:pt x="63964" y="42176"/>
                  </a:cubicBezTo>
                  <a:cubicBezTo>
                    <a:pt x="63092" y="42176"/>
                    <a:pt x="62221" y="40432"/>
                    <a:pt x="62221" y="38470"/>
                  </a:cubicBezTo>
                  <a:cubicBezTo>
                    <a:pt x="62221" y="36290"/>
                    <a:pt x="60260" y="32148"/>
                    <a:pt x="57863" y="29096"/>
                  </a:cubicBezTo>
                  <a:cubicBezTo>
                    <a:pt x="54376" y="24735"/>
                    <a:pt x="53069" y="24299"/>
                    <a:pt x="51543" y="26697"/>
                  </a:cubicBezTo>
                  <a:cubicBezTo>
                    <a:pt x="50454" y="28224"/>
                    <a:pt x="50018" y="31276"/>
                    <a:pt x="50672" y="33238"/>
                  </a:cubicBezTo>
                  <a:cubicBezTo>
                    <a:pt x="51979" y="38688"/>
                    <a:pt x="46967" y="41740"/>
                    <a:pt x="38905" y="40650"/>
                  </a:cubicBezTo>
                  <a:cubicBezTo>
                    <a:pt x="33675" y="39778"/>
                    <a:pt x="31714" y="38252"/>
                    <a:pt x="31714" y="35418"/>
                  </a:cubicBezTo>
                  <a:cubicBezTo>
                    <a:pt x="31714" y="32802"/>
                    <a:pt x="33239" y="31276"/>
                    <a:pt x="36072" y="31276"/>
                  </a:cubicBezTo>
                  <a:cubicBezTo>
                    <a:pt x="38469" y="31276"/>
                    <a:pt x="40430" y="29750"/>
                    <a:pt x="40430" y="27788"/>
                  </a:cubicBezTo>
                  <a:cubicBezTo>
                    <a:pt x="40430" y="25389"/>
                    <a:pt x="38687" y="24735"/>
                    <a:pt x="33457" y="25171"/>
                  </a:cubicBezTo>
                  <a:cubicBezTo>
                    <a:pt x="26702" y="25825"/>
                    <a:pt x="26266" y="25389"/>
                    <a:pt x="26920" y="19721"/>
                  </a:cubicBezTo>
                  <a:cubicBezTo>
                    <a:pt x="27356" y="14707"/>
                    <a:pt x="26702" y="13617"/>
                    <a:pt x="23651" y="14271"/>
                  </a:cubicBezTo>
                  <a:cubicBezTo>
                    <a:pt x="21036" y="14707"/>
                    <a:pt x="19511" y="17323"/>
                    <a:pt x="19075" y="22119"/>
                  </a:cubicBezTo>
                  <a:cubicBezTo>
                    <a:pt x="18421" y="28224"/>
                    <a:pt x="17768" y="28878"/>
                    <a:pt x="13410" y="27788"/>
                  </a:cubicBezTo>
                  <a:cubicBezTo>
                    <a:pt x="9269" y="26916"/>
                    <a:pt x="7744" y="28006"/>
                    <a:pt x="4693" y="34328"/>
                  </a:cubicBezTo>
                  <a:cubicBezTo>
                    <a:pt x="2732" y="38688"/>
                    <a:pt x="771" y="42176"/>
                    <a:pt x="553" y="42176"/>
                  </a:cubicBezTo>
                  <a:cubicBezTo>
                    <a:pt x="117" y="42176"/>
                    <a:pt x="-1190" y="39124"/>
                    <a:pt x="-2716" y="35200"/>
                  </a:cubicBezTo>
                  <a:close/>
                </a:path>
              </a:pathLst>
            </a:custGeom>
            <a:grpFill/>
            <a:ln w="218" cap="flat">
              <a:noFill/>
              <a:prstDash val="solid"/>
              <a:miter/>
            </a:ln>
          </p:spPr>
          <p:txBody>
            <a:bodyPr rtlCol="0" anchor="ctr"/>
            <a:lstStyle/>
            <a:p>
              <a:endParaRPr lang="en-GB" dirty="0"/>
            </a:p>
          </p:txBody>
        </p:sp>
        <p:sp>
          <p:nvSpPr>
            <p:cNvPr id="127" name="Freihandform: Form 126">
              <a:extLst>
                <a:ext uri="{FF2B5EF4-FFF2-40B4-BE49-F238E27FC236}">
                  <a16:creationId xmlns:a16="http://schemas.microsoft.com/office/drawing/2014/main" xmlns="" id="{9FF185A7-08A4-4B77-8723-A4A7198B878E}"/>
                </a:ext>
              </a:extLst>
            </p:cNvPr>
            <p:cNvSpPr/>
            <p:nvPr/>
          </p:nvSpPr>
          <p:spPr>
            <a:xfrm flipV="1">
              <a:off x="4430631" y="5477150"/>
              <a:ext cx="6210" cy="5302"/>
            </a:xfrm>
            <a:custGeom>
              <a:avLst/>
              <a:gdLst>
                <a:gd name="connsiteX0" fmla="*/ -2272 w 6210"/>
                <a:gd name="connsiteY0" fmla="*/ 4506 h 5302"/>
                <a:gd name="connsiteX1" fmla="*/ 3829 w 6210"/>
                <a:gd name="connsiteY1" fmla="*/ 2326 h 5302"/>
                <a:gd name="connsiteX2" fmla="*/ 343 w 6210"/>
                <a:gd name="connsiteY2" fmla="*/ 5814 h 5302"/>
                <a:gd name="connsiteX3" fmla="*/ -2272 w 6210"/>
                <a:gd name="connsiteY3" fmla="*/ 4506 h 5302"/>
              </a:gdLst>
              <a:ahLst/>
              <a:cxnLst>
                <a:cxn ang="0">
                  <a:pos x="connsiteX0" y="connsiteY0"/>
                </a:cxn>
                <a:cxn ang="0">
                  <a:pos x="connsiteX1" y="connsiteY1"/>
                </a:cxn>
                <a:cxn ang="0">
                  <a:pos x="connsiteX2" y="connsiteY2"/>
                </a:cxn>
                <a:cxn ang="0">
                  <a:pos x="connsiteX3" y="connsiteY3"/>
                </a:cxn>
              </a:cxnLst>
              <a:rect l="l" t="t" r="r" b="b"/>
              <a:pathLst>
                <a:path w="6210" h="5302">
                  <a:moveTo>
                    <a:pt x="-2272" y="4506"/>
                  </a:moveTo>
                  <a:cubicBezTo>
                    <a:pt x="-1183" y="1236"/>
                    <a:pt x="3829" y="-508"/>
                    <a:pt x="3829" y="2326"/>
                  </a:cubicBezTo>
                  <a:cubicBezTo>
                    <a:pt x="3829" y="3416"/>
                    <a:pt x="2304" y="5160"/>
                    <a:pt x="343" y="5814"/>
                  </a:cubicBezTo>
                  <a:cubicBezTo>
                    <a:pt x="-1836" y="6686"/>
                    <a:pt x="-2708" y="6032"/>
                    <a:pt x="-2272" y="4506"/>
                  </a:cubicBezTo>
                  <a:close/>
                </a:path>
              </a:pathLst>
            </a:custGeom>
            <a:grpFill/>
            <a:ln w="218" cap="flat">
              <a:noFill/>
              <a:prstDash val="solid"/>
              <a:miter/>
            </a:ln>
          </p:spPr>
          <p:txBody>
            <a:bodyPr rtlCol="0" anchor="ctr"/>
            <a:lstStyle/>
            <a:p>
              <a:endParaRPr lang="en-GB" dirty="0"/>
            </a:p>
          </p:txBody>
        </p:sp>
        <p:sp>
          <p:nvSpPr>
            <p:cNvPr id="128" name="Freihandform: Form 127">
              <a:extLst>
                <a:ext uri="{FF2B5EF4-FFF2-40B4-BE49-F238E27FC236}">
                  <a16:creationId xmlns:a16="http://schemas.microsoft.com/office/drawing/2014/main" xmlns="" id="{678EBAC3-4707-4BF8-80D4-A3109E868C85}"/>
                </a:ext>
              </a:extLst>
            </p:cNvPr>
            <p:cNvSpPr/>
            <p:nvPr/>
          </p:nvSpPr>
          <p:spPr>
            <a:xfrm flipV="1">
              <a:off x="4918533" y="5490614"/>
              <a:ext cx="34748" cy="37833"/>
            </a:xfrm>
            <a:custGeom>
              <a:avLst/>
              <a:gdLst>
                <a:gd name="connsiteX0" fmla="*/ 22667 w 34748"/>
                <a:gd name="connsiteY0" fmla="*/ 33428 h 37833"/>
                <a:gd name="connsiteX1" fmla="*/ 8503 w 34748"/>
                <a:gd name="connsiteY1" fmla="*/ 27760 h 37833"/>
                <a:gd name="connsiteX2" fmla="*/ -3264 w 34748"/>
                <a:gd name="connsiteY2" fmla="*/ 24272 h 37833"/>
                <a:gd name="connsiteX3" fmla="*/ 5 w 34748"/>
                <a:gd name="connsiteY3" fmla="*/ 14680 h 37833"/>
                <a:gd name="connsiteX4" fmla="*/ 12861 w 34748"/>
                <a:gd name="connsiteY4" fmla="*/ 4215 h 37833"/>
                <a:gd name="connsiteX5" fmla="*/ 20488 w 34748"/>
                <a:gd name="connsiteY5" fmla="*/ 4433 h 37833"/>
                <a:gd name="connsiteX6" fmla="*/ 18745 w 34748"/>
                <a:gd name="connsiteY6" fmla="*/ 14898 h 37833"/>
                <a:gd name="connsiteX7" fmla="*/ 15040 w 34748"/>
                <a:gd name="connsiteY7" fmla="*/ 16424 h 37833"/>
                <a:gd name="connsiteX8" fmla="*/ 20052 w 34748"/>
                <a:gd name="connsiteY8" fmla="*/ 18386 h 37833"/>
                <a:gd name="connsiteX9" fmla="*/ 30294 w 34748"/>
                <a:gd name="connsiteY9" fmla="*/ 30594 h 37833"/>
                <a:gd name="connsiteX10" fmla="*/ 22667 w 34748"/>
                <a:gd name="connsiteY10" fmla="*/ 33428 h 37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48" h="37833">
                  <a:moveTo>
                    <a:pt x="22667" y="33428"/>
                  </a:moveTo>
                  <a:cubicBezTo>
                    <a:pt x="19180" y="26888"/>
                    <a:pt x="18527" y="26670"/>
                    <a:pt x="8503" y="27760"/>
                  </a:cubicBezTo>
                  <a:cubicBezTo>
                    <a:pt x="-867" y="28850"/>
                    <a:pt x="-2174" y="28632"/>
                    <a:pt x="-3264" y="24272"/>
                  </a:cubicBezTo>
                  <a:cubicBezTo>
                    <a:pt x="-5443" y="15552"/>
                    <a:pt x="-4789" y="13371"/>
                    <a:pt x="5" y="14680"/>
                  </a:cubicBezTo>
                  <a:cubicBezTo>
                    <a:pt x="5016" y="15988"/>
                    <a:pt x="12861" y="9665"/>
                    <a:pt x="12861" y="4215"/>
                  </a:cubicBezTo>
                  <a:cubicBezTo>
                    <a:pt x="12861" y="-145"/>
                    <a:pt x="16130" y="73"/>
                    <a:pt x="20488" y="4433"/>
                  </a:cubicBezTo>
                  <a:cubicBezTo>
                    <a:pt x="24846" y="8793"/>
                    <a:pt x="23756" y="15116"/>
                    <a:pt x="18745" y="14898"/>
                  </a:cubicBezTo>
                  <a:cubicBezTo>
                    <a:pt x="16783" y="14680"/>
                    <a:pt x="15040" y="15334"/>
                    <a:pt x="15040" y="16424"/>
                  </a:cubicBezTo>
                  <a:cubicBezTo>
                    <a:pt x="15040" y="17514"/>
                    <a:pt x="17219" y="18386"/>
                    <a:pt x="20052" y="18386"/>
                  </a:cubicBezTo>
                  <a:cubicBezTo>
                    <a:pt x="27025" y="18386"/>
                    <a:pt x="30294" y="22310"/>
                    <a:pt x="30294" y="30594"/>
                  </a:cubicBezTo>
                  <a:cubicBezTo>
                    <a:pt x="30294" y="40404"/>
                    <a:pt x="26807" y="41712"/>
                    <a:pt x="22667" y="33428"/>
                  </a:cubicBezTo>
                  <a:close/>
                </a:path>
              </a:pathLst>
            </a:custGeom>
            <a:grpFill/>
            <a:ln w="218" cap="flat">
              <a:noFill/>
              <a:prstDash val="solid"/>
              <a:miter/>
            </a:ln>
          </p:spPr>
          <p:txBody>
            <a:bodyPr rtlCol="0" anchor="ctr"/>
            <a:lstStyle/>
            <a:p>
              <a:endParaRPr lang="en-GB" dirty="0"/>
            </a:p>
          </p:txBody>
        </p:sp>
        <p:sp>
          <p:nvSpPr>
            <p:cNvPr id="129" name="Freihandform: Form 128">
              <a:extLst>
                <a:ext uri="{FF2B5EF4-FFF2-40B4-BE49-F238E27FC236}">
                  <a16:creationId xmlns:a16="http://schemas.microsoft.com/office/drawing/2014/main" xmlns="" id="{654375D0-22AA-473F-A3EF-69DCD052736B}"/>
                </a:ext>
              </a:extLst>
            </p:cNvPr>
            <p:cNvSpPr/>
            <p:nvPr/>
          </p:nvSpPr>
          <p:spPr>
            <a:xfrm flipV="1">
              <a:off x="4434662" y="5491493"/>
              <a:ext cx="4358" cy="4360"/>
            </a:xfrm>
            <a:custGeom>
              <a:avLst/>
              <a:gdLst>
                <a:gd name="connsiteX0" fmla="*/ -2394 w 4358"/>
                <a:gd name="connsiteY0" fmla="*/ 3152 h 4360"/>
                <a:gd name="connsiteX1" fmla="*/ -215 w 4358"/>
                <a:gd name="connsiteY1" fmla="*/ 972 h 4360"/>
                <a:gd name="connsiteX2" fmla="*/ 1964 w 4358"/>
                <a:gd name="connsiteY2" fmla="*/ 3152 h 4360"/>
                <a:gd name="connsiteX3" fmla="*/ -215 w 4358"/>
                <a:gd name="connsiteY3" fmla="*/ 5332 h 4360"/>
                <a:gd name="connsiteX4" fmla="*/ -2394 w 4358"/>
                <a:gd name="connsiteY4" fmla="*/ 3152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2394" y="3152"/>
                  </a:moveTo>
                  <a:cubicBezTo>
                    <a:pt x="-2394" y="2062"/>
                    <a:pt x="-1304" y="972"/>
                    <a:pt x="-215" y="972"/>
                  </a:cubicBezTo>
                  <a:cubicBezTo>
                    <a:pt x="1093" y="972"/>
                    <a:pt x="1964" y="2062"/>
                    <a:pt x="1964" y="3152"/>
                  </a:cubicBezTo>
                  <a:cubicBezTo>
                    <a:pt x="1964" y="4460"/>
                    <a:pt x="1093" y="5332"/>
                    <a:pt x="-215" y="5332"/>
                  </a:cubicBezTo>
                  <a:cubicBezTo>
                    <a:pt x="-1304" y="5332"/>
                    <a:pt x="-2394" y="4460"/>
                    <a:pt x="-2394" y="3152"/>
                  </a:cubicBezTo>
                  <a:close/>
                </a:path>
              </a:pathLst>
            </a:custGeom>
            <a:grpFill/>
            <a:ln w="218" cap="flat">
              <a:noFill/>
              <a:prstDash val="solid"/>
              <a:miter/>
            </a:ln>
          </p:spPr>
          <p:txBody>
            <a:bodyPr rtlCol="0" anchor="ctr"/>
            <a:lstStyle/>
            <a:p>
              <a:endParaRPr lang="en-GB" dirty="0"/>
            </a:p>
          </p:txBody>
        </p:sp>
        <p:sp>
          <p:nvSpPr>
            <p:cNvPr id="130" name="Freihandform: Form 129">
              <a:extLst>
                <a:ext uri="{FF2B5EF4-FFF2-40B4-BE49-F238E27FC236}">
                  <a16:creationId xmlns:a16="http://schemas.microsoft.com/office/drawing/2014/main" xmlns="" id="{4EA6C204-0665-4FBA-B83E-C01DCD63A308}"/>
                </a:ext>
              </a:extLst>
            </p:cNvPr>
            <p:cNvSpPr/>
            <p:nvPr/>
          </p:nvSpPr>
          <p:spPr>
            <a:xfrm flipV="1">
              <a:off x="4402943" y="5495991"/>
              <a:ext cx="11103" cy="9182"/>
            </a:xfrm>
            <a:custGeom>
              <a:avLst/>
              <a:gdLst>
                <a:gd name="connsiteX0" fmla="*/ 25 w 11103"/>
                <a:gd name="connsiteY0" fmla="*/ 6839 h 9182"/>
                <a:gd name="connsiteX1" fmla="*/ -629 w 11103"/>
                <a:gd name="connsiteY1" fmla="*/ 1388 h 9182"/>
                <a:gd name="connsiteX2" fmla="*/ 8523 w 11103"/>
                <a:gd name="connsiteY2" fmla="*/ 8365 h 9182"/>
                <a:gd name="connsiteX3" fmla="*/ 25 w 11103"/>
                <a:gd name="connsiteY3" fmla="*/ 6839 h 9182"/>
              </a:gdLst>
              <a:ahLst/>
              <a:cxnLst>
                <a:cxn ang="0">
                  <a:pos x="connsiteX0" y="connsiteY0"/>
                </a:cxn>
                <a:cxn ang="0">
                  <a:pos x="connsiteX1" y="connsiteY1"/>
                </a:cxn>
                <a:cxn ang="0">
                  <a:pos x="connsiteX2" y="connsiteY2"/>
                </a:cxn>
                <a:cxn ang="0">
                  <a:pos x="connsiteX3" y="connsiteY3"/>
                </a:cxn>
              </a:cxnLst>
              <a:rect l="l" t="t" r="r" b="b"/>
              <a:pathLst>
                <a:path w="11103" h="9182">
                  <a:moveTo>
                    <a:pt x="25" y="6839"/>
                  </a:moveTo>
                  <a:cubicBezTo>
                    <a:pt x="-2808" y="3786"/>
                    <a:pt x="-3026" y="2696"/>
                    <a:pt x="-629" y="1388"/>
                  </a:cubicBezTo>
                  <a:cubicBezTo>
                    <a:pt x="2422" y="-574"/>
                    <a:pt x="10484" y="5531"/>
                    <a:pt x="8523" y="8365"/>
                  </a:cubicBezTo>
                  <a:cubicBezTo>
                    <a:pt x="6780" y="11199"/>
                    <a:pt x="3947" y="10763"/>
                    <a:pt x="25" y="6839"/>
                  </a:cubicBezTo>
                  <a:close/>
                </a:path>
              </a:pathLst>
            </a:custGeom>
            <a:grpFill/>
            <a:ln w="218" cap="flat">
              <a:noFill/>
              <a:prstDash val="solid"/>
              <a:miter/>
            </a:ln>
          </p:spPr>
          <p:txBody>
            <a:bodyPr rtlCol="0" anchor="ctr"/>
            <a:lstStyle/>
            <a:p>
              <a:endParaRPr lang="en-GB" dirty="0"/>
            </a:p>
          </p:txBody>
        </p:sp>
        <p:sp>
          <p:nvSpPr>
            <p:cNvPr id="131" name="Freihandform: Form 130">
              <a:extLst>
                <a:ext uri="{FF2B5EF4-FFF2-40B4-BE49-F238E27FC236}">
                  <a16:creationId xmlns:a16="http://schemas.microsoft.com/office/drawing/2014/main" xmlns="" id="{C3C2507A-CEAA-4036-BFDD-DD211B53A49E}"/>
                </a:ext>
              </a:extLst>
            </p:cNvPr>
            <p:cNvSpPr/>
            <p:nvPr/>
          </p:nvSpPr>
          <p:spPr>
            <a:xfrm flipV="1">
              <a:off x="4593087" y="5498157"/>
              <a:ext cx="10542" cy="12956"/>
            </a:xfrm>
            <a:custGeom>
              <a:avLst/>
              <a:gdLst>
                <a:gd name="connsiteX0" fmla="*/ -2196 w 10542"/>
                <a:gd name="connsiteY0" fmla="*/ 10184 h 12956"/>
                <a:gd name="connsiteX1" fmla="*/ 3252 w 10542"/>
                <a:gd name="connsiteY1" fmla="*/ 1027 h 12956"/>
                <a:gd name="connsiteX2" fmla="*/ 6084 w 10542"/>
                <a:gd name="connsiteY2" fmla="*/ 11056 h 12956"/>
                <a:gd name="connsiteX3" fmla="*/ -2196 w 10542"/>
                <a:gd name="connsiteY3" fmla="*/ 10184 h 12956"/>
              </a:gdLst>
              <a:ahLst/>
              <a:cxnLst>
                <a:cxn ang="0">
                  <a:pos x="connsiteX0" y="connsiteY0"/>
                </a:cxn>
                <a:cxn ang="0">
                  <a:pos x="connsiteX1" y="connsiteY1"/>
                </a:cxn>
                <a:cxn ang="0">
                  <a:pos x="connsiteX2" y="connsiteY2"/>
                </a:cxn>
                <a:cxn ang="0">
                  <a:pos x="connsiteX3" y="connsiteY3"/>
                </a:cxn>
              </a:cxnLst>
              <a:rect l="l" t="t" r="r" b="b"/>
              <a:pathLst>
                <a:path w="10542" h="12956">
                  <a:moveTo>
                    <a:pt x="-2196" y="10184"/>
                  </a:moveTo>
                  <a:cubicBezTo>
                    <a:pt x="-4593" y="5823"/>
                    <a:pt x="-1760" y="1027"/>
                    <a:pt x="3252" y="1027"/>
                  </a:cubicBezTo>
                  <a:cubicBezTo>
                    <a:pt x="7174" y="1027"/>
                    <a:pt x="8917" y="7568"/>
                    <a:pt x="6084" y="11056"/>
                  </a:cubicBezTo>
                  <a:cubicBezTo>
                    <a:pt x="2598" y="15198"/>
                    <a:pt x="419" y="14980"/>
                    <a:pt x="-2196" y="10184"/>
                  </a:cubicBezTo>
                  <a:close/>
                </a:path>
              </a:pathLst>
            </a:custGeom>
            <a:grpFill/>
            <a:ln w="218" cap="flat">
              <a:noFill/>
              <a:prstDash val="solid"/>
              <a:miter/>
            </a:ln>
          </p:spPr>
          <p:txBody>
            <a:bodyPr rtlCol="0" anchor="ctr"/>
            <a:lstStyle/>
            <a:p>
              <a:endParaRPr lang="en-GB" dirty="0"/>
            </a:p>
          </p:txBody>
        </p:sp>
        <p:sp>
          <p:nvSpPr>
            <p:cNvPr id="132" name="Freihandform: Form 131">
              <a:extLst>
                <a:ext uri="{FF2B5EF4-FFF2-40B4-BE49-F238E27FC236}">
                  <a16:creationId xmlns:a16="http://schemas.microsoft.com/office/drawing/2014/main" xmlns="" id="{47CC9C5B-69B8-49DA-96EE-ED3E21EFB639}"/>
                </a:ext>
              </a:extLst>
            </p:cNvPr>
            <p:cNvSpPr/>
            <p:nvPr/>
          </p:nvSpPr>
          <p:spPr>
            <a:xfrm flipV="1">
              <a:off x="4644472" y="5498267"/>
              <a:ext cx="38197" cy="34382"/>
            </a:xfrm>
            <a:custGeom>
              <a:avLst/>
              <a:gdLst>
                <a:gd name="connsiteX0" fmla="*/ 8907 w 38197"/>
                <a:gd name="connsiteY0" fmla="*/ 32211 h 34382"/>
                <a:gd name="connsiteX1" fmla="*/ 12611 w 38197"/>
                <a:gd name="connsiteY1" fmla="*/ 23708 h 34382"/>
                <a:gd name="connsiteX2" fmla="*/ 10432 w 38197"/>
                <a:gd name="connsiteY2" fmla="*/ 18040 h 34382"/>
                <a:gd name="connsiteX3" fmla="*/ 4767 w 38197"/>
                <a:gd name="connsiteY3" fmla="*/ 24798 h 34382"/>
                <a:gd name="connsiteX4" fmla="*/ -3078 w 38197"/>
                <a:gd name="connsiteY4" fmla="*/ 26106 h 34382"/>
                <a:gd name="connsiteX5" fmla="*/ -1553 w 38197"/>
                <a:gd name="connsiteY5" fmla="*/ 17822 h 34382"/>
                <a:gd name="connsiteX6" fmla="*/ 844 w 38197"/>
                <a:gd name="connsiteY6" fmla="*/ 6704 h 34382"/>
                <a:gd name="connsiteX7" fmla="*/ 4113 w 38197"/>
                <a:gd name="connsiteY7" fmla="*/ 1254 h 34382"/>
                <a:gd name="connsiteX8" fmla="*/ 7599 w 38197"/>
                <a:gd name="connsiteY8" fmla="*/ 6922 h 34382"/>
                <a:gd name="connsiteX9" fmla="*/ 10214 w 38197"/>
                <a:gd name="connsiteY9" fmla="*/ 11718 h 34382"/>
                <a:gd name="connsiteX10" fmla="*/ 13483 w 38197"/>
                <a:gd name="connsiteY10" fmla="*/ 9538 h 34382"/>
                <a:gd name="connsiteX11" fmla="*/ 24596 w 38197"/>
                <a:gd name="connsiteY11" fmla="*/ 7358 h 34382"/>
                <a:gd name="connsiteX12" fmla="*/ 34838 w 38197"/>
                <a:gd name="connsiteY12" fmla="*/ 9102 h 34382"/>
                <a:gd name="connsiteX13" fmla="*/ 30916 w 38197"/>
                <a:gd name="connsiteY13" fmla="*/ 18912 h 34382"/>
                <a:gd name="connsiteX14" fmla="*/ 25468 w 38197"/>
                <a:gd name="connsiteY14" fmla="*/ 26978 h 34382"/>
                <a:gd name="connsiteX15" fmla="*/ 18931 w 38197"/>
                <a:gd name="connsiteY15" fmla="*/ 31339 h 34382"/>
                <a:gd name="connsiteX16" fmla="*/ 8907 w 38197"/>
                <a:gd name="connsiteY16" fmla="*/ 32211 h 34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197" h="34382">
                  <a:moveTo>
                    <a:pt x="8907" y="32211"/>
                  </a:moveTo>
                  <a:cubicBezTo>
                    <a:pt x="6510" y="29377"/>
                    <a:pt x="7164" y="28068"/>
                    <a:pt x="12611" y="23708"/>
                  </a:cubicBezTo>
                  <a:cubicBezTo>
                    <a:pt x="20020" y="17822"/>
                    <a:pt x="18931" y="14988"/>
                    <a:pt x="10432" y="18040"/>
                  </a:cubicBezTo>
                  <a:cubicBezTo>
                    <a:pt x="6946" y="19566"/>
                    <a:pt x="4767" y="21964"/>
                    <a:pt x="4767" y="24798"/>
                  </a:cubicBezTo>
                  <a:cubicBezTo>
                    <a:pt x="4767" y="29813"/>
                    <a:pt x="-1335" y="30903"/>
                    <a:pt x="-3078" y="26106"/>
                  </a:cubicBezTo>
                  <a:cubicBezTo>
                    <a:pt x="-3732" y="24362"/>
                    <a:pt x="-3078" y="20656"/>
                    <a:pt x="-1553" y="17822"/>
                  </a:cubicBezTo>
                  <a:cubicBezTo>
                    <a:pt x="-27" y="14988"/>
                    <a:pt x="1062" y="9974"/>
                    <a:pt x="844" y="6704"/>
                  </a:cubicBezTo>
                  <a:cubicBezTo>
                    <a:pt x="409" y="1690"/>
                    <a:pt x="1062" y="600"/>
                    <a:pt x="4113" y="1254"/>
                  </a:cubicBezTo>
                  <a:cubicBezTo>
                    <a:pt x="6728" y="1908"/>
                    <a:pt x="7817" y="3870"/>
                    <a:pt x="7599" y="6922"/>
                  </a:cubicBezTo>
                  <a:cubicBezTo>
                    <a:pt x="7164" y="9974"/>
                    <a:pt x="8253" y="11718"/>
                    <a:pt x="10214" y="11718"/>
                  </a:cubicBezTo>
                  <a:cubicBezTo>
                    <a:pt x="11958" y="11718"/>
                    <a:pt x="13483" y="10846"/>
                    <a:pt x="13483" y="9538"/>
                  </a:cubicBezTo>
                  <a:cubicBezTo>
                    <a:pt x="13483" y="8448"/>
                    <a:pt x="18495" y="7358"/>
                    <a:pt x="24596" y="7358"/>
                  </a:cubicBezTo>
                  <a:cubicBezTo>
                    <a:pt x="30698" y="7358"/>
                    <a:pt x="35274" y="8012"/>
                    <a:pt x="34838" y="9102"/>
                  </a:cubicBezTo>
                  <a:cubicBezTo>
                    <a:pt x="34402" y="9974"/>
                    <a:pt x="32659" y="14334"/>
                    <a:pt x="30916" y="18912"/>
                  </a:cubicBezTo>
                  <a:cubicBezTo>
                    <a:pt x="29172" y="23272"/>
                    <a:pt x="26775" y="26978"/>
                    <a:pt x="25468" y="26978"/>
                  </a:cubicBezTo>
                  <a:cubicBezTo>
                    <a:pt x="23943" y="26978"/>
                    <a:pt x="21110" y="28941"/>
                    <a:pt x="18931" y="31339"/>
                  </a:cubicBezTo>
                  <a:cubicBezTo>
                    <a:pt x="14137" y="36571"/>
                    <a:pt x="12611" y="36789"/>
                    <a:pt x="8907" y="32211"/>
                  </a:cubicBezTo>
                  <a:close/>
                </a:path>
              </a:pathLst>
            </a:custGeom>
            <a:grpFill/>
            <a:ln w="218" cap="flat">
              <a:noFill/>
              <a:prstDash val="solid"/>
              <a:miter/>
            </a:ln>
          </p:spPr>
          <p:txBody>
            <a:bodyPr rtlCol="0" anchor="ctr"/>
            <a:lstStyle/>
            <a:p>
              <a:endParaRPr lang="en-GB" dirty="0"/>
            </a:p>
          </p:txBody>
        </p:sp>
        <p:sp>
          <p:nvSpPr>
            <p:cNvPr id="133" name="Freihandform: Form 132">
              <a:extLst>
                <a:ext uri="{FF2B5EF4-FFF2-40B4-BE49-F238E27FC236}">
                  <a16:creationId xmlns:a16="http://schemas.microsoft.com/office/drawing/2014/main" xmlns="" id="{725F1CE3-AB9D-463D-B7C3-C31282976C46}"/>
                </a:ext>
              </a:extLst>
            </p:cNvPr>
            <p:cNvSpPr/>
            <p:nvPr/>
          </p:nvSpPr>
          <p:spPr>
            <a:xfrm flipV="1">
              <a:off x="4759846" y="5500266"/>
              <a:ext cx="36542" cy="37008"/>
            </a:xfrm>
            <a:custGeom>
              <a:avLst/>
              <a:gdLst>
                <a:gd name="connsiteX0" fmla="*/ 19664 w 36542"/>
                <a:gd name="connsiteY0" fmla="*/ 35108 h 37008"/>
                <a:gd name="connsiteX1" fmla="*/ 2668 w 36542"/>
                <a:gd name="connsiteY1" fmla="*/ 23117 h 37008"/>
                <a:gd name="connsiteX2" fmla="*/ -3652 w 36542"/>
                <a:gd name="connsiteY2" fmla="*/ 19193 h 37008"/>
                <a:gd name="connsiteX3" fmla="*/ -383 w 36542"/>
                <a:gd name="connsiteY3" fmla="*/ 17885 h 37008"/>
                <a:gd name="connsiteX4" fmla="*/ 7244 w 36542"/>
                <a:gd name="connsiteY4" fmla="*/ 15487 h 37008"/>
                <a:gd name="connsiteX5" fmla="*/ 14217 w 36542"/>
                <a:gd name="connsiteY5" fmla="*/ 11999 h 37008"/>
                <a:gd name="connsiteX6" fmla="*/ 19664 w 36542"/>
                <a:gd name="connsiteY6" fmla="*/ 6549 h 37008"/>
                <a:gd name="connsiteX7" fmla="*/ 27291 w 36542"/>
                <a:gd name="connsiteY7" fmla="*/ 1099 h 37008"/>
                <a:gd name="connsiteX8" fmla="*/ 32739 w 36542"/>
                <a:gd name="connsiteY8" fmla="*/ 3279 h 37008"/>
                <a:gd name="connsiteX9" fmla="*/ 22061 w 36542"/>
                <a:gd name="connsiteY9" fmla="*/ 22463 h 37008"/>
                <a:gd name="connsiteX10" fmla="*/ 22715 w 36542"/>
                <a:gd name="connsiteY10" fmla="*/ 28350 h 37008"/>
                <a:gd name="connsiteX11" fmla="*/ 25548 w 36542"/>
                <a:gd name="connsiteY11" fmla="*/ 34890 h 37008"/>
                <a:gd name="connsiteX12" fmla="*/ 19664 w 36542"/>
                <a:gd name="connsiteY12" fmla="*/ 35108 h 37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542" h="37008">
                  <a:moveTo>
                    <a:pt x="19664" y="35108"/>
                  </a:moveTo>
                  <a:cubicBezTo>
                    <a:pt x="19664" y="31620"/>
                    <a:pt x="10512" y="25079"/>
                    <a:pt x="2668" y="23117"/>
                  </a:cubicBezTo>
                  <a:cubicBezTo>
                    <a:pt x="-383" y="22245"/>
                    <a:pt x="-3216" y="20501"/>
                    <a:pt x="-3652" y="19193"/>
                  </a:cubicBezTo>
                  <a:cubicBezTo>
                    <a:pt x="-4305" y="17667"/>
                    <a:pt x="-2780" y="17231"/>
                    <a:pt x="-383" y="17885"/>
                  </a:cubicBezTo>
                  <a:cubicBezTo>
                    <a:pt x="1796" y="18321"/>
                    <a:pt x="5282" y="17231"/>
                    <a:pt x="7244" y="15487"/>
                  </a:cubicBezTo>
                  <a:cubicBezTo>
                    <a:pt x="8987" y="13525"/>
                    <a:pt x="12256" y="11999"/>
                    <a:pt x="14217" y="11999"/>
                  </a:cubicBezTo>
                  <a:cubicBezTo>
                    <a:pt x="15960" y="11999"/>
                    <a:pt x="18575" y="9601"/>
                    <a:pt x="19664" y="6549"/>
                  </a:cubicBezTo>
                  <a:cubicBezTo>
                    <a:pt x="21190" y="2625"/>
                    <a:pt x="23369" y="1099"/>
                    <a:pt x="27291" y="1099"/>
                  </a:cubicBezTo>
                  <a:cubicBezTo>
                    <a:pt x="30342" y="1099"/>
                    <a:pt x="32739" y="2189"/>
                    <a:pt x="32739" y="3279"/>
                  </a:cubicBezTo>
                  <a:cubicBezTo>
                    <a:pt x="32739" y="7203"/>
                    <a:pt x="25766" y="19411"/>
                    <a:pt x="22061" y="22463"/>
                  </a:cubicBezTo>
                  <a:cubicBezTo>
                    <a:pt x="18793" y="24861"/>
                    <a:pt x="19011" y="25297"/>
                    <a:pt x="22715" y="28350"/>
                  </a:cubicBezTo>
                  <a:cubicBezTo>
                    <a:pt x="25112" y="30094"/>
                    <a:pt x="26202" y="32928"/>
                    <a:pt x="25548" y="34890"/>
                  </a:cubicBezTo>
                  <a:cubicBezTo>
                    <a:pt x="23805" y="39032"/>
                    <a:pt x="19664" y="39250"/>
                    <a:pt x="19664" y="35108"/>
                  </a:cubicBezTo>
                  <a:close/>
                </a:path>
              </a:pathLst>
            </a:custGeom>
            <a:grpFill/>
            <a:ln w="218" cap="flat">
              <a:noFill/>
              <a:prstDash val="solid"/>
              <a:miter/>
            </a:ln>
          </p:spPr>
          <p:txBody>
            <a:bodyPr rtlCol="0" anchor="ctr"/>
            <a:lstStyle/>
            <a:p>
              <a:endParaRPr lang="en-GB" dirty="0"/>
            </a:p>
          </p:txBody>
        </p:sp>
        <p:sp>
          <p:nvSpPr>
            <p:cNvPr id="134" name="Freihandform: Form 133">
              <a:extLst>
                <a:ext uri="{FF2B5EF4-FFF2-40B4-BE49-F238E27FC236}">
                  <a16:creationId xmlns:a16="http://schemas.microsoft.com/office/drawing/2014/main" xmlns="" id="{88CB56F7-216C-421C-9954-89AF963B1514}"/>
                </a:ext>
              </a:extLst>
            </p:cNvPr>
            <p:cNvSpPr/>
            <p:nvPr/>
          </p:nvSpPr>
          <p:spPr>
            <a:xfrm flipV="1">
              <a:off x="4846529" y="5500035"/>
              <a:ext cx="10873" cy="12605"/>
            </a:xfrm>
            <a:custGeom>
              <a:avLst/>
              <a:gdLst>
                <a:gd name="connsiteX0" fmla="*/ -2605 w 10873"/>
                <a:gd name="connsiteY0" fmla="*/ 11937 h 12605"/>
                <a:gd name="connsiteX1" fmla="*/ -1951 w 10873"/>
                <a:gd name="connsiteY1" fmla="*/ 1472 h 12605"/>
                <a:gd name="connsiteX2" fmla="*/ 6765 w 10873"/>
                <a:gd name="connsiteY2" fmla="*/ 9321 h 12605"/>
                <a:gd name="connsiteX3" fmla="*/ -2605 w 10873"/>
                <a:gd name="connsiteY3" fmla="*/ 11937 h 12605"/>
              </a:gdLst>
              <a:ahLst/>
              <a:cxnLst>
                <a:cxn ang="0">
                  <a:pos x="connsiteX0" y="connsiteY0"/>
                </a:cxn>
                <a:cxn ang="0">
                  <a:pos x="connsiteX1" y="connsiteY1"/>
                </a:cxn>
                <a:cxn ang="0">
                  <a:pos x="connsiteX2" y="connsiteY2"/>
                </a:cxn>
                <a:cxn ang="0">
                  <a:pos x="connsiteX3" y="connsiteY3"/>
                </a:cxn>
              </a:cxnLst>
              <a:rect l="l" t="t" r="r" b="b"/>
              <a:pathLst>
                <a:path w="10873" h="12605">
                  <a:moveTo>
                    <a:pt x="-2605" y="11937"/>
                  </a:moveTo>
                  <a:cubicBezTo>
                    <a:pt x="-5002" y="9757"/>
                    <a:pt x="-4348" y="2998"/>
                    <a:pt x="-1951" y="1472"/>
                  </a:cubicBezTo>
                  <a:cubicBezTo>
                    <a:pt x="1318" y="-490"/>
                    <a:pt x="6765" y="4524"/>
                    <a:pt x="6765" y="9321"/>
                  </a:cubicBezTo>
                  <a:cubicBezTo>
                    <a:pt x="6765" y="13463"/>
                    <a:pt x="446" y="15207"/>
                    <a:pt x="-2605" y="11937"/>
                  </a:cubicBezTo>
                  <a:close/>
                </a:path>
              </a:pathLst>
            </a:custGeom>
            <a:grpFill/>
            <a:ln w="218" cap="flat">
              <a:noFill/>
              <a:prstDash val="solid"/>
              <a:miter/>
            </a:ln>
          </p:spPr>
          <p:txBody>
            <a:bodyPr rtlCol="0" anchor="ctr"/>
            <a:lstStyle/>
            <a:p>
              <a:endParaRPr lang="en-GB" dirty="0"/>
            </a:p>
          </p:txBody>
        </p:sp>
        <p:sp>
          <p:nvSpPr>
            <p:cNvPr id="135" name="Freihandform: Form 134">
              <a:extLst>
                <a:ext uri="{FF2B5EF4-FFF2-40B4-BE49-F238E27FC236}">
                  <a16:creationId xmlns:a16="http://schemas.microsoft.com/office/drawing/2014/main" xmlns="" id="{6680EFCC-B59F-4546-9200-4DF67A46F605}"/>
                </a:ext>
              </a:extLst>
            </p:cNvPr>
            <p:cNvSpPr/>
            <p:nvPr/>
          </p:nvSpPr>
          <p:spPr>
            <a:xfrm flipV="1">
              <a:off x="4957640" y="5502394"/>
              <a:ext cx="4358" cy="6540"/>
            </a:xfrm>
            <a:custGeom>
              <a:avLst/>
              <a:gdLst>
                <a:gd name="connsiteX0" fmla="*/ -4554 w 4358"/>
                <a:gd name="connsiteY0" fmla="*/ 4303 h 6540"/>
                <a:gd name="connsiteX1" fmla="*/ -2375 w 4358"/>
                <a:gd name="connsiteY1" fmla="*/ 1033 h 6540"/>
                <a:gd name="connsiteX2" fmla="*/ -196 w 4358"/>
                <a:gd name="connsiteY2" fmla="*/ 4303 h 6540"/>
                <a:gd name="connsiteX3" fmla="*/ -2375 w 4358"/>
                <a:gd name="connsiteY3" fmla="*/ 7573 h 6540"/>
                <a:gd name="connsiteX4" fmla="*/ -4554 w 4358"/>
                <a:gd name="connsiteY4" fmla="*/ 4303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6540">
                  <a:moveTo>
                    <a:pt x="-4554" y="4303"/>
                  </a:moveTo>
                  <a:cubicBezTo>
                    <a:pt x="-4554" y="2559"/>
                    <a:pt x="-3464" y="1033"/>
                    <a:pt x="-2375" y="1033"/>
                  </a:cubicBezTo>
                  <a:cubicBezTo>
                    <a:pt x="-1067" y="1033"/>
                    <a:pt x="-196" y="2559"/>
                    <a:pt x="-196" y="4303"/>
                  </a:cubicBezTo>
                  <a:cubicBezTo>
                    <a:pt x="-196" y="6047"/>
                    <a:pt x="-1067" y="7573"/>
                    <a:pt x="-2375" y="7573"/>
                  </a:cubicBezTo>
                  <a:cubicBezTo>
                    <a:pt x="-3464" y="7573"/>
                    <a:pt x="-4554" y="6047"/>
                    <a:pt x="-4554" y="4303"/>
                  </a:cubicBezTo>
                  <a:close/>
                </a:path>
              </a:pathLst>
            </a:custGeom>
            <a:grpFill/>
            <a:ln w="218" cap="flat">
              <a:noFill/>
              <a:prstDash val="solid"/>
              <a:miter/>
            </a:ln>
          </p:spPr>
          <p:txBody>
            <a:bodyPr rtlCol="0" anchor="ctr"/>
            <a:lstStyle/>
            <a:p>
              <a:endParaRPr lang="en-GB" dirty="0"/>
            </a:p>
          </p:txBody>
        </p:sp>
        <p:sp>
          <p:nvSpPr>
            <p:cNvPr id="136" name="Freihandform: Form 135">
              <a:extLst>
                <a:ext uri="{FF2B5EF4-FFF2-40B4-BE49-F238E27FC236}">
                  <a16:creationId xmlns:a16="http://schemas.microsoft.com/office/drawing/2014/main" xmlns="" id="{F699F552-C015-4A3A-8E18-D3E363D5E089}"/>
                </a:ext>
              </a:extLst>
            </p:cNvPr>
            <p:cNvSpPr/>
            <p:nvPr/>
          </p:nvSpPr>
          <p:spPr>
            <a:xfrm flipV="1">
              <a:off x="4622518" y="5504574"/>
              <a:ext cx="16732" cy="34690"/>
            </a:xfrm>
            <a:custGeom>
              <a:avLst/>
              <a:gdLst>
                <a:gd name="connsiteX0" fmla="*/ 707 w 16732"/>
                <a:gd name="connsiteY0" fmla="*/ 26213 h 34690"/>
                <a:gd name="connsiteX1" fmla="*/ -818 w 16732"/>
                <a:gd name="connsiteY1" fmla="*/ 12915 h 34690"/>
                <a:gd name="connsiteX2" fmla="*/ 2886 w 16732"/>
                <a:gd name="connsiteY2" fmla="*/ 5066 h 34690"/>
                <a:gd name="connsiteX3" fmla="*/ 10295 w 16732"/>
                <a:gd name="connsiteY3" fmla="*/ 4848 h 34690"/>
                <a:gd name="connsiteX4" fmla="*/ 9423 w 16732"/>
                <a:gd name="connsiteY4" fmla="*/ 12915 h 34690"/>
                <a:gd name="connsiteX5" fmla="*/ 5065 w 16732"/>
                <a:gd name="connsiteY5" fmla="*/ 16839 h 34690"/>
                <a:gd name="connsiteX6" fmla="*/ 9423 w 16732"/>
                <a:gd name="connsiteY6" fmla="*/ 24251 h 34690"/>
                <a:gd name="connsiteX7" fmla="*/ 9641 w 16732"/>
                <a:gd name="connsiteY7" fmla="*/ 35805 h 34690"/>
                <a:gd name="connsiteX8" fmla="*/ 707 w 16732"/>
                <a:gd name="connsiteY8" fmla="*/ 26213 h 3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32" h="34690">
                  <a:moveTo>
                    <a:pt x="707" y="26213"/>
                  </a:moveTo>
                  <a:cubicBezTo>
                    <a:pt x="-4087" y="17275"/>
                    <a:pt x="-4305" y="16403"/>
                    <a:pt x="-818" y="12915"/>
                  </a:cubicBezTo>
                  <a:cubicBezTo>
                    <a:pt x="1143" y="10953"/>
                    <a:pt x="2886" y="7464"/>
                    <a:pt x="2886" y="5066"/>
                  </a:cubicBezTo>
                  <a:cubicBezTo>
                    <a:pt x="2886" y="-166"/>
                    <a:pt x="5501" y="-166"/>
                    <a:pt x="10295" y="4848"/>
                  </a:cubicBezTo>
                  <a:cubicBezTo>
                    <a:pt x="13563" y="8772"/>
                    <a:pt x="13563" y="9208"/>
                    <a:pt x="9423" y="12915"/>
                  </a:cubicBezTo>
                  <a:lnTo>
                    <a:pt x="5065" y="16839"/>
                  </a:lnTo>
                  <a:lnTo>
                    <a:pt x="9423" y="24251"/>
                  </a:lnTo>
                  <a:cubicBezTo>
                    <a:pt x="14871" y="33407"/>
                    <a:pt x="14871" y="35805"/>
                    <a:pt x="9641" y="35805"/>
                  </a:cubicBezTo>
                  <a:cubicBezTo>
                    <a:pt x="7244" y="35805"/>
                    <a:pt x="3758" y="32317"/>
                    <a:pt x="707" y="26213"/>
                  </a:cubicBezTo>
                  <a:close/>
                </a:path>
              </a:pathLst>
            </a:custGeom>
            <a:grpFill/>
            <a:ln w="218" cap="flat">
              <a:noFill/>
              <a:prstDash val="solid"/>
              <a:miter/>
            </a:ln>
          </p:spPr>
          <p:txBody>
            <a:bodyPr rtlCol="0" anchor="ctr"/>
            <a:lstStyle/>
            <a:p>
              <a:endParaRPr lang="en-GB" dirty="0"/>
            </a:p>
          </p:txBody>
        </p:sp>
        <p:sp>
          <p:nvSpPr>
            <p:cNvPr id="137" name="Freihandform: Form 136">
              <a:extLst>
                <a:ext uri="{FF2B5EF4-FFF2-40B4-BE49-F238E27FC236}">
                  <a16:creationId xmlns:a16="http://schemas.microsoft.com/office/drawing/2014/main" xmlns="" id="{EFBE4FF3-DEA8-425A-9787-82394DE7544C}"/>
                </a:ext>
              </a:extLst>
            </p:cNvPr>
            <p:cNvSpPr/>
            <p:nvPr/>
          </p:nvSpPr>
          <p:spPr>
            <a:xfrm flipV="1">
              <a:off x="4583506" y="5509160"/>
              <a:ext cx="32328" cy="23703"/>
            </a:xfrm>
            <a:custGeom>
              <a:avLst/>
              <a:gdLst>
                <a:gd name="connsiteX0" fmla="*/ -2426 w 32328"/>
                <a:gd name="connsiteY0" fmla="*/ 14794 h 23703"/>
                <a:gd name="connsiteX1" fmla="*/ -29 w 32328"/>
                <a:gd name="connsiteY1" fmla="*/ 2803 h 23703"/>
                <a:gd name="connsiteX2" fmla="*/ 9341 w 32328"/>
                <a:gd name="connsiteY2" fmla="*/ 3021 h 23703"/>
                <a:gd name="connsiteX3" fmla="*/ 19801 w 32328"/>
                <a:gd name="connsiteY3" fmla="*/ 6945 h 23703"/>
                <a:gd name="connsiteX4" fmla="*/ 29171 w 32328"/>
                <a:gd name="connsiteY4" fmla="*/ 12178 h 23703"/>
                <a:gd name="connsiteX5" fmla="*/ 27863 w 32328"/>
                <a:gd name="connsiteY5" fmla="*/ 18500 h 23703"/>
                <a:gd name="connsiteX6" fmla="*/ 24377 w 32328"/>
                <a:gd name="connsiteY6" fmla="*/ 20898 h 23703"/>
                <a:gd name="connsiteX7" fmla="*/ 3676 w 32328"/>
                <a:gd name="connsiteY7" fmla="*/ 20898 h 23703"/>
                <a:gd name="connsiteX8" fmla="*/ -2426 w 32328"/>
                <a:gd name="connsiteY8" fmla="*/ 14794 h 23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28" h="23703">
                  <a:moveTo>
                    <a:pt x="-2426" y="14794"/>
                  </a:moveTo>
                  <a:cubicBezTo>
                    <a:pt x="-1772" y="8907"/>
                    <a:pt x="-683" y="3675"/>
                    <a:pt x="-29" y="2803"/>
                  </a:cubicBezTo>
                  <a:cubicBezTo>
                    <a:pt x="1279" y="405"/>
                    <a:pt x="9341" y="623"/>
                    <a:pt x="9341" y="3021"/>
                  </a:cubicBezTo>
                  <a:cubicBezTo>
                    <a:pt x="9341" y="4111"/>
                    <a:pt x="13917" y="5855"/>
                    <a:pt x="19801" y="6945"/>
                  </a:cubicBezTo>
                  <a:cubicBezTo>
                    <a:pt x="26992" y="8253"/>
                    <a:pt x="29824" y="9779"/>
                    <a:pt x="29171" y="12178"/>
                  </a:cubicBezTo>
                  <a:cubicBezTo>
                    <a:pt x="28735" y="13704"/>
                    <a:pt x="28299" y="16756"/>
                    <a:pt x="27863" y="18500"/>
                  </a:cubicBezTo>
                  <a:cubicBezTo>
                    <a:pt x="27645" y="20244"/>
                    <a:pt x="25902" y="21334"/>
                    <a:pt x="24377" y="20898"/>
                  </a:cubicBezTo>
                  <a:cubicBezTo>
                    <a:pt x="9559" y="16974"/>
                    <a:pt x="7380" y="16974"/>
                    <a:pt x="3676" y="20898"/>
                  </a:cubicBezTo>
                  <a:cubicBezTo>
                    <a:pt x="-2426" y="27656"/>
                    <a:pt x="-4169" y="25694"/>
                    <a:pt x="-2426" y="14794"/>
                  </a:cubicBezTo>
                  <a:close/>
                </a:path>
              </a:pathLst>
            </a:custGeom>
            <a:grpFill/>
            <a:ln w="218" cap="flat">
              <a:noFill/>
              <a:prstDash val="solid"/>
              <a:miter/>
            </a:ln>
          </p:spPr>
          <p:txBody>
            <a:bodyPr rtlCol="0" anchor="ctr"/>
            <a:lstStyle/>
            <a:p>
              <a:endParaRPr lang="en-GB" dirty="0"/>
            </a:p>
          </p:txBody>
        </p:sp>
        <p:sp>
          <p:nvSpPr>
            <p:cNvPr id="138" name="Freihandform: Form 137">
              <a:extLst>
                <a:ext uri="{FF2B5EF4-FFF2-40B4-BE49-F238E27FC236}">
                  <a16:creationId xmlns:a16="http://schemas.microsoft.com/office/drawing/2014/main" xmlns="" id="{A6379A88-3162-40E2-BDAE-26F7ED86BC84}"/>
                </a:ext>
              </a:extLst>
            </p:cNvPr>
            <p:cNvSpPr/>
            <p:nvPr/>
          </p:nvSpPr>
          <p:spPr>
            <a:xfrm flipV="1">
              <a:off x="4163060" y="5511114"/>
              <a:ext cx="3575" cy="4360"/>
            </a:xfrm>
            <a:custGeom>
              <a:avLst/>
              <a:gdLst>
                <a:gd name="connsiteX0" fmla="*/ -963 w 3575"/>
                <a:gd name="connsiteY0" fmla="*/ 3251 h 4360"/>
                <a:gd name="connsiteX1" fmla="*/ 1434 w 3575"/>
                <a:gd name="connsiteY1" fmla="*/ 1071 h 4360"/>
                <a:gd name="connsiteX2" fmla="*/ 2305 w 3575"/>
                <a:gd name="connsiteY2" fmla="*/ 3251 h 4360"/>
                <a:gd name="connsiteX3" fmla="*/ -92 w 3575"/>
                <a:gd name="connsiteY3" fmla="*/ 5431 h 4360"/>
                <a:gd name="connsiteX4" fmla="*/ -963 w 3575"/>
                <a:gd name="connsiteY4" fmla="*/ 3251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963" y="3251"/>
                  </a:moveTo>
                  <a:cubicBezTo>
                    <a:pt x="-310" y="2161"/>
                    <a:pt x="780" y="1071"/>
                    <a:pt x="1434" y="1071"/>
                  </a:cubicBezTo>
                  <a:cubicBezTo>
                    <a:pt x="1869" y="1071"/>
                    <a:pt x="2305" y="2161"/>
                    <a:pt x="2305" y="3251"/>
                  </a:cubicBezTo>
                  <a:cubicBezTo>
                    <a:pt x="2305" y="4559"/>
                    <a:pt x="1216" y="5431"/>
                    <a:pt x="-92" y="5431"/>
                  </a:cubicBezTo>
                  <a:cubicBezTo>
                    <a:pt x="-1181" y="5431"/>
                    <a:pt x="-1617" y="4559"/>
                    <a:pt x="-963" y="3251"/>
                  </a:cubicBezTo>
                  <a:close/>
                </a:path>
              </a:pathLst>
            </a:custGeom>
            <a:grpFill/>
            <a:ln w="218" cap="flat">
              <a:noFill/>
              <a:prstDash val="solid"/>
              <a:miter/>
            </a:ln>
          </p:spPr>
          <p:txBody>
            <a:bodyPr rtlCol="0" anchor="ctr"/>
            <a:lstStyle/>
            <a:p>
              <a:endParaRPr lang="en-GB" dirty="0"/>
            </a:p>
          </p:txBody>
        </p:sp>
        <p:sp>
          <p:nvSpPr>
            <p:cNvPr id="139" name="Freihandform: Form 138">
              <a:extLst>
                <a:ext uri="{FF2B5EF4-FFF2-40B4-BE49-F238E27FC236}">
                  <a16:creationId xmlns:a16="http://schemas.microsoft.com/office/drawing/2014/main" xmlns="" id="{852AEA6E-3014-4D0E-B998-754CCDD4E1DB}"/>
                </a:ext>
              </a:extLst>
            </p:cNvPr>
            <p:cNvSpPr/>
            <p:nvPr/>
          </p:nvSpPr>
          <p:spPr>
            <a:xfrm flipV="1">
              <a:off x="4519897" y="5514548"/>
              <a:ext cx="45374" cy="18232"/>
            </a:xfrm>
            <a:custGeom>
              <a:avLst/>
              <a:gdLst>
                <a:gd name="connsiteX0" fmla="*/ -684 w 45374"/>
                <a:gd name="connsiteY0" fmla="*/ 16903 h 18232"/>
                <a:gd name="connsiteX1" fmla="*/ 623 w 45374"/>
                <a:gd name="connsiteY1" fmla="*/ 9491 h 18232"/>
                <a:gd name="connsiteX2" fmla="*/ 8686 w 45374"/>
                <a:gd name="connsiteY2" fmla="*/ 7310 h 18232"/>
                <a:gd name="connsiteX3" fmla="*/ 14351 w 45374"/>
                <a:gd name="connsiteY3" fmla="*/ 5566 h 18232"/>
                <a:gd name="connsiteX4" fmla="*/ 27426 w 45374"/>
                <a:gd name="connsiteY4" fmla="*/ 4258 h 18232"/>
                <a:gd name="connsiteX5" fmla="*/ 33091 w 45374"/>
                <a:gd name="connsiteY5" fmla="*/ 6656 h 18232"/>
                <a:gd name="connsiteX6" fmla="*/ 39628 w 45374"/>
                <a:gd name="connsiteY6" fmla="*/ 9927 h 18232"/>
                <a:gd name="connsiteX7" fmla="*/ 39411 w 45374"/>
                <a:gd name="connsiteY7" fmla="*/ 16903 h 18232"/>
                <a:gd name="connsiteX8" fmla="*/ -684 w 45374"/>
                <a:gd name="connsiteY8" fmla="*/ 16903 h 18232"/>
                <a:gd name="connsiteX9" fmla="*/ 23068 w 45374"/>
                <a:gd name="connsiteY9" fmla="*/ 5348 h 18232"/>
                <a:gd name="connsiteX10" fmla="*/ 20888 w 45374"/>
                <a:gd name="connsiteY10" fmla="*/ 3168 h 18232"/>
                <a:gd name="connsiteX11" fmla="*/ 18709 w 45374"/>
                <a:gd name="connsiteY11" fmla="*/ 5348 h 18232"/>
                <a:gd name="connsiteX12" fmla="*/ 20888 w 45374"/>
                <a:gd name="connsiteY12" fmla="*/ 7528 h 18232"/>
                <a:gd name="connsiteX13" fmla="*/ 23068 w 45374"/>
                <a:gd name="connsiteY13" fmla="*/ 5348 h 1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374" h="18232">
                  <a:moveTo>
                    <a:pt x="-684" y="16903"/>
                  </a:moveTo>
                  <a:cubicBezTo>
                    <a:pt x="-3735" y="14505"/>
                    <a:pt x="-3735" y="13851"/>
                    <a:pt x="623" y="9491"/>
                  </a:cubicBezTo>
                  <a:cubicBezTo>
                    <a:pt x="4545" y="5566"/>
                    <a:pt x="6071" y="5130"/>
                    <a:pt x="8686" y="7310"/>
                  </a:cubicBezTo>
                  <a:cubicBezTo>
                    <a:pt x="11301" y="9491"/>
                    <a:pt x="12390" y="9273"/>
                    <a:pt x="14351" y="5566"/>
                  </a:cubicBezTo>
                  <a:cubicBezTo>
                    <a:pt x="17184" y="116"/>
                    <a:pt x="23503" y="-320"/>
                    <a:pt x="27426" y="4258"/>
                  </a:cubicBezTo>
                  <a:cubicBezTo>
                    <a:pt x="28951" y="6220"/>
                    <a:pt x="31566" y="7310"/>
                    <a:pt x="33091" y="6656"/>
                  </a:cubicBezTo>
                  <a:cubicBezTo>
                    <a:pt x="34617" y="6220"/>
                    <a:pt x="37449" y="7528"/>
                    <a:pt x="39628" y="9927"/>
                  </a:cubicBezTo>
                  <a:cubicBezTo>
                    <a:pt x="43551" y="14287"/>
                    <a:pt x="43551" y="14505"/>
                    <a:pt x="39411" y="16903"/>
                  </a:cubicBezTo>
                  <a:cubicBezTo>
                    <a:pt x="33527" y="20173"/>
                    <a:pt x="3674" y="20173"/>
                    <a:pt x="-684" y="16903"/>
                  </a:cubicBezTo>
                  <a:close/>
                  <a:moveTo>
                    <a:pt x="23068" y="5348"/>
                  </a:moveTo>
                  <a:cubicBezTo>
                    <a:pt x="23068" y="4258"/>
                    <a:pt x="22196" y="3168"/>
                    <a:pt x="20888" y="3168"/>
                  </a:cubicBezTo>
                  <a:cubicBezTo>
                    <a:pt x="19799" y="3168"/>
                    <a:pt x="18709" y="4258"/>
                    <a:pt x="18709" y="5348"/>
                  </a:cubicBezTo>
                  <a:cubicBezTo>
                    <a:pt x="18709" y="6656"/>
                    <a:pt x="19799" y="7528"/>
                    <a:pt x="20888" y="7528"/>
                  </a:cubicBezTo>
                  <a:cubicBezTo>
                    <a:pt x="22196" y="7528"/>
                    <a:pt x="23068" y="6656"/>
                    <a:pt x="23068" y="5348"/>
                  </a:cubicBezTo>
                  <a:close/>
                </a:path>
              </a:pathLst>
            </a:custGeom>
            <a:grpFill/>
            <a:ln w="218" cap="flat">
              <a:noFill/>
              <a:prstDash val="solid"/>
              <a:miter/>
            </a:ln>
          </p:spPr>
          <p:txBody>
            <a:bodyPr rtlCol="0" anchor="ctr"/>
            <a:lstStyle/>
            <a:p>
              <a:endParaRPr lang="en-GB" dirty="0"/>
            </a:p>
          </p:txBody>
        </p:sp>
        <p:sp>
          <p:nvSpPr>
            <p:cNvPr id="140" name="Freihandform: Form 139">
              <a:extLst>
                <a:ext uri="{FF2B5EF4-FFF2-40B4-BE49-F238E27FC236}">
                  <a16:creationId xmlns:a16="http://schemas.microsoft.com/office/drawing/2014/main" xmlns="" id="{FDAB37B4-B870-42AF-9E91-0465C6C8C411}"/>
                </a:ext>
              </a:extLst>
            </p:cNvPr>
            <p:cNvSpPr/>
            <p:nvPr/>
          </p:nvSpPr>
          <p:spPr>
            <a:xfrm flipV="1">
              <a:off x="4568368" y="5515474"/>
              <a:ext cx="3575" cy="4360"/>
            </a:xfrm>
            <a:custGeom>
              <a:avLst/>
              <a:gdLst>
                <a:gd name="connsiteX0" fmla="*/ -2637 w 3575"/>
                <a:gd name="connsiteY0" fmla="*/ 3273 h 4360"/>
                <a:gd name="connsiteX1" fmla="*/ -240 w 3575"/>
                <a:gd name="connsiteY1" fmla="*/ 1093 h 4360"/>
                <a:gd name="connsiteX2" fmla="*/ 631 w 3575"/>
                <a:gd name="connsiteY2" fmla="*/ 3273 h 4360"/>
                <a:gd name="connsiteX3" fmla="*/ -1766 w 3575"/>
                <a:gd name="connsiteY3" fmla="*/ 5453 h 4360"/>
                <a:gd name="connsiteX4" fmla="*/ -2637 w 3575"/>
                <a:gd name="connsiteY4" fmla="*/ 3273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2637" y="3273"/>
                  </a:moveTo>
                  <a:cubicBezTo>
                    <a:pt x="-1984" y="2183"/>
                    <a:pt x="-894" y="1093"/>
                    <a:pt x="-240" y="1093"/>
                  </a:cubicBezTo>
                  <a:cubicBezTo>
                    <a:pt x="195" y="1093"/>
                    <a:pt x="631" y="2183"/>
                    <a:pt x="631" y="3273"/>
                  </a:cubicBezTo>
                  <a:cubicBezTo>
                    <a:pt x="631" y="4581"/>
                    <a:pt x="-458" y="5453"/>
                    <a:pt x="-1766" y="5453"/>
                  </a:cubicBezTo>
                  <a:cubicBezTo>
                    <a:pt x="-2855" y="5453"/>
                    <a:pt x="-3291" y="4581"/>
                    <a:pt x="-2637" y="3273"/>
                  </a:cubicBezTo>
                  <a:close/>
                </a:path>
              </a:pathLst>
            </a:custGeom>
            <a:grpFill/>
            <a:ln w="218" cap="flat">
              <a:noFill/>
              <a:prstDash val="solid"/>
              <a:miter/>
            </a:ln>
          </p:spPr>
          <p:txBody>
            <a:bodyPr rtlCol="0" anchor="ctr"/>
            <a:lstStyle/>
            <a:p>
              <a:endParaRPr lang="en-GB" dirty="0"/>
            </a:p>
          </p:txBody>
        </p:sp>
        <p:sp>
          <p:nvSpPr>
            <p:cNvPr id="141" name="Freihandform: Form 140">
              <a:extLst>
                <a:ext uri="{FF2B5EF4-FFF2-40B4-BE49-F238E27FC236}">
                  <a16:creationId xmlns:a16="http://schemas.microsoft.com/office/drawing/2014/main" xmlns="" id="{EEE11EEE-5777-4BB4-9165-B78A807A9179}"/>
                </a:ext>
              </a:extLst>
            </p:cNvPr>
            <p:cNvSpPr/>
            <p:nvPr/>
          </p:nvSpPr>
          <p:spPr>
            <a:xfrm flipV="1">
              <a:off x="4267175" y="5519834"/>
              <a:ext cx="10005" cy="13122"/>
            </a:xfrm>
            <a:custGeom>
              <a:avLst/>
              <a:gdLst>
                <a:gd name="connsiteX0" fmla="*/ -1579 w 10005"/>
                <a:gd name="connsiteY0" fmla="*/ 9681 h 13122"/>
                <a:gd name="connsiteX1" fmla="*/ 8008 w 10005"/>
                <a:gd name="connsiteY1" fmla="*/ 1833 h 13122"/>
                <a:gd name="connsiteX2" fmla="*/ -54 w 10005"/>
                <a:gd name="connsiteY2" fmla="*/ 14259 h 13122"/>
                <a:gd name="connsiteX3" fmla="*/ -1579 w 10005"/>
                <a:gd name="connsiteY3" fmla="*/ 9681 h 13122"/>
              </a:gdLst>
              <a:ahLst/>
              <a:cxnLst>
                <a:cxn ang="0">
                  <a:pos x="connsiteX0" y="connsiteY0"/>
                </a:cxn>
                <a:cxn ang="0">
                  <a:pos x="connsiteX1" y="connsiteY1"/>
                </a:cxn>
                <a:cxn ang="0">
                  <a:pos x="connsiteX2" y="connsiteY2"/>
                </a:cxn>
                <a:cxn ang="0">
                  <a:pos x="connsiteX3" y="connsiteY3"/>
                </a:cxn>
              </a:cxnLst>
              <a:rect l="l" t="t" r="r" b="b"/>
              <a:pathLst>
                <a:path w="10005" h="13122">
                  <a:moveTo>
                    <a:pt x="-1579" y="9681"/>
                  </a:moveTo>
                  <a:cubicBezTo>
                    <a:pt x="-926" y="4449"/>
                    <a:pt x="5611" y="-783"/>
                    <a:pt x="8008" y="1833"/>
                  </a:cubicBezTo>
                  <a:cubicBezTo>
                    <a:pt x="9752" y="3577"/>
                    <a:pt x="2997" y="14259"/>
                    <a:pt x="-54" y="14259"/>
                  </a:cubicBezTo>
                  <a:cubicBezTo>
                    <a:pt x="-1362" y="14259"/>
                    <a:pt x="-2015" y="12079"/>
                    <a:pt x="-1579" y="9681"/>
                  </a:cubicBezTo>
                  <a:close/>
                </a:path>
              </a:pathLst>
            </a:custGeom>
            <a:grpFill/>
            <a:ln w="218" cap="flat">
              <a:noFill/>
              <a:prstDash val="solid"/>
              <a:miter/>
            </a:ln>
          </p:spPr>
          <p:txBody>
            <a:bodyPr rtlCol="0" anchor="ctr"/>
            <a:lstStyle/>
            <a:p>
              <a:endParaRPr lang="en-GB" dirty="0"/>
            </a:p>
          </p:txBody>
        </p:sp>
        <p:sp>
          <p:nvSpPr>
            <p:cNvPr id="142" name="Freihandform: Form 141">
              <a:extLst>
                <a:ext uri="{FF2B5EF4-FFF2-40B4-BE49-F238E27FC236}">
                  <a16:creationId xmlns:a16="http://schemas.microsoft.com/office/drawing/2014/main" xmlns="" id="{F1B58688-5685-44E9-BBA7-0FA0DE466E07}"/>
                </a:ext>
              </a:extLst>
            </p:cNvPr>
            <p:cNvSpPr/>
            <p:nvPr/>
          </p:nvSpPr>
          <p:spPr>
            <a:xfrm flipV="1">
              <a:off x="4689898" y="5520149"/>
              <a:ext cx="14969" cy="17775"/>
            </a:xfrm>
            <a:custGeom>
              <a:avLst/>
              <a:gdLst>
                <a:gd name="connsiteX0" fmla="*/ -3319 w 14969"/>
                <a:gd name="connsiteY0" fmla="*/ 13573 h 17775"/>
                <a:gd name="connsiteX1" fmla="*/ 4526 w 14969"/>
                <a:gd name="connsiteY1" fmla="*/ 3544 h 17775"/>
                <a:gd name="connsiteX2" fmla="*/ 11499 w 14969"/>
                <a:gd name="connsiteY2" fmla="*/ 1582 h 17775"/>
                <a:gd name="connsiteX3" fmla="*/ 9756 w 14969"/>
                <a:gd name="connsiteY3" fmla="*/ 4416 h 17775"/>
                <a:gd name="connsiteX4" fmla="*/ 4744 w 14969"/>
                <a:gd name="connsiteY4" fmla="*/ 11393 h 17775"/>
                <a:gd name="connsiteX5" fmla="*/ -3319 w 14969"/>
                <a:gd name="connsiteY5" fmla="*/ 13573 h 1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69" h="17775">
                  <a:moveTo>
                    <a:pt x="-3319" y="13573"/>
                  </a:moveTo>
                  <a:cubicBezTo>
                    <a:pt x="-2883" y="9431"/>
                    <a:pt x="-486" y="6379"/>
                    <a:pt x="4526" y="3544"/>
                  </a:cubicBezTo>
                  <a:cubicBezTo>
                    <a:pt x="8230" y="1582"/>
                    <a:pt x="11499" y="492"/>
                    <a:pt x="11499" y="1582"/>
                  </a:cubicBezTo>
                  <a:cubicBezTo>
                    <a:pt x="11499" y="2672"/>
                    <a:pt x="10627" y="3980"/>
                    <a:pt x="9756" y="4416"/>
                  </a:cubicBezTo>
                  <a:cubicBezTo>
                    <a:pt x="8666" y="4852"/>
                    <a:pt x="6487" y="7905"/>
                    <a:pt x="4744" y="11393"/>
                  </a:cubicBezTo>
                  <a:cubicBezTo>
                    <a:pt x="604" y="20331"/>
                    <a:pt x="-4408" y="21639"/>
                    <a:pt x="-3319" y="13573"/>
                  </a:cubicBezTo>
                  <a:close/>
                </a:path>
              </a:pathLst>
            </a:custGeom>
            <a:grpFill/>
            <a:ln w="218" cap="flat">
              <a:noFill/>
              <a:prstDash val="solid"/>
              <a:miter/>
            </a:ln>
          </p:spPr>
          <p:txBody>
            <a:bodyPr rtlCol="0" anchor="ctr"/>
            <a:lstStyle/>
            <a:p>
              <a:endParaRPr lang="en-GB" dirty="0"/>
            </a:p>
          </p:txBody>
        </p:sp>
        <p:sp>
          <p:nvSpPr>
            <p:cNvPr id="143" name="Freihandform: Form 142">
              <a:extLst>
                <a:ext uri="{FF2B5EF4-FFF2-40B4-BE49-F238E27FC236}">
                  <a16:creationId xmlns:a16="http://schemas.microsoft.com/office/drawing/2014/main" xmlns="" id="{38D968F7-17A8-49CE-A7C0-A06594C6DD33}"/>
                </a:ext>
              </a:extLst>
            </p:cNvPr>
            <p:cNvSpPr/>
            <p:nvPr/>
          </p:nvSpPr>
          <p:spPr>
            <a:xfrm flipV="1">
              <a:off x="4716635" y="5522014"/>
              <a:ext cx="5664" cy="4360"/>
            </a:xfrm>
            <a:custGeom>
              <a:avLst/>
              <a:gdLst>
                <a:gd name="connsiteX0" fmla="*/ -3344 w 5664"/>
                <a:gd name="connsiteY0" fmla="*/ 3306 h 4360"/>
                <a:gd name="connsiteX1" fmla="*/ -1383 w 5664"/>
                <a:gd name="connsiteY1" fmla="*/ 1126 h 4360"/>
                <a:gd name="connsiteX2" fmla="*/ 2103 w 5664"/>
                <a:gd name="connsiteY2" fmla="*/ 3306 h 4360"/>
                <a:gd name="connsiteX3" fmla="*/ 142 w 5664"/>
                <a:gd name="connsiteY3" fmla="*/ 5486 h 4360"/>
                <a:gd name="connsiteX4" fmla="*/ -3344 w 5664"/>
                <a:gd name="connsiteY4" fmla="*/ 3306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 h="4360">
                  <a:moveTo>
                    <a:pt x="-3344" y="3306"/>
                  </a:moveTo>
                  <a:cubicBezTo>
                    <a:pt x="-3998" y="2216"/>
                    <a:pt x="-3126" y="1126"/>
                    <a:pt x="-1383" y="1126"/>
                  </a:cubicBezTo>
                  <a:cubicBezTo>
                    <a:pt x="578" y="1126"/>
                    <a:pt x="2103" y="2216"/>
                    <a:pt x="2103" y="3306"/>
                  </a:cubicBezTo>
                  <a:cubicBezTo>
                    <a:pt x="2103" y="4614"/>
                    <a:pt x="1232" y="5486"/>
                    <a:pt x="142" y="5486"/>
                  </a:cubicBezTo>
                  <a:cubicBezTo>
                    <a:pt x="-1165" y="5486"/>
                    <a:pt x="-2691" y="4614"/>
                    <a:pt x="-3344" y="3306"/>
                  </a:cubicBezTo>
                  <a:close/>
                </a:path>
              </a:pathLst>
            </a:custGeom>
            <a:grpFill/>
            <a:ln w="218" cap="flat">
              <a:noFill/>
              <a:prstDash val="solid"/>
              <a:miter/>
            </a:ln>
          </p:spPr>
          <p:txBody>
            <a:bodyPr rtlCol="0" anchor="ctr"/>
            <a:lstStyle/>
            <a:p>
              <a:endParaRPr lang="en-GB" dirty="0"/>
            </a:p>
          </p:txBody>
        </p:sp>
        <p:sp>
          <p:nvSpPr>
            <p:cNvPr id="144" name="Freihandform: Form 143">
              <a:extLst>
                <a:ext uri="{FF2B5EF4-FFF2-40B4-BE49-F238E27FC236}">
                  <a16:creationId xmlns:a16="http://schemas.microsoft.com/office/drawing/2014/main" xmlns="" id="{C897778E-F81D-4743-9BEA-ADCF333A6DB8}"/>
                </a:ext>
              </a:extLst>
            </p:cNvPr>
            <p:cNvSpPr/>
            <p:nvPr/>
          </p:nvSpPr>
          <p:spPr>
            <a:xfrm flipV="1">
              <a:off x="4973894" y="5522230"/>
              <a:ext cx="9022" cy="10684"/>
            </a:xfrm>
            <a:custGeom>
              <a:avLst/>
              <a:gdLst>
                <a:gd name="connsiteX0" fmla="*/ -4324 w 9022"/>
                <a:gd name="connsiteY0" fmla="*/ 8337 h 10684"/>
                <a:gd name="connsiteX1" fmla="*/ 1342 w 9022"/>
                <a:gd name="connsiteY1" fmla="*/ 1143 h 10684"/>
                <a:gd name="connsiteX2" fmla="*/ 3085 w 9022"/>
                <a:gd name="connsiteY2" fmla="*/ 8773 h 10684"/>
                <a:gd name="connsiteX3" fmla="*/ -4324 w 9022"/>
                <a:gd name="connsiteY3" fmla="*/ 8337 h 10684"/>
              </a:gdLst>
              <a:ahLst/>
              <a:cxnLst>
                <a:cxn ang="0">
                  <a:pos x="connsiteX0" y="connsiteY0"/>
                </a:cxn>
                <a:cxn ang="0">
                  <a:pos x="connsiteX1" y="connsiteY1"/>
                </a:cxn>
                <a:cxn ang="0">
                  <a:pos x="connsiteX2" y="connsiteY2"/>
                </a:cxn>
                <a:cxn ang="0">
                  <a:pos x="connsiteX3" y="connsiteY3"/>
                </a:cxn>
              </a:cxnLst>
              <a:rect l="l" t="t" r="r" b="b"/>
              <a:pathLst>
                <a:path w="9022" h="10684">
                  <a:moveTo>
                    <a:pt x="-4324" y="8337"/>
                  </a:moveTo>
                  <a:cubicBezTo>
                    <a:pt x="-5631" y="5067"/>
                    <a:pt x="-2580" y="1361"/>
                    <a:pt x="1342" y="1143"/>
                  </a:cubicBezTo>
                  <a:cubicBezTo>
                    <a:pt x="4393" y="1143"/>
                    <a:pt x="5482" y="5939"/>
                    <a:pt x="3085" y="8773"/>
                  </a:cubicBezTo>
                  <a:cubicBezTo>
                    <a:pt x="-401" y="12915"/>
                    <a:pt x="-2580" y="12915"/>
                    <a:pt x="-4324" y="8337"/>
                  </a:cubicBezTo>
                  <a:close/>
                </a:path>
              </a:pathLst>
            </a:custGeom>
            <a:grpFill/>
            <a:ln w="218" cap="flat">
              <a:noFill/>
              <a:prstDash val="solid"/>
              <a:miter/>
            </a:ln>
          </p:spPr>
          <p:txBody>
            <a:bodyPr rtlCol="0" anchor="ctr"/>
            <a:lstStyle/>
            <a:p>
              <a:endParaRPr lang="en-GB" dirty="0"/>
            </a:p>
          </p:txBody>
        </p:sp>
        <p:sp>
          <p:nvSpPr>
            <p:cNvPr id="145" name="Freihandform: Form 144">
              <a:extLst>
                <a:ext uri="{FF2B5EF4-FFF2-40B4-BE49-F238E27FC236}">
                  <a16:creationId xmlns:a16="http://schemas.microsoft.com/office/drawing/2014/main" xmlns="" id="{B6B262B0-EE27-400B-AF0A-DE4DB0E43E51}"/>
                </a:ext>
              </a:extLst>
            </p:cNvPr>
            <p:cNvSpPr/>
            <p:nvPr/>
          </p:nvSpPr>
          <p:spPr>
            <a:xfrm flipV="1">
              <a:off x="4806048" y="5524504"/>
              <a:ext cx="7503" cy="6194"/>
            </a:xfrm>
            <a:custGeom>
              <a:avLst/>
              <a:gdLst>
                <a:gd name="connsiteX0" fmla="*/ -3570 w 7503"/>
                <a:gd name="connsiteY0" fmla="*/ 4596 h 6194"/>
                <a:gd name="connsiteX1" fmla="*/ 3403 w 7503"/>
                <a:gd name="connsiteY1" fmla="*/ 3942 h 6194"/>
                <a:gd name="connsiteX2" fmla="*/ -1173 w 7503"/>
                <a:gd name="connsiteY2" fmla="*/ 7212 h 6194"/>
                <a:gd name="connsiteX3" fmla="*/ -3570 w 7503"/>
                <a:gd name="connsiteY3" fmla="*/ 4596 h 6194"/>
              </a:gdLst>
              <a:ahLst/>
              <a:cxnLst>
                <a:cxn ang="0">
                  <a:pos x="connsiteX0" y="connsiteY0"/>
                </a:cxn>
                <a:cxn ang="0">
                  <a:pos x="connsiteX1" y="connsiteY1"/>
                </a:cxn>
                <a:cxn ang="0">
                  <a:pos x="connsiteX2" y="connsiteY2"/>
                </a:cxn>
                <a:cxn ang="0">
                  <a:pos x="connsiteX3" y="connsiteY3"/>
                </a:cxn>
              </a:cxnLst>
              <a:rect l="l" t="t" r="r" b="b"/>
              <a:pathLst>
                <a:path w="7503" h="6194">
                  <a:moveTo>
                    <a:pt x="-3570" y="4596"/>
                  </a:moveTo>
                  <a:cubicBezTo>
                    <a:pt x="-2045" y="454"/>
                    <a:pt x="4710" y="-200"/>
                    <a:pt x="3403" y="3942"/>
                  </a:cubicBezTo>
                  <a:cubicBezTo>
                    <a:pt x="2749" y="5250"/>
                    <a:pt x="788" y="6776"/>
                    <a:pt x="-1173" y="7212"/>
                  </a:cubicBezTo>
                  <a:cubicBezTo>
                    <a:pt x="-3788" y="7648"/>
                    <a:pt x="-4442" y="6994"/>
                    <a:pt x="-3570" y="4596"/>
                  </a:cubicBezTo>
                  <a:close/>
                </a:path>
              </a:pathLst>
            </a:custGeom>
            <a:grpFill/>
            <a:ln w="218" cap="flat">
              <a:noFill/>
              <a:prstDash val="solid"/>
              <a:miter/>
            </a:ln>
          </p:spPr>
          <p:txBody>
            <a:bodyPr rtlCol="0" anchor="ctr"/>
            <a:lstStyle/>
            <a:p>
              <a:endParaRPr lang="en-GB" dirty="0"/>
            </a:p>
          </p:txBody>
        </p:sp>
        <p:sp>
          <p:nvSpPr>
            <p:cNvPr id="146" name="Freihandform: Form 145">
              <a:extLst>
                <a:ext uri="{FF2B5EF4-FFF2-40B4-BE49-F238E27FC236}">
                  <a16:creationId xmlns:a16="http://schemas.microsoft.com/office/drawing/2014/main" xmlns="" id="{9D55F363-2E0E-4CA1-AD66-887A61724279}"/>
                </a:ext>
              </a:extLst>
            </p:cNvPr>
            <p:cNvSpPr/>
            <p:nvPr/>
          </p:nvSpPr>
          <p:spPr>
            <a:xfrm flipV="1">
              <a:off x="4753102" y="5526420"/>
              <a:ext cx="14580" cy="10439"/>
            </a:xfrm>
            <a:custGeom>
              <a:avLst/>
              <a:gdLst>
                <a:gd name="connsiteX0" fmla="*/ -3372 w 14580"/>
                <a:gd name="connsiteY0" fmla="*/ 8160 h 10439"/>
                <a:gd name="connsiteX1" fmla="*/ 9266 w 14580"/>
                <a:gd name="connsiteY1" fmla="*/ 4236 h 10439"/>
                <a:gd name="connsiteX2" fmla="*/ 8831 w 14580"/>
                <a:gd name="connsiteY2" fmla="*/ 9686 h 10439"/>
                <a:gd name="connsiteX3" fmla="*/ -3372 w 14580"/>
                <a:gd name="connsiteY3" fmla="*/ 8160 h 10439"/>
              </a:gdLst>
              <a:ahLst/>
              <a:cxnLst>
                <a:cxn ang="0">
                  <a:pos x="connsiteX0" y="connsiteY0"/>
                </a:cxn>
                <a:cxn ang="0">
                  <a:pos x="connsiteX1" y="connsiteY1"/>
                </a:cxn>
                <a:cxn ang="0">
                  <a:pos x="connsiteX2" y="connsiteY2"/>
                </a:cxn>
                <a:cxn ang="0">
                  <a:pos x="connsiteX3" y="connsiteY3"/>
                </a:cxn>
              </a:cxnLst>
              <a:rect l="l" t="t" r="r" b="b"/>
              <a:pathLst>
                <a:path w="14580" h="10439">
                  <a:moveTo>
                    <a:pt x="-3372" y="8160"/>
                  </a:moveTo>
                  <a:cubicBezTo>
                    <a:pt x="-5769" y="1620"/>
                    <a:pt x="4473" y="-1651"/>
                    <a:pt x="9266" y="4236"/>
                  </a:cubicBezTo>
                  <a:cubicBezTo>
                    <a:pt x="11446" y="7070"/>
                    <a:pt x="11446" y="7942"/>
                    <a:pt x="8831" y="9686"/>
                  </a:cubicBezTo>
                  <a:cubicBezTo>
                    <a:pt x="4037" y="12738"/>
                    <a:pt x="-1847" y="12084"/>
                    <a:pt x="-3372" y="8160"/>
                  </a:cubicBezTo>
                  <a:close/>
                </a:path>
              </a:pathLst>
            </a:custGeom>
            <a:grpFill/>
            <a:ln w="218" cap="flat">
              <a:noFill/>
              <a:prstDash val="solid"/>
              <a:miter/>
            </a:ln>
          </p:spPr>
          <p:txBody>
            <a:bodyPr rtlCol="0" anchor="ctr"/>
            <a:lstStyle/>
            <a:p>
              <a:endParaRPr lang="en-GB" dirty="0"/>
            </a:p>
          </p:txBody>
        </p:sp>
        <p:sp>
          <p:nvSpPr>
            <p:cNvPr id="147" name="Freihandform: Form 146">
              <a:extLst>
                <a:ext uri="{FF2B5EF4-FFF2-40B4-BE49-F238E27FC236}">
                  <a16:creationId xmlns:a16="http://schemas.microsoft.com/office/drawing/2014/main" xmlns="" id="{F26106FE-33EE-4383-BA10-71A149287576}"/>
                </a:ext>
              </a:extLst>
            </p:cNvPr>
            <p:cNvSpPr/>
            <p:nvPr/>
          </p:nvSpPr>
          <p:spPr>
            <a:xfrm flipV="1">
              <a:off x="4929312" y="5528555"/>
              <a:ext cx="4358" cy="6540"/>
            </a:xfrm>
            <a:custGeom>
              <a:avLst/>
              <a:gdLst>
                <a:gd name="connsiteX0" fmla="*/ -4437 w 4358"/>
                <a:gd name="connsiteY0" fmla="*/ 4435 h 6540"/>
                <a:gd name="connsiteX1" fmla="*/ -2258 w 4358"/>
                <a:gd name="connsiteY1" fmla="*/ 1165 h 6540"/>
                <a:gd name="connsiteX2" fmla="*/ -79 w 4358"/>
                <a:gd name="connsiteY2" fmla="*/ 4435 h 6540"/>
                <a:gd name="connsiteX3" fmla="*/ -2258 w 4358"/>
                <a:gd name="connsiteY3" fmla="*/ 7705 h 6540"/>
                <a:gd name="connsiteX4" fmla="*/ -4437 w 4358"/>
                <a:gd name="connsiteY4" fmla="*/ 4435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6540">
                  <a:moveTo>
                    <a:pt x="-4437" y="4435"/>
                  </a:moveTo>
                  <a:cubicBezTo>
                    <a:pt x="-4437" y="2691"/>
                    <a:pt x="-3347" y="1165"/>
                    <a:pt x="-2258" y="1165"/>
                  </a:cubicBezTo>
                  <a:cubicBezTo>
                    <a:pt x="-950" y="1165"/>
                    <a:pt x="-79" y="2691"/>
                    <a:pt x="-79" y="4435"/>
                  </a:cubicBezTo>
                  <a:cubicBezTo>
                    <a:pt x="-79" y="6179"/>
                    <a:pt x="-950" y="7705"/>
                    <a:pt x="-2258" y="7705"/>
                  </a:cubicBezTo>
                  <a:cubicBezTo>
                    <a:pt x="-3347" y="7705"/>
                    <a:pt x="-4437" y="6179"/>
                    <a:pt x="-4437" y="4435"/>
                  </a:cubicBezTo>
                  <a:close/>
                </a:path>
              </a:pathLst>
            </a:custGeom>
            <a:grpFill/>
            <a:ln w="218" cap="flat">
              <a:noFill/>
              <a:prstDash val="solid"/>
              <a:miter/>
            </a:ln>
          </p:spPr>
          <p:txBody>
            <a:bodyPr rtlCol="0" anchor="ctr"/>
            <a:lstStyle/>
            <a:p>
              <a:endParaRPr lang="en-GB" dirty="0"/>
            </a:p>
          </p:txBody>
        </p:sp>
        <p:sp>
          <p:nvSpPr>
            <p:cNvPr id="148" name="Freihandform: Form 147">
              <a:extLst>
                <a:ext uri="{FF2B5EF4-FFF2-40B4-BE49-F238E27FC236}">
                  <a16:creationId xmlns:a16="http://schemas.microsoft.com/office/drawing/2014/main" xmlns="" id="{994147A4-06E7-4457-861C-A57CDEAF8516}"/>
                </a:ext>
              </a:extLst>
            </p:cNvPr>
            <p:cNvSpPr/>
            <p:nvPr/>
          </p:nvSpPr>
          <p:spPr>
            <a:xfrm flipV="1">
              <a:off x="4556690" y="5532915"/>
              <a:ext cx="3357" cy="6540"/>
            </a:xfrm>
            <a:custGeom>
              <a:avLst/>
              <a:gdLst>
                <a:gd name="connsiteX0" fmla="*/ -2896 w 3357"/>
                <a:gd name="connsiteY0" fmla="*/ 4457 h 6540"/>
                <a:gd name="connsiteX1" fmla="*/ -2024 w 3357"/>
                <a:gd name="connsiteY1" fmla="*/ 1187 h 6540"/>
                <a:gd name="connsiteX2" fmla="*/ 155 w 3357"/>
                <a:gd name="connsiteY2" fmla="*/ 4457 h 6540"/>
                <a:gd name="connsiteX3" fmla="*/ -717 w 3357"/>
                <a:gd name="connsiteY3" fmla="*/ 7727 h 6540"/>
                <a:gd name="connsiteX4" fmla="*/ -2896 w 3357"/>
                <a:gd name="connsiteY4" fmla="*/ 4457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7" h="6540">
                  <a:moveTo>
                    <a:pt x="-2896" y="4457"/>
                  </a:moveTo>
                  <a:cubicBezTo>
                    <a:pt x="-2896" y="2713"/>
                    <a:pt x="-2460" y="1187"/>
                    <a:pt x="-2024" y="1187"/>
                  </a:cubicBezTo>
                  <a:cubicBezTo>
                    <a:pt x="-1588" y="1187"/>
                    <a:pt x="-717" y="2713"/>
                    <a:pt x="155" y="4457"/>
                  </a:cubicBezTo>
                  <a:cubicBezTo>
                    <a:pt x="808" y="6201"/>
                    <a:pt x="373" y="7727"/>
                    <a:pt x="-717" y="7727"/>
                  </a:cubicBezTo>
                  <a:cubicBezTo>
                    <a:pt x="-2024" y="7727"/>
                    <a:pt x="-2896" y="6201"/>
                    <a:pt x="-2896" y="4457"/>
                  </a:cubicBezTo>
                  <a:close/>
                </a:path>
              </a:pathLst>
            </a:custGeom>
            <a:grpFill/>
            <a:ln w="218" cap="flat">
              <a:noFill/>
              <a:prstDash val="solid"/>
              <a:miter/>
            </a:ln>
          </p:spPr>
          <p:txBody>
            <a:bodyPr rtlCol="0" anchor="ctr"/>
            <a:lstStyle/>
            <a:p>
              <a:endParaRPr lang="en-GB" dirty="0"/>
            </a:p>
          </p:txBody>
        </p:sp>
        <p:sp>
          <p:nvSpPr>
            <p:cNvPr id="149" name="Freihandform: Form 148">
              <a:extLst>
                <a:ext uri="{FF2B5EF4-FFF2-40B4-BE49-F238E27FC236}">
                  <a16:creationId xmlns:a16="http://schemas.microsoft.com/office/drawing/2014/main" xmlns="" id="{939E95E7-9786-476C-971E-F99912900050}"/>
                </a:ext>
              </a:extLst>
            </p:cNvPr>
            <p:cNvSpPr/>
            <p:nvPr/>
          </p:nvSpPr>
          <p:spPr>
            <a:xfrm flipV="1">
              <a:off x="4890956" y="5532927"/>
              <a:ext cx="5670" cy="6527"/>
            </a:xfrm>
            <a:custGeom>
              <a:avLst/>
              <a:gdLst>
                <a:gd name="connsiteX0" fmla="*/ -3623 w 5670"/>
                <a:gd name="connsiteY0" fmla="*/ 6419 h 6527"/>
                <a:gd name="connsiteX1" fmla="*/ -572 w 5670"/>
                <a:gd name="connsiteY1" fmla="*/ 1187 h 6527"/>
                <a:gd name="connsiteX2" fmla="*/ 1389 w 5670"/>
                <a:gd name="connsiteY2" fmla="*/ 4457 h 6527"/>
                <a:gd name="connsiteX3" fmla="*/ -3623 w 5670"/>
                <a:gd name="connsiteY3" fmla="*/ 6419 h 6527"/>
              </a:gdLst>
              <a:ahLst/>
              <a:cxnLst>
                <a:cxn ang="0">
                  <a:pos x="connsiteX0" y="connsiteY0"/>
                </a:cxn>
                <a:cxn ang="0">
                  <a:pos x="connsiteX1" y="connsiteY1"/>
                </a:cxn>
                <a:cxn ang="0">
                  <a:pos x="connsiteX2" y="connsiteY2"/>
                </a:cxn>
                <a:cxn ang="0">
                  <a:pos x="connsiteX3" y="connsiteY3"/>
                </a:cxn>
              </a:cxnLst>
              <a:rect l="l" t="t" r="r" b="b"/>
              <a:pathLst>
                <a:path w="5670" h="6527">
                  <a:moveTo>
                    <a:pt x="-3623" y="6419"/>
                  </a:moveTo>
                  <a:cubicBezTo>
                    <a:pt x="-5366" y="4675"/>
                    <a:pt x="-3405" y="1187"/>
                    <a:pt x="-572" y="1187"/>
                  </a:cubicBezTo>
                  <a:cubicBezTo>
                    <a:pt x="517" y="1187"/>
                    <a:pt x="1389" y="2713"/>
                    <a:pt x="1389" y="4457"/>
                  </a:cubicBezTo>
                  <a:cubicBezTo>
                    <a:pt x="1389" y="7727"/>
                    <a:pt x="-1226" y="8817"/>
                    <a:pt x="-3623" y="6419"/>
                  </a:cubicBezTo>
                  <a:close/>
                </a:path>
              </a:pathLst>
            </a:custGeom>
            <a:grpFill/>
            <a:ln w="218" cap="flat">
              <a:noFill/>
              <a:prstDash val="solid"/>
              <a:miter/>
            </a:ln>
          </p:spPr>
          <p:txBody>
            <a:bodyPr rtlCol="0" anchor="ctr"/>
            <a:lstStyle/>
            <a:p>
              <a:endParaRPr lang="en-GB" dirty="0"/>
            </a:p>
          </p:txBody>
        </p:sp>
        <p:sp>
          <p:nvSpPr>
            <p:cNvPr id="150" name="Freihandform: Form 149">
              <a:extLst>
                <a:ext uri="{FF2B5EF4-FFF2-40B4-BE49-F238E27FC236}">
                  <a16:creationId xmlns:a16="http://schemas.microsoft.com/office/drawing/2014/main" xmlns="" id="{231451B6-99B8-4F3C-A03F-5D58FB8D2B47}"/>
                </a:ext>
              </a:extLst>
            </p:cNvPr>
            <p:cNvSpPr/>
            <p:nvPr/>
          </p:nvSpPr>
          <p:spPr>
            <a:xfrm flipV="1">
              <a:off x="4388902" y="5249643"/>
              <a:ext cx="7961" cy="5311"/>
            </a:xfrm>
            <a:custGeom>
              <a:avLst/>
              <a:gdLst>
                <a:gd name="connsiteX0" fmla="*/ -34 w 7961"/>
                <a:gd name="connsiteY0" fmla="*/ 3023 h 5311"/>
                <a:gd name="connsiteX1" fmla="*/ -1995 w 7961"/>
                <a:gd name="connsiteY1" fmla="*/ -29 h 5311"/>
                <a:gd name="connsiteX2" fmla="*/ 3452 w 7961"/>
                <a:gd name="connsiteY2" fmla="*/ 1933 h 5311"/>
                <a:gd name="connsiteX3" fmla="*/ -34 w 7961"/>
                <a:gd name="connsiteY3" fmla="*/ 3023 h 5311"/>
              </a:gdLst>
              <a:ahLst/>
              <a:cxnLst>
                <a:cxn ang="0">
                  <a:pos x="connsiteX0" y="connsiteY0"/>
                </a:cxn>
                <a:cxn ang="0">
                  <a:pos x="connsiteX1" y="connsiteY1"/>
                </a:cxn>
                <a:cxn ang="0">
                  <a:pos x="connsiteX2" y="connsiteY2"/>
                </a:cxn>
                <a:cxn ang="0">
                  <a:pos x="connsiteX3" y="connsiteY3"/>
                </a:cxn>
              </a:cxnLst>
              <a:rect l="l" t="t" r="r" b="b"/>
              <a:pathLst>
                <a:path w="7961" h="5311">
                  <a:moveTo>
                    <a:pt x="-34" y="3023"/>
                  </a:moveTo>
                  <a:cubicBezTo>
                    <a:pt x="-1777" y="1933"/>
                    <a:pt x="-2649" y="625"/>
                    <a:pt x="-1995" y="-29"/>
                  </a:cubicBezTo>
                  <a:cubicBezTo>
                    <a:pt x="-1342" y="-683"/>
                    <a:pt x="1055" y="189"/>
                    <a:pt x="3452" y="1933"/>
                  </a:cubicBezTo>
                  <a:cubicBezTo>
                    <a:pt x="8028" y="5421"/>
                    <a:pt x="5196" y="6293"/>
                    <a:pt x="-34" y="3023"/>
                  </a:cubicBezTo>
                  <a:close/>
                </a:path>
              </a:pathLst>
            </a:custGeom>
            <a:grpFill/>
            <a:ln w="218" cap="flat">
              <a:noFill/>
              <a:prstDash val="solid"/>
              <a:miter/>
            </a:ln>
          </p:spPr>
          <p:txBody>
            <a:bodyPr rtlCol="0" anchor="ctr"/>
            <a:lstStyle/>
            <a:p>
              <a:endParaRPr lang="en-GB" dirty="0"/>
            </a:p>
          </p:txBody>
        </p:sp>
        <p:sp>
          <p:nvSpPr>
            <p:cNvPr id="151" name="Freihandform: Form 150">
              <a:extLst>
                <a:ext uri="{FF2B5EF4-FFF2-40B4-BE49-F238E27FC236}">
                  <a16:creationId xmlns:a16="http://schemas.microsoft.com/office/drawing/2014/main" xmlns="" id="{D8DE6E98-A583-4A4D-A541-970C3F5F9432}"/>
                </a:ext>
              </a:extLst>
            </p:cNvPr>
            <p:cNvSpPr/>
            <p:nvPr/>
          </p:nvSpPr>
          <p:spPr>
            <a:xfrm flipV="1">
              <a:off x="5308471" y="5262585"/>
              <a:ext cx="4358" cy="5667"/>
            </a:xfrm>
            <a:custGeom>
              <a:avLst/>
              <a:gdLst>
                <a:gd name="connsiteX0" fmla="*/ -6003 w 4358"/>
                <a:gd name="connsiteY0" fmla="*/ 3526 h 5667"/>
                <a:gd name="connsiteX1" fmla="*/ -3824 w 4358"/>
                <a:gd name="connsiteY1" fmla="*/ 37 h 5667"/>
                <a:gd name="connsiteX2" fmla="*/ -1645 w 4358"/>
                <a:gd name="connsiteY2" fmla="*/ 2000 h 5667"/>
                <a:gd name="connsiteX3" fmla="*/ -3824 w 4358"/>
                <a:gd name="connsiteY3" fmla="*/ 5488 h 5667"/>
                <a:gd name="connsiteX4" fmla="*/ -6003 w 4358"/>
                <a:gd name="connsiteY4" fmla="*/ 3526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6003" y="3526"/>
                  </a:moveTo>
                  <a:cubicBezTo>
                    <a:pt x="-6003" y="2218"/>
                    <a:pt x="-4913" y="691"/>
                    <a:pt x="-3824" y="37"/>
                  </a:cubicBezTo>
                  <a:cubicBezTo>
                    <a:pt x="-2516" y="-617"/>
                    <a:pt x="-1645" y="255"/>
                    <a:pt x="-1645" y="2000"/>
                  </a:cubicBezTo>
                  <a:cubicBezTo>
                    <a:pt x="-1645" y="3962"/>
                    <a:pt x="-2516" y="5488"/>
                    <a:pt x="-3824" y="5488"/>
                  </a:cubicBezTo>
                  <a:cubicBezTo>
                    <a:pt x="-4913" y="5488"/>
                    <a:pt x="-6003" y="4616"/>
                    <a:pt x="-6003" y="3526"/>
                  </a:cubicBezTo>
                  <a:close/>
                </a:path>
              </a:pathLst>
            </a:custGeom>
            <a:grpFill/>
            <a:ln w="218" cap="flat">
              <a:noFill/>
              <a:prstDash val="solid"/>
              <a:miter/>
            </a:ln>
          </p:spPr>
          <p:txBody>
            <a:bodyPr rtlCol="0" anchor="ctr"/>
            <a:lstStyle/>
            <a:p>
              <a:endParaRPr lang="en-GB" dirty="0"/>
            </a:p>
          </p:txBody>
        </p:sp>
        <p:sp>
          <p:nvSpPr>
            <p:cNvPr id="152" name="Freihandform: Form 151">
              <a:extLst>
                <a:ext uri="{FF2B5EF4-FFF2-40B4-BE49-F238E27FC236}">
                  <a16:creationId xmlns:a16="http://schemas.microsoft.com/office/drawing/2014/main" xmlns="" id="{9FCB360C-88D1-40FE-A9AC-098F7FEB6A23}"/>
                </a:ext>
              </a:extLst>
            </p:cNvPr>
            <p:cNvSpPr/>
            <p:nvPr/>
          </p:nvSpPr>
          <p:spPr>
            <a:xfrm flipV="1">
              <a:off x="4022817" y="5341113"/>
              <a:ext cx="3568" cy="5621"/>
            </a:xfrm>
            <a:custGeom>
              <a:avLst/>
              <a:gdLst>
                <a:gd name="connsiteX0" fmla="*/ -691 w 3568"/>
                <a:gd name="connsiteY0" fmla="*/ 2396 h 5621"/>
                <a:gd name="connsiteX1" fmla="*/ 1488 w 3568"/>
                <a:gd name="connsiteY1" fmla="*/ 434 h 5621"/>
                <a:gd name="connsiteX2" fmla="*/ 2577 w 3568"/>
                <a:gd name="connsiteY2" fmla="*/ 3922 h 5621"/>
                <a:gd name="connsiteX3" fmla="*/ -691 w 3568"/>
                <a:gd name="connsiteY3" fmla="*/ 2396 h 5621"/>
              </a:gdLst>
              <a:ahLst/>
              <a:cxnLst>
                <a:cxn ang="0">
                  <a:pos x="connsiteX0" y="connsiteY0"/>
                </a:cxn>
                <a:cxn ang="0">
                  <a:pos x="connsiteX1" y="connsiteY1"/>
                </a:cxn>
                <a:cxn ang="0">
                  <a:pos x="connsiteX2" y="connsiteY2"/>
                </a:cxn>
                <a:cxn ang="0">
                  <a:pos x="connsiteX3" y="connsiteY3"/>
                </a:cxn>
              </a:cxnLst>
              <a:rect l="l" t="t" r="r" b="b"/>
              <a:pathLst>
                <a:path w="3568" h="5621">
                  <a:moveTo>
                    <a:pt x="-691" y="2396"/>
                  </a:moveTo>
                  <a:cubicBezTo>
                    <a:pt x="-691" y="652"/>
                    <a:pt x="398" y="-220"/>
                    <a:pt x="1488" y="434"/>
                  </a:cubicBezTo>
                  <a:cubicBezTo>
                    <a:pt x="2795" y="1306"/>
                    <a:pt x="3231" y="2832"/>
                    <a:pt x="2577" y="3922"/>
                  </a:cubicBezTo>
                  <a:cubicBezTo>
                    <a:pt x="616" y="6974"/>
                    <a:pt x="-691" y="6320"/>
                    <a:pt x="-691" y="2396"/>
                  </a:cubicBezTo>
                  <a:close/>
                </a:path>
              </a:pathLst>
            </a:custGeom>
            <a:grpFill/>
            <a:ln w="218" cap="flat">
              <a:noFill/>
              <a:prstDash val="solid"/>
              <a:miter/>
            </a:ln>
          </p:spPr>
          <p:txBody>
            <a:bodyPr rtlCol="0" anchor="ctr"/>
            <a:lstStyle/>
            <a:p>
              <a:endParaRPr lang="en-GB" dirty="0"/>
            </a:p>
          </p:txBody>
        </p:sp>
        <p:sp>
          <p:nvSpPr>
            <p:cNvPr id="153" name="Freihandform: Form 152">
              <a:extLst>
                <a:ext uri="{FF2B5EF4-FFF2-40B4-BE49-F238E27FC236}">
                  <a16:creationId xmlns:a16="http://schemas.microsoft.com/office/drawing/2014/main" xmlns="" id="{EDA2CC88-764B-4D35-983D-D1B8FFEFB9CB}"/>
                </a:ext>
              </a:extLst>
            </p:cNvPr>
            <p:cNvSpPr/>
            <p:nvPr/>
          </p:nvSpPr>
          <p:spPr>
            <a:xfrm flipV="1">
              <a:off x="4273411" y="5323628"/>
              <a:ext cx="16594" cy="21800"/>
            </a:xfrm>
            <a:custGeom>
              <a:avLst/>
              <a:gdLst>
                <a:gd name="connsiteX0" fmla="*/ -1753 w 16594"/>
                <a:gd name="connsiteY0" fmla="*/ 16084 h 21800"/>
                <a:gd name="connsiteX1" fmla="*/ -10 w 16594"/>
                <a:gd name="connsiteY1" fmla="*/ 7581 h 21800"/>
                <a:gd name="connsiteX2" fmla="*/ 13500 w 16594"/>
                <a:gd name="connsiteY2" fmla="*/ 169 h 21800"/>
                <a:gd name="connsiteX3" fmla="*/ 6963 w 16594"/>
                <a:gd name="connsiteY3" fmla="*/ 9979 h 21800"/>
                <a:gd name="connsiteX4" fmla="*/ 2605 w 16594"/>
                <a:gd name="connsiteY4" fmla="*/ 16738 h 21800"/>
                <a:gd name="connsiteX5" fmla="*/ 426 w 16594"/>
                <a:gd name="connsiteY5" fmla="*/ 21970 h 21800"/>
                <a:gd name="connsiteX6" fmla="*/ -1753 w 16594"/>
                <a:gd name="connsiteY6" fmla="*/ 16084 h 2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94" h="21800">
                  <a:moveTo>
                    <a:pt x="-1753" y="16084"/>
                  </a:moveTo>
                  <a:cubicBezTo>
                    <a:pt x="-1753" y="12595"/>
                    <a:pt x="-882" y="8889"/>
                    <a:pt x="-10" y="7581"/>
                  </a:cubicBezTo>
                  <a:cubicBezTo>
                    <a:pt x="1733" y="4747"/>
                    <a:pt x="10014" y="169"/>
                    <a:pt x="13500" y="169"/>
                  </a:cubicBezTo>
                  <a:cubicBezTo>
                    <a:pt x="17423" y="169"/>
                    <a:pt x="11975" y="8453"/>
                    <a:pt x="6963" y="9979"/>
                  </a:cubicBezTo>
                  <a:cubicBezTo>
                    <a:pt x="4130" y="10851"/>
                    <a:pt x="2605" y="13249"/>
                    <a:pt x="2605" y="16738"/>
                  </a:cubicBezTo>
                  <a:cubicBezTo>
                    <a:pt x="2605" y="19572"/>
                    <a:pt x="1733" y="21970"/>
                    <a:pt x="426" y="21970"/>
                  </a:cubicBezTo>
                  <a:cubicBezTo>
                    <a:pt x="-664" y="21970"/>
                    <a:pt x="-1753" y="19354"/>
                    <a:pt x="-1753" y="16084"/>
                  </a:cubicBezTo>
                  <a:close/>
                </a:path>
              </a:pathLst>
            </a:custGeom>
            <a:grpFill/>
            <a:ln w="218" cap="flat">
              <a:noFill/>
              <a:prstDash val="solid"/>
              <a:miter/>
            </a:ln>
          </p:spPr>
          <p:txBody>
            <a:bodyPr rtlCol="0" anchor="ctr"/>
            <a:lstStyle/>
            <a:p>
              <a:endParaRPr lang="en-GB" dirty="0"/>
            </a:p>
          </p:txBody>
        </p:sp>
        <p:sp>
          <p:nvSpPr>
            <p:cNvPr id="154" name="Freihandform: Form 153">
              <a:extLst>
                <a:ext uri="{FF2B5EF4-FFF2-40B4-BE49-F238E27FC236}">
                  <a16:creationId xmlns:a16="http://schemas.microsoft.com/office/drawing/2014/main" xmlns="" id="{DD69FA8B-7DFA-41D1-B113-8E7ED9A2B6AA}"/>
                </a:ext>
              </a:extLst>
            </p:cNvPr>
            <p:cNvSpPr/>
            <p:nvPr/>
          </p:nvSpPr>
          <p:spPr>
            <a:xfrm flipV="1">
              <a:off x="4510930" y="5401667"/>
              <a:ext cx="33609" cy="26604"/>
            </a:xfrm>
            <a:custGeom>
              <a:avLst/>
              <a:gdLst>
                <a:gd name="connsiteX0" fmla="*/ 17496 w 33609"/>
                <a:gd name="connsiteY0" fmla="*/ 25864 h 26604"/>
                <a:gd name="connsiteX1" fmla="*/ 12484 w 33609"/>
                <a:gd name="connsiteY1" fmla="*/ 20850 h 26604"/>
                <a:gd name="connsiteX2" fmla="*/ 1371 w 33609"/>
                <a:gd name="connsiteY2" fmla="*/ 12565 h 26604"/>
                <a:gd name="connsiteX3" fmla="*/ -2769 w 33609"/>
                <a:gd name="connsiteY3" fmla="*/ 10821 h 26604"/>
                <a:gd name="connsiteX4" fmla="*/ 14881 w 33609"/>
                <a:gd name="connsiteY4" fmla="*/ 8423 h 26604"/>
                <a:gd name="connsiteX5" fmla="*/ 23379 w 33609"/>
                <a:gd name="connsiteY5" fmla="*/ 3409 h 26604"/>
                <a:gd name="connsiteX6" fmla="*/ 26648 w 33609"/>
                <a:gd name="connsiteY6" fmla="*/ 575 h 26604"/>
                <a:gd name="connsiteX7" fmla="*/ 27738 w 33609"/>
                <a:gd name="connsiteY7" fmla="*/ 8205 h 26604"/>
                <a:gd name="connsiteX8" fmla="*/ 29045 w 33609"/>
                <a:gd name="connsiteY8" fmla="*/ 14745 h 26604"/>
                <a:gd name="connsiteX9" fmla="*/ 17496 w 33609"/>
                <a:gd name="connsiteY9" fmla="*/ 25864 h 26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609" h="26604">
                  <a:moveTo>
                    <a:pt x="17496" y="25864"/>
                  </a:moveTo>
                  <a:cubicBezTo>
                    <a:pt x="14663" y="24556"/>
                    <a:pt x="12484" y="22376"/>
                    <a:pt x="12484" y="20850"/>
                  </a:cubicBezTo>
                  <a:cubicBezTo>
                    <a:pt x="12484" y="16271"/>
                    <a:pt x="5729" y="11257"/>
                    <a:pt x="1371" y="12565"/>
                  </a:cubicBezTo>
                  <a:cubicBezTo>
                    <a:pt x="-1462" y="13437"/>
                    <a:pt x="-2769" y="13001"/>
                    <a:pt x="-2769" y="10821"/>
                  </a:cubicBezTo>
                  <a:cubicBezTo>
                    <a:pt x="-2769" y="6461"/>
                    <a:pt x="10523" y="4499"/>
                    <a:pt x="14881" y="8423"/>
                  </a:cubicBezTo>
                  <a:cubicBezTo>
                    <a:pt x="18586" y="11693"/>
                    <a:pt x="23379" y="8859"/>
                    <a:pt x="23379" y="3409"/>
                  </a:cubicBezTo>
                  <a:cubicBezTo>
                    <a:pt x="23379" y="1883"/>
                    <a:pt x="24905" y="575"/>
                    <a:pt x="26648" y="575"/>
                  </a:cubicBezTo>
                  <a:cubicBezTo>
                    <a:pt x="30353" y="575"/>
                    <a:pt x="31006" y="6025"/>
                    <a:pt x="27738" y="8205"/>
                  </a:cubicBezTo>
                  <a:cubicBezTo>
                    <a:pt x="26430" y="9077"/>
                    <a:pt x="26866" y="11475"/>
                    <a:pt x="29045" y="14745"/>
                  </a:cubicBezTo>
                  <a:cubicBezTo>
                    <a:pt x="34493" y="23030"/>
                    <a:pt x="26648" y="30224"/>
                    <a:pt x="17496" y="25864"/>
                  </a:cubicBezTo>
                  <a:close/>
                </a:path>
              </a:pathLst>
            </a:custGeom>
            <a:grpFill/>
            <a:ln w="218" cap="flat">
              <a:noFill/>
              <a:prstDash val="solid"/>
              <a:miter/>
            </a:ln>
          </p:spPr>
          <p:txBody>
            <a:bodyPr rtlCol="0" anchor="ctr"/>
            <a:lstStyle/>
            <a:p>
              <a:endParaRPr lang="en-GB" dirty="0"/>
            </a:p>
          </p:txBody>
        </p:sp>
        <p:sp>
          <p:nvSpPr>
            <p:cNvPr id="155" name="Freihandform: Form 154">
              <a:extLst>
                <a:ext uri="{FF2B5EF4-FFF2-40B4-BE49-F238E27FC236}">
                  <a16:creationId xmlns:a16="http://schemas.microsoft.com/office/drawing/2014/main" xmlns="" id="{D029D49E-9973-4144-B39B-4A8E4F45CD7D}"/>
                </a:ext>
              </a:extLst>
            </p:cNvPr>
            <p:cNvSpPr/>
            <p:nvPr/>
          </p:nvSpPr>
          <p:spPr>
            <a:xfrm flipV="1">
              <a:off x="5160306" y="5472740"/>
              <a:ext cx="6524" cy="5672"/>
            </a:xfrm>
            <a:custGeom>
              <a:avLst/>
              <a:gdLst>
                <a:gd name="connsiteX0" fmla="*/ -4101 w 6524"/>
                <a:gd name="connsiteY0" fmla="*/ 5895 h 5672"/>
                <a:gd name="connsiteX1" fmla="*/ -2139 w 6524"/>
                <a:gd name="connsiteY1" fmla="*/ 881 h 5672"/>
                <a:gd name="connsiteX2" fmla="*/ 1129 w 6524"/>
                <a:gd name="connsiteY2" fmla="*/ 2843 h 5672"/>
                <a:gd name="connsiteX3" fmla="*/ -4101 w 6524"/>
                <a:gd name="connsiteY3" fmla="*/ 5895 h 5672"/>
              </a:gdLst>
              <a:ahLst/>
              <a:cxnLst>
                <a:cxn ang="0">
                  <a:pos x="connsiteX0" y="connsiteY0"/>
                </a:cxn>
                <a:cxn ang="0">
                  <a:pos x="connsiteX1" y="connsiteY1"/>
                </a:cxn>
                <a:cxn ang="0">
                  <a:pos x="connsiteX2" y="connsiteY2"/>
                </a:cxn>
                <a:cxn ang="0">
                  <a:pos x="connsiteX3" y="connsiteY3"/>
                </a:cxn>
              </a:cxnLst>
              <a:rect l="l" t="t" r="r" b="b"/>
              <a:pathLst>
                <a:path w="6524" h="5672">
                  <a:moveTo>
                    <a:pt x="-4101" y="5895"/>
                  </a:moveTo>
                  <a:cubicBezTo>
                    <a:pt x="-6498" y="3497"/>
                    <a:pt x="-5408" y="881"/>
                    <a:pt x="-2139" y="881"/>
                  </a:cubicBezTo>
                  <a:cubicBezTo>
                    <a:pt x="-396" y="881"/>
                    <a:pt x="1129" y="1753"/>
                    <a:pt x="1129" y="2843"/>
                  </a:cubicBezTo>
                  <a:cubicBezTo>
                    <a:pt x="1129" y="5677"/>
                    <a:pt x="-2357" y="7639"/>
                    <a:pt x="-4101" y="5895"/>
                  </a:cubicBezTo>
                  <a:close/>
                </a:path>
              </a:pathLst>
            </a:custGeom>
            <a:grpFill/>
            <a:ln w="218" cap="flat">
              <a:noFill/>
              <a:prstDash val="solid"/>
              <a:miter/>
            </a:ln>
          </p:spPr>
          <p:txBody>
            <a:bodyPr rtlCol="0" anchor="ctr"/>
            <a:lstStyle/>
            <a:p>
              <a:endParaRPr lang="en-GB" dirty="0"/>
            </a:p>
          </p:txBody>
        </p:sp>
        <p:sp>
          <p:nvSpPr>
            <p:cNvPr id="156" name="Freihandform: Form 155">
              <a:extLst>
                <a:ext uri="{FF2B5EF4-FFF2-40B4-BE49-F238E27FC236}">
                  <a16:creationId xmlns:a16="http://schemas.microsoft.com/office/drawing/2014/main" xmlns="" id="{16904E55-E410-49B6-9F85-28E77FA60F04}"/>
                </a:ext>
              </a:extLst>
            </p:cNvPr>
            <p:cNvSpPr/>
            <p:nvPr/>
          </p:nvSpPr>
          <p:spPr>
            <a:xfrm flipV="1">
              <a:off x="5222090" y="5498120"/>
              <a:ext cx="31811" cy="20955"/>
            </a:xfrm>
            <a:custGeom>
              <a:avLst/>
              <a:gdLst>
                <a:gd name="connsiteX0" fmla="*/ -5396 w 31811"/>
                <a:gd name="connsiteY0" fmla="*/ 19909 h 20955"/>
                <a:gd name="connsiteX1" fmla="*/ -4524 w 31811"/>
                <a:gd name="connsiteY1" fmla="*/ 17729 h 20955"/>
                <a:gd name="connsiteX2" fmla="*/ -2127 w 31811"/>
                <a:gd name="connsiteY2" fmla="*/ 10317 h 20955"/>
                <a:gd name="connsiteX3" fmla="*/ 6589 w 31811"/>
                <a:gd name="connsiteY3" fmla="*/ 3559 h 20955"/>
                <a:gd name="connsiteX4" fmla="*/ 14652 w 31811"/>
                <a:gd name="connsiteY4" fmla="*/ 5957 h 20955"/>
                <a:gd name="connsiteX5" fmla="*/ 23150 w 31811"/>
                <a:gd name="connsiteY5" fmla="*/ 7919 h 20955"/>
                <a:gd name="connsiteX6" fmla="*/ 21843 w 31811"/>
                <a:gd name="connsiteY6" fmla="*/ 15331 h 20955"/>
                <a:gd name="connsiteX7" fmla="*/ 13562 w 31811"/>
                <a:gd name="connsiteY7" fmla="*/ 17293 h 20955"/>
                <a:gd name="connsiteX8" fmla="*/ 7025 w 31811"/>
                <a:gd name="connsiteY8" fmla="*/ 18601 h 20955"/>
                <a:gd name="connsiteX9" fmla="*/ -5396 w 31811"/>
                <a:gd name="connsiteY9" fmla="*/ 19909 h 2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811" h="20955">
                  <a:moveTo>
                    <a:pt x="-5396" y="19909"/>
                  </a:moveTo>
                  <a:cubicBezTo>
                    <a:pt x="-6049" y="18819"/>
                    <a:pt x="-5614" y="17729"/>
                    <a:pt x="-4524" y="17729"/>
                  </a:cubicBezTo>
                  <a:cubicBezTo>
                    <a:pt x="-3217" y="17729"/>
                    <a:pt x="-2127" y="14459"/>
                    <a:pt x="-2127" y="10317"/>
                  </a:cubicBezTo>
                  <a:cubicBezTo>
                    <a:pt x="-2127" y="1161"/>
                    <a:pt x="1141" y="-1456"/>
                    <a:pt x="6589" y="3559"/>
                  </a:cubicBezTo>
                  <a:cubicBezTo>
                    <a:pt x="8986" y="5739"/>
                    <a:pt x="12255" y="6611"/>
                    <a:pt x="14652" y="5957"/>
                  </a:cubicBezTo>
                  <a:cubicBezTo>
                    <a:pt x="17049" y="5303"/>
                    <a:pt x="20753" y="6175"/>
                    <a:pt x="23150" y="7919"/>
                  </a:cubicBezTo>
                  <a:cubicBezTo>
                    <a:pt x="27290" y="10971"/>
                    <a:pt x="27290" y="11189"/>
                    <a:pt x="21843" y="15331"/>
                  </a:cubicBezTo>
                  <a:cubicBezTo>
                    <a:pt x="17920" y="18383"/>
                    <a:pt x="15741" y="19037"/>
                    <a:pt x="13562" y="17293"/>
                  </a:cubicBezTo>
                  <a:cubicBezTo>
                    <a:pt x="11601" y="15549"/>
                    <a:pt x="9858" y="15985"/>
                    <a:pt x="7025" y="18601"/>
                  </a:cubicBezTo>
                  <a:cubicBezTo>
                    <a:pt x="2449" y="22525"/>
                    <a:pt x="-3435" y="23179"/>
                    <a:pt x="-5396" y="19909"/>
                  </a:cubicBezTo>
                  <a:close/>
                </a:path>
              </a:pathLst>
            </a:custGeom>
            <a:grpFill/>
            <a:ln w="218" cap="flat">
              <a:noFill/>
              <a:prstDash val="solid"/>
              <a:miter/>
            </a:ln>
          </p:spPr>
          <p:txBody>
            <a:bodyPr rtlCol="0" anchor="ctr"/>
            <a:lstStyle/>
            <a:p>
              <a:endParaRPr lang="en-GB" dirty="0"/>
            </a:p>
          </p:txBody>
        </p:sp>
      </p:grpSp>
      <p:sp>
        <p:nvSpPr>
          <p:cNvPr id="301" name="Textfeld 300">
            <a:extLst>
              <a:ext uri="{FF2B5EF4-FFF2-40B4-BE49-F238E27FC236}">
                <a16:creationId xmlns:a16="http://schemas.microsoft.com/office/drawing/2014/main" xmlns="" id="{DFD07A75-BF0A-4F3A-9C10-157BB1B291C1}"/>
              </a:ext>
            </a:extLst>
          </p:cNvPr>
          <p:cNvSpPr txBox="1"/>
          <p:nvPr/>
        </p:nvSpPr>
        <p:spPr>
          <a:xfrm>
            <a:off x="4437838" y="5649817"/>
            <a:ext cx="2845202" cy="707886"/>
          </a:xfrm>
          <a:prstGeom prst="rect">
            <a:avLst/>
          </a:prstGeom>
          <a:noFill/>
        </p:spPr>
        <p:txBody>
          <a:bodyPr wrap="none" rtlCol="0">
            <a:spAutoFit/>
          </a:bodyPr>
          <a:lstStyle/>
          <a:p>
            <a:r>
              <a:rPr lang="en-GB" sz="2000" dirty="0">
                <a:solidFill>
                  <a:srgbClr val="C00000"/>
                </a:solidFill>
              </a:rPr>
              <a:t>Estamos a salvo ya que tenemos</a:t>
            </a:r>
            <a:br>
              <a:rPr lang="en-GB" sz="2000" dirty="0">
                <a:solidFill>
                  <a:srgbClr val="C00000"/>
                </a:solidFill>
              </a:rPr>
            </a:br>
            <a:r>
              <a:rPr lang="en-GB" sz="2000" dirty="0">
                <a:solidFill>
                  <a:srgbClr val="C00000"/>
                </a:solidFill>
              </a:rPr>
              <a:t>lo menos posible de esto</a:t>
            </a:r>
          </a:p>
        </p:txBody>
      </p:sp>
      <p:cxnSp>
        <p:nvCxnSpPr>
          <p:cNvPr id="303" name="Gerade Verbindung mit Pfeil 302">
            <a:extLst>
              <a:ext uri="{FF2B5EF4-FFF2-40B4-BE49-F238E27FC236}">
                <a16:creationId xmlns:a16="http://schemas.microsoft.com/office/drawing/2014/main" xmlns="" id="{CE759616-109C-4BBA-8C67-13EF14B67810}"/>
              </a:ext>
            </a:extLst>
          </p:cNvPr>
          <p:cNvCxnSpPr>
            <a:cxnSpLocks/>
          </p:cNvCxnSpPr>
          <p:nvPr/>
        </p:nvCxnSpPr>
        <p:spPr>
          <a:xfrm flipV="1">
            <a:off x="5227436" y="5360604"/>
            <a:ext cx="7291" cy="213868"/>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310" name="Textfeld 309">
            <a:extLst>
              <a:ext uri="{FF2B5EF4-FFF2-40B4-BE49-F238E27FC236}">
                <a16:creationId xmlns:a16="http://schemas.microsoft.com/office/drawing/2014/main" xmlns="" id="{536A3CA0-52EC-43D0-B61C-FFBCE9A28309}"/>
              </a:ext>
            </a:extLst>
          </p:cNvPr>
          <p:cNvSpPr txBox="1"/>
          <p:nvPr/>
        </p:nvSpPr>
        <p:spPr>
          <a:xfrm>
            <a:off x="4424865" y="1915110"/>
            <a:ext cx="1761508" cy="461665"/>
          </a:xfrm>
          <a:prstGeom prst="rect">
            <a:avLst/>
          </a:prstGeom>
          <a:noFill/>
        </p:spPr>
        <p:txBody>
          <a:bodyPr wrap="none" rtlCol="0">
            <a:spAutoFit/>
          </a:bodyPr>
          <a:lstStyle/>
          <a:p>
            <a:r>
              <a:rPr lang="en-GB" sz="2400" b="1" dirty="0">
                <a:solidFill>
                  <a:srgbClr val="C00000"/>
                </a:solidFill>
              </a:rPr>
              <a:t>La vieja mentalidad</a:t>
            </a:r>
          </a:p>
        </p:txBody>
      </p:sp>
    </p:spTree>
    <p:extLst>
      <p:ext uri="{BB962C8B-B14F-4D97-AF65-F5344CB8AC3E}">
        <p14:creationId xmlns:p14="http://schemas.microsoft.com/office/powerpoint/2010/main" val="3795949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99" name="Rechteck: abgerundete Ecken 298">
            <a:extLst>
              <a:ext uri="{FF2B5EF4-FFF2-40B4-BE49-F238E27FC236}">
                <a16:creationId xmlns:a16="http://schemas.microsoft.com/office/drawing/2014/main" xmlns="" id="{8C9859B7-94C6-4FAF-9044-C26F40075395}"/>
              </a:ext>
            </a:extLst>
          </p:cNvPr>
          <p:cNvSpPr/>
          <p:nvPr/>
        </p:nvSpPr>
        <p:spPr>
          <a:xfrm>
            <a:off x="8484364" y="3647089"/>
            <a:ext cx="1371730" cy="1587515"/>
          </a:xfrm>
          <a:prstGeom prst="roundRect">
            <a:avLst>
              <a:gd name="adj" fmla="val 4098"/>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98" name="Rechteck 297">
            <a:extLst>
              <a:ext uri="{FF2B5EF4-FFF2-40B4-BE49-F238E27FC236}">
                <a16:creationId xmlns:a16="http://schemas.microsoft.com/office/drawing/2014/main" xmlns="" id="{CFB216C1-B648-40AD-B3C4-97AAED505976}"/>
              </a:ext>
            </a:extLst>
          </p:cNvPr>
          <p:cNvSpPr/>
          <p:nvPr/>
        </p:nvSpPr>
        <p:spPr>
          <a:xfrm>
            <a:off x="8495039" y="3647091"/>
            <a:ext cx="1358064" cy="109308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95522" y="505687"/>
            <a:ext cx="8852375" cy="697353"/>
          </a:xfrm>
        </p:spPr>
        <p:txBody>
          <a:bodyPr>
            <a:normAutofit/>
          </a:bodyPr>
          <a:lstStyle/>
          <a:p>
            <a:r>
              <a:rPr lang="en-GB" dirty="0"/>
              <a:t>Aprender de lo que sale bien</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65733" y="1857947"/>
            <a:ext cx="3804823" cy="7084293"/>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t>La vieja mentalidad: Estamos seguros si nada va mal </a:t>
            </a:r>
            <a:endParaRPr lang="en-US" dirty="0"/>
          </a:p>
          <a:p>
            <a:pPr algn="l">
              <a:lnSpc>
                <a:spcPct val="100000"/>
              </a:lnSpc>
              <a:spcBef>
                <a:spcPts val="600"/>
              </a:spcBef>
            </a:pPr>
            <a:endParaRPr lang="en-GB" altLang="de-DE" sz="2200" dirty="0"/>
          </a:p>
          <a:p>
            <a:pPr marL="285750" indent="-285750" algn="l">
              <a:lnSpc>
                <a:spcPct val="100000"/>
              </a:lnSpc>
              <a:spcBef>
                <a:spcPts val="600"/>
              </a:spcBef>
              <a:buFont typeface="Wingdings" panose="05000000000000000000" pitchFamily="2" charset="2"/>
              <a:buChar char="à"/>
            </a:pPr>
            <a:r>
              <a:rPr lang="en-GB" altLang="de-DE" sz="2200" b="1" dirty="0">
                <a:sym typeface="Wingdings" panose="05000000000000000000" pitchFamily="2" charset="2"/>
              </a:rPr>
              <a:t>Nueva mentalidad: </a:t>
            </a:r>
            <a:r>
              <a:rPr lang="en-GB" altLang="de-DE" sz="2200" dirty="0">
                <a:sym typeface="Wingdings" panose="05000000000000000000" pitchFamily="2" charset="2"/>
              </a:rPr>
              <a:t>estamos seguros mientras lo suficiente vaya bien </a:t>
            </a:r>
            <a:endParaRPr lang="en-GB" altLang="de-DE" sz="2200" dirty="0"/>
          </a:p>
          <a:p>
            <a:pPr marL="285750" indent="-285750" algn="l">
              <a:lnSpc>
                <a:spcPct val="100000"/>
              </a:lnSpc>
              <a:spcBef>
                <a:spcPts val="600"/>
              </a:spcBef>
              <a:buFont typeface="Wingdings" panose="05000000000000000000" pitchFamily="2" charset="2"/>
              <a:buChar char="à"/>
            </a:pPr>
            <a:r>
              <a:rPr lang="en-GB" altLang="de-DE" sz="2200" dirty="0">
                <a:sym typeface="Wingdings" panose="05000000000000000000" pitchFamily="2" charset="2"/>
              </a:rPr>
              <a:t>Aprender cuando las cosas van mal </a:t>
            </a:r>
            <a:r>
              <a:rPr lang="en-GB" altLang="de-DE" sz="2200" b="1" dirty="0">
                <a:sym typeface="Wingdings" panose="05000000000000000000" pitchFamily="2" charset="2"/>
              </a:rPr>
              <a:t>Y </a:t>
            </a:r>
            <a:r>
              <a:rPr lang="en-GB" altLang="de-DE" sz="2200" dirty="0">
                <a:sym typeface="Wingdings" panose="05000000000000000000" pitchFamily="2" charset="2"/>
              </a:rPr>
              <a:t>cuando van bien </a:t>
            </a:r>
            <a:endParaRPr lang="en-GB" altLang="de-DE" sz="2200" dirty="0"/>
          </a:p>
          <a:p>
            <a:pPr marL="285750" indent="-285750" algn="l">
              <a:lnSpc>
                <a:spcPct val="100000"/>
              </a:lnSpc>
              <a:spcBef>
                <a:spcPts val="600"/>
              </a:spcBef>
              <a:buFont typeface="Wingdings" panose="05000000000000000000" pitchFamily="2" charset="2"/>
              <a:buChar char="à"/>
            </a:pPr>
            <a:r>
              <a:rPr lang="en-GB" altLang="de-DE" sz="2200" b="1" dirty="0">
                <a:sym typeface="Wingdings" panose="05000000000000000000" pitchFamily="2" charset="2"/>
              </a:rPr>
              <a:t>Principio rector: </a:t>
            </a:r>
            <a:br>
              <a:rPr lang="en-GB" altLang="de-DE" sz="2200" b="1" dirty="0">
                <a:sym typeface="Wingdings" panose="05000000000000000000" pitchFamily="2" charset="2"/>
              </a:rPr>
            </a:br>
            <a:r>
              <a:rPr lang="en-GB" altLang="de-DE" sz="2200" b="1" dirty="0">
                <a:sym typeface="Wingdings" panose="05000000000000000000" pitchFamily="2" charset="2"/>
              </a:rPr>
              <a:t>Es tan valioso aprender de "lo que va bien" como de "lo que va mal". </a:t>
            </a:r>
            <a:endParaRPr lang="en-GB" altLang="de-DE" sz="2200" b="1" dirty="0"/>
          </a:p>
          <a:p>
            <a:pPr marL="285750" indent="-285750" algn="l">
              <a:lnSpc>
                <a:spcPct val="100000"/>
              </a:lnSpc>
              <a:spcBef>
                <a:spcPts val="600"/>
              </a:spcBef>
              <a:buFont typeface="Wingdings" panose="05000000000000000000" pitchFamily="2" charset="2"/>
              <a:buChar char="à"/>
            </a:pPr>
            <a:endParaRPr lang="en-GB" altLang="de-DE" sz="2200" dirty="0"/>
          </a:p>
          <a:p>
            <a:pPr algn="l">
              <a:lnSpc>
                <a:spcPct val="100000"/>
              </a:lnSpc>
              <a:spcBef>
                <a:spcPts val="600"/>
              </a:spcBef>
            </a:pPr>
            <a:r>
              <a:rPr lang="en-GB" altLang="de-DE" sz="1400" dirty="0">
                <a:sym typeface="Wingdings" panose="05000000000000000000" pitchFamily="2" charset="2"/>
              </a:rPr>
              <a:t/>
            </a:r>
            <a:br>
              <a:rPr lang="en-GB" altLang="de-DE" sz="1400" dirty="0">
                <a:sym typeface="Wingdings" panose="05000000000000000000" pitchFamily="2" charset="2"/>
              </a:rPr>
            </a:br>
            <a:endParaRPr lang="en-GB" altLang="de-DE" sz="2200" dirty="0"/>
          </a:p>
          <a:p>
            <a:pPr algn="l">
              <a:lnSpc>
                <a:spcPct val="100000"/>
              </a:lnSpc>
              <a:spcBef>
                <a:spcPts val="600"/>
              </a:spcBef>
            </a:pPr>
            <a:endParaRPr lang="en-GB" altLang="de-DE" sz="2200" dirty="0"/>
          </a:p>
          <a:p>
            <a:pPr algn="l">
              <a:lnSpc>
                <a:spcPct val="100000"/>
              </a:lnSpc>
              <a:spcBef>
                <a:spcPts val="600"/>
              </a:spcBef>
            </a:pPr>
            <a:endParaRPr lang="en-GB" altLang="de-DE" sz="2200" dirty="0">
              <a:latin typeface="+mj-lt"/>
            </a:endParaRPr>
          </a:p>
          <a:p>
            <a:pPr algn="l">
              <a:lnSpc>
                <a:spcPct val="100000"/>
              </a:lnSpc>
              <a:spcBef>
                <a:spcPts val="600"/>
              </a:spcBef>
            </a:pPr>
            <a:endParaRPr lang="en-GB" altLang="de-DE" sz="2200" dirty="0">
              <a:latin typeface="+mj-lt"/>
            </a:endParaRPr>
          </a:p>
        </p:txBody>
      </p:sp>
      <p:grpSp>
        <p:nvGrpSpPr>
          <p:cNvPr id="7" name="Grafik 5">
            <a:extLst>
              <a:ext uri="{FF2B5EF4-FFF2-40B4-BE49-F238E27FC236}">
                <a16:creationId xmlns:a16="http://schemas.microsoft.com/office/drawing/2014/main" xmlns="" id="{679E4123-F052-4691-9364-82105EE086EA}"/>
              </a:ext>
            </a:extLst>
          </p:cNvPr>
          <p:cNvGrpSpPr/>
          <p:nvPr/>
        </p:nvGrpSpPr>
        <p:grpSpPr>
          <a:xfrm>
            <a:off x="4440172" y="2459740"/>
            <a:ext cx="2061090" cy="2789035"/>
            <a:chOff x="3857208" y="2764590"/>
            <a:chExt cx="2061090" cy="2789035"/>
          </a:xfrm>
          <a:solidFill>
            <a:srgbClr val="C00000"/>
          </a:solidFill>
        </p:grpSpPr>
        <p:sp>
          <p:nvSpPr>
            <p:cNvPr id="8" name="Freihandform: Form 7">
              <a:extLst>
                <a:ext uri="{FF2B5EF4-FFF2-40B4-BE49-F238E27FC236}">
                  <a16:creationId xmlns:a16="http://schemas.microsoft.com/office/drawing/2014/main" xmlns="" id="{29CDFA3F-9268-4B73-AD28-2FB65459BD31}"/>
                </a:ext>
              </a:extLst>
            </p:cNvPr>
            <p:cNvSpPr/>
            <p:nvPr/>
          </p:nvSpPr>
          <p:spPr>
            <a:xfrm flipV="1">
              <a:off x="3857208" y="2764590"/>
              <a:ext cx="2061090" cy="2789035"/>
            </a:xfrm>
            <a:custGeom>
              <a:avLst/>
              <a:gdLst>
                <a:gd name="connsiteX0" fmla="*/ 1949719 w 2061090"/>
                <a:gd name="connsiteY0" fmla="*/ 2778412 h 2789035"/>
                <a:gd name="connsiteX1" fmla="*/ 1930108 w 2061090"/>
                <a:gd name="connsiteY1" fmla="*/ 2767730 h 2789035"/>
                <a:gd name="connsiteX2" fmla="*/ 1611745 w 2061090"/>
                <a:gd name="connsiteY2" fmla="*/ 2304246 h 2789035"/>
                <a:gd name="connsiteX3" fmla="*/ 1300355 w 2061090"/>
                <a:gd name="connsiteY3" fmla="*/ 1846212 h 2789035"/>
                <a:gd name="connsiteX4" fmla="*/ 698713 w 2061090"/>
                <a:gd name="connsiteY4" fmla="*/ 1846212 h 2789035"/>
                <a:gd name="connsiteX5" fmla="*/ 56104 w 2061090"/>
                <a:gd name="connsiteY5" fmla="*/ 1832695 h 2789035"/>
                <a:gd name="connsiteX6" fmla="*/ -4256 w 2061090"/>
                <a:gd name="connsiteY6" fmla="*/ 1764895 h 2789035"/>
                <a:gd name="connsiteX7" fmla="*/ 8382 w 2061090"/>
                <a:gd name="connsiteY7" fmla="*/ 1745929 h 2789035"/>
                <a:gd name="connsiteX8" fmla="*/ 34531 w 2061090"/>
                <a:gd name="connsiteY8" fmla="*/ 1750289 h 2789035"/>
                <a:gd name="connsiteX9" fmla="*/ 89444 w 2061090"/>
                <a:gd name="connsiteY9" fmla="*/ 1752469 h 2789035"/>
                <a:gd name="connsiteX10" fmla="*/ 100339 w 2061090"/>
                <a:gd name="connsiteY10" fmla="*/ 896789 h 2789035"/>
                <a:gd name="connsiteX11" fmla="*/ 101429 w 2061090"/>
                <a:gd name="connsiteY11" fmla="*/ 53100 h 2789035"/>
                <a:gd name="connsiteX12" fmla="*/ 106441 w 2061090"/>
                <a:gd name="connsiteY12" fmla="*/ 43726 h 2789035"/>
                <a:gd name="connsiteX13" fmla="*/ 796553 w 2061090"/>
                <a:gd name="connsiteY13" fmla="*/ -5762 h 2789035"/>
                <a:gd name="connsiteX14" fmla="*/ 1430882 w 2061090"/>
                <a:gd name="connsiteY14" fmla="*/ 17347 h 2789035"/>
                <a:gd name="connsiteX15" fmla="*/ 1466401 w 2061090"/>
                <a:gd name="connsiteY15" fmla="*/ 53754 h 2789035"/>
                <a:gd name="connsiteX16" fmla="*/ 1468798 w 2061090"/>
                <a:gd name="connsiteY16" fmla="*/ 884581 h 2789035"/>
                <a:gd name="connsiteX17" fmla="*/ 1473156 w 2061090"/>
                <a:gd name="connsiteY17" fmla="*/ 1721076 h 2789035"/>
                <a:gd name="connsiteX18" fmla="*/ 1507803 w 2061090"/>
                <a:gd name="connsiteY18" fmla="*/ 1792582 h 2789035"/>
                <a:gd name="connsiteX19" fmla="*/ 1523275 w 2061090"/>
                <a:gd name="connsiteY19" fmla="*/ 1821577 h 2789035"/>
                <a:gd name="connsiteX20" fmla="*/ 1500394 w 2061090"/>
                <a:gd name="connsiteY20" fmla="*/ 1842070 h 2789035"/>
                <a:gd name="connsiteX21" fmla="*/ 1489063 w 2061090"/>
                <a:gd name="connsiteY21" fmla="*/ 1847520 h 2789035"/>
                <a:gd name="connsiteX22" fmla="*/ 1768202 w 2061090"/>
                <a:gd name="connsiteY22" fmla="*/ 2262170 h 2789035"/>
                <a:gd name="connsiteX23" fmla="*/ 2052790 w 2061090"/>
                <a:gd name="connsiteY23" fmla="*/ 2685977 h 2789035"/>
                <a:gd name="connsiteX24" fmla="*/ 2051700 w 2061090"/>
                <a:gd name="connsiteY24" fmla="*/ 2722602 h 2789035"/>
                <a:gd name="connsiteX25" fmla="*/ 1990468 w 2061090"/>
                <a:gd name="connsiteY25" fmla="*/ 2777322 h 2789035"/>
                <a:gd name="connsiteX26" fmla="*/ 1949719 w 2061090"/>
                <a:gd name="connsiteY26" fmla="*/ 2778412 h 2789035"/>
                <a:gd name="connsiteX27" fmla="*/ 2037100 w 2061090"/>
                <a:gd name="connsiteY27" fmla="*/ 2729796 h 2789035"/>
                <a:gd name="connsiteX28" fmla="*/ 2037754 w 2061090"/>
                <a:gd name="connsiteY28" fmla="*/ 2675731 h 2789035"/>
                <a:gd name="connsiteX29" fmla="*/ 1754910 w 2061090"/>
                <a:gd name="connsiteY29" fmla="*/ 2258246 h 2789035"/>
                <a:gd name="connsiteX30" fmla="*/ 1478386 w 2061090"/>
                <a:gd name="connsiteY30" fmla="*/ 1851662 h 2789035"/>
                <a:gd name="connsiteX31" fmla="*/ 1455287 w 2061090"/>
                <a:gd name="connsiteY31" fmla="*/ 1851662 h 2789035"/>
                <a:gd name="connsiteX32" fmla="*/ 1430664 w 2061090"/>
                <a:gd name="connsiteY32" fmla="*/ 1852970 h 2789035"/>
                <a:gd name="connsiteX33" fmla="*/ 1450711 w 2061090"/>
                <a:gd name="connsiteY33" fmla="*/ 1885671 h 2789035"/>
                <a:gd name="connsiteX34" fmla="*/ 1491242 w 2061090"/>
                <a:gd name="connsiteY34" fmla="*/ 1945405 h 2789035"/>
                <a:gd name="connsiteX35" fmla="*/ 1548334 w 2061090"/>
                <a:gd name="connsiteY35" fmla="*/ 2029338 h 2789035"/>
                <a:gd name="connsiteX36" fmla="*/ 1622422 w 2061090"/>
                <a:gd name="connsiteY36" fmla="*/ 2138342 h 2789035"/>
                <a:gd name="connsiteX37" fmla="*/ 1680822 w 2061090"/>
                <a:gd name="connsiteY37" fmla="*/ 2224455 h 2789035"/>
                <a:gd name="connsiteX38" fmla="*/ 1860813 w 2061090"/>
                <a:gd name="connsiteY38" fmla="*/ 2489334 h 2789035"/>
                <a:gd name="connsiteX39" fmla="*/ 2030999 w 2061090"/>
                <a:gd name="connsiteY39" fmla="*/ 2735683 h 2789035"/>
                <a:gd name="connsiteX40" fmla="*/ 2037100 w 2061090"/>
                <a:gd name="connsiteY40" fmla="*/ 2729796 h 2789035"/>
                <a:gd name="connsiteX41" fmla="*/ 1290114 w 2061090"/>
                <a:gd name="connsiteY41" fmla="*/ 1835094 h 2789035"/>
                <a:gd name="connsiteX42" fmla="*/ 731835 w 2061090"/>
                <a:gd name="connsiteY42" fmla="*/ 1012333 h 2789035"/>
                <a:gd name="connsiteX43" fmla="*/ 595425 w 2061090"/>
                <a:gd name="connsiteY43" fmla="*/ 813074 h 2789035"/>
                <a:gd name="connsiteX44" fmla="*/ 471871 w 2061090"/>
                <a:gd name="connsiteY44" fmla="*/ 631256 h 2789035"/>
                <a:gd name="connsiteX45" fmla="*/ 458143 w 2061090"/>
                <a:gd name="connsiteY45" fmla="*/ 630820 h 2789035"/>
                <a:gd name="connsiteX46" fmla="*/ 441364 w 2061090"/>
                <a:gd name="connsiteY46" fmla="*/ 623190 h 2789035"/>
                <a:gd name="connsiteX47" fmla="*/ 449645 w 2061090"/>
                <a:gd name="connsiteY47" fmla="*/ 621446 h 2789035"/>
                <a:gd name="connsiteX48" fmla="*/ 457272 w 2061090"/>
                <a:gd name="connsiteY48" fmla="*/ 616214 h 2789035"/>
                <a:gd name="connsiteX49" fmla="*/ 434827 w 2061090"/>
                <a:gd name="connsiteY49" fmla="*/ 576318 h 2789035"/>
                <a:gd name="connsiteX50" fmla="*/ 409550 w 2061090"/>
                <a:gd name="connsiteY50" fmla="*/ 542527 h 2789035"/>
                <a:gd name="connsiteX51" fmla="*/ 407153 w 2061090"/>
                <a:gd name="connsiteY51" fmla="*/ 1003177 h 2789035"/>
                <a:gd name="connsiteX52" fmla="*/ 406717 w 2061090"/>
                <a:gd name="connsiteY52" fmla="*/ 1466225 h 2789035"/>
                <a:gd name="connsiteX53" fmla="*/ 371416 w 2061090"/>
                <a:gd name="connsiteY53" fmla="*/ 1472983 h 2789035"/>
                <a:gd name="connsiteX54" fmla="*/ 340473 w 2061090"/>
                <a:gd name="connsiteY54" fmla="*/ 1468623 h 2789035"/>
                <a:gd name="connsiteX55" fmla="*/ 365750 w 2061090"/>
                <a:gd name="connsiteY55" fmla="*/ 1464699 h 2789035"/>
                <a:gd name="connsiteX56" fmla="*/ 395386 w 2061090"/>
                <a:gd name="connsiteY56" fmla="*/ 1463391 h 2789035"/>
                <a:gd name="connsiteX57" fmla="*/ 398872 w 2061090"/>
                <a:gd name="connsiteY57" fmla="*/ 1323212 h 2789035"/>
                <a:gd name="connsiteX58" fmla="*/ 396257 w 2061090"/>
                <a:gd name="connsiteY58" fmla="*/ 1181725 h 2789035"/>
                <a:gd name="connsiteX59" fmla="*/ 366622 w 2061090"/>
                <a:gd name="connsiteY59" fmla="*/ 1179109 h 2789035"/>
                <a:gd name="connsiteX60" fmla="*/ 340473 w 2061090"/>
                <a:gd name="connsiteY60" fmla="*/ 1175403 h 2789035"/>
                <a:gd name="connsiteX61" fmla="*/ 369455 w 2061090"/>
                <a:gd name="connsiteY61" fmla="*/ 1170389 h 2789035"/>
                <a:gd name="connsiteX62" fmla="*/ 397783 w 2061090"/>
                <a:gd name="connsiteY62" fmla="*/ 1169299 h 2789035"/>
                <a:gd name="connsiteX63" fmla="*/ 398219 w 2061090"/>
                <a:gd name="connsiteY63" fmla="*/ 1114797 h 2789035"/>
                <a:gd name="connsiteX64" fmla="*/ 397129 w 2061090"/>
                <a:gd name="connsiteY64" fmla="*/ 975272 h 2789035"/>
                <a:gd name="connsiteX65" fmla="*/ 395604 w 2061090"/>
                <a:gd name="connsiteY65" fmla="*/ 890249 h 2789035"/>
                <a:gd name="connsiteX66" fmla="*/ 367712 w 2061090"/>
                <a:gd name="connsiteY66" fmla="*/ 889595 h 2789035"/>
                <a:gd name="connsiteX67" fmla="*/ 338512 w 2061090"/>
                <a:gd name="connsiteY67" fmla="*/ 885671 h 2789035"/>
                <a:gd name="connsiteX68" fmla="*/ 370109 w 2061090"/>
                <a:gd name="connsiteY68" fmla="*/ 878259 h 2789035"/>
                <a:gd name="connsiteX69" fmla="*/ 396693 w 2061090"/>
                <a:gd name="connsiteY69" fmla="*/ 878259 h 2789035"/>
                <a:gd name="connsiteX70" fmla="*/ 396693 w 2061090"/>
                <a:gd name="connsiteY70" fmla="*/ 738734 h 2789035"/>
                <a:gd name="connsiteX71" fmla="*/ 396693 w 2061090"/>
                <a:gd name="connsiteY71" fmla="*/ 599209 h 2789035"/>
                <a:gd name="connsiteX72" fmla="*/ 370109 w 2061090"/>
                <a:gd name="connsiteY72" fmla="*/ 599209 h 2789035"/>
                <a:gd name="connsiteX73" fmla="*/ 338512 w 2061090"/>
                <a:gd name="connsiteY73" fmla="*/ 591797 h 2789035"/>
                <a:gd name="connsiteX74" fmla="*/ 367712 w 2061090"/>
                <a:gd name="connsiteY74" fmla="*/ 587873 h 2789035"/>
                <a:gd name="connsiteX75" fmla="*/ 395604 w 2061090"/>
                <a:gd name="connsiteY75" fmla="*/ 587219 h 2789035"/>
                <a:gd name="connsiteX76" fmla="*/ 396257 w 2061090"/>
                <a:gd name="connsiteY76" fmla="*/ 553863 h 2789035"/>
                <a:gd name="connsiteX77" fmla="*/ 396911 w 2061090"/>
                <a:gd name="connsiteY77" fmla="*/ 520508 h 2789035"/>
                <a:gd name="connsiteX78" fmla="*/ 338730 w 2061090"/>
                <a:gd name="connsiteY78" fmla="*/ 435049 h 2789035"/>
                <a:gd name="connsiteX79" fmla="*/ 272922 w 2061090"/>
                <a:gd name="connsiteY79" fmla="*/ 342614 h 2789035"/>
                <a:gd name="connsiteX80" fmla="*/ 256143 w 2061090"/>
                <a:gd name="connsiteY80" fmla="*/ 337382 h 2789035"/>
                <a:gd name="connsiteX81" fmla="*/ 237621 w 2061090"/>
                <a:gd name="connsiteY81" fmla="*/ 333022 h 2789035"/>
                <a:gd name="connsiteX82" fmla="*/ 243069 w 2061090"/>
                <a:gd name="connsiteY82" fmla="*/ 331060 h 2789035"/>
                <a:gd name="connsiteX83" fmla="*/ 247645 w 2061090"/>
                <a:gd name="connsiteY83" fmla="*/ 330842 h 2789035"/>
                <a:gd name="connsiteX84" fmla="*/ 257233 w 2061090"/>
                <a:gd name="connsiteY84" fmla="*/ 329752 h 2789035"/>
                <a:gd name="connsiteX85" fmla="*/ 258322 w 2061090"/>
                <a:gd name="connsiteY85" fmla="*/ 317979 h 2789035"/>
                <a:gd name="connsiteX86" fmla="*/ 248516 w 2061090"/>
                <a:gd name="connsiteY86" fmla="*/ 314709 h 2789035"/>
                <a:gd name="connsiteX87" fmla="*/ 237839 w 2061090"/>
                <a:gd name="connsiteY87" fmla="*/ 318197 h 2789035"/>
                <a:gd name="connsiteX88" fmla="*/ 226725 w 2061090"/>
                <a:gd name="connsiteY88" fmla="*/ 323430 h 2789035"/>
                <a:gd name="connsiteX89" fmla="*/ 221932 w 2061090"/>
                <a:gd name="connsiteY89" fmla="*/ 330842 h 2789035"/>
                <a:gd name="connsiteX90" fmla="*/ 214958 w 2061090"/>
                <a:gd name="connsiteY90" fmla="*/ 331278 h 2789035"/>
                <a:gd name="connsiteX91" fmla="*/ 206024 w 2061090"/>
                <a:gd name="connsiteY91" fmla="*/ 330406 h 2789035"/>
                <a:gd name="connsiteX92" fmla="*/ 202102 w 2061090"/>
                <a:gd name="connsiteY92" fmla="*/ 328226 h 2789035"/>
                <a:gd name="connsiteX93" fmla="*/ 200577 w 2061090"/>
                <a:gd name="connsiteY93" fmla="*/ 324738 h 2789035"/>
                <a:gd name="connsiteX94" fmla="*/ 196001 w 2061090"/>
                <a:gd name="connsiteY94" fmla="*/ 318633 h 2789035"/>
                <a:gd name="connsiteX95" fmla="*/ 192296 w 2061090"/>
                <a:gd name="connsiteY95" fmla="*/ 311657 h 2789035"/>
                <a:gd name="connsiteX96" fmla="*/ 198833 w 2061090"/>
                <a:gd name="connsiteY96" fmla="*/ 306643 h 2789035"/>
                <a:gd name="connsiteX97" fmla="*/ 206242 w 2061090"/>
                <a:gd name="connsiteY97" fmla="*/ 301411 h 2789035"/>
                <a:gd name="connsiteX98" fmla="*/ 196654 w 2061090"/>
                <a:gd name="connsiteY98" fmla="*/ 292036 h 2789035"/>
                <a:gd name="connsiteX99" fmla="*/ 193168 w 2061090"/>
                <a:gd name="connsiteY99" fmla="*/ 285060 h 2789035"/>
                <a:gd name="connsiteX100" fmla="*/ 207985 w 2061090"/>
                <a:gd name="connsiteY100" fmla="*/ 282008 h 2789035"/>
                <a:gd name="connsiteX101" fmla="*/ 218009 w 2061090"/>
                <a:gd name="connsiteY101" fmla="*/ 278956 h 2789035"/>
                <a:gd name="connsiteX102" fmla="*/ 220188 w 2061090"/>
                <a:gd name="connsiteY102" fmla="*/ 270890 h 2789035"/>
                <a:gd name="connsiteX103" fmla="*/ 217573 w 2061090"/>
                <a:gd name="connsiteY103" fmla="*/ 268710 h 2789035"/>
                <a:gd name="connsiteX104" fmla="*/ 212997 w 2061090"/>
                <a:gd name="connsiteY104" fmla="*/ 259553 h 2789035"/>
                <a:gd name="connsiteX105" fmla="*/ 206024 w 2061090"/>
                <a:gd name="connsiteY105" fmla="*/ 258681 h 2789035"/>
                <a:gd name="connsiteX106" fmla="*/ 198615 w 2061090"/>
                <a:gd name="connsiteY106" fmla="*/ 270018 h 2789035"/>
                <a:gd name="connsiteX107" fmla="*/ 188810 w 2061090"/>
                <a:gd name="connsiteY107" fmla="*/ 273288 h 2789035"/>
                <a:gd name="connsiteX108" fmla="*/ 172467 w 2061090"/>
                <a:gd name="connsiteY108" fmla="*/ 280918 h 2789035"/>
                <a:gd name="connsiteX109" fmla="*/ 165711 w 2061090"/>
                <a:gd name="connsiteY109" fmla="*/ 285714 h 2789035"/>
                <a:gd name="connsiteX110" fmla="*/ 160046 w 2061090"/>
                <a:gd name="connsiteY110" fmla="*/ 290946 h 2789035"/>
                <a:gd name="connsiteX111" fmla="*/ 153509 w 2061090"/>
                <a:gd name="connsiteY111" fmla="*/ 293344 h 2789035"/>
                <a:gd name="connsiteX112" fmla="*/ 147625 w 2061090"/>
                <a:gd name="connsiteY112" fmla="*/ 299449 h 2789035"/>
                <a:gd name="connsiteX113" fmla="*/ 142177 w 2061090"/>
                <a:gd name="connsiteY113" fmla="*/ 306425 h 2789035"/>
                <a:gd name="connsiteX114" fmla="*/ 154598 w 2061090"/>
                <a:gd name="connsiteY114" fmla="*/ 318633 h 2789035"/>
                <a:gd name="connsiteX115" fmla="*/ 159174 w 2061090"/>
                <a:gd name="connsiteY115" fmla="*/ 324302 h 2789035"/>
                <a:gd name="connsiteX116" fmla="*/ 162443 w 2061090"/>
                <a:gd name="connsiteY116" fmla="*/ 331060 h 2789035"/>
                <a:gd name="connsiteX117" fmla="*/ 165711 w 2061090"/>
                <a:gd name="connsiteY117" fmla="*/ 334330 h 2789035"/>
                <a:gd name="connsiteX118" fmla="*/ 163750 w 2061090"/>
                <a:gd name="connsiteY118" fmla="*/ 337600 h 2789035"/>
                <a:gd name="connsiteX119" fmla="*/ 159174 w 2061090"/>
                <a:gd name="connsiteY119" fmla="*/ 334330 h 2789035"/>
                <a:gd name="connsiteX120" fmla="*/ 152855 w 2061090"/>
                <a:gd name="connsiteY120" fmla="*/ 331060 h 2789035"/>
                <a:gd name="connsiteX121" fmla="*/ 143267 w 2061090"/>
                <a:gd name="connsiteY121" fmla="*/ 317979 h 2789035"/>
                <a:gd name="connsiteX122" fmla="*/ 132807 w 2061090"/>
                <a:gd name="connsiteY122" fmla="*/ 304899 h 2789035"/>
                <a:gd name="connsiteX123" fmla="*/ 128667 w 2061090"/>
                <a:gd name="connsiteY123" fmla="*/ 301411 h 2789035"/>
                <a:gd name="connsiteX124" fmla="*/ 132154 w 2061090"/>
                <a:gd name="connsiteY124" fmla="*/ 299231 h 2789035"/>
                <a:gd name="connsiteX125" fmla="*/ 143921 w 2061090"/>
                <a:gd name="connsiteY125" fmla="*/ 290292 h 2789035"/>
                <a:gd name="connsiteX126" fmla="*/ 149368 w 2061090"/>
                <a:gd name="connsiteY126" fmla="*/ 287458 h 2789035"/>
                <a:gd name="connsiteX127" fmla="*/ 154816 w 2061090"/>
                <a:gd name="connsiteY127" fmla="*/ 283970 h 2789035"/>
                <a:gd name="connsiteX128" fmla="*/ 145664 w 2061090"/>
                <a:gd name="connsiteY128" fmla="*/ 281790 h 2789035"/>
                <a:gd name="connsiteX129" fmla="*/ 133679 w 2061090"/>
                <a:gd name="connsiteY129" fmla="*/ 287022 h 2789035"/>
                <a:gd name="connsiteX130" fmla="*/ 131718 w 2061090"/>
                <a:gd name="connsiteY130" fmla="*/ 283752 h 2789035"/>
                <a:gd name="connsiteX131" fmla="*/ 129757 w 2061090"/>
                <a:gd name="connsiteY131" fmla="*/ 274378 h 2789035"/>
                <a:gd name="connsiteX132" fmla="*/ 128667 w 2061090"/>
                <a:gd name="connsiteY132" fmla="*/ 267838 h 2789035"/>
                <a:gd name="connsiteX133" fmla="*/ 128013 w 2061090"/>
                <a:gd name="connsiteY133" fmla="*/ 250397 h 2789035"/>
                <a:gd name="connsiteX134" fmla="*/ 119951 w 2061090"/>
                <a:gd name="connsiteY134" fmla="*/ 260643 h 2789035"/>
                <a:gd name="connsiteX135" fmla="*/ 112542 w 2061090"/>
                <a:gd name="connsiteY135" fmla="*/ 263695 h 2789035"/>
                <a:gd name="connsiteX136" fmla="*/ 118208 w 2061090"/>
                <a:gd name="connsiteY136" fmla="*/ 246691 h 2789035"/>
                <a:gd name="connsiteX137" fmla="*/ 122130 w 2061090"/>
                <a:gd name="connsiteY137" fmla="*/ 243421 h 2789035"/>
                <a:gd name="connsiteX138" fmla="*/ 128667 w 2061090"/>
                <a:gd name="connsiteY138" fmla="*/ 242767 h 2789035"/>
                <a:gd name="connsiteX139" fmla="*/ 133897 w 2061090"/>
                <a:gd name="connsiteY139" fmla="*/ 233174 h 2789035"/>
                <a:gd name="connsiteX140" fmla="*/ 121258 w 2061090"/>
                <a:gd name="connsiteY140" fmla="*/ 229904 h 2789035"/>
                <a:gd name="connsiteX141" fmla="*/ 112978 w 2061090"/>
                <a:gd name="connsiteY141" fmla="*/ 216170 h 2789035"/>
                <a:gd name="connsiteX142" fmla="*/ 118426 w 2061090"/>
                <a:gd name="connsiteY142" fmla="*/ 193715 h 2789035"/>
                <a:gd name="connsiteX143" fmla="*/ 129321 w 2061090"/>
                <a:gd name="connsiteY143" fmla="*/ 185213 h 2789035"/>
                <a:gd name="connsiteX144" fmla="*/ 134115 w 2061090"/>
                <a:gd name="connsiteY144" fmla="*/ 174094 h 2789035"/>
                <a:gd name="connsiteX145" fmla="*/ 130846 w 2061090"/>
                <a:gd name="connsiteY145" fmla="*/ 168426 h 2789035"/>
                <a:gd name="connsiteX146" fmla="*/ 123002 w 2061090"/>
                <a:gd name="connsiteY146" fmla="*/ 165592 h 2789035"/>
                <a:gd name="connsiteX147" fmla="*/ 120605 w 2061090"/>
                <a:gd name="connsiteY147" fmla="*/ 176492 h 2789035"/>
                <a:gd name="connsiteX148" fmla="*/ 115157 w 2061090"/>
                <a:gd name="connsiteY148" fmla="*/ 189355 h 2789035"/>
                <a:gd name="connsiteX149" fmla="*/ 115811 w 2061090"/>
                <a:gd name="connsiteY149" fmla="*/ 179109 h 2789035"/>
                <a:gd name="connsiteX150" fmla="*/ 114503 w 2061090"/>
                <a:gd name="connsiteY150" fmla="*/ 169952 h 2789035"/>
                <a:gd name="connsiteX151" fmla="*/ 116900 w 2061090"/>
                <a:gd name="connsiteY151" fmla="*/ 158834 h 2789035"/>
                <a:gd name="connsiteX152" fmla="*/ 118643 w 2061090"/>
                <a:gd name="connsiteY152" fmla="*/ 147497 h 2789035"/>
                <a:gd name="connsiteX153" fmla="*/ 118861 w 2061090"/>
                <a:gd name="connsiteY153" fmla="*/ 143791 h 2789035"/>
                <a:gd name="connsiteX154" fmla="*/ 126052 w 2061090"/>
                <a:gd name="connsiteY154" fmla="*/ 150768 h 2789035"/>
                <a:gd name="connsiteX155" fmla="*/ 137819 w 2061090"/>
                <a:gd name="connsiteY155" fmla="*/ 154256 h 2789035"/>
                <a:gd name="connsiteX156" fmla="*/ 135422 w 2061090"/>
                <a:gd name="connsiteY156" fmla="*/ 145535 h 2789035"/>
                <a:gd name="connsiteX157" fmla="*/ 126488 w 2061090"/>
                <a:gd name="connsiteY157" fmla="*/ 139213 h 2789035"/>
                <a:gd name="connsiteX158" fmla="*/ 124309 w 2061090"/>
                <a:gd name="connsiteY158" fmla="*/ 118502 h 2789035"/>
                <a:gd name="connsiteX159" fmla="*/ 123002 w 2061090"/>
                <a:gd name="connsiteY159" fmla="*/ 101280 h 2789035"/>
                <a:gd name="connsiteX160" fmla="*/ 121040 w 2061090"/>
                <a:gd name="connsiteY160" fmla="*/ 97792 h 2789035"/>
                <a:gd name="connsiteX161" fmla="*/ 117990 w 2061090"/>
                <a:gd name="connsiteY161" fmla="*/ 88199 h 2789035"/>
                <a:gd name="connsiteX162" fmla="*/ 115157 w 2061090"/>
                <a:gd name="connsiteY162" fmla="*/ 71631 h 2789035"/>
                <a:gd name="connsiteX163" fmla="*/ 119515 w 2061090"/>
                <a:gd name="connsiteY163" fmla="*/ 78171 h 2789035"/>
                <a:gd name="connsiteX164" fmla="*/ 125616 w 2061090"/>
                <a:gd name="connsiteY164" fmla="*/ 79261 h 2789035"/>
                <a:gd name="connsiteX165" fmla="*/ 123002 w 2061090"/>
                <a:gd name="connsiteY165" fmla="*/ 68361 h 2789035"/>
                <a:gd name="connsiteX166" fmla="*/ 124963 w 2061090"/>
                <a:gd name="connsiteY166" fmla="*/ 58986 h 2789035"/>
                <a:gd name="connsiteX167" fmla="*/ 127360 w 2061090"/>
                <a:gd name="connsiteY167" fmla="*/ 50484 h 2789035"/>
                <a:gd name="connsiteX168" fmla="*/ 128449 w 2061090"/>
                <a:gd name="connsiteY168" fmla="*/ 44598 h 2789035"/>
                <a:gd name="connsiteX169" fmla="*/ 133461 w 2061090"/>
                <a:gd name="connsiteY169" fmla="*/ 62911 h 2789035"/>
                <a:gd name="connsiteX170" fmla="*/ 137383 w 2061090"/>
                <a:gd name="connsiteY170" fmla="*/ 72721 h 2789035"/>
                <a:gd name="connsiteX171" fmla="*/ 139998 w 2061090"/>
                <a:gd name="connsiteY171" fmla="*/ 65745 h 2789035"/>
                <a:gd name="connsiteX172" fmla="*/ 142177 w 2061090"/>
                <a:gd name="connsiteY172" fmla="*/ 58332 h 2789035"/>
                <a:gd name="connsiteX173" fmla="*/ 147189 w 2061090"/>
                <a:gd name="connsiteY173" fmla="*/ 57460 h 2789035"/>
                <a:gd name="connsiteX174" fmla="*/ 151983 w 2061090"/>
                <a:gd name="connsiteY174" fmla="*/ 56806 h 2789035"/>
                <a:gd name="connsiteX175" fmla="*/ 154162 w 2061090"/>
                <a:gd name="connsiteY175" fmla="*/ 50266 h 2789035"/>
                <a:gd name="connsiteX176" fmla="*/ 161789 w 2061090"/>
                <a:gd name="connsiteY176" fmla="*/ 44380 h 2789035"/>
                <a:gd name="connsiteX177" fmla="*/ 173338 w 2061090"/>
                <a:gd name="connsiteY177" fmla="*/ 34134 h 2789035"/>
                <a:gd name="connsiteX178" fmla="*/ 178568 w 2061090"/>
                <a:gd name="connsiteY178" fmla="*/ 27375 h 2789035"/>
                <a:gd name="connsiteX179" fmla="*/ 184016 w 2061090"/>
                <a:gd name="connsiteY179" fmla="*/ 19309 h 2789035"/>
                <a:gd name="connsiteX180" fmla="*/ 167237 w 2061090"/>
                <a:gd name="connsiteY180" fmla="*/ 24977 h 2789035"/>
                <a:gd name="connsiteX181" fmla="*/ 157213 w 2061090"/>
                <a:gd name="connsiteY181" fmla="*/ 33480 h 2789035"/>
                <a:gd name="connsiteX182" fmla="*/ 154816 w 2061090"/>
                <a:gd name="connsiteY182" fmla="*/ 28901 h 2789035"/>
                <a:gd name="connsiteX183" fmla="*/ 132590 w 2061090"/>
                <a:gd name="connsiteY183" fmla="*/ 32389 h 2789035"/>
                <a:gd name="connsiteX184" fmla="*/ 120169 w 2061090"/>
                <a:gd name="connsiteY184" fmla="*/ 52010 h 2789035"/>
                <a:gd name="connsiteX185" fmla="*/ 119733 w 2061090"/>
                <a:gd name="connsiteY185" fmla="*/ 60948 h 2789035"/>
                <a:gd name="connsiteX186" fmla="*/ 113196 w 2061090"/>
                <a:gd name="connsiteY186" fmla="*/ 59204 h 2789035"/>
                <a:gd name="connsiteX187" fmla="*/ 110799 w 2061090"/>
                <a:gd name="connsiteY187" fmla="*/ 60730 h 2789035"/>
                <a:gd name="connsiteX188" fmla="*/ 107530 w 2061090"/>
                <a:gd name="connsiteY188" fmla="*/ 884799 h 2789035"/>
                <a:gd name="connsiteX189" fmla="*/ 106223 w 2061090"/>
                <a:gd name="connsiteY189" fmla="*/ 1725218 h 2789035"/>
                <a:gd name="connsiteX190" fmla="*/ 38018 w 2061090"/>
                <a:gd name="connsiteY190" fmla="*/ 1759009 h 2789035"/>
                <a:gd name="connsiteX191" fmla="*/ 9472 w 2061090"/>
                <a:gd name="connsiteY191" fmla="*/ 1755521 h 2789035"/>
                <a:gd name="connsiteX192" fmla="*/ 6639 w 2061090"/>
                <a:gd name="connsiteY192" fmla="*/ 1765113 h 2789035"/>
                <a:gd name="connsiteX193" fmla="*/ 33442 w 2061090"/>
                <a:gd name="connsiteY193" fmla="*/ 1806099 h 2789035"/>
                <a:gd name="connsiteX194" fmla="*/ 78113 w 2061090"/>
                <a:gd name="connsiteY194" fmla="*/ 1833350 h 2789035"/>
                <a:gd name="connsiteX195" fmla="*/ 690432 w 2061090"/>
                <a:gd name="connsiteY195" fmla="*/ 1837274 h 2789035"/>
                <a:gd name="connsiteX196" fmla="*/ 1290114 w 2061090"/>
                <a:gd name="connsiteY196" fmla="*/ 1835094 h 2789035"/>
                <a:gd name="connsiteX197" fmla="*/ 1505842 w 2061090"/>
                <a:gd name="connsiteY197" fmla="*/ 1831169 h 2789035"/>
                <a:gd name="connsiteX198" fmla="*/ 1500830 w 2061090"/>
                <a:gd name="connsiteY198" fmla="*/ 1796070 h 2789035"/>
                <a:gd name="connsiteX199" fmla="*/ 1466183 w 2061090"/>
                <a:gd name="connsiteY199" fmla="*/ 1728052 h 2789035"/>
                <a:gd name="connsiteX200" fmla="*/ 1461171 w 2061090"/>
                <a:gd name="connsiteY200" fmla="*/ 1712137 h 2789035"/>
                <a:gd name="connsiteX201" fmla="*/ 1460081 w 2061090"/>
                <a:gd name="connsiteY201" fmla="*/ 1028684 h 2789035"/>
                <a:gd name="connsiteX202" fmla="*/ 1458338 w 2061090"/>
                <a:gd name="connsiteY202" fmla="*/ 344794 h 2789035"/>
                <a:gd name="connsiteX203" fmla="*/ 1455070 w 2061090"/>
                <a:gd name="connsiteY203" fmla="*/ 344140 h 2789035"/>
                <a:gd name="connsiteX204" fmla="*/ 1448097 w 2061090"/>
                <a:gd name="connsiteY204" fmla="*/ 330842 h 2789035"/>
                <a:gd name="connsiteX205" fmla="*/ 1453544 w 2061090"/>
                <a:gd name="connsiteY205" fmla="*/ 328880 h 2789035"/>
                <a:gd name="connsiteX206" fmla="*/ 1457684 w 2061090"/>
                <a:gd name="connsiteY206" fmla="*/ 321031 h 2789035"/>
                <a:gd name="connsiteX207" fmla="*/ 1446571 w 2061090"/>
                <a:gd name="connsiteY207" fmla="*/ 318415 h 2789035"/>
                <a:gd name="connsiteX208" fmla="*/ 1438291 w 2061090"/>
                <a:gd name="connsiteY208" fmla="*/ 316453 h 2789035"/>
                <a:gd name="connsiteX209" fmla="*/ 1441341 w 2061090"/>
                <a:gd name="connsiteY209" fmla="*/ 313619 h 2789035"/>
                <a:gd name="connsiteX210" fmla="*/ 1447007 w 2061090"/>
                <a:gd name="connsiteY210" fmla="*/ 310349 h 2789035"/>
                <a:gd name="connsiteX211" fmla="*/ 1447007 w 2061090"/>
                <a:gd name="connsiteY211" fmla="*/ 303809 h 2789035"/>
                <a:gd name="connsiteX212" fmla="*/ 1438944 w 2061090"/>
                <a:gd name="connsiteY212" fmla="*/ 304899 h 2789035"/>
                <a:gd name="connsiteX213" fmla="*/ 1428485 w 2061090"/>
                <a:gd name="connsiteY213" fmla="*/ 306643 h 2789035"/>
                <a:gd name="connsiteX214" fmla="*/ 1425652 w 2061090"/>
                <a:gd name="connsiteY214" fmla="*/ 297923 h 2789035"/>
                <a:gd name="connsiteX215" fmla="*/ 1426524 w 2061090"/>
                <a:gd name="connsiteY215" fmla="*/ 277866 h 2789035"/>
                <a:gd name="connsiteX216" fmla="*/ 1429356 w 2061090"/>
                <a:gd name="connsiteY216" fmla="*/ 260425 h 2789035"/>
                <a:gd name="connsiteX217" fmla="*/ 1442213 w 2061090"/>
                <a:gd name="connsiteY217" fmla="*/ 264131 h 2789035"/>
                <a:gd name="connsiteX218" fmla="*/ 1448750 w 2061090"/>
                <a:gd name="connsiteY218" fmla="*/ 267402 h 2789035"/>
                <a:gd name="connsiteX219" fmla="*/ 1444828 w 2061090"/>
                <a:gd name="connsiteY219" fmla="*/ 253013 h 2789035"/>
                <a:gd name="connsiteX220" fmla="*/ 1442431 w 2061090"/>
                <a:gd name="connsiteY220" fmla="*/ 241677 h 2789035"/>
                <a:gd name="connsiteX221" fmla="*/ 1457902 w 2061090"/>
                <a:gd name="connsiteY221" fmla="*/ 239497 h 2789035"/>
                <a:gd name="connsiteX222" fmla="*/ 1455070 w 2061090"/>
                <a:gd name="connsiteY222" fmla="*/ 236445 h 2789035"/>
                <a:gd name="connsiteX223" fmla="*/ 1449186 w 2061090"/>
                <a:gd name="connsiteY223" fmla="*/ 232084 h 2789035"/>
                <a:gd name="connsiteX224" fmla="*/ 1449404 w 2061090"/>
                <a:gd name="connsiteY224" fmla="*/ 222928 h 2789035"/>
                <a:gd name="connsiteX225" fmla="*/ 1447007 w 2061090"/>
                <a:gd name="connsiteY225" fmla="*/ 220966 h 2789035"/>
                <a:gd name="connsiteX226" fmla="*/ 1441559 w 2061090"/>
                <a:gd name="connsiteY226" fmla="*/ 222928 h 2789035"/>
                <a:gd name="connsiteX227" fmla="*/ 1435458 w 2061090"/>
                <a:gd name="connsiteY227" fmla="*/ 230994 h 2789035"/>
                <a:gd name="connsiteX228" fmla="*/ 1428485 w 2061090"/>
                <a:gd name="connsiteY228" fmla="*/ 230776 h 2789035"/>
                <a:gd name="connsiteX229" fmla="*/ 1423037 w 2061090"/>
                <a:gd name="connsiteY229" fmla="*/ 227288 h 2789035"/>
                <a:gd name="connsiteX230" fmla="*/ 1426306 w 2061090"/>
                <a:gd name="connsiteY230" fmla="*/ 225108 h 2789035"/>
                <a:gd name="connsiteX231" fmla="*/ 1440906 w 2061090"/>
                <a:gd name="connsiteY231" fmla="*/ 218786 h 2789035"/>
                <a:gd name="connsiteX232" fmla="*/ 1439816 w 2061090"/>
                <a:gd name="connsiteY232" fmla="*/ 199383 h 2789035"/>
                <a:gd name="connsiteX233" fmla="*/ 1428921 w 2061090"/>
                <a:gd name="connsiteY233" fmla="*/ 193933 h 2789035"/>
                <a:gd name="connsiteX234" fmla="*/ 1415193 w 2061090"/>
                <a:gd name="connsiteY234" fmla="*/ 194587 h 2789035"/>
                <a:gd name="connsiteX235" fmla="*/ 1412142 w 2061090"/>
                <a:gd name="connsiteY235" fmla="*/ 202435 h 2789035"/>
                <a:gd name="connsiteX236" fmla="*/ 1427613 w 2061090"/>
                <a:gd name="connsiteY236" fmla="*/ 203307 h 2789035"/>
                <a:gd name="connsiteX237" fmla="*/ 1436112 w 2061090"/>
                <a:gd name="connsiteY237" fmla="*/ 205705 h 2789035"/>
                <a:gd name="connsiteX238" fmla="*/ 1420640 w 2061090"/>
                <a:gd name="connsiteY238" fmla="*/ 220966 h 2789035"/>
                <a:gd name="connsiteX239" fmla="*/ 1417589 w 2061090"/>
                <a:gd name="connsiteY239" fmla="*/ 236009 h 2789035"/>
                <a:gd name="connsiteX240" fmla="*/ 1414539 w 2061090"/>
                <a:gd name="connsiteY240" fmla="*/ 241895 h 2789035"/>
                <a:gd name="connsiteX241" fmla="*/ 1409963 w 2061090"/>
                <a:gd name="connsiteY241" fmla="*/ 236227 h 2789035"/>
                <a:gd name="connsiteX242" fmla="*/ 1399721 w 2061090"/>
                <a:gd name="connsiteY242" fmla="*/ 235354 h 2789035"/>
                <a:gd name="connsiteX243" fmla="*/ 1396017 w 2061090"/>
                <a:gd name="connsiteY243" fmla="*/ 232084 h 2789035"/>
                <a:gd name="connsiteX244" fmla="*/ 1384250 w 2061090"/>
                <a:gd name="connsiteY244" fmla="*/ 231430 h 2789035"/>
                <a:gd name="connsiteX245" fmla="*/ 1376623 w 2061090"/>
                <a:gd name="connsiteY245" fmla="*/ 232956 h 2789035"/>
                <a:gd name="connsiteX246" fmla="*/ 1353743 w 2061090"/>
                <a:gd name="connsiteY246" fmla="*/ 233610 h 2789035"/>
                <a:gd name="connsiteX247" fmla="*/ 1363548 w 2061090"/>
                <a:gd name="connsiteY247" fmla="*/ 237753 h 2789035"/>
                <a:gd name="connsiteX248" fmla="*/ 1373354 w 2061090"/>
                <a:gd name="connsiteY248" fmla="*/ 242113 h 2789035"/>
                <a:gd name="connsiteX249" fmla="*/ 1381635 w 2061090"/>
                <a:gd name="connsiteY249" fmla="*/ 246037 h 2789035"/>
                <a:gd name="connsiteX250" fmla="*/ 1390351 w 2061090"/>
                <a:gd name="connsiteY250" fmla="*/ 241677 h 2789035"/>
                <a:gd name="connsiteX251" fmla="*/ 1395581 w 2061090"/>
                <a:gd name="connsiteY251" fmla="*/ 250179 h 2789035"/>
                <a:gd name="connsiteX252" fmla="*/ 1388390 w 2061090"/>
                <a:gd name="connsiteY252" fmla="*/ 256937 h 2789035"/>
                <a:gd name="connsiteX253" fmla="*/ 1379892 w 2061090"/>
                <a:gd name="connsiteY253" fmla="*/ 259553 h 2789035"/>
                <a:gd name="connsiteX254" fmla="*/ 1370304 w 2061090"/>
                <a:gd name="connsiteY254" fmla="*/ 250833 h 2789035"/>
                <a:gd name="connsiteX255" fmla="*/ 1356140 w 2061090"/>
                <a:gd name="connsiteY255" fmla="*/ 244075 h 2789035"/>
                <a:gd name="connsiteX256" fmla="*/ 1351128 w 2061090"/>
                <a:gd name="connsiteY256" fmla="*/ 240587 h 2789035"/>
                <a:gd name="connsiteX257" fmla="*/ 1346552 w 2061090"/>
                <a:gd name="connsiteY257" fmla="*/ 237317 h 2789035"/>
                <a:gd name="connsiteX258" fmla="*/ 1342847 w 2061090"/>
                <a:gd name="connsiteY258" fmla="*/ 231430 h 2789035"/>
                <a:gd name="connsiteX259" fmla="*/ 1338053 w 2061090"/>
                <a:gd name="connsiteY259" fmla="*/ 224236 h 2789035"/>
                <a:gd name="connsiteX260" fmla="*/ 1334131 w 2061090"/>
                <a:gd name="connsiteY260" fmla="*/ 215516 h 2789035"/>
                <a:gd name="connsiteX261" fmla="*/ 1346770 w 2061090"/>
                <a:gd name="connsiteY261" fmla="*/ 220748 h 2789035"/>
                <a:gd name="connsiteX262" fmla="*/ 1361805 w 2061090"/>
                <a:gd name="connsiteY262" fmla="*/ 224018 h 2789035"/>
                <a:gd name="connsiteX263" fmla="*/ 1364420 w 2061090"/>
                <a:gd name="connsiteY263" fmla="*/ 219004 h 2789035"/>
                <a:gd name="connsiteX264" fmla="*/ 1357447 w 2061090"/>
                <a:gd name="connsiteY264" fmla="*/ 217042 h 2789035"/>
                <a:gd name="connsiteX265" fmla="*/ 1344591 w 2061090"/>
                <a:gd name="connsiteY265" fmla="*/ 207886 h 2789035"/>
                <a:gd name="connsiteX266" fmla="*/ 1359626 w 2061090"/>
                <a:gd name="connsiteY266" fmla="*/ 210720 h 2789035"/>
                <a:gd name="connsiteX267" fmla="*/ 1362023 w 2061090"/>
                <a:gd name="connsiteY267" fmla="*/ 209630 h 2789035"/>
                <a:gd name="connsiteX268" fmla="*/ 1359844 w 2061090"/>
                <a:gd name="connsiteY268" fmla="*/ 204615 h 2789035"/>
                <a:gd name="connsiteX269" fmla="*/ 1360280 w 2061090"/>
                <a:gd name="connsiteY269" fmla="*/ 199165 h 2789035"/>
                <a:gd name="connsiteX270" fmla="*/ 1366163 w 2061090"/>
                <a:gd name="connsiteY270" fmla="*/ 194587 h 2789035"/>
                <a:gd name="connsiteX271" fmla="*/ 1377930 w 2061090"/>
                <a:gd name="connsiteY271" fmla="*/ 197203 h 2789035"/>
                <a:gd name="connsiteX272" fmla="*/ 1381635 w 2061090"/>
                <a:gd name="connsiteY272" fmla="*/ 205705 h 2789035"/>
                <a:gd name="connsiteX273" fmla="*/ 1379238 w 2061090"/>
                <a:gd name="connsiteY273" fmla="*/ 216388 h 2789035"/>
                <a:gd name="connsiteX274" fmla="*/ 1387518 w 2061090"/>
                <a:gd name="connsiteY274" fmla="*/ 217914 h 2789035"/>
                <a:gd name="connsiteX275" fmla="*/ 1398414 w 2061090"/>
                <a:gd name="connsiteY275" fmla="*/ 220530 h 2789035"/>
                <a:gd name="connsiteX276" fmla="*/ 1404733 w 2061090"/>
                <a:gd name="connsiteY276" fmla="*/ 221402 h 2789035"/>
                <a:gd name="connsiteX277" fmla="*/ 1406476 w 2061090"/>
                <a:gd name="connsiteY277" fmla="*/ 199383 h 2789035"/>
                <a:gd name="connsiteX278" fmla="*/ 1408437 w 2061090"/>
                <a:gd name="connsiteY278" fmla="*/ 177146 h 2789035"/>
                <a:gd name="connsiteX279" fmla="*/ 1414321 w 2061090"/>
                <a:gd name="connsiteY279" fmla="*/ 178019 h 2789035"/>
                <a:gd name="connsiteX280" fmla="*/ 1422601 w 2061090"/>
                <a:gd name="connsiteY280" fmla="*/ 180635 h 2789035"/>
                <a:gd name="connsiteX281" fmla="*/ 1431318 w 2061090"/>
                <a:gd name="connsiteY281" fmla="*/ 184123 h 2789035"/>
                <a:gd name="connsiteX282" fmla="*/ 1436330 w 2061090"/>
                <a:gd name="connsiteY282" fmla="*/ 181943 h 2789035"/>
                <a:gd name="connsiteX283" fmla="*/ 1438291 w 2061090"/>
                <a:gd name="connsiteY283" fmla="*/ 169734 h 2789035"/>
                <a:gd name="connsiteX284" fmla="*/ 1448097 w 2061090"/>
                <a:gd name="connsiteY284" fmla="*/ 150332 h 2789035"/>
                <a:gd name="connsiteX285" fmla="*/ 1443520 w 2061090"/>
                <a:gd name="connsiteY285" fmla="*/ 139431 h 2789035"/>
                <a:gd name="connsiteX286" fmla="*/ 1440034 w 2061090"/>
                <a:gd name="connsiteY286" fmla="*/ 129185 h 2789035"/>
                <a:gd name="connsiteX287" fmla="*/ 1439816 w 2061090"/>
                <a:gd name="connsiteY287" fmla="*/ 121773 h 2789035"/>
                <a:gd name="connsiteX288" fmla="*/ 1427395 w 2061090"/>
                <a:gd name="connsiteY288" fmla="*/ 107602 h 2789035"/>
                <a:gd name="connsiteX289" fmla="*/ 1431971 w 2061090"/>
                <a:gd name="connsiteY289" fmla="*/ 106512 h 2789035"/>
                <a:gd name="connsiteX290" fmla="*/ 1435022 w 2061090"/>
                <a:gd name="connsiteY290" fmla="*/ 102370 h 2789035"/>
                <a:gd name="connsiteX291" fmla="*/ 1439598 w 2061090"/>
                <a:gd name="connsiteY291" fmla="*/ 91470 h 2789035"/>
                <a:gd name="connsiteX292" fmla="*/ 1443520 w 2061090"/>
                <a:gd name="connsiteY292" fmla="*/ 82531 h 2789035"/>
                <a:gd name="connsiteX293" fmla="*/ 1427395 w 2061090"/>
                <a:gd name="connsiteY293" fmla="*/ 89507 h 2789035"/>
                <a:gd name="connsiteX294" fmla="*/ 1425216 w 2061090"/>
                <a:gd name="connsiteY294" fmla="*/ 90161 h 2789035"/>
                <a:gd name="connsiteX295" fmla="*/ 1424345 w 2061090"/>
                <a:gd name="connsiteY295" fmla="*/ 86673 h 2789035"/>
                <a:gd name="connsiteX296" fmla="*/ 1426524 w 2061090"/>
                <a:gd name="connsiteY296" fmla="*/ 74029 h 2789035"/>
                <a:gd name="connsiteX297" fmla="*/ 1424127 w 2061090"/>
                <a:gd name="connsiteY297" fmla="*/ 60730 h 2789035"/>
                <a:gd name="connsiteX298" fmla="*/ 1413013 w 2061090"/>
                <a:gd name="connsiteY298" fmla="*/ 67925 h 2789035"/>
                <a:gd name="connsiteX299" fmla="*/ 1408437 w 2061090"/>
                <a:gd name="connsiteY299" fmla="*/ 76427 h 2789035"/>
                <a:gd name="connsiteX300" fmla="*/ 1406476 w 2061090"/>
                <a:gd name="connsiteY300" fmla="*/ 83839 h 2789035"/>
                <a:gd name="connsiteX301" fmla="*/ 1411052 w 2061090"/>
                <a:gd name="connsiteY301" fmla="*/ 83403 h 2789035"/>
                <a:gd name="connsiteX302" fmla="*/ 1417807 w 2061090"/>
                <a:gd name="connsiteY302" fmla="*/ 82967 h 2789035"/>
                <a:gd name="connsiteX303" fmla="*/ 1419115 w 2061090"/>
                <a:gd name="connsiteY303" fmla="*/ 91688 h 2789035"/>
                <a:gd name="connsiteX304" fmla="*/ 1416064 w 2061090"/>
                <a:gd name="connsiteY304" fmla="*/ 104332 h 2789035"/>
                <a:gd name="connsiteX305" fmla="*/ 1408219 w 2061090"/>
                <a:gd name="connsiteY305" fmla="*/ 106512 h 2789035"/>
                <a:gd name="connsiteX306" fmla="*/ 1398849 w 2061090"/>
                <a:gd name="connsiteY306" fmla="*/ 95612 h 2789035"/>
                <a:gd name="connsiteX307" fmla="*/ 1396452 w 2061090"/>
                <a:gd name="connsiteY307" fmla="*/ 86673 h 2789035"/>
                <a:gd name="connsiteX308" fmla="*/ 1397760 w 2061090"/>
                <a:gd name="connsiteY308" fmla="*/ 81659 h 2789035"/>
                <a:gd name="connsiteX309" fmla="*/ 1395581 w 2061090"/>
                <a:gd name="connsiteY309" fmla="*/ 76427 h 2789035"/>
                <a:gd name="connsiteX310" fmla="*/ 1385993 w 2061090"/>
                <a:gd name="connsiteY310" fmla="*/ 67271 h 2789035"/>
                <a:gd name="connsiteX311" fmla="*/ 1387300 w 2061090"/>
                <a:gd name="connsiteY311" fmla="*/ 110654 h 2789035"/>
                <a:gd name="connsiteX312" fmla="*/ 1391223 w 2061090"/>
                <a:gd name="connsiteY312" fmla="*/ 108910 h 2789035"/>
                <a:gd name="connsiteX313" fmla="*/ 1396452 w 2061090"/>
                <a:gd name="connsiteY313" fmla="*/ 115232 h 2789035"/>
                <a:gd name="connsiteX314" fmla="*/ 1389479 w 2061090"/>
                <a:gd name="connsiteY314" fmla="*/ 119156 h 2789035"/>
                <a:gd name="connsiteX315" fmla="*/ 1385993 w 2061090"/>
                <a:gd name="connsiteY315" fmla="*/ 120247 h 2789035"/>
                <a:gd name="connsiteX316" fmla="*/ 1379238 w 2061090"/>
                <a:gd name="connsiteY316" fmla="*/ 123953 h 2789035"/>
                <a:gd name="connsiteX317" fmla="*/ 1375098 w 2061090"/>
                <a:gd name="connsiteY317" fmla="*/ 132673 h 2789035"/>
                <a:gd name="connsiteX318" fmla="*/ 1387518 w 2061090"/>
                <a:gd name="connsiteY318" fmla="*/ 129185 h 2789035"/>
                <a:gd name="connsiteX319" fmla="*/ 1397760 w 2061090"/>
                <a:gd name="connsiteY319" fmla="*/ 130929 h 2789035"/>
                <a:gd name="connsiteX320" fmla="*/ 1401246 w 2061090"/>
                <a:gd name="connsiteY320" fmla="*/ 135725 h 2789035"/>
                <a:gd name="connsiteX321" fmla="*/ 1406040 w 2061090"/>
                <a:gd name="connsiteY321" fmla="*/ 131147 h 2789035"/>
                <a:gd name="connsiteX322" fmla="*/ 1408219 w 2061090"/>
                <a:gd name="connsiteY322" fmla="*/ 123299 h 2789035"/>
                <a:gd name="connsiteX323" fmla="*/ 1408655 w 2061090"/>
                <a:gd name="connsiteY323" fmla="*/ 117630 h 2789035"/>
                <a:gd name="connsiteX324" fmla="*/ 1413231 w 2061090"/>
                <a:gd name="connsiteY324" fmla="*/ 117412 h 2789035"/>
                <a:gd name="connsiteX325" fmla="*/ 1422166 w 2061090"/>
                <a:gd name="connsiteY325" fmla="*/ 119593 h 2789035"/>
                <a:gd name="connsiteX326" fmla="*/ 1429574 w 2061090"/>
                <a:gd name="connsiteY326" fmla="*/ 121337 h 2789035"/>
                <a:gd name="connsiteX327" fmla="*/ 1421512 w 2061090"/>
                <a:gd name="connsiteY327" fmla="*/ 129403 h 2789035"/>
                <a:gd name="connsiteX328" fmla="*/ 1417372 w 2061090"/>
                <a:gd name="connsiteY328" fmla="*/ 140957 h 2789035"/>
                <a:gd name="connsiteX329" fmla="*/ 1414757 w 2061090"/>
                <a:gd name="connsiteY329" fmla="*/ 154910 h 2789035"/>
                <a:gd name="connsiteX330" fmla="*/ 1414321 w 2061090"/>
                <a:gd name="connsiteY330" fmla="*/ 161014 h 2789035"/>
                <a:gd name="connsiteX331" fmla="*/ 1416500 w 2061090"/>
                <a:gd name="connsiteY331" fmla="*/ 157744 h 2789035"/>
                <a:gd name="connsiteX332" fmla="*/ 1418461 w 2061090"/>
                <a:gd name="connsiteY332" fmla="*/ 154474 h 2789035"/>
                <a:gd name="connsiteX333" fmla="*/ 1421948 w 2061090"/>
                <a:gd name="connsiteY333" fmla="*/ 143573 h 2789035"/>
                <a:gd name="connsiteX334" fmla="*/ 1425216 w 2061090"/>
                <a:gd name="connsiteY334" fmla="*/ 131583 h 2789035"/>
                <a:gd name="connsiteX335" fmla="*/ 1431971 w 2061090"/>
                <a:gd name="connsiteY335" fmla="*/ 134853 h 2789035"/>
                <a:gd name="connsiteX336" fmla="*/ 1433279 w 2061090"/>
                <a:gd name="connsiteY336" fmla="*/ 142265 h 2789035"/>
                <a:gd name="connsiteX337" fmla="*/ 1430882 w 2061090"/>
                <a:gd name="connsiteY337" fmla="*/ 152076 h 2789035"/>
                <a:gd name="connsiteX338" fmla="*/ 1429139 w 2061090"/>
                <a:gd name="connsiteY338" fmla="*/ 158834 h 2789035"/>
                <a:gd name="connsiteX339" fmla="*/ 1426742 w 2061090"/>
                <a:gd name="connsiteY339" fmla="*/ 163848 h 2789035"/>
                <a:gd name="connsiteX340" fmla="*/ 1417807 w 2061090"/>
                <a:gd name="connsiteY340" fmla="*/ 175620 h 2789035"/>
                <a:gd name="connsiteX341" fmla="*/ 1414321 w 2061090"/>
                <a:gd name="connsiteY341" fmla="*/ 169734 h 2789035"/>
                <a:gd name="connsiteX342" fmla="*/ 1408873 w 2061090"/>
                <a:gd name="connsiteY342" fmla="*/ 167554 h 2789035"/>
                <a:gd name="connsiteX343" fmla="*/ 1400157 w 2061090"/>
                <a:gd name="connsiteY343" fmla="*/ 169734 h 2789035"/>
                <a:gd name="connsiteX344" fmla="*/ 1391223 w 2061090"/>
                <a:gd name="connsiteY344" fmla="*/ 164284 h 2789035"/>
                <a:gd name="connsiteX345" fmla="*/ 1396888 w 2061090"/>
                <a:gd name="connsiteY345" fmla="*/ 158398 h 2789035"/>
                <a:gd name="connsiteX346" fmla="*/ 1407566 w 2061090"/>
                <a:gd name="connsiteY346" fmla="*/ 156218 h 2789035"/>
                <a:gd name="connsiteX347" fmla="*/ 1401029 w 2061090"/>
                <a:gd name="connsiteY347" fmla="*/ 144663 h 2789035"/>
                <a:gd name="connsiteX348" fmla="*/ 1396235 w 2061090"/>
                <a:gd name="connsiteY348" fmla="*/ 141175 h 2789035"/>
                <a:gd name="connsiteX349" fmla="*/ 1389915 w 2061090"/>
                <a:gd name="connsiteY349" fmla="*/ 139649 h 2789035"/>
                <a:gd name="connsiteX350" fmla="*/ 1385121 w 2061090"/>
                <a:gd name="connsiteY350" fmla="*/ 150332 h 2789035"/>
                <a:gd name="connsiteX351" fmla="*/ 1373354 w 2061090"/>
                <a:gd name="connsiteY351" fmla="*/ 156218 h 2789035"/>
                <a:gd name="connsiteX352" fmla="*/ 1363766 w 2061090"/>
                <a:gd name="connsiteY352" fmla="*/ 155346 h 2789035"/>
                <a:gd name="connsiteX353" fmla="*/ 1355486 w 2061090"/>
                <a:gd name="connsiteY353" fmla="*/ 154910 h 2789035"/>
                <a:gd name="connsiteX354" fmla="*/ 1348513 w 2061090"/>
                <a:gd name="connsiteY354" fmla="*/ 150768 h 2789035"/>
                <a:gd name="connsiteX355" fmla="*/ 1339143 w 2061090"/>
                <a:gd name="connsiteY355" fmla="*/ 169298 h 2789035"/>
                <a:gd name="connsiteX356" fmla="*/ 1344155 w 2061090"/>
                <a:gd name="connsiteY356" fmla="*/ 166900 h 2789035"/>
                <a:gd name="connsiteX357" fmla="*/ 1353307 w 2061090"/>
                <a:gd name="connsiteY357" fmla="*/ 166464 h 2789035"/>
                <a:gd name="connsiteX358" fmla="*/ 1365510 w 2061090"/>
                <a:gd name="connsiteY358" fmla="*/ 167772 h 2789035"/>
                <a:gd name="connsiteX359" fmla="*/ 1377277 w 2061090"/>
                <a:gd name="connsiteY359" fmla="*/ 166464 h 2789035"/>
                <a:gd name="connsiteX360" fmla="*/ 1371829 w 2061090"/>
                <a:gd name="connsiteY360" fmla="*/ 169734 h 2789035"/>
                <a:gd name="connsiteX361" fmla="*/ 1365292 w 2061090"/>
                <a:gd name="connsiteY361" fmla="*/ 174094 h 2789035"/>
                <a:gd name="connsiteX362" fmla="*/ 1363984 w 2061090"/>
                <a:gd name="connsiteY362" fmla="*/ 181507 h 2789035"/>
                <a:gd name="connsiteX363" fmla="*/ 1360280 w 2061090"/>
                <a:gd name="connsiteY363" fmla="*/ 189137 h 2789035"/>
                <a:gd name="connsiteX364" fmla="*/ 1351128 w 2061090"/>
                <a:gd name="connsiteY364" fmla="*/ 188701 h 2789035"/>
                <a:gd name="connsiteX365" fmla="*/ 1354396 w 2061090"/>
                <a:gd name="connsiteY365" fmla="*/ 188047 h 2789035"/>
                <a:gd name="connsiteX366" fmla="*/ 1357665 w 2061090"/>
                <a:gd name="connsiteY366" fmla="*/ 186303 h 2789035"/>
                <a:gd name="connsiteX367" fmla="*/ 1338053 w 2061090"/>
                <a:gd name="connsiteY367" fmla="*/ 182815 h 2789035"/>
                <a:gd name="connsiteX368" fmla="*/ 1321274 w 2061090"/>
                <a:gd name="connsiteY368" fmla="*/ 175838 h 2789035"/>
                <a:gd name="connsiteX369" fmla="*/ 1320185 w 2061090"/>
                <a:gd name="connsiteY369" fmla="*/ 167554 h 2789035"/>
                <a:gd name="connsiteX370" fmla="*/ 1319095 w 2061090"/>
                <a:gd name="connsiteY370" fmla="*/ 160142 h 2789035"/>
                <a:gd name="connsiteX371" fmla="*/ 1328030 w 2061090"/>
                <a:gd name="connsiteY371" fmla="*/ 167772 h 2789035"/>
                <a:gd name="connsiteX372" fmla="*/ 1331080 w 2061090"/>
                <a:gd name="connsiteY372" fmla="*/ 176274 h 2789035"/>
                <a:gd name="connsiteX373" fmla="*/ 1329773 w 2061090"/>
                <a:gd name="connsiteY373" fmla="*/ 154038 h 2789035"/>
                <a:gd name="connsiteX374" fmla="*/ 1331734 w 2061090"/>
                <a:gd name="connsiteY374" fmla="*/ 144881 h 2789035"/>
                <a:gd name="connsiteX375" fmla="*/ 1340014 w 2061090"/>
                <a:gd name="connsiteY375" fmla="*/ 142483 h 2789035"/>
                <a:gd name="connsiteX376" fmla="*/ 1349602 w 2061090"/>
                <a:gd name="connsiteY376" fmla="*/ 145317 h 2789035"/>
                <a:gd name="connsiteX377" fmla="*/ 1354832 w 2061090"/>
                <a:gd name="connsiteY377" fmla="*/ 138123 h 2789035"/>
                <a:gd name="connsiteX378" fmla="*/ 1359408 w 2061090"/>
                <a:gd name="connsiteY378" fmla="*/ 131583 h 2789035"/>
                <a:gd name="connsiteX379" fmla="*/ 1362895 w 2061090"/>
                <a:gd name="connsiteY379" fmla="*/ 119374 h 2789035"/>
                <a:gd name="connsiteX380" fmla="*/ 1365945 w 2061090"/>
                <a:gd name="connsiteY380" fmla="*/ 107602 h 2789035"/>
                <a:gd name="connsiteX381" fmla="*/ 1375315 w 2061090"/>
                <a:gd name="connsiteY381" fmla="*/ 105204 h 2789035"/>
                <a:gd name="connsiteX382" fmla="*/ 1374008 w 2061090"/>
                <a:gd name="connsiteY382" fmla="*/ 92996 h 2789035"/>
                <a:gd name="connsiteX383" fmla="*/ 1362241 w 2061090"/>
                <a:gd name="connsiteY383" fmla="*/ 96484 h 2789035"/>
                <a:gd name="connsiteX384" fmla="*/ 1356140 w 2061090"/>
                <a:gd name="connsiteY384" fmla="*/ 102370 h 2789035"/>
                <a:gd name="connsiteX385" fmla="*/ 1352653 w 2061090"/>
                <a:gd name="connsiteY385" fmla="*/ 94086 h 2789035"/>
                <a:gd name="connsiteX386" fmla="*/ 1352653 w 2061090"/>
                <a:gd name="connsiteY386" fmla="*/ 83185 h 2789035"/>
                <a:gd name="connsiteX387" fmla="*/ 1359190 w 2061090"/>
                <a:gd name="connsiteY387" fmla="*/ 84711 h 2789035"/>
                <a:gd name="connsiteX388" fmla="*/ 1375098 w 2061090"/>
                <a:gd name="connsiteY388" fmla="*/ 86891 h 2789035"/>
                <a:gd name="connsiteX389" fmla="*/ 1374662 w 2061090"/>
                <a:gd name="connsiteY389" fmla="*/ 84711 h 2789035"/>
                <a:gd name="connsiteX390" fmla="*/ 1360498 w 2061090"/>
                <a:gd name="connsiteY390" fmla="*/ 75119 h 2789035"/>
                <a:gd name="connsiteX391" fmla="*/ 1355486 w 2061090"/>
                <a:gd name="connsiteY391" fmla="*/ 71195 h 2789035"/>
                <a:gd name="connsiteX392" fmla="*/ 1343937 w 2061090"/>
                <a:gd name="connsiteY392" fmla="*/ 72067 h 2789035"/>
                <a:gd name="connsiteX393" fmla="*/ 1339797 w 2061090"/>
                <a:gd name="connsiteY393" fmla="*/ 73593 h 2789035"/>
                <a:gd name="connsiteX394" fmla="*/ 1341976 w 2061090"/>
                <a:gd name="connsiteY394" fmla="*/ 89943 h 2789035"/>
                <a:gd name="connsiteX395" fmla="*/ 1345462 w 2061090"/>
                <a:gd name="connsiteY395" fmla="*/ 106948 h 2789035"/>
                <a:gd name="connsiteX396" fmla="*/ 1352217 w 2061090"/>
                <a:gd name="connsiteY396" fmla="*/ 112180 h 2789035"/>
                <a:gd name="connsiteX397" fmla="*/ 1352653 w 2061090"/>
                <a:gd name="connsiteY397" fmla="*/ 119374 h 2789035"/>
                <a:gd name="connsiteX398" fmla="*/ 1348513 w 2061090"/>
                <a:gd name="connsiteY398" fmla="*/ 127223 h 2789035"/>
                <a:gd name="connsiteX399" fmla="*/ 1328247 w 2061090"/>
                <a:gd name="connsiteY399" fmla="*/ 127659 h 2789035"/>
                <a:gd name="connsiteX400" fmla="*/ 1318442 w 2061090"/>
                <a:gd name="connsiteY400" fmla="*/ 106948 h 2789035"/>
                <a:gd name="connsiteX401" fmla="*/ 1322364 w 2061090"/>
                <a:gd name="connsiteY401" fmla="*/ 108474 h 2789035"/>
                <a:gd name="connsiteX402" fmla="*/ 1329555 w 2061090"/>
                <a:gd name="connsiteY402" fmla="*/ 111526 h 2789035"/>
                <a:gd name="connsiteX403" fmla="*/ 1331952 w 2061090"/>
                <a:gd name="connsiteY403" fmla="*/ 119374 h 2789035"/>
                <a:gd name="connsiteX404" fmla="*/ 1335438 w 2061090"/>
                <a:gd name="connsiteY404" fmla="*/ 126133 h 2789035"/>
                <a:gd name="connsiteX405" fmla="*/ 1337835 w 2061090"/>
                <a:gd name="connsiteY405" fmla="*/ 111962 h 2789035"/>
                <a:gd name="connsiteX406" fmla="*/ 1334349 w 2061090"/>
                <a:gd name="connsiteY406" fmla="*/ 103678 h 2789035"/>
                <a:gd name="connsiteX407" fmla="*/ 1330644 w 2061090"/>
                <a:gd name="connsiteY407" fmla="*/ 93214 h 2789035"/>
                <a:gd name="connsiteX408" fmla="*/ 1320621 w 2061090"/>
                <a:gd name="connsiteY408" fmla="*/ 94740 h 2789035"/>
                <a:gd name="connsiteX409" fmla="*/ 1316263 w 2061090"/>
                <a:gd name="connsiteY409" fmla="*/ 97792 h 2789035"/>
                <a:gd name="connsiteX410" fmla="*/ 1311904 w 2061090"/>
                <a:gd name="connsiteY410" fmla="*/ 110000 h 2789035"/>
                <a:gd name="connsiteX411" fmla="*/ 1314083 w 2061090"/>
                <a:gd name="connsiteY411" fmla="*/ 126133 h 2789035"/>
                <a:gd name="connsiteX412" fmla="*/ 1312122 w 2061090"/>
                <a:gd name="connsiteY412" fmla="*/ 132673 h 2789035"/>
                <a:gd name="connsiteX413" fmla="*/ 1303188 w 2061090"/>
                <a:gd name="connsiteY413" fmla="*/ 134853 h 2789035"/>
                <a:gd name="connsiteX414" fmla="*/ 1299919 w 2061090"/>
                <a:gd name="connsiteY414" fmla="*/ 136815 h 2789035"/>
                <a:gd name="connsiteX415" fmla="*/ 1298830 w 2061090"/>
                <a:gd name="connsiteY415" fmla="*/ 140303 h 2789035"/>
                <a:gd name="connsiteX416" fmla="*/ 1295126 w 2061090"/>
                <a:gd name="connsiteY416" fmla="*/ 137687 h 2789035"/>
                <a:gd name="connsiteX417" fmla="*/ 1290767 w 2061090"/>
                <a:gd name="connsiteY417" fmla="*/ 130711 h 2789035"/>
                <a:gd name="connsiteX418" fmla="*/ 1293164 w 2061090"/>
                <a:gd name="connsiteY418" fmla="*/ 123517 h 2789035"/>
                <a:gd name="connsiteX419" fmla="*/ 1300137 w 2061090"/>
                <a:gd name="connsiteY419" fmla="*/ 109346 h 2789035"/>
                <a:gd name="connsiteX420" fmla="*/ 1291421 w 2061090"/>
                <a:gd name="connsiteY420" fmla="*/ 106512 h 2789035"/>
                <a:gd name="connsiteX421" fmla="*/ 1269412 w 2061090"/>
                <a:gd name="connsiteY421" fmla="*/ 94086 h 2789035"/>
                <a:gd name="connsiteX422" fmla="*/ 1265926 w 2061090"/>
                <a:gd name="connsiteY422" fmla="*/ 85801 h 2789035"/>
                <a:gd name="connsiteX423" fmla="*/ 1260478 w 2061090"/>
                <a:gd name="connsiteY423" fmla="*/ 92342 h 2789035"/>
                <a:gd name="connsiteX424" fmla="*/ 1231061 w 2061090"/>
                <a:gd name="connsiteY424" fmla="*/ 107602 h 2789035"/>
                <a:gd name="connsiteX425" fmla="*/ 1214936 w 2061090"/>
                <a:gd name="connsiteY425" fmla="*/ 110872 h 2789035"/>
                <a:gd name="connsiteX426" fmla="*/ 1223652 w 2061090"/>
                <a:gd name="connsiteY426" fmla="*/ 120465 h 2789035"/>
                <a:gd name="connsiteX427" fmla="*/ 1231932 w 2061090"/>
                <a:gd name="connsiteY427" fmla="*/ 124171 h 2789035"/>
                <a:gd name="connsiteX428" fmla="*/ 1235419 w 2061090"/>
                <a:gd name="connsiteY428" fmla="*/ 128967 h 2789035"/>
                <a:gd name="connsiteX429" fmla="*/ 1243264 w 2061090"/>
                <a:gd name="connsiteY429" fmla="*/ 123081 h 2789035"/>
                <a:gd name="connsiteX430" fmla="*/ 1253287 w 2061090"/>
                <a:gd name="connsiteY430" fmla="*/ 111526 h 2789035"/>
                <a:gd name="connsiteX431" fmla="*/ 1263529 w 2061090"/>
                <a:gd name="connsiteY431" fmla="*/ 107384 h 2789035"/>
                <a:gd name="connsiteX432" fmla="*/ 1279218 w 2061090"/>
                <a:gd name="connsiteY432" fmla="*/ 114142 h 2789035"/>
                <a:gd name="connsiteX433" fmla="*/ 1275078 w 2061090"/>
                <a:gd name="connsiteY433" fmla="*/ 115886 h 2789035"/>
                <a:gd name="connsiteX434" fmla="*/ 1274206 w 2061090"/>
                <a:gd name="connsiteY434" fmla="*/ 122209 h 2789035"/>
                <a:gd name="connsiteX435" fmla="*/ 1277693 w 2061090"/>
                <a:gd name="connsiteY435" fmla="*/ 133109 h 2789035"/>
                <a:gd name="connsiteX436" fmla="*/ 1266144 w 2061090"/>
                <a:gd name="connsiteY436" fmla="*/ 129403 h 2789035"/>
                <a:gd name="connsiteX437" fmla="*/ 1261786 w 2061090"/>
                <a:gd name="connsiteY437" fmla="*/ 122863 h 2789035"/>
                <a:gd name="connsiteX438" fmla="*/ 1252634 w 2061090"/>
                <a:gd name="connsiteY438" fmla="*/ 123517 h 2789035"/>
                <a:gd name="connsiteX439" fmla="*/ 1247840 w 2061090"/>
                <a:gd name="connsiteY439" fmla="*/ 143573 h 2789035"/>
                <a:gd name="connsiteX440" fmla="*/ 1260260 w 2061090"/>
                <a:gd name="connsiteY440" fmla="*/ 155564 h 2789035"/>
                <a:gd name="connsiteX441" fmla="*/ 1272681 w 2061090"/>
                <a:gd name="connsiteY441" fmla="*/ 153602 h 2789035"/>
                <a:gd name="connsiteX442" fmla="*/ 1269412 w 2061090"/>
                <a:gd name="connsiteY442" fmla="*/ 156654 h 2789035"/>
                <a:gd name="connsiteX443" fmla="*/ 1263529 w 2061090"/>
                <a:gd name="connsiteY443" fmla="*/ 162104 h 2789035"/>
                <a:gd name="connsiteX444" fmla="*/ 1258735 w 2061090"/>
                <a:gd name="connsiteY444" fmla="*/ 167772 h 2789035"/>
                <a:gd name="connsiteX445" fmla="*/ 1253069 w 2061090"/>
                <a:gd name="connsiteY445" fmla="*/ 168426 h 2789035"/>
                <a:gd name="connsiteX446" fmla="*/ 1249147 w 2061090"/>
                <a:gd name="connsiteY446" fmla="*/ 175184 h 2789035"/>
                <a:gd name="connsiteX447" fmla="*/ 1239123 w 2061090"/>
                <a:gd name="connsiteY447" fmla="*/ 191099 h 2789035"/>
                <a:gd name="connsiteX448" fmla="*/ 1235419 w 2061090"/>
                <a:gd name="connsiteY448" fmla="*/ 187175 h 2789035"/>
                <a:gd name="connsiteX449" fmla="*/ 1235855 w 2061090"/>
                <a:gd name="connsiteY449" fmla="*/ 167554 h 2789035"/>
                <a:gd name="connsiteX450" fmla="*/ 1228882 w 2061090"/>
                <a:gd name="connsiteY450" fmla="*/ 167118 h 2789035"/>
                <a:gd name="connsiteX451" fmla="*/ 1225395 w 2061090"/>
                <a:gd name="connsiteY451" fmla="*/ 160360 h 2789035"/>
                <a:gd name="connsiteX452" fmla="*/ 1232368 w 2061090"/>
                <a:gd name="connsiteY452" fmla="*/ 154474 h 2789035"/>
                <a:gd name="connsiteX453" fmla="*/ 1242174 w 2061090"/>
                <a:gd name="connsiteY453" fmla="*/ 153820 h 2789035"/>
                <a:gd name="connsiteX454" fmla="*/ 1239123 w 2061090"/>
                <a:gd name="connsiteY454" fmla="*/ 146625 h 2789035"/>
                <a:gd name="connsiteX455" fmla="*/ 1237162 w 2061090"/>
                <a:gd name="connsiteY455" fmla="*/ 137033 h 2789035"/>
                <a:gd name="connsiteX456" fmla="*/ 1234765 w 2061090"/>
                <a:gd name="connsiteY456" fmla="*/ 134635 h 2789035"/>
                <a:gd name="connsiteX457" fmla="*/ 1227356 w 2061090"/>
                <a:gd name="connsiteY457" fmla="*/ 133981 h 2789035"/>
                <a:gd name="connsiteX458" fmla="*/ 1220383 w 2061090"/>
                <a:gd name="connsiteY458" fmla="*/ 139649 h 2789035"/>
                <a:gd name="connsiteX459" fmla="*/ 1218204 w 2061090"/>
                <a:gd name="connsiteY459" fmla="*/ 145753 h 2789035"/>
                <a:gd name="connsiteX460" fmla="*/ 1216025 w 2061090"/>
                <a:gd name="connsiteY460" fmla="*/ 137251 h 2789035"/>
                <a:gd name="connsiteX461" fmla="*/ 1208180 w 2061090"/>
                <a:gd name="connsiteY461" fmla="*/ 129403 h 2789035"/>
                <a:gd name="connsiteX462" fmla="*/ 1207745 w 2061090"/>
                <a:gd name="connsiteY462" fmla="*/ 136379 h 2789035"/>
                <a:gd name="connsiteX463" fmla="*/ 1207745 w 2061090"/>
                <a:gd name="connsiteY463" fmla="*/ 141829 h 2789035"/>
                <a:gd name="connsiteX464" fmla="*/ 1205130 w 2061090"/>
                <a:gd name="connsiteY464" fmla="*/ 149460 h 2789035"/>
                <a:gd name="connsiteX465" fmla="*/ 1195978 w 2061090"/>
                <a:gd name="connsiteY465" fmla="*/ 137469 h 2789035"/>
                <a:gd name="connsiteX466" fmla="*/ 1190530 w 2061090"/>
                <a:gd name="connsiteY466" fmla="*/ 124825 h 2789035"/>
                <a:gd name="connsiteX467" fmla="*/ 1185518 w 2061090"/>
                <a:gd name="connsiteY467" fmla="*/ 118066 h 2789035"/>
                <a:gd name="connsiteX468" fmla="*/ 1181814 w 2061090"/>
                <a:gd name="connsiteY468" fmla="*/ 112616 h 2789035"/>
                <a:gd name="connsiteX469" fmla="*/ 1179417 w 2061090"/>
                <a:gd name="connsiteY469" fmla="*/ 107384 h 2789035"/>
                <a:gd name="connsiteX470" fmla="*/ 1189876 w 2061090"/>
                <a:gd name="connsiteY470" fmla="*/ 114796 h 2789035"/>
                <a:gd name="connsiteX471" fmla="*/ 1195106 w 2061090"/>
                <a:gd name="connsiteY471" fmla="*/ 119593 h 2789035"/>
                <a:gd name="connsiteX472" fmla="*/ 1201861 w 2061090"/>
                <a:gd name="connsiteY472" fmla="*/ 123735 h 2789035"/>
                <a:gd name="connsiteX473" fmla="*/ 1206437 w 2061090"/>
                <a:gd name="connsiteY473" fmla="*/ 116322 h 2789035"/>
                <a:gd name="connsiteX474" fmla="*/ 1203604 w 2061090"/>
                <a:gd name="connsiteY474" fmla="*/ 106512 h 2789035"/>
                <a:gd name="connsiteX475" fmla="*/ 1200772 w 2061090"/>
                <a:gd name="connsiteY475" fmla="*/ 108692 h 2789035"/>
                <a:gd name="connsiteX476" fmla="*/ 1198593 w 2061090"/>
                <a:gd name="connsiteY476" fmla="*/ 110872 h 2789035"/>
                <a:gd name="connsiteX477" fmla="*/ 1196413 w 2061090"/>
                <a:gd name="connsiteY477" fmla="*/ 106512 h 2789035"/>
                <a:gd name="connsiteX478" fmla="*/ 1188787 w 2061090"/>
                <a:gd name="connsiteY478" fmla="*/ 98446 h 2789035"/>
                <a:gd name="connsiteX479" fmla="*/ 1181160 w 2061090"/>
                <a:gd name="connsiteY479" fmla="*/ 88635 h 2789035"/>
                <a:gd name="connsiteX480" fmla="*/ 1186608 w 2061090"/>
                <a:gd name="connsiteY480" fmla="*/ 82531 h 2789035"/>
                <a:gd name="connsiteX481" fmla="*/ 1194234 w 2061090"/>
                <a:gd name="connsiteY481" fmla="*/ 87981 h 2789035"/>
                <a:gd name="connsiteX482" fmla="*/ 1204258 w 2061090"/>
                <a:gd name="connsiteY482" fmla="*/ 90161 h 2789035"/>
                <a:gd name="connsiteX483" fmla="*/ 1204258 w 2061090"/>
                <a:gd name="connsiteY483" fmla="*/ 83621 h 2789035"/>
                <a:gd name="connsiteX484" fmla="*/ 1197067 w 2061090"/>
                <a:gd name="connsiteY484" fmla="*/ 80351 h 2789035"/>
                <a:gd name="connsiteX485" fmla="*/ 1194234 w 2061090"/>
                <a:gd name="connsiteY485" fmla="*/ 77081 h 2789035"/>
                <a:gd name="connsiteX486" fmla="*/ 1197285 w 2061090"/>
                <a:gd name="connsiteY486" fmla="*/ 73811 h 2789035"/>
                <a:gd name="connsiteX487" fmla="*/ 1201425 w 2061090"/>
                <a:gd name="connsiteY487" fmla="*/ 71195 h 2789035"/>
                <a:gd name="connsiteX488" fmla="*/ 1209488 w 2061090"/>
                <a:gd name="connsiteY488" fmla="*/ 77299 h 2789035"/>
                <a:gd name="connsiteX489" fmla="*/ 1213846 w 2061090"/>
                <a:gd name="connsiteY489" fmla="*/ 81441 h 2789035"/>
                <a:gd name="connsiteX490" fmla="*/ 1218204 w 2061090"/>
                <a:gd name="connsiteY490" fmla="*/ 90379 h 2789035"/>
                <a:gd name="connsiteX491" fmla="*/ 1230407 w 2061090"/>
                <a:gd name="connsiteY491" fmla="*/ 91470 h 2789035"/>
                <a:gd name="connsiteX492" fmla="*/ 1234329 w 2061090"/>
                <a:gd name="connsiteY492" fmla="*/ 67271 h 2789035"/>
                <a:gd name="connsiteX493" fmla="*/ 1227138 w 2061090"/>
                <a:gd name="connsiteY493" fmla="*/ 58768 h 2789035"/>
                <a:gd name="connsiteX494" fmla="*/ 1219730 w 2061090"/>
                <a:gd name="connsiteY494" fmla="*/ 54844 h 2789035"/>
                <a:gd name="connsiteX495" fmla="*/ 1221473 w 2061090"/>
                <a:gd name="connsiteY495" fmla="*/ 62911 h 2789035"/>
                <a:gd name="connsiteX496" fmla="*/ 1226921 w 2061090"/>
                <a:gd name="connsiteY496" fmla="*/ 71631 h 2789035"/>
                <a:gd name="connsiteX497" fmla="*/ 1224741 w 2061090"/>
                <a:gd name="connsiteY497" fmla="*/ 80351 h 2789035"/>
                <a:gd name="connsiteX498" fmla="*/ 1222562 w 2061090"/>
                <a:gd name="connsiteY498" fmla="*/ 78389 h 2789035"/>
                <a:gd name="connsiteX499" fmla="*/ 1208616 w 2061090"/>
                <a:gd name="connsiteY499" fmla="*/ 64437 h 2789035"/>
                <a:gd name="connsiteX500" fmla="*/ 1206001 w 2061090"/>
                <a:gd name="connsiteY500" fmla="*/ 57460 h 2789035"/>
                <a:gd name="connsiteX501" fmla="*/ 1202951 w 2061090"/>
                <a:gd name="connsiteY501" fmla="*/ 52010 h 2789035"/>
                <a:gd name="connsiteX502" fmla="*/ 1195978 w 2061090"/>
                <a:gd name="connsiteY502" fmla="*/ 57460 h 2789035"/>
                <a:gd name="connsiteX503" fmla="*/ 1184429 w 2061090"/>
                <a:gd name="connsiteY503" fmla="*/ 48522 h 2789035"/>
                <a:gd name="connsiteX504" fmla="*/ 1186608 w 2061090"/>
                <a:gd name="connsiteY504" fmla="*/ 42636 h 2789035"/>
                <a:gd name="connsiteX505" fmla="*/ 1197067 w 2061090"/>
                <a:gd name="connsiteY505" fmla="*/ 44816 h 2789035"/>
                <a:gd name="connsiteX506" fmla="*/ 1206219 w 2061090"/>
                <a:gd name="connsiteY506" fmla="*/ 45688 h 2789035"/>
                <a:gd name="connsiteX507" fmla="*/ 1219076 w 2061090"/>
                <a:gd name="connsiteY507" fmla="*/ 40892 h 2789035"/>
                <a:gd name="connsiteX508" fmla="*/ 1221909 w 2061090"/>
                <a:gd name="connsiteY508" fmla="*/ 33262 h 2789035"/>
                <a:gd name="connsiteX509" fmla="*/ 1195106 w 2061090"/>
                <a:gd name="connsiteY509" fmla="*/ 32608 h 2789035"/>
                <a:gd name="connsiteX510" fmla="*/ 1181160 w 2061090"/>
                <a:gd name="connsiteY510" fmla="*/ 31299 h 2789035"/>
                <a:gd name="connsiteX511" fmla="*/ 1178981 w 2061090"/>
                <a:gd name="connsiteY511" fmla="*/ 28029 h 2789035"/>
                <a:gd name="connsiteX512" fmla="*/ 1173751 w 2061090"/>
                <a:gd name="connsiteY512" fmla="*/ 43726 h 2789035"/>
                <a:gd name="connsiteX513" fmla="*/ 1172226 w 2061090"/>
                <a:gd name="connsiteY513" fmla="*/ 51356 h 2789035"/>
                <a:gd name="connsiteX514" fmla="*/ 1172879 w 2061090"/>
                <a:gd name="connsiteY514" fmla="*/ 57242 h 2789035"/>
                <a:gd name="connsiteX515" fmla="*/ 1168086 w 2061090"/>
                <a:gd name="connsiteY515" fmla="*/ 91252 h 2789035"/>
                <a:gd name="connsiteX516" fmla="*/ 1171354 w 2061090"/>
                <a:gd name="connsiteY516" fmla="*/ 97792 h 2789035"/>
                <a:gd name="connsiteX517" fmla="*/ 1180506 w 2061090"/>
                <a:gd name="connsiteY517" fmla="*/ 96266 h 2789035"/>
                <a:gd name="connsiteX518" fmla="*/ 1180724 w 2061090"/>
                <a:gd name="connsiteY518" fmla="*/ 103460 h 2789035"/>
                <a:gd name="connsiteX519" fmla="*/ 1152614 w 2061090"/>
                <a:gd name="connsiteY519" fmla="*/ 106512 h 2789035"/>
                <a:gd name="connsiteX520" fmla="*/ 1156319 w 2061090"/>
                <a:gd name="connsiteY520" fmla="*/ 85583 h 2789035"/>
                <a:gd name="connsiteX521" fmla="*/ 1147602 w 2061090"/>
                <a:gd name="connsiteY521" fmla="*/ 82531 h 2789035"/>
                <a:gd name="connsiteX522" fmla="*/ 1141719 w 2061090"/>
                <a:gd name="connsiteY522" fmla="*/ 81223 h 2789035"/>
                <a:gd name="connsiteX523" fmla="*/ 1140193 w 2061090"/>
                <a:gd name="connsiteY523" fmla="*/ 72503 h 2789035"/>
                <a:gd name="connsiteX524" fmla="*/ 1133438 w 2061090"/>
                <a:gd name="connsiteY524" fmla="*/ 60948 h 2789035"/>
                <a:gd name="connsiteX525" fmla="*/ 1123632 w 2061090"/>
                <a:gd name="connsiteY525" fmla="*/ 58768 h 2789035"/>
                <a:gd name="connsiteX526" fmla="*/ 1118403 w 2061090"/>
                <a:gd name="connsiteY526" fmla="*/ 49830 h 2789035"/>
                <a:gd name="connsiteX527" fmla="*/ 1115570 w 2061090"/>
                <a:gd name="connsiteY527" fmla="*/ 44380 h 2789035"/>
                <a:gd name="connsiteX528" fmla="*/ 1106854 w 2061090"/>
                <a:gd name="connsiteY528" fmla="*/ 38930 h 2789035"/>
                <a:gd name="connsiteX529" fmla="*/ 1095740 w 2061090"/>
                <a:gd name="connsiteY529" fmla="*/ 35006 h 2789035"/>
                <a:gd name="connsiteX530" fmla="*/ 1090075 w 2061090"/>
                <a:gd name="connsiteY530" fmla="*/ 26939 h 2789035"/>
                <a:gd name="connsiteX531" fmla="*/ 1086370 w 2061090"/>
                <a:gd name="connsiteY531" fmla="*/ 14949 h 2789035"/>
                <a:gd name="connsiteX532" fmla="*/ 1093561 w 2061090"/>
                <a:gd name="connsiteY532" fmla="*/ 9935 h 2789035"/>
                <a:gd name="connsiteX533" fmla="*/ 1101842 w 2061090"/>
                <a:gd name="connsiteY533" fmla="*/ 16257 h 2789035"/>
                <a:gd name="connsiteX534" fmla="*/ 1103149 w 2061090"/>
                <a:gd name="connsiteY534" fmla="*/ 26939 h 2789035"/>
                <a:gd name="connsiteX535" fmla="*/ 1111212 w 2061090"/>
                <a:gd name="connsiteY535" fmla="*/ 31735 h 2789035"/>
                <a:gd name="connsiteX536" fmla="*/ 1120146 w 2061090"/>
                <a:gd name="connsiteY536" fmla="*/ 32389 h 2789035"/>
                <a:gd name="connsiteX537" fmla="*/ 1126683 w 2061090"/>
                <a:gd name="connsiteY537" fmla="*/ 32389 h 2789035"/>
                <a:gd name="connsiteX538" fmla="*/ 1140629 w 2061090"/>
                <a:gd name="connsiteY538" fmla="*/ 40020 h 2789035"/>
                <a:gd name="connsiteX539" fmla="*/ 1140629 w 2061090"/>
                <a:gd name="connsiteY539" fmla="*/ 51792 h 2789035"/>
                <a:gd name="connsiteX540" fmla="*/ 1142590 w 2061090"/>
                <a:gd name="connsiteY540" fmla="*/ 58550 h 2789035"/>
                <a:gd name="connsiteX541" fmla="*/ 1146949 w 2061090"/>
                <a:gd name="connsiteY541" fmla="*/ 63565 h 2789035"/>
                <a:gd name="connsiteX542" fmla="*/ 1153268 w 2061090"/>
                <a:gd name="connsiteY542" fmla="*/ 70541 h 2789035"/>
                <a:gd name="connsiteX543" fmla="*/ 1158933 w 2061090"/>
                <a:gd name="connsiteY543" fmla="*/ 77735 h 2789035"/>
                <a:gd name="connsiteX544" fmla="*/ 1165689 w 2061090"/>
                <a:gd name="connsiteY544" fmla="*/ 79479 h 2789035"/>
                <a:gd name="connsiteX545" fmla="*/ 1165906 w 2061090"/>
                <a:gd name="connsiteY545" fmla="*/ 71849 h 2789035"/>
                <a:gd name="connsiteX546" fmla="*/ 1165906 w 2061090"/>
                <a:gd name="connsiteY546" fmla="*/ 63129 h 2789035"/>
                <a:gd name="connsiteX547" fmla="*/ 1161548 w 2061090"/>
                <a:gd name="connsiteY547" fmla="*/ 58768 h 2789035"/>
                <a:gd name="connsiteX548" fmla="*/ 1155447 w 2061090"/>
                <a:gd name="connsiteY548" fmla="*/ 55934 h 2789035"/>
                <a:gd name="connsiteX549" fmla="*/ 1161548 w 2061090"/>
                <a:gd name="connsiteY549" fmla="*/ 49612 h 2789035"/>
                <a:gd name="connsiteX550" fmla="*/ 1166996 w 2061090"/>
                <a:gd name="connsiteY550" fmla="*/ 48304 h 2789035"/>
                <a:gd name="connsiteX551" fmla="*/ 1160895 w 2061090"/>
                <a:gd name="connsiteY551" fmla="*/ 45688 h 2789035"/>
                <a:gd name="connsiteX552" fmla="*/ 1152832 w 2061090"/>
                <a:gd name="connsiteY552" fmla="*/ 43290 h 2789035"/>
                <a:gd name="connsiteX553" fmla="*/ 1149781 w 2061090"/>
                <a:gd name="connsiteY553" fmla="*/ 37840 h 2789035"/>
                <a:gd name="connsiteX554" fmla="*/ 1144116 w 2061090"/>
                <a:gd name="connsiteY554" fmla="*/ 32389 h 2789035"/>
                <a:gd name="connsiteX555" fmla="*/ 1139758 w 2061090"/>
                <a:gd name="connsiteY555" fmla="*/ 29119 h 2789035"/>
                <a:gd name="connsiteX556" fmla="*/ 1141937 w 2061090"/>
                <a:gd name="connsiteY556" fmla="*/ 25849 h 2789035"/>
                <a:gd name="connsiteX557" fmla="*/ 1144116 w 2061090"/>
                <a:gd name="connsiteY557" fmla="*/ 22361 h 2789035"/>
                <a:gd name="connsiteX558" fmla="*/ 1140847 w 2061090"/>
                <a:gd name="connsiteY558" fmla="*/ 21489 h 2789035"/>
                <a:gd name="connsiteX559" fmla="*/ 1139322 w 2061090"/>
                <a:gd name="connsiteY559" fmla="*/ 16475 h 2789035"/>
                <a:gd name="connsiteX560" fmla="*/ 1144116 w 2061090"/>
                <a:gd name="connsiteY560" fmla="*/ 8845 h 2789035"/>
                <a:gd name="connsiteX561" fmla="*/ 916402 w 2061090"/>
                <a:gd name="connsiteY561" fmla="*/ 5139 h 2789035"/>
                <a:gd name="connsiteX562" fmla="*/ 739897 w 2061090"/>
                <a:gd name="connsiteY562" fmla="*/ 5139 h 2789035"/>
                <a:gd name="connsiteX563" fmla="*/ 740551 w 2061090"/>
                <a:gd name="connsiteY563" fmla="*/ 10371 h 2789035"/>
                <a:gd name="connsiteX564" fmla="*/ 738372 w 2061090"/>
                <a:gd name="connsiteY564" fmla="*/ 14513 h 2789035"/>
                <a:gd name="connsiteX565" fmla="*/ 735539 w 2061090"/>
                <a:gd name="connsiteY565" fmla="*/ 9281 h 2789035"/>
                <a:gd name="connsiteX566" fmla="*/ 664719 w 2061090"/>
                <a:gd name="connsiteY566" fmla="*/ 5139 h 2789035"/>
                <a:gd name="connsiteX567" fmla="*/ 593899 w 2061090"/>
                <a:gd name="connsiteY567" fmla="*/ 5139 h 2789035"/>
                <a:gd name="connsiteX568" fmla="*/ 593899 w 2061090"/>
                <a:gd name="connsiteY568" fmla="*/ 13859 h 2789035"/>
                <a:gd name="connsiteX569" fmla="*/ 589541 w 2061090"/>
                <a:gd name="connsiteY569" fmla="*/ 22579 h 2789035"/>
                <a:gd name="connsiteX570" fmla="*/ 586273 w 2061090"/>
                <a:gd name="connsiteY570" fmla="*/ 9499 h 2789035"/>
                <a:gd name="connsiteX571" fmla="*/ 586926 w 2061090"/>
                <a:gd name="connsiteY571" fmla="*/ 5575 h 2789035"/>
                <a:gd name="connsiteX572" fmla="*/ 532885 w 2061090"/>
                <a:gd name="connsiteY572" fmla="*/ 5357 h 2789035"/>
                <a:gd name="connsiteX573" fmla="*/ 473615 w 2061090"/>
                <a:gd name="connsiteY573" fmla="*/ 6229 h 2789035"/>
                <a:gd name="connsiteX574" fmla="*/ 466642 w 2061090"/>
                <a:gd name="connsiteY574" fmla="*/ 14513 h 2789035"/>
                <a:gd name="connsiteX575" fmla="*/ 466206 w 2061090"/>
                <a:gd name="connsiteY575" fmla="*/ 26939 h 2789035"/>
                <a:gd name="connsiteX576" fmla="*/ 477101 w 2061090"/>
                <a:gd name="connsiteY576" fmla="*/ 28683 h 2789035"/>
                <a:gd name="connsiteX577" fmla="*/ 481895 w 2061090"/>
                <a:gd name="connsiteY577" fmla="*/ 20399 h 2789035"/>
                <a:gd name="connsiteX578" fmla="*/ 483856 w 2061090"/>
                <a:gd name="connsiteY578" fmla="*/ 21053 h 2789035"/>
                <a:gd name="connsiteX579" fmla="*/ 488214 w 2061090"/>
                <a:gd name="connsiteY579" fmla="*/ 25849 h 2789035"/>
                <a:gd name="connsiteX580" fmla="*/ 490393 w 2061090"/>
                <a:gd name="connsiteY580" fmla="*/ 35878 h 2789035"/>
                <a:gd name="connsiteX581" fmla="*/ 486035 w 2061090"/>
                <a:gd name="connsiteY581" fmla="*/ 44816 h 2789035"/>
                <a:gd name="connsiteX582" fmla="*/ 478191 w 2061090"/>
                <a:gd name="connsiteY582" fmla="*/ 48958 h 2789035"/>
                <a:gd name="connsiteX583" fmla="*/ 468603 w 2061090"/>
                <a:gd name="connsiteY583" fmla="*/ 47650 h 2789035"/>
                <a:gd name="connsiteX584" fmla="*/ 460322 w 2061090"/>
                <a:gd name="connsiteY584" fmla="*/ 40020 h 2789035"/>
                <a:gd name="connsiteX585" fmla="*/ 458797 w 2061090"/>
                <a:gd name="connsiteY585" fmla="*/ 57024 h 2789035"/>
                <a:gd name="connsiteX586" fmla="*/ 456618 w 2061090"/>
                <a:gd name="connsiteY586" fmla="*/ 72503 h 2789035"/>
                <a:gd name="connsiteX587" fmla="*/ 446158 w 2061090"/>
                <a:gd name="connsiteY587" fmla="*/ 70759 h 2789035"/>
                <a:gd name="connsiteX588" fmla="*/ 438096 w 2061090"/>
                <a:gd name="connsiteY588" fmla="*/ 72721 h 2789035"/>
                <a:gd name="connsiteX589" fmla="*/ 436570 w 2061090"/>
                <a:gd name="connsiteY589" fmla="*/ 75991 h 2789035"/>
                <a:gd name="connsiteX590" fmla="*/ 429815 w 2061090"/>
                <a:gd name="connsiteY590" fmla="*/ 80133 h 2789035"/>
                <a:gd name="connsiteX591" fmla="*/ 431776 w 2061090"/>
                <a:gd name="connsiteY591" fmla="*/ 91252 h 2789035"/>
                <a:gd name="connsiteX592" fmla="*/ 432648 w 2061090"/>
                <a:gd name="connsiteY592" fmla="*/ 99318 h 2789035"/>
                <a:gd name="connsiteX593" fmla="*/ 438096 w 2061090"/>
                <a:gd name="connsiteY593" fmla="*/ 105640 h 2789035"/>
                <a:gd name="connsiteX594" fmla="*/ 445722 w 2061090"/>
                <a:gd name="connsiteY594" fmla="*/ 115232 h 2789035"/>
                <a:gd name="connsiteX595" fmla="*/ 439621 w 2061090"/>
                <a:gd name="connsiteY595" fmla="*/ 119593 h 2789035"/>
                <a:gd name="connsiteX596" fmla="*/ 426111 w 2061090"/>
                <a:gd name="connsiteY596" fmla="*/ 104332 h 2789035"/>
                <a:gd name="connsiteX597" fmla="*/ 421753 w 2061090"/>
                <a:gd name="connsiteY597" fmla="*/ 99100 h 2789035"/>
                <a:gd name="connsiteX598" fmla="*/ 416741 w 2061090"/>
                <a:gd name="connsiteY598" fmla="*/ 91688 h 2789035"/>
                <a:gd name="connsiteX599" fmla="*/ 411293 w 2061090"/>
                <a:gd name="connsiteY599" fmla="*/ 81441 h 2789035"/>
                <a:gd name="connsiteX600" fmla="*/ 401269 w 2061090"/>
                <a:gd name="connsiteY600" fmla="*/ 77953 h 2789035"/>
                <a:gd name="connsiteX601" fmla="*/ 396475 w 2061090"/>
                <a:gd name="connsiteY601" fmla="*/ 64655 h 2789035"/>
                <a:gd name="connsiteX602" fmla="*/ 396911 w 2061090"/>
                <a:gd name="connsiteY602" fmla="*/ 55716 h 2789035"/>
                <a:gd name="connsiteX603" fmla="*/ 389284 w 2061090"/>
                <a:gd name="connsiteY603" fmla="*/ 57024 h 2789035"/>
                <a:gd name="connsiteX604" fmla="*/ 380568 w 2061090"/>
                <a:gd name="connsiteY604" fmla="*/ 55062 h 2789035"/>
                <a:gd name="connsiteX605" fmla="*/ 384926 w 2061090"/>
                <a:gd name="connsiteY605" fmla="*/ 45470 h 2789035"/>
                <a:gd name="connsiteX606" fmla="*/ 386670 w 2061090"/>
                <a:gd name="connsiteY606" fmla="*/ 38930 h 2789035"/>
                <a:gd name="connsiteX607" fmla="*/ 387759 w 2061090"/>
                <a:gd name="connsiteY607" fmla="*/ 32389 h 2789035"/>
                <a:gd name="connsiteX608" fmla="*/ 390156 w 2061090"/>
                <a:gd name="connsiteY608" fmla="*/ 35006 h 2789035"/>
                <a:gd name="connsiteX609" fmla="*/ 394296 w 2061090"/>
                <a:gd name="connsiteY609" fmla="*/ 33698 h 2789035"/>
                <a:gd name="connsiteX610" fmla="*/ 408460 w 2061090"/>
                <a:gd name="connsiteY610" fmla="*/ 35006 h 2789035"/>
                <a:gd name="connsiteX611" fmla="*/ 406935 w 2061090"/>
                <a:gd name="connsiteY611" fmla="*/ 45470 h 2789035"/>
                <a:gd name="connsiteX612" fmla="*/ 404538 w 2061090"/>
                <a:gd name="connsiteY612" fmla="*/ 57024 h 2789035"/>
                <a:gd name="connsiteX613" fmla="*/ 405627 w 2061090"/>
                <a:gd name="connsiteY613" fmla="*/ 64655 h 2789035"/>
                <a:gd name="connsiteX614" fmla="*/ 410204 w 2061090"/>
                <a:gd name="connsiteY614" fmla="*/ 66181 h 2789035"/>
                <a:gd name="connsiteX615" fmla="*/ 414126 w 2061090"/>
                <a:gd name="connsiteY615" fmla="*/ 53754 h 2789035"/>
                <a:gd name="connsiteX616" fmla="*/ 418484 w 2061090"/>
                <a:gd name="connsiteY616" fmla="*/ 47650 h 2789035"/>
                <a:gd name="connsiteX617" fmla="*/ 423932 w 2061090"/>
                <a:gd name="connsiteY617" fmla="*/ 40892 h 2789035"/>
                <a:gd name="connsiteX618" fmla="*/ 425675 w 2061090"/>
                <a:gd name="connsiteY618" fmla="*/ 32608 h 2789035"/>
                <a:gd name="connsiteX619" fmla="*/ 436570 w 2061090"/>
                <a:gd name="connsiteY619" fmla="*/ 15167 h 2789035"/>
                <a:gd name="connsiteX620" fmla="*/ 443325 w 2061090"/>
                <a:gd name="connsiteY620" fmla="*/ 10589 h 2789035"/>
                <a:gd name="connsiteX621" fmla="*/ 451170 w 2061090"/>
                <a:gd name="connsiteY621" fmla="*/ 12769 h 2789035"/>
                <a:gd name="connsiteX622" fmla="*/ 443543 w 2061090"/>
                <a:gd name="connsiteY622" fmla="*/ 22361 h 2789035"/>
                <a:gd name="connsiteX623" fmla="*/ 435917 w 2061090"/>
                <a:gd name="connsiteY623" fmla="*/ 33480 h 2789035"/>
                <a:gd name="connsiteX624" fmla="*/ 441364 w 2061090"/>
                <a:gd name="connsiteY624" fmla="*/ 34570 h 2789035"/>
                <a:gd name="connsiteX625" fmla="*/ 449863 w 2061090"/>
                <a:gd name="connsiteY625" fmla="*/ 33480 h 2789035"/>
                <a:gd name="connsiteX626" fmla="*/ 460758 w 2061090"/>
                <a:gd name="connsiteY626" fmla="*/ 25413 h 2789035"/>
                <a:gd name="connsiteX627" fmla="*/ 459669 w 2061090"/>
                <a:gd name="connsiteY627" fmla="*/ 14513 h 2789035"/>
                <a:gd name="connsiteX628" fmla="*/ 460322 w 2061090"/>
                <a:gd name="connsiteY628" fmla="*/ 6229 h 2789035"/>
                <a:gd name="connsiteX629" fmla="*/ 438314 w 2061090"/>
                <a:gd name="connsiteY629" fmla="*/ 6229 h 2789035"/>
                <a:gd name="connsiteX630" fmla="*/ 414126 w 2061090"/>
                <a:gd name="connsiteY630" fmla="*/ 10153 h 2789035"/>
                <a:gd name="connsiteX631" fmla="*/ 409768 w 2061090"/>
                <a:gd name="connsiteY631" fmla="*/ 10153 h 2789035"/>
                <a:gd name="connsiteX632" fmla="*/ 401051 w 2061090"/>
                <a:gd name="connsiteY632" fmla="*/ 6229 h 2789035"/>
                <a:gd name="connsiteX633" fmla="*/ 394514 w 2061090"/>
                <a:gd name="connsiteY633" fmla="*/ 14949 h 2789035"/>
                <a:gd name="connsiteX634" fmla="*/ 391464 w 2061090"/>
                <a:gd name="connsiteY634" fmla="*/ 23669 h 2789035"/>
                <a:gd name="connsiteX635" fmla="*/ 384055 w 2061090"/>
                <a:gd name="connsiteY635" fmla="*/ 12551 h 2789035"/>
                <a:gd name="connsiteX636" fmla="*/ 374903 w 2061090"/>
                <a:gd name="connsiteY636" fmla="*/ 7755 h 2789035"/>
                <a:gd name="connsiteX637" fmla="*/ 363571 w 2061090"/>
                <a:gd name="connsiteY637" fmla="*/ 8191 h 2789035"/>
                <a:gd name="connsiteX638" fmla="*/ 362482 w 2061090"/>
                <a:gd name="connsiteY638" fmla="*/ 16693 h 2789035"/>
                <a:gd name="connsiteX639" fmla="*/ 358124 w 2061090"/>
                <a:gd name="connsiteY639" fmla="*/ 24541 h 2789035"/>
                <a:gd name="connsiteX640" fmla="*/ 353112 w 2061090"/>
                <a:gd name="connsiteY640" fmla="*/ 30645 h 2789035"/>
                <a:gd name="connsiteX641" fmla="*/ 345267 w 2061090"/>
                <a:gd name="connsiteY641" fmla="*/ 34352 h 2789035"/>
                <a:gd name="connsiteX642" fmla="*/ 339384 w 2061090"/>
                <a:gd name="connsiteY642" fmla="*/ 33262 h 2789035"/>
                <a:gd name="connsiteX643" fmla="*/ 330885 w 2061090"/>
                <a:gd name="connsiteY643" fmla="*/ 32171 h 2789035"/>
                <a:gd name="connsiteX644" fmla="*/ 318247 w 2061090"/>
                <a:gd name="connsiteY644" fmla="*/ 39148 h 2789035"/>
                <a:gd name="connsiteX645" fmla="*/ 321515 w 2061090"/>
                <a:gd name="connsiteY645" fmla="*/ 44598 h 2789035"/>
                <a:gd name="connsiteX646" fmla="*/ 323258 w 2061090"/>
                <a:gd name="connsiteY646" fmla="*/ 54190 h 2789035"/>
                <a:gd name="connsiteX647" fmla="*/ 307351 w 2061090"/>
                <a:gd name="connsiteY647" fmla="*/ 38276 h 2789035"/>
                <a:gd name="connsiteX648" fmla="*/ 311927 w 2061090"/>
                <a:gd name="connsiteY648" fmla="*/ 32608 h 2789035"/>
                <a:gd name="connsiteX649" fmla="*/ 315632 w 2061090"/>
                <a:gd name="connsiteY649" fmla="*/ 25413 h 2789035"/>
                <a:gd name="connsiteX650" fmla="*/ 321079 w 2061090"/>
                <a:gd name="connsiteY650" fmla="*/ 19745 h 2789035"/>
                <a:gd name="connsiteX651" fmla="*/ 332411 w 2061090"/>
                <a:gd name="connsiteY651" fmla="*/ 21489 h 2789035"/>
                <a:gd name="connsiteX652" fmla="*/ 342216 w 2061090"/>
                <a:gd name="connsiteY652" fmla="*/ 19309 h 2789035"/>
                <a:gd name="connsiteX653" fmla="*/ 346357 w 2061090"/>
                <a:gd name="connsiteY653" fmla="*/ 12769 h 2789035"/>
                <a:gd name="connsiteX654" fmla="*/ 352240 w 2061090"/>
                <a:gd name="connsiteY654" fmla="*/ 15167 h 2789035"/>
                <a:gd name="connsiteX655" fmla="*/ 355509 w 2061090"/>
                <a:gd name="connsiteY655" fmla="*/ 14731 h 2789035"/>
                <a:gd name="connsiteX656" fmla="*/ 356380 w 2061090"/>
                <a:gd name="connsiteY656" fmla="*/ 10371 h 2789035"/>
                <a:gd name="connsiteX657" fmla="*/ 314542 w 2061090"/>
                <a:gd name="connsiteY657" fmla="*/ 11025 h 2789035"/>
                <a:gd name="connsiteX658" fmla="*/ 311709 w 2061090"/>
                <a:gd name="connsiteY658" fmla="*/ 10807 h 2789035"/>
                <a:gd name="connsiteX659" fmla="*/ 287304 w 2061090"/>
                <a:gd name="connsiteY659" fmla="*/ 10371 h 2789035"/>
                <a:gd name="connsiteX660" fmla="*/ 285561 w 2061090"/>
                <a:gd name="connsiteY660" fmla="*/ 13859 h 2789035"/>
                <a:gd name="connsiteX661" fmla="*/ 294931 w 2061090"/>
                <a:gd name="connsiteY661" fmla="*/ 17347 h 2789035"/>
                <a:gd name="connsiteX662" fmla="*/ 299071 w 2061090"/>
                <a:gd name="connsiteY662" fmla="*/ 14949 h 2789035"/>
                <a:gd name="connsiteX663" fmla="*/ 294059 w 2061090"/>
                <a:gd name="connsiteY663" fmla="*/ 28465 h 2789035"/>
                <a:gd name="connsiteX664" fmla="*/ 289919 w 2061090"/>
                <a:gd name="connsiteY664" fmla="*/ 42418 h 2789035"/>
                <a:gd name="connsiteX665" fmla="*/ 295802 w 2061090"/>
                <a:gd name="connsiteY665" fmla="*/ 47650 h 2789035"/>
                <a:gd name="connsiteX666" fmla="*/ 298635 w 2061090"/>
                <a:gd name="connsiteY666" fmla="*/ 49394 h 2789035"/>
                <a:gd name="connsiteX667" fmla="*/ 285996 w 2061090"/>
                <a:gd name="connsiteY667" fmla="*/ 55498 h 2789035"/>
                <a:gd name="connsiteX668" fmla="*/ 277934 w 2061090"/>
                <a:gd name="connsiteY668" fmla="*/ 64873 h 2789035"/>
                <a:gd name="connsiteX669" fmla="*/ 283164 w 2061090"/>
                <a:gd name="connsiteY669" fmla="*/ 67271 h 2789035"/>
                <a:gd name="connsiteX670" fmla="*/ 292098 w 2061090"/>
                <a:gd name="connsiteY670" fmla="*/ 80787 h 2789035"/>
                <a:gd name="connsiteX671" fmla="*/ 300160 w 2061090"/>
                <a:gd name="connsiteY671" fmla="*/ 87327 h 2789035"/>
                <a:gd name="connsiteX672" fmla="*/ 300596 w 2061090"/>
                <a:gd name="connsiteY672" fmla="*/ 74901 h 2789035"/>
                <a:gd name="connsiteX673" fmla="*/ 305826 w 2061090"/>
                <a:gd name="connsiteY673" fmla="*/ 55498 h 2789035"/>
                <a:gd name="connsiteX674" fmla="*/ 310838 w 2061090"/>
                <a:gd name="connsiteY674" fmla="*/ 71631 h 2789035"/>
                <a:gd name="connsiteX675" fmla="*/ 308441 w 2061090"/>
                <a:gd name="connsiteY675" fmla="*/ 84275 h 2789035"/>
                <a:gd name="connsiteX676" fmla="*/ 311056 w 2061090"/>
                <a:gd name="connsiteY676" fmla="*/ 83185 h 2789035"/>
                <a:gd name="connsiteX677" fmla="*/ 317375 w 2061090"/>
                <a:gd name="connsiteY677" fmla="*/ 80351 h 2789035"/>
                <a:gd name="connsiteX678" fmla="*/ 322605 w 2061090"/>
                <a:gd name="connsiteY678" fmla="*/ 68361 h 2789035"/>
                <a:gd name="connsiteX679" fmla="*/ 327617 w 2061090"/>
                <a:gd name="connsiteY679" fmla="*/ 57024 h 2789035"/>
                <a:gd name="connsiteX680" fmla="*/ 332411 w 2061090"/>
                <a:gd name="connsiteY680" fmla="*/ 49830 h 2789035"/>
                <a:gd name="connsiteX681" fmla="*/ 342652 w 2061090"/>
                <a:gd name="connsiteY681" fmla="*/ 44816 h 2789035"/>
                <a:gd name="connsiteX682" fmla="*/ 341563 w 2061090"/>
                <a:gd name="connsiteY682" fmla="*/ 60294 h 2789035"/>
                <a:gd name="connsiteX683" fmla="*/ 332629 w 2061090"/>
                <a:gd name="connsiteY683" fmla="*/ 82095 h 2789035"/>
                <a:gd name="connsiteX684" fmla="*/ 327835 w 2061090"/>
                <a:gd name="connsiteY684" fmla="*/ 93650 h 2789035"/>
                <a:gd name="connsiteX685" fmla="*/ 322387 w 2061090"/>
                <a:gd name="connsiteY685" fmla="*/ 110000 h 2789035"/>
                <a:gd name="connsiteX686" fmla="*/ 327181 w 2061090"/>
                <a:gd name="connsiteY686" fmla="*/ 127441 h 2789035"/>
                <a:gd name="connsiteX687" fmla="*/ 328924 w 2061090"/>
                <a:gd name="connsiteY687" fmla="*/ 134199 h 2789035"/>
                <a:gd name="connsiteX688" fmla="*/ 333718 w 2061090"/>
                <a:gd name="connsiteY688" fmla="*/ 140739 h 2789035"/>
                <a:gd name="connsiteX689" fmla="*/ 340255 w 2061090"/>
                <a:gd name="connsiteY689" fmla="*/ 142701 h 2789035"/>
                <a:gd name="connsiteX690" fmla="*/ 345485 w 2061090"/>
                <a:gd name="connsiteY690" fmla="*/ 145753 h 2789035"/>
                <a:gd name="connsiteX691" fmla="*/ 348318 w 2061090"/>
                <a:gd name="connsiteY691" fmla="*/ 156218 h 2789035"/>
                <a:gd name="connsiteX692" fmla="*/ 351804 w 2061090"/>
                <a:gd name="connsiteY692" fmla="*/ 169080 h 2789035"/>
                <a:gd name="connsiteX693" fmla="*/ 354419 w 2061090"/>
                <a:gd name="connsiteY693" fmla="*/ 160796 h 2789035"/>
                <a:gd name="connsiteX694" fmla="*/ 358777 w 2061090"/>
                <a:gd name="connsiteY694" fmla="*/ 153166 h 2789035"/>
                <a:gd name="connsiteX695" fmla="*/ 367930 w 2061090"/>
                <a:gd name="connsiteY695" fmla="*/ 154910 h 2789035"/>
                <a:gd name="connsiteX696" fmla="*/ 363136 w 2061090"/>
                <a:gd name="connsiteY696" fmla="*/ 145753 h 2789035"/>
                <a:gd name="connsiteX697" fmla="*/ 353766 w 2061090"/>
                <a:gd name="connsiteY697" fmla="*/ 144445 h 2789035"/>
                <a:gd name="connsiteX698" fmla="*/ 352458 w 2061090"/>
                <a:gd name="connsiteY698" fmla="*/ 137905 h 2789035"/>
                <a:gd name="connsiteX699" fmla="*/ 353548 w 2061090"/>
                <a:gd name="connsiteY699" fmla="*/ 132673 h 2789035"/>
                <a:gd name="connsiteX700" fmla="*/ 349189 w 2061090"/>
                <a:gd name="connsiteY700" fmla="*/ 136161 h 2789035"/>
                <a:gd name="connsiteX701" fmla="*/ 343088 w 2061090"/>
                <a:gd name="connsiteY701" fmla="*/ 131583 h 2789035"/>
                <a:gd name="connsiteX702" fmla="*/ 338076 w 2061090"/>
                <a:gd name="connsiteY702" fmla="*/ 125479 h 2789035"/>
                <a:gd name="connsiteX703" fmla="*/ 331321 w 2061090"/>
                <a:gd name="connsiteY703" fmla="*/ 112180 h 2789035"/>
                <a:gd name="connsiteX704" fmla="*/ 333064 w 2061090"/>
                <a:gd name="connsiteY704" fmla="*/ 106294 h 2789035"/>
                <a:gd name="connsiteX705" fmla="*/ 336987 w 2061090"/>
                <a:gd name="connsiteY705" fmla="*/ 102588 h 2789035"/>
                <a:gd name="connsiteX706" fmla="*/ 341999 w 2061090"/>
                <a:gd name="connsiteY706" fmla="*/ 112398 h 2789035"/>
                <a:gd name="connsiteX707" fmla="*/ 350497 w 2061090"/>
                <a:gd name="connsiteY707" fmla="*/ 119811 h 2789035"/>
                <a:gd name="connsiteX708" fmla="*/ 362482 w 2061090"/>
                <a:gd name="connsiteY708" fmla="*/ 128967 h 2789035"/>
                <a:gd name="connsiteX709" fmla="*/ 367058 w 2061090"/>
                <a:gd name="connsiteY709" fmla="*/ 132673 h 2789035"/>
                <a:gd name="connsiteX710" fmla="*/ 371852 w 2061090"/>
                <a:gd name="connsiteY710" fmla="*/ 138777 h 2789035"/>
                <a:gd name="connsiteX711" fmla="*/ 375338 w 2061090"/>
                <a:gd name="connsiteY711" fmla="*/ 147279 h 2789035"/>
                <a:gd name="connsiteX712" fmla="*/ 376864 w 2061090"/>
                <a:gd name="connsiteY712" fmla="*/ 153820 h 2789035"/>
                <a:gd name="connsiteX713" fmla="*/ 384273 w 2061090"/>
                <a:gd name="connsiteY713" fmla="*/ 169080 h 2789035"/>
                <a:gd name="connsiteX714" fmla="*/ 386234 w 2061090"/>
                <a:gd name="connsiteY714" fmla="*/ 162540 h 2789035"/>
                <a:gd name="connsiteX715" fmla="*/ 392335 w 2061090"/>
                <a:gd name="connsiteY715" fmla="*/ 156654 h 2789035"/>
                <a:gd name="connsiteX716" fmla="*/ 400180 w 2061090"/>
                <a:gd name="connsiteY716" fmla="*/ 146843 h 2789035"/>
                <a:gd name="connsiteX717" fmla="*/ 394732 w 2061090"/>
                <a:gd name="connsiteY717" fmla="*/ 145535 h 2789035"/>
                <a:gd name="connsiteX718" fmla="*/ 381440 w 2061090"/>
                <a:gd name="connsiteY718" fmla="*/ 139213 h 2789035"/>
                <a:gd name="connsiteX719" fmla="*/ 377082 w 2061090"/>
                <a:gd name="connsiteY719" fmla="*/ 130493 h 2789035"/>
                <a:gd name="connsiteX720" fmla="*/ 379261 w 2061090"/>
                <a:gd name="connsiteY720" fmla="*/ 127223 h 2789035"/>
                <a:gd name="connsiteX721" fmla="*/ 382529 w 2061090"/>
                <a:gd name="connsiteY721" fmla="*/ 119593 h 2789035"/>
                <a:gd name="connsiteX722" fmla="*/ 386016 w 2061090"/>
                <a:gd name="connsiteY722" fmla="*/ 127005 h 2789035"/>
                <a:gd name="connsiteX723" fmla="*/ 384926 w 2061090"/>
                <a:gd name="connsiteY723" fmla="*/ 133545 h 2789035"/>
                <a:gd name="connsiteX724" fmla="*/ 395386 w 2061090"/>
                <a:gd name="connsiteY724" fmla="*/ 133763 h 2789035"/>
                <a:gd name="connsiteX725" fmla="*/ 402359 w 2061090"/>
                <a:gd name="connsiteY725" fmla="*/ 130493 h 2789035"/>
                <a:gd name="connsiteX726" fmla="*/ 414126 w 2061090"/>
                <a:gd name="connsiteY726" fmla="*/ 114142 h 2789035"/>
                <a:gd name="connsiteX727" fmla="*/ 420009 w 2061090"/>
                <a:gd name="connsiteY727" fmla="*/ 109782 h 2789035"/>
                <a:gd name="connsiteX728" fmla="*/ 426764 w 2061090"/>
                <a:gd name="connsiteY728" fmla="*/ 116540 h 2789035"/>
                <a:gd name="connsiteX729" fmla="*/ 421753 w 2061090"/>
                <a:gd name="connsiteY729" fmla="*/ 125697 h 2789035"/>
                <a:gd name="connsiteX730" fmla="*/ 416305 w 2061090"/>
                <a:gd name="connsiteY730" fmla="*/ 132237 h 2789035"/>
                <a:gd name="connsiteX731" fmla="*/ 413690 w 2061090"/>
                <a:gd name="connsiteY731" fmla="*/ 138777 h 2789035"/>
                <a:gd name="connsiteX732" fmla="*/ 414998 w 2061090"/>
                <a:gd name="connsiteY732" fmla="*/ 144227 h 2789035"/>
                <a:gd name="connsiteX733" fmla="*/ 415215 w 2061090"/>
                <a:gd name="connsiteY733" fmla="*/ 150114 h 2789035"/>
                <a:gd name="connsiteX734" fmla="*/ 416741 w 2061090"/>
                <a:gd name="connsiteY734" fmla="*/ 157090 h 2789035"/>
                <a:gd name="connsiteX735" fmla="*/ 418702 w 2061090"/>
                <a:gd name="connsiteY735" fmla="*/ 162976 h 2789035"/>
                <a:gd name="connsiteX736" fmla="*/ 414998 w 2061090"/>
                <a:gd name="connsiteY736" fmla="*/ 173004 h 2789035"/>
                <a:gd name="connsiteX737" fmla="*/ 414344 w 2061090"/>
                <a:gd name="connsiteY737" fmla="*/ 180853 h 2789035"/>
                <a:gd name="connsiteX738" fmla="*/ 423060 w 2061090"/>
                <a:gd name="connsiteY738" fmla="*/ 180417 h 2789035"/>
                <a:gd name="connsiteX739" fmla="*/ 433955 w 2061090"/>
                <a:gd name="connsiteY739" fmla="*/ 183469 h 2789035"/>
                <a:gd name="connsiteX740" fmla="*/ 439839 w 2061090"/>
                <a:gd name="connsiteY740" fmla="*/ 187175 h 2789035"/>
                <a:gd name="connsiteX741" fmla="*/ 446376 w 2061090"/>
                <a:gd name="connsiteY741" fmla="*/ 189791 h 2789035"/>
                <a:gd name="connsiteX742" fmla="*/ 445722 w 2061090"/>
                <a:gd name="connsiteY742" fmla="*/ 207668 h 2789035"/>
                <a:gd name="connsiteX743" fmla="*/ 442454 w 2061090"/>
                <a:gd name="connsiteY743" fmla="*/ 211810 h 2789035"/>
                <a:gd name="connsiteX744" fmla="*/ 439185 w 2061090"/>
                <a:gd name="connsiteY744" fmla="*/ 217696 h 2789035"/>
                <a:gd name="connsiteX745" fmla="*/ 436352 w 2061090"/>
                <a:gd name="connsiteY745" fmla="*/ 225108 h 2789035"/>
                <a:gd name="connsiteX746" fmla="*/ 435045 w 2061090"/>
                <a:gd name="connsiteY746" fmla="*/ 235354 h 2789035"/>
                <a:gd name="connsiteX747" fmla="*/ 436788 w 2061090"/>
                <a:gd name="connsiteY747" fmla="*/ 243639 h 2789035"/>
                <a:gd name="connsiteX748" fmla="*/ 440275 w 2061090"/>
                <a:gd name="connsiteY748" fmla="*/ 250833 h 2789035"/>
                <a:gd name="connsiteX749" fmla="*/ 445940 w 2061090"/>
                <a:gd name="connsiteY749" fmla="*/ 254103 h 2789035"/>
                <a:gd name="connsiteX750" fmla="*/ 456182 w 2061090"/>
                <a:gd name="connsiteY750" fmla="*/ 260425 h 2789035"/>
                <a:gd name="connsiteX751" fmla="*/ 464027 w 2061090"/>
                <a:gd name="connsiteY751" fmla="*/ 267838 h 2789035"/>
                <a:gd name="connsiteX752" fmla="*/ 474268 w 2061090"/>
                <a:gd name="connsiteY752" fmla="*/ 272198 h 2789035"/>
                <a:gd name="connsiteX753" fmla="*/ 476447 w 2061090"/>
                <a:gd name="connsiteY753" fmla="*/ 264567 h 2789035"/>
                <a:gd name="connsiteX754" fmla="*/ 469692 w 2061090"/>
                <a:gd name="connsiteY754" fmla="*/ 251923 h 2789035"/>
                <a:gd name="connsiteX755" fmla="*/ 466642 w 2061090"/>
                <a:gd name="connsiteY755" fmla="*/ 243857 h 2789035"/>
                <a:gd name="connsiteX756" fmla="*/ 468385 w 2061090"/>
                <a:gd name="connsiteY756" fmla="*/ 230776 h 2789035"/>
                <a:gd name="connsiteX757" fmla="*/ 479934 w 2061090"/>
                <a:gd name="connsiteY757" fmla="*/ 210066 h 2789035"/>
                <a:gd name="connsiteX758" fmla="*/ 486253 w 2061090"/>
                <a:gd name="connsiteY758" fmla="*/ 205487 h 2789035"/>
                <a:gd name="connsiteX759" fmla="*/ 496277 w 2061090"/>
                <a:gd name="connsiteY759" fmla="*/ 200037 h 2789035"/>
                <a:gd name="connsiteX760" fmla="*/ 502378 w 2061090"/>
                <a:gd name="connsiteY760" fmla="*/ 194587 h 2789035"/>
                <a:gd name="connsiteX761" fmla="*/ 512402 w 2061090"/>
                <a:gd name="connsiteY761" fmla="*/ 194369 h 2789035"/>
                <a:gd name="connsiteX762" fmla="*/ 517632 w 2061090"/>
                <a:gd name="connsiteY762" fmla="*/ 187611 h 2789035"/>
                <a:gd name="connsiteX763" fmla="*/ 523080 w 2061090"/>
                <a:gd name="connsiteY763" fmla="*/ 183469 h 2789035"/>
                <a:gd name="connsiteX764" fmla="*/ 532232 w 2061090"/>
                <a:gd name="connsiteY764" fmla="*/ 179327 h 2789035"/>
                <a:gd name="connsiteX765" fmla="*/ 532232 w 2061090"/>
                <a:gd name="connsiteY765" fmla="*/ 169516 h 2789035"/>
                <a:gd name="connsiteX766" fmla="*/ 529617 w 2061090"/>
                <a:gd name="connsiteY766" fmla="*/ 162322 h 2789035"/>
                <a:gd name="connsiteX767" fmla="*/ 549664 w 2061090"/>
                <a:gd name="connsiteY767" fmla="*/ 156218 h 2789035"/>
                <a:gd name="connsiteX768" fmla="*/ 554240 w 2061090"/>
                <a:gd name="connsiteY768" fmla="*/ 145753 h 2789035"/>
                <a:gd name="connsiteX769" fmla="*/ 533321 w 2061090"/>
                <a:gd name="connsiteY769" fmla="*/ 147497 h 2789035"/>
                <a:gd name="connsiteX770" fmla="*/ 525912 w 2061090"/>
                <a:gd name="connsiteY770" fmla="*/ 155128 h 2789035"/>
                <a:gd name="connsiteX771" fmla="*/ 520465 w 2061090"/>
                <a:gd name="connsiteY771" fmla="*/ 164284 h 2789035"/>
                <a:gd name="connsiteX772" fmla="*/ 515235 w 2061090"/>
                <a:gd name="connsiteY772" fmla="*/ 169298 h 2789035"/>
                <a:gd name="connsiteX773" fmla="*/ 508480 w 2061090"/>
                <a:gd name="connsiteY773" fmla="*/ 176274 h 2789035"/>
                <a:gd name="connsiteX774" fmla="*/ 502596 w 2061090"/>
                <a:gd name="connsiteY774" fmla="*/ 182815 h 2789035"/>
                <a:gd name="connsiteX775" fmla="*/ 496931 w 2061090"/>
                <a:gd name="connsiteY775" fmla="*/ 188483 h 2789035"/>
                <a:gd name="connsiteX776" fmla="*/ 489958 w 2061090"/>
                <a:gd name="connsiteY776" fmla="*/ 188047 h 2789035"/>
                <a:gd name="connsiteX777" fmla="*/ 490829 w 2061090"/>
                <a:gd name="connsiteY777" fmla="*/ 173876 h 2789035"/>
                <a:gd name="connsiteX778" fmla="*/ 494316 w 2061090"/>
                <a:gd name="connsiteY778" fmla="*/ 166900 h 2789035"/>
                <a:gd name="connsiteX779" fmla="*/ 504340 w 2061090"/>
                <a:gd name="connsiteY779" fmla="*/ 165592 h 2789035"/>
                <a:gd name="connsiteX780" fmla="*/ 496495 w 2061090"/>
                <a:gd name="connsiteY780" fmla="*/ 157526 h 2789035"/>
                <a:gd name="connsiteX781" fmla="*/ 489304 w 2061090"/>
                <a:gd name="connsiteY781" fmla="*/ 154692 h 2789035"/>
                <a:gd name="connsiteX782" fmla="*/ 489304 w 2061090"/>
                <a:gd name="connsiteY782" fmla="*/ 145753 h 2789035"/>
                <a:gd name="connsiteX783" fmla="*/ 498020 w 2061090"/>
                <a:gd name="connsiteY783" fmla="*/ 142701 h 2789035"/>
                <a:gd name="connsiteX784" fmla="*/ 508698 w 2061090"/>
                <a:gd name="connsiteY784" fmla="*/ 136161 h 2789035"/>
                <a:gd name="connsiteX785" fmla="*/ 510877 w 2061090"/>
                <a:gd name="connsiteY785" fmla="*/ 125043 h 2789035"/>
                <a:gd name="connsiteX786" fmla="*/ 519375 w 2061090"/>
                <a:gd name="connsiteY786" fmla="*/ 124607 h 2789035"/>
                <a:gd name="connsiteX787" fmla="*/ 522208 w 2061090"/>
                <a:gd name="connsiteY787" fmla="*/ 130493 h 2789035"/>
                <a:gd name="connsiteX788" fmla="*/ 512184 w 2061090"/>
                <a:gd name="connsiteY788" fmla="*/ 144009 h 2789035"/>
                <a:gd name="connsiteX789" fmla="*/ 521990 w 2061090"/>
                <a:gd name="connsiteY789" fmla="*/ 143573 h 2789035"/>
                <a:gd name="connsiteX790" fmla="*/ 530053 w 2061090"/>
                <a:gd name="connsiteY790" fmla="*/ 139213 h 2789035"/>
                <a:gd name="connsiteX791" fmla="*/ 533975 w 2061090"/>
                <a:gd name="connsiteY791" fmla="*/ 135943 h 2789035"/>
                <a:gd name="connsiteX792" fmla="*/ 538551 w 2061090"/>
                <a:gd name="connsiteY792" fmla="*/ 132673 h 2789035"/>
                <a:gd name="connsiteX793" fmla="*/ 542038 w 2061090"/>
                <a:gd name="connsiteY793" fmla="*/ 122427 h 2789035"/>
                <a:gd name="connsiteX794" fmla="*/ 543563 w 2061090"/>
                <a:gd name="connsiteY794" fmla="*/ 115886 h 2789035"/>
                <a:gd name="connsiteX795" fmla="*/ 555112 w 2061090"/>
                <a:gd name="connsiteY795" fmla="*/ 116104 h 2789035"/>
                <a:gd name="connsiteX796" fmla="*/ 546831 w 2061090"/>
                <a:gd name="connsiteY796" fmla="*/ 106076 h 2789035"/>
                <a:gd name="connsiteX797" fmla="*/ 531796 w 2061090"/>
                <a:gd name="connsiteY797" fmla="*/ 114142 h 2789035"/>
                <a:gd name="connsiteX798" fmla="*/ 511530 w 2061090"/>
                <a:gd name="connsiteY798" fmla="*/ 105640 h 2789035"/>
                <a:gd name="connsiteX799" fmla="*/ 499328 w 2061090"/>
                <a:gd name="connsiteY799" fmla="*/ 108256 h 2789035"/>
                <a:gd name="connsiteX800" fmla="*/ 492355 w 2061090"/>
                <a:gd name="connsiteY800" fmla="*/ 110436 h 2789035"/>
                <a:gd name="connsiteX801" fmla="*/ 486035 w 2061090"/>
                <a:gd name="connsiteY801" fmla="*/ 106512 h 2789035"/>
                <a:gd name="connsiteX802" fmla="*/ 481677 w 2061090"/>
                <a:gd name="connsiteY802" fmla="*/ 104986 h 2789035"/>
                <a:gd name="connsiteX803" fmla="*/ 480370 w 2061090"/>
                <a:gd name="connsiteY803" fmla="*/ 98228 h 2789035"/>
                <a:gd name="connsiteX804" fmla="*/ 479062 w 2061090"/>
                <a:gd name="connsiteY804" fmla="*/ 93432 h 2789035"/>
                <a:gd name="connsiteX805" fmla="*/ 504557 w 2061090"/>
                <a:gd name="connsiteY805" fmla="*/ 94522 h 2789035"/>
                <a:gd name="connsiteX806" fmla="*/ 533975 w 2061090"/>
                <a:gd name="connsiteY806" fmla="*/ 92342 h 2789035"/>
                <a:gd name="connsiteX807" fmla="*/ 542691 w 2061090"/>
                <a:gd name="connsiteY807" fmla="*/ 94740 h 2789035"/>
                <a:gd name="connsiteX808" fmla="*/ 549228 w 2061090"/>
                <a:gd name="connsiteY808" fmla="*/ 94522 h 2789035"/>
                <a:gd name="connsiteX809" fmla="*/ 546831 w 2061090"/>
                <a:gd name="connsiteY809" fmla="*/ 87327 h 2789035"/>
                <a:gd name="connsiteX810" fmla="*/ 522644 w 2061090"/>
                <a:gd name="connsiteY810" fmla="*/ 82313 h 2789035"/>
                <a:gd name="connsiteX811" fmla="*/ 519375 w 2061090"/>
                <a:gd name="connsiteY811" fmla="*/ 77081 h 2789035"/>
                <a:gd name="connsiteX812" fmla="*/ 523515 w 2061090"/>
                <a:gd name="connsiteY812" fmla="*/ 71195 h 2789035"/>
                <a:gd name="connsiteX813" fmla="*/ 525259 w 2061090"/>
                <a:gd name="connsiteY813" fmla="*/ 66181 h 2789035"/>
                <a:gd name="connsiteX814" fmla="*/ 527438 w 2061090"/>
                <a:gd name="connsiteY814" fmla="*/ 67271 h 2789035"/>
                <a:gd name="connsiteX815" fmla="*/ 532668 w 2061090"/>
                <a:gd name="connsiteY815" fmla="*/ 68579 h 2789035"/>
                <a:gd name="connsiteX816" fmla="*/ 539205 w 2061090"/>
                <a:gd name="connsiteY816" fmla="*/ 70977 h 2789035"/>
                <a:gd name="connsiteX817" fmla="*/ 538987 w 2061090"/>
                <a:gd name="connsiteY817" fmla="*/ 66835 h 2789035"/>
                <a:gd name="connsiteX818" fmla="*/ 542255 w 2061090"/>
                <a:gd name="connsiteY818" fmla="*/ 58550 h 2789035"/>
                <a:gd name="connsiteX819" fmla="*/ 548139 w 2061090"/>
                <a:gd name="connsiteY819" fmla="*/ 56370 h 2789035"/>
                <a:gd name="connsiteX820" fmla="*/ 552061 w 2061090"/>
                <a:gd name="connsiteY820" fmla="*/ 55716 h 2789035"/>
                <a:gd name="connsiteX821" fmla="*/ 559034 w 2061090"/>
                <a:gd name="connsiteY821" fmla="*/ 57460 h 2789035"/>
                <a:gd name="connsiteX822" fmla="*/ 564046 w 2061090"/>
                <a:gd name="connsiteY822" fmla="*/ 64655 h 2789035"/>
                <a:gd name="connsiteX823" fmla="*/ 559470 w 2061090"/>
                <a:gd name="connsiteY823" fmla="*/ 69015 h 2789035"/>
                <a:gd name="connsiteX824" fmla="*/ 554022 w 2061090"/>
                <a:gd name="connsiteY824" fmla="*/ 70105 h 2789035"/>
                <a:gd name="connsiteX825" fmla="*/ 551843 w 2061090"/>
                <a:gd name="connsiteY825" fmla="*/ 80569 h 2789035"/>
                <a:gd name="connsiteX826" fmla="*/ 559034 w 2061090"/>
                <a:gd name="connsiteY826" fmla="*/ 82531 h 2789035"/>
                <a:gd name="connsiteX827" fmla="*/ 564482 w 2061090"/>
                <a:gd name="connsiteY827" fmla="*/ 88635 h 2789035"/>
                <a:gd name="connsiteX828" fmla="*/ 564264 w 2061090"/>
                <a:gd name="connsiteY828" fmla="*/ 107602 h 2789035"/>
                <a:gd name="connsiteX829" fmla="*/ 561867 w 2061090"/>
                <a:gd name="connsiteY829" fmla="*/ 121119 h 2789035"/>
                <a:gd name="connsiteX830" fmla="*/ 562303 w 2061090"/>
                <a:gd name="connsiteY830" fmla="*/ 129403 h 2789035"/>
                <a:gd name="connsiteX831" fmla="*/ 562739 w 2061090"/>
                <a:gd name="connsiteY831" fmla="*/ 135289 h 2789035"/>
                <a:gd name="connsiteX832" fmla="*/ 562957 w 2061090"/>
                <a:gd name="connsiteY832" fmla="*/ 143573 h 2789035"/>
                <a:gd name="connsiteX833" fmla="*/ 577556 w 2061090"/>
                <a:gd name="connsiteY833" fmla="*/ 153384 h 2789035"/>
                <a:gd name="connsiteX834" fmla="*/ 585837 w 2061090"/>
                <a:gd name="connsiteY834" fmla="*/ 157744 h 2789035"/>
                <a:gd name="connsiteX835" fmla="*/ 599347 w 2061090"/>
                <a:gd name="connsiteY835" fmla="*/ 150114 h 2789035"/>
                <a:gd name="connsiteX836" fmla="*/ 611114 w 2061090"/>
                <a:gd name="connsiteY836" fmla="*/ 149896 h 2789035"/>
                <a:gd name="connsiteX837" fmla="*/ 617869 w 2061090"/>
                <a:gd name="connsiteY837" fmla="*/ 156872 h 2789035"/>
                <a:gd name="connsiteX838" fmla="*/ 612204 w 2061090"/>
                <a:gd name="connsiteY838" fmla="*/ 155564 h 2789035"/>
                <a:gd name="connsiteX839" fmla="*/ 600437 w 2061090"/>
                <a:gd name="connsiteY839" fmla="*/ 164284 h 2789035"/>
                <a:gd name="connsiteX840" fmla="*/ 596950 w 2061090"/>
                <a:gd name="connsiteY840" fmla="*/ 176928 h 2789035"/>
                <a:gd name="connsiteX841" fmla="*/ 599347 w 2061090"/>
                <a:gd name="connsiteY841" fmla="*/ 175838 h 2789035"/>
                <a:gd name="connsiteX842" fmla="*/ 606974 w 2061090"/>
                <a:gd name="connsiteY842" fmla="*/ 171914 h 2789035"/>
                <a:gd name="connsiteX843" fmla="*/ 605884 w 2061090"/>
                <a:gd name="connsiteY843" fmla="*/ 178455 h 2789035"/>
                <a:gd name="connsiteX844" fmla="*/ 608063 w 2061090"/>
                <a:gd name="connsiteY844" fmla="*/ 186521 h 2789035"/>
                <a:gd name="connsiteX845" fmla="*/ 608281 w 2061090"/>
                <a:gd name="connsiteY845" fmla="*/ 193715 h 2789035"/>
                <a:gd name="connsiteX846" fmla="*/ 603923 w 2061090"/>
                <a:gd name="connsiteY846" fmla="*/ 208322 h 2789035"/>
                <a:gd name="connsiteX847" fmla="*/ 616780 w 2061090"/>
                <a:gd name="connsiteY847" fmla="*/ 220966 h 2789035"/>
                <a:gd name="connsiteX848" fmla="*/ 621138 w 2061090"/>
                <a:gd name="connsiteY848" fmla="*/ 226416 h 2789035"/>
                <a:gd name="connsiteX849" fmla="*/ 626150 w 2061090"/>
                <a:gd name="connsiteY849" fmla="*/ 231648 h 2789035"/>
                <a:gd name="connsiteX850" fmla="*/ 627457 w 2061090"/>
                <a:gd name="connsiteY850" fmla="*/ 236663 h 2789035"/>
                <a:gd name="connsiteX851" fmla="*/ 633559 w 2061090"/>
                <a:gd name="connsiteY851" fmla="*/ 244293 h 2789035"/>
                <a:gd name="connsiteX852" fmla="*/ 643582 w 2061090"/>
                <a:gd name="connsiteY852" fmla="*/ 247127 h 2789035"/>
                <a:gd name="connsiteX853" fmla="*/ 639660 w 2061090"/>
                <a:gd name="connsiteY853" fmla="*/ 233392 h 2789035"/>
                <a:gd name="connsiteX854" fmla="*/ 635520 w 2061090"/>
                <a:gd name="connsiteY854" fmla="*/ 220966 h 2789035"/>
                <a:gd name="connsiteX855" fmla="*/ 643147 w 2061090"/>
                <a:gd name="connsiteY855" fmla="*/ 217042 h 2789035"/>
                <a:gd name="connsiteX856" fmla="*/ 647505 w 2061090"/>
                <a:gd name="connsiteY856" fmla="*/ 225108 h 2789035"/>
                <a:gd name="connsiteX857" fmla="*/ 648158 w 2061090"/>
                <a:gd name="connsiteY857" fmla="*/ 230558 h 2789035"/>
                <a:gd name="connsiteX858" fmla="*/ 659054 w 2061090"/>
                <a:gd name="connsiteY858" fmla="*/ 229904 h 2789035"/>
                <a:gd name="connsiteX859" fmla="*/ 667988 w 2061090"/>
                <a:gd name="connsiteY859" fmla="*/ 230776 h 2789035"/>
                <a:gd name="connsiteX860" fmla="*/ 679101 w 2061090"/>
                <a:gd name="connsiteY860" fmla="*/ 225108 h 2789035"/>
                <a:gd name="connsiteX861" fmla="*/ 683024 w 2061090"/>
                <a:gd name="connsiteY861" fmla="*/ 220748 h 2789035"/>
                <a:gd name="connsiteX862" fmla="*/ 689997 w 2061090"/>
                <a:gd name="connsiteY862" fmla="*/ 219658 h 2789035"/>
                <a:gd name="connsiteX863" fmla="*/ 695444 w 2061090"/>
                <a:gd name="connsiteY863" fmla="*/ 218350 h 2789035"/>
                <a:gd name="connsiteX864" fmla="*/ 704379 w 2061090"/>
                <a:gd name="connsiteY864" fmla="*/ 215516 h 2789035"/>
                <a:gd name="connsiteX865" fmla="*/ 706340 w 2061090"/>
                <a:gd name="connsiteY865" fmla="*/ 208322 h 2789035"/>
                <a:gd name="connsiteX866" fmla="*/ 709608 w 2061090"/>
                <a:gd name="connsiteY866" fmla="*/ 200255 h 2789035"/>
                <a:gd name="connsiteX867" fmla="*/ 712223 w 2061090"/>
                <a:gd name="connsiteY867" fmla="*/ 196549 h 2789035"/>
                <a:gd name="connsiteX868" fmla="*/ 705686 w 2061090"/>
                <a:gd name="connsiteY868" fmla="*/ 192625 h 2789035"/>
                <a:gd name="connsiteX869" fmla="*/ 694355 w 2061090"/>
                <a:gd name="connsiteY869" fmla="*/ 186521 h 2789035"/>
                <a:gd name="connsiteX870" fmla="*/ 685421 w 2061090"/>
                <a:gd name="connsiteY870" fmla="*/ 181289 h 2789035"/>
                <a:gd name="connsiteX871" fmla="*/ 678230 w 2061090"/>
                <a:gd name="connsiteY871" fmla="*/ 171696 h 2789035"/>
                <a:gd name="connsiteX872" fmla="*/ 669513 w 2061090"/>
                <a:gd name="connsiteY872" fmla="*/ 170824 h 2789035"/>
                <a:gd name="connsiteX873" fmla="*/ 664066 w 2061090"/>
                <a:gd name="connsiteY873" fmla="*/ 177364 h 2789035"/>
                <a:gd name="connsiteX874" fmla="*/ 658618 w 2061090"/>
                <a:gd name="connsiteY874" fmla="*/ 185431 h 2789035"/>
                <a:gd name="connsiteX875" fmla="*/ 646633 w 2061090"/>
                <a:gd name="connsiteY875" fmla="*/ 191753 h 2789035"/>
                <a:gd name="connsiteX876" fmla="*/ 638788 w 2061090"/>
                <a:gd name="connsiteY876" fmla="*/ 200909 h 2789035"/>
                <a:gd name="connsiteX877" fmla="*/ 623099 w 2061090"/>
                <a:gd name="connsiteY877" fmla="*/ 206577 h 2789035"/>
                <a:gd name="connsiteX878" fmla="*/ 615908 w 2061090"/>
                <a:gd name="connsiteY878" fmla="*/ 190227 h 2789035"/>
                <a:gd name="connsiteX879" fmla="*/ 614601 w 2061090"/>
                <a:gd name="connsiteY879" fmla="*/ 179327 h 2789035"/>
                <a:gd name="connsiteX880" fmla="*/ 615254 w 2061090"/>
                <a:gd name="connsiteY880" fmla="*/ 170170 h 2789035"/>
                <a:gd name="connsiteX881" fmla="*/ 618959 w 2061090"/>
                <a:gd name="connsiteY881" fmla="*/ 162976 h 2789035"/>
                <a:gd name="connsiteX882" fmla="*/ 621138 w 2061090"/>
                <a:gd name="connsiteY882" fmla="*/ 157526 h 2789035"/>
                <a:gd name="connsiteX883" fmla="*/ 620048 w 2061090"/>
                <a:gd name="connsiteY883" fmla="*/ 152294 h 2789035"/>
                <a:gd name="connsiteX884" fmla="*/ 616780 w 2061090"/>
                <a:gd name="connsiteY884" fmla="*/ 145535 h 2789035"/>
                <a:gd name="connsiteX885" fmla="*/ 611332 w 2061090"/>
                <a:gd name="connsiteY885" fmla="*/ 138777 h 2789035"/>
                <a:gd name="connsiteX886" fmla="*/ 608281 w 2061090"/>
                <a:gd name="connsiteY886" fmla="*/ 128967 h 2789035"/>
                <a:gd name="connsiteX887" fmla="*/ 616780 w 2061090"/>
                <a:gd name="connsiteY887" fmla="*/ 133109 h 2789035"/>
                <a:gd name="connsiteX888" fmla="*/ 621792 w 2061090"/>
                <a:gd name="connsiteY888" fmla="*/ 136597 h 2789035"/>
                <a:gd name="connsiteX889" fmla="*/ 627239 w 2061090"/>
                <a:gd name="connsiteY889" fmla="*/ 119811 h 2789035"/>
                <a:gd name="connsiteX890" fmla="*/ 627893 w 2061090"/>
                <a:gd name="connsiteY890" fmla="*/ 103678 h 2789035"/>
                <a:gd name="connsiteX891" fmla="*/ 622227 w 2061090"/>
                <a:gd name="connsiteY891" fmla="*/ 104768 h 2789035"/>
                <a:gd name="connsiteX892" fmla="*/ 616780 w 2061090"/>
                <a:gd name="connsiteY892" fmla="*/ 102588 h 2789035"/>
                <a:gd name="connsiteX893" fmla="*/ 611332 w 2061090"/>
                <a:gd name="connsiteY893" fmla="*/ 103024 h 2789035"/>
                <a:gd name="connsiteX894" fmla="*/ 603705 w 2061090"/>
                <a:gd name="connsiteY894" fmla="*/ 106512 h 2789035"/>
                <a:gd name="connsiteX895" fmla="*/ 605013 w 2061090"/>
                <a:gd name="connsiteY895" fmla="*/ 95176 h 2789035"/>
                <a:gd name="connsiteX896" fmla="*/ 606102 w 2061090"/>
                <a:gd name="connsiteY896" fmla="*/ 88417 h 2789035"/>
                <a:gd name="connsiteX897" fmla="*/ 606756 w 2061090"/>
                <a:gd name="connsiteY897" fmla="*/ 82531 h 2789035"/>
                <a:gd name="connsiteX898" fmla="*/ 608281 w 2061090"/>
                <a:gd name="connsiteY898" fmla="*/ 67707 h 2789035"/>
                <a:gd name="connsiteX899" fmla="*/ 603487 w 2061090"/>
                <a:gd name="connsiteY899" fmla="*/ 56370 h 2789035"/>
                <a:gd name="connsiteX900" fmla="*/ 607628 w 2061090"/>
                <a:gd name="connsiteY900" fmla="*/ 31953 h 2789035"/>
                <a:gd name="connsiteX901" fmla="*/ 608063 w 2061090"/>
                <a:gd name="connsiteY901" fmla="*/ 25849 h 2789035"/>
                <a:gd name="connsiteX902" fmla="*/ 615908 w 2061090"/>
                <a:gd name="connsiteY902" fmla="*/ 19527 h 2789035"/>
                <a:gd name="connsiteX903" fmla="*/ 624189 w 2061090"/>
                <a:gd name="connsiteY903" fmla="*/ 16475 h 2789035"/>
                <a:gd name="connsiteX904" fmla="*/ 640314 w 2061090"/>
                <a:gd name="connsiteY904" fmla="*/ 10589 h 2789035"/>
                <a:gd name="connsiteX905" fmla="*/ 652517 w 2061090"/>
                <a:gd name="connsiteY905" fmla="*/ 24105 h 2789035"/>
                <a:gd name="connsiteX906" fmla="*/ 655567 w 2061090"/>
                <a:gd name="connsiteY906" fmla="*/ 30645 h 2789035"/>
                <a:gd name="connsiteX907" fmla="*/ 654914 w 2061090"/>
                <a:gd name="connsiteY907" fmla="*/ 38930 h 2789035"/>
                <a:gd name="connsiteX908" fmla="*/ 651645 w 2061090"/>
                <a:gd name="connsiteY908" fmla="*/ 35660 h 2789035"/>
                <a:gd name="connsiteX909" fmla="*/ 642493 w 2061090"/>
                <a:gd name="connsiteY909" fmla="*/ 38930 h 2789035"/>
                <a:gd name="connsiteX910" fmla="*/ 632033 w 2061090"/>
                <a:gd name="connsiteY910" fmla="*/ 43290 h 2789035"/>
                <a:gd name="connsiteX911" fmla="*/ 629854 w 2061090"/>
                <a:gd name="connsiteY911" fmla="*/ 41110 h 2789035"/>
                <a:gd name="connsiteX912" fmla="*/ 627893 w 2061090"/>
                <a:gd name="connsiteY912" fmla="*/ 46124 h 2789035"/>
                <a:gd name="connsiteX913" fmla="*/ 620048 w 2061090"/>
                <a:gd name="connsiteY913" fmla="*/ 57896 h 2789035"/>
                <a:gd name="connsiteX914" fmla="*/ 611332 w 2061090"/>
                <a:gd name="connsiteY914" fmla="*/ 65091 h 2789035"/>
                <a:gd name="connsiteX915" fmla="*/ 622227 w 2061090"/>
                <a:gd name="connsiteY915" fmla="*/ 69451 h 2789035"/>
                <a:gd name="connsiteX916" fmla="*/ 638571 w 2061090"/>
                <a:gd name="connsiteY916" fmla="*/ 59422 h 2789035"/>
                <a:gd name="connsiteX917" fmla="*/ 642929 w 2061090"/>
                <a:gd name="connsiteY917" fmla="*/ 52010 h 2789035"/>
                <a:gd name="connsiteX918" fmla="*/ 647287 w 2061090"/>
                <a:gd name="connsiteY918" fmla="*/ 47650 h 2789035"/>
                <a:gd name="connsiteX919" fmla="*/ 656875 w 2061090"/>
                <a:gd name="connsiteY919" fmla="*/ 43072 h 2789035"/>
                <a:gd name="connsiteX920" fmla="*/ 672128 w 2061090"/>
                <a:gd name="connsiteY920" fmla="*/ 45688 h 2789035"/>
                <a:gd name="connsiteX921" fmla="*/ 684331 w 2061090"/>
                <a:gd name="connsiteY921" fmla="*/ 46996 h 2789035"/>
                <a:gd name="connsiteX922" fmla="*/ 678883 w 2061090"/>
                <a:gd name="connsiteY922" fmla="*/ 49830 h 2789035"/>
                <a:gd name="connsiteX923" fmla="*/ 678448 w 2061090"/>
                <a:gd name="connsiteY923" fmla="*/ 58986 h 2789035"/>
                <a:gd name="connsiteX924" fmla="*/ 683895 w 2061090"/>
                <a:gd name="connsiteY924" fmla="*/ 64219 h 2789035"/>
                <a:gd name="connsiteX925" fmla="*/ 677794 w 2061090"/>
                <a:gd name="connsiteY925" fmla="*/ 69887 h 2789035"/>
                <a:gd name="connsiteX926" fmla="*/ 666898 w 2061090"/>
                <a:gd name="connsiteY926" fmla="*/ 67925 h 2789035"/>
                <a:gd name="connsiteX927" fmla="*/ 659054 w 2061090"/>
                <a:gd name="connsiteY927" fmla="*/ 74901 h 2789035"/>
                <a:gd name="connsiteX928" fmla="*/ 657964 w 2061090"/>
                <a:gd name="connsiteY928" fmla="*/ 82967 h 2789035"/>
                <a:gd name="connsiteX929" fmla="*/ 657528 w 2061090"/>
                <a:gd name="connsiteY929" fmla="*/ 93432 h 2789035"/>
                <a:gd name="connsiteX930" fmla="*/ 659272 w 2061090"/>
                <a:gd name="connsiteY930" fmla="*/ 102806 h 2789035"/>
                <a:gd name="connsiteX931" fmla="*/ 670167 w 2061090"/>
                <a:gd name="connsiteY931" fmla="*/ 91688 h 2789035"/>
                <a:gd name="connsiteX932" fmla="*/ 685856 w 2061090"/>
                <a:gd name="connsiteY932" fmla="*/ 80351 h 2789035"/>
                <a:gd name="connsiteX933" fmla="*/ 700456 w 2061090"/>
                <a:gd name="connsiteY933" fmla="*/ 101062 h 2789035"/>
                <a:gd name="connsiteX934" fmla="*/ 707647 w 2061090"/>
                <a:gd name="connsiteY934" fmla="*/ 108910 h 2789035"/>
                <a:gd name="connsiteX935" fmla="*/ 711569 w 2061090"/>
                <a:gd name="connsiteY935" fmla="*/ 113052 h 2789035"/>
                <a:gd name="connsiteX936" fmla="*/ 712659 w 2061090"/>
                <a:gd name="connsiteY936" fmla="*/ 123299 h 2789035"/>
                <a:gd name="connsiteX937" fmla="*/ 712877 w 2061090"/>
                <a:gd name="connsiteY937" fmla="*/ 133545 h 2789035"/>
                <a:gd name="connsiteX938" fmla="*/ 704814 w 2061090"/>
                <a:gd name="connsiteY938" fmla="*/ 135943 h 2789035"/>
                <a:gd name="connsiteX939" fmla="*/ 699149 w 2061090"/>
                <a:gd name="connsiteY939" fmla="*/ 137687 h 2789035"/>
                <a:gd name="connsiteX940" fmla="*/ 698495 w 2061090"/>
                <a:gd name="connsiteY940" fmla="*/ 144881 h 2789035"/>
                <a:gd name="connsiteX941" fmla="*/ 701982 w 2061090"/>
                <a:gd name="connsiteY941" fmla="*/ 156436 h 2789035"/>
                <a:gd name="connsiteX942" fmla="*/ 712223 w 2061090"/>
                <a:gd name="connsiteY942" fmla="*/ 148369 h 2789035"/>
                <a:gd name="connsiteX943" fmla="*/ 715710 w 2061090"/>
                <a:gd name="connsiteY943" fmla="*/ 139649 h 2789035"/>
                <a:gd name="connsiteX944" fmla="*/ 718543 w 2061090"/>
                <a:gd name="connsiteY944" fmla="*/ 142265 h 2789035"/>
                <a:gd name="connsiteX945" fmla="*/ 719632 w 2061090"/>
                <a:gd name="connsiteY945" fmla="*/ 149896 h 2789035"/>
                <a:gd name="connsiteX946" fmla="*/ 714838 w 2061090"/>
                <a:gd name="connsiteY946" fmla="*/ 162540 h 2789035"/>
                <a:gd name="connsiteX947" fmla="*/ 710480 w 2061090"/>
                <a:gd name="connsiteY947" fmla="*/ 167336 h 2789035"/>
                <a:gd name="connsiteX948" fmla="*/ 703289 w 2061090"/>
                <a:gd name="connsiteY948" fmla="*/ 171478 h 2789035"/>
                <a:gd name="connsiteX949" fmla="*/ 695880 w 2061090"/>
                <a:gd name="connsiteY949" fmla="*/ 173222 h 2789035"/>
                <a:gd name="connsiteX950" fmla="*/ 693701 w 2061090"/>
                <a:gd name="connsiteY950" fmla="*/ 179545 h 2789035"/>
                <a:gd name="connsiteX951" fmla="*/ 711352 w 2061090"/>
                <a:gd name="connsiteY951" fmla="*/ 179763 h 2789035"/>
                <a:gd name="connsiteX952" fmla="*/ 721375 w 2061090"/>
                <a:gd name="connsiteY952" fmla="*/ 178237 h 2789035"/>
                <a:gd name="connsiteX953" fmla="*/ 720940 w 2061090"/>
                <a:gd name="connsiteY953" fmla="*/ 185431 h 2789035"/>
                <a:gd name="connsiteX954" fmla="*/ 726169 w 2061090"/>
                <a:gd name="connsiteY954" fmla="*/ 193279 h 2789035"/>
                <a:gd name="connsiteX955" fmla="*/ 734450 w 2061090"/>
                <a:gd name="connsiteY955" fmla="*/ 188483 h 2789035"/>
                <a:gd name="connsiteX956" fmla="*/ 746435 w 2061090"/>
                <a:gd name="connsiteY956" fmla="*/ 184995 h 2789035"/>
                <a:gd name="connsiteX957" fmla="*/ 735103 w 2061090"/>
                <a:gd name="connsiteY957" fmla="*/ 200255 h 2789035"/>
                <a:gd name="connsiteX958" fmla="*/ 732271 w 2061090"/>
                <a:gd name="connsiteY958" fmla="*/ 205705 h 2789035"/>
                <a:gd name="connsiteX959" fmla="*/ 730745 w 2061090"/>
                <a:gd name="connsiteY959" fmla="*/ 220312 h 2789035"/>
                <a:gd name="connsiteX960" fmla="*/ 730963 w 2061090"/>
                <a:gd name="connsiteY960" fmla="*/ 230776 h 2789035"/>
                <a:gd name="connsiteX961" fmla="*/ 733360 w 2061090"/>
                <a:gd name="connsiteY961" fmla="*/ 239497 h 2789035"/>
                <a:gd name="connsiteX962" fmla="*/ 739897 w 2061090"/>
                <a:gd name="connsiteY962" fmla="*/ 246909 h 2789035"/>
                <a:gd name="connsiteX963" fmla="*/ 743384 w 2061090"/>
                <a:gd name="connsiteY963" fmla="*/ 230122 h 2789035"/>
                <a:gd name="connsiteX964" fmla="*/ 744038 w 2061090"/>
                <a:gd name="connsiteY964" fmla="*/ 219876 h 2789035"/>
                <a:gd name="connsiteX965" fmla="*/ 751011 w 2061090"/>
                <a:gd name="connsiteY965" fmla="*/ 204833 h 2789035"/>
                <a:gd name="connsiteX966" fmla="*/ 751882 w 2061090"/>
                <a:gd name="connsiteY966" fmla="*/ 201345 h 2789035"/>
                <a:gd name="connsiteX967" fmla="*/ 752754 w 2061090"/>
                <a:gd name="connsiteY967" fmla="*/ 188047 h 2789035"/>
                <a:gd name="connsiteX968" fmla="*/ 753408 w 2061090"/>
                <a:gd name="connsiteY968" fmla="*/ 176274 h 2789035"/>
                <a:gd name="connsiteX969" fmla="*/ 762778 w 2061090"/>
                <a:gd name="connsiteY969" fmla="*/ 199165 h 2789035"/>
                <a:gd name="connsiteX970" fmla="*/ 766046 w 2061090"/>
                <a:gd name="connsiteY970" fmla="*/ 217260 h 2789035"/>
                <a:gd name="connsiteX971" fmla="*/ 770404 w 2061090"/>
                <a:gd name="connsiteY971" fmla="*/ 215516 h 2789035"/>
                <a:gd name="connsiteX972" fmla="*/ 773673 w 2061090"/>
                <a:gd name="connsiteY972" fmla="*/ 201563 h 2789035"/>
                <a:gd name="connsiteX973" fmla="*/ 776070 w 2061090"/>
                <a:gd name="connsiteY973" fmla="*/ 187829 h 2789035"/>
                <a:gd name="connsiteX974" fmla="*/ 774545 w 2061090"/>
                <a:gd name="connsiteY974" fmla="*/ 181725 h 2789035"/>
                <a:gd name="connsiteX975" fmla="*/ 773237 w 2061090"/>
                <a:gd name="connsiteY975" fmla="*/ 171042 h 2789035"/>
                <a:gd name="connsiteX976" fmla="*/ 775852 w 2061090"/>
                <a:gd name="connsiteY976" fmla="*/ 156872 h 2789035"/>
                <a:gd name="connsiteX977" fmla="*/ 779339 w 2061090"/>
                <a:gd name="connsiteY977" fmla="*/ 150986 h 2789035"/>
                <a:gd name="connsiteX978" fmla="*/ 785440 w 2061090"/>
                <a:gd name="connsiteY978" fmla="*/ 152294 h 2789035"/>
                <a:gd name="connsiteX979" fmla="*/ 787183 w 2061090"/>
                <a:gd name="connsiteY979" fmla="*/ 158834 h 2789035"/>
                <a:gd name="connsiteX980" fmla="*/ 792195 w 2061090"/>
                <a:gd name="connsiteY980" fmla="*/ 167554 h 2789035"/>
                <a:gd name="connsiteX981" fmla="*/ 800912 w 2061090"/>
                <a:gd name="connsiteY981" fmla="*/ 167554 h 2789035"/>
                <a:gd name="connsiteX982" fmla="*/ 798950 w 2061090"/>
                <a:gd name="connsiteY982" fmla="*/ 177582 h 2789035"/>
                <a:gd name="connsiteX983" fmla="*/ 792631 w 2061090"/>
                <a:gd name="connsiteY983" fmla="*/ 188483 h 2789035"/>
                <a:gd name="connsiteX984" fmla="*/ 790016 w 2061090"/>
                <a:gd name="connsiteY984" fmla="*/ 193715 h 2789035"/>
                <a:gd name="connsiteX985" fmla="*/ 784568 w 2061090"/>
                <a:gd name="connsiteY985" fmla="*/ 193715 h 2789035"/>
                <a:gd name="connsiteX986" fmla="*/ 784568 w 2061090"/>
                <a:gd name="connsiteY986" fmla="*/ 188265 h 2789035"/>
                <a:gd name="connsiteX987" fmla="*/ 784786 w 2061090"/>
                <a:gd name="connsiteY987" fmla="*/ 183033 h 2789035"/>
                <a:gd name="connsiteX988" fmla="*/ 781300 w 2061090"/>
                <a:gd name="connsiteY988" fmla="*/ 184777 h 2789035"/>
                <a:gd name="connsiteX989" fmla="*/ 785004 w 2061090"/>
                <a:gd name="connsiteY989" fmla="*/ 199601 h 2789035"/>
                <a:gd name="connsiteX990" fmla="*/ 797207 w 2061090"/>
                <a:gd name="connsiteY990" fmla="*/ 206141 h 2789035"/>
                <a:gd name="connsiteX991" fmla="*/ 795464 w 2061090"/>
                <a:gd name="connsiteY991" fmla="*/ 218786 h 2789035"/>
                <a:gd name="connsiteX992" fmla="*/ 791106 w 2061090"/>
                <a:gd name="connsiteY992" fmla="*/ 223146 h 2789035"/>
                <a:gd name="connsiteX993" fmla="*/ 800040 w 2061090"/>
                <a:gd name="connsiteY993" fmla="*/ 232956 h 2789035"/>
                <a:gd name="connsiteX994" fmla="*/ 798515 w 2061090"/>
                <a:gd name="connsiteY994" fmla="*/ 238407 h 2789035"/>
                <a:gd name="connsiteX995" fmla="*/ 789798 w 2061090"/>
                <a:gd name="connsiteY995" fmla="*/ 243857 h 2789035"/>
                <a:gd name="connsiteX996" fmla="*/ 787183 w 2061090"/>
                <a:gd name="connsiteY996" fmla="*/ 249961 h 2789035"/>
                <a:gd name="connsiteX997" fmla="*/ 786748 w 2061090"/>
                <a:gd name="connsiteY997" fmla="*/ 254757 h 2789035"/>
                <a:gd name="connsiteX998" fmla="*/ 778903 w 2061090"/>
                <a:gd name="connsiteY998" fmla="*/ 251705 h 2789035"/>
                <a:gd name="connsiteX999" fmla="*/ 773455 w 2061090"/>
                <a:gd name="connsiteY999" fmla="*/ 242549 h 2789035"/>
                <a:gd name="connsiteX1000" fmla="*/ 778249 w 2061090"/>
                <a:gd name="connsiteY1000" fmla="*/ 230776 h 2789035"/>
                <a:gd name="connsiteX1001" fmla="*/ 781736 w 2061090"/>
                <a:gd name="connsiteY1001" fmla="*/ 227724 h 2789035"/>
                <a:gd name="connsiteX1002" fmla="*/ 786094 w 2061090"/>
                <a:gd name="connsiteY1002" fmla="*/ 216606 h 2789035"/>
                <a:gd name="connsiteX1003" fmla="*/ 789145 w 2061090"/>
                <a:gd name="connsiteY1003" fmla="*/ 206141 h 2789035"/>
                <a:gd name="connsiteX1004" fmla="*/ 781300 w 2061090"/>
                <a:gd name="connsiteY1004" fmla="*/ 208976 h 2789035"/>
                <a:gd name="connsiteX1005" fmla="*/ 762778 w 2061090"/>
                <a:gd name="connsiteY1005" fmla="*/ 237535 h 2789035"/>
                <a:gd name="connsiteX1006" fmla="*/ 756241 w 2061090"/>
                <a:gd name="connsiteY1006" fmla="*/ 243203 h 2789035"/>
                <a:gd name="connsiteX1007" fmla="*/ 752972 w 2061090"/>
                <a:gd name="connsiteY1007" fmla="*/ 256937 h 2789035"/>
                <a:gd name="connsiteX1008" fmla="*/ 762560 w 2061090"/>
                <a:gd name="connsiteY1008" fmla="*/ 256937 h 2789035"/>
                <a:gd name="connsiteX1009" fmla="*/ 776724 w 2061090"/>
                <a:gd name="connsiteY1009" fmla="*/ 262387 h 2789035"/>
                <a:gd name="connsiteX1010" fmla="*/ 780646 w 2061090"/>
                <a:gd name="connsiteY1010" fmla="*/ 268274 h 2789035"/>
                <a:gd name="connsiteX1011" fmla="*/ 785658 w 2061090"/>
                <a:gd name="connsiteY1011" fmla="*/ 279610 h 2789035"/>
                <a:gd name="connsiteX1012" fmla="*/ 780864 w 2061090"/>
                <a:gd name="connsiteY1012" fmla="*/ 292036 h 2789035"/>
                <a:gd name="connsiteX1013" fmla="*/ 775852 w 2061090"/>
                <a:gd name="connsiteY1013" fmla="*/ 297705 h 2789035"/>
                <a:gd name="connsiteX1014" fmla="*/ 764957 w 2061090"/>
                <a:gd name="connsiteY1014" fmla="*/ 305989 h 2789035"/>
                <a:gd name="connsiteX1015" fmla="*/ 764303 w 2061090"/>
                <a:gd name="connsiteY1015" fmla="*/ 298359 h 2789035"/>
                <a:gd name="connsiteX1016" fmla="*/ 752754 w 2061090"/>
                <a:gd name="connsiteY1016" fmla="*/ 293781 h 2789035"/>
                <a:gd name="connsiteX1017" fmla="*/ 743166 w 2061090"/>
                <a:gd name="connsiteY1017" fmla="*/ 292908 h 2789035"/>
                <a:gd name="connsiteX1018" fmla="*/ 734232 w 2061090"/>
                <a:gd name="connsiteY1018" fmla="*/ 290946 h 2789035"/>
                <a:gd name="connsiteX1019" fmla="*/ 730092 w 2061090"/>
                <a:gd name="connsiteY1019" fmla="*/ 299449 h 2789035"/>
                <a:gd name="connsiteX1020" fmla="*/ 718107 w 2061090"/>
                <a:gd name="connsiteY1020" fmla="*/ 304899 h 2789035"/>
                <a:gd name="connsiteX1021" fmla="*/ 712659 w 2061090"/>
                <a:gd name="connsiteY1021" fmla="*/ 308823 h 2789035"/>
                <a:gd name="connsiteX1022" fmla="*/ 715492 w 2061090"/>
                <a:gd name="connsiteY1022" fmla="*/ 310785 h 2789035"/>
                <a:gd name="connsiteX1023" fmla="*/ 721375 w 2061090"/>
                <a:gd name="connsiteY1023" fmla="*/ 311439 h 2789035"/>
                <a:gd name="connsiteX1024" fmla="*/ 721375 w 2061090"/>
                <a:gd name="connsiteY1024" fmla="*/ 319069 h 2789035"/>
                <a:gd name="connsiteX1025" fmla="*/ 722029 w 2061090"/>
                <a:gd name="connsiteY1025" fmla="*/ 332150 h 2789035"/>
                <a:gd name="connsiteX1026" fmla="*/ 716363 w 2061090"/>
                <a:gd name="connsiteY1026" fmla="*/ 336510 h 2789035"/>
                <a:gd name="connsiteX1027" fmla="*/ 711787 w 2061090"/>
                <a:gd name="connsiteY1027" fmla="*/ 325828 h 2789035"/>
                <a:gd name="connsiteX1028" fmla="*/ 709173 w 2061090"/>
                <a:gd name="connsiteY1028" fmla="*/ 317107 h 2789035"/>
                <a:gd name="connsiteX1029" fmla="*/ 700674 w 2061090"/>
                <a:gd name="connsiteY1029" fmla="*/ 324956 h 2789035"/>
                <a:gd name="connsiteX1030" fmla="*/ 696970 w 2061090"/>
                <a:gd name="connsiteY1030" fmla="*/ 334112 h 2789035"/>
                <a:gd name="connsiteX1031" fmla="*/ 693047 w 2061090"/>
                <a:gd name="connsiteY1031" fmla="*/ 327790 h 2789035"/>
                <a:gd name="connsiteX1032" fmla="*/ 685421 w 2061090"/>
                <a:gd name="connsiteY1032" fmla="*/ 320159 h 2789035"/>
                <a:gd name="connsiteX1033" fmla="*/ 679973 w 2061090"/>
                <a:gd name="connsiteY1033" fmla="*/ 316889 h 2789035"/>
                <a:gd name="connsiteX1034" fmla="*/ 680191 w 2061090"/>
                <a:gd name="connsiteY1034" fmla="*/ 313619 h 2789035"/>
                <a:gd name="connsiteX1035" fmla="*/ 677794 w 2061090"/>
                <a:gd name="connsiteY1035" fmla="*/ 315799 h 2789035"/>
                <a:gd name="connsiteX1036" fmla="*/ 670167 w 2061090"/>
                <a:gd name="connsiteY1036" fmla="*/ 317979 h 2789035"/>
                <a:gd name="connsiteX1037" fmla="*/ 667116 w 2061090"/>
                <a:gd name="connsiteY1037" fmla="*/ 329534 h 2789035"/>
                <a:gd name="connsiteX1038" fmla="*/ 669078 w 2061090"/>
                <a:gd name="connsiteY1038" fmla="*/ 339780 h 2789035"/>
                <a:gd name="connsiteX1039" fmla="*/ 660797 w 2061090"/>
                <a:gd name="connsiteY1039" fmla="*/ 337382 h 2789035"/>
                <a:gd name="connsiteX1040" fmla="*/ 656875 w 2061090"/>
                <a:gd name="connsiteY1040" fmla="*/ 328662 h 2789035"/>
                <a:gd name="connsiteX1041" fmla="*/ 656221 w 2061090"/>
                <a:gd name="connsiteY1041" fmla="*/ 322994 h 2789035"/>
                <a:gd name="connsiteX1042" fmla="*/ 656221 w 2061090"/>
                <a:gd name="connsiteY1042" fmla="*/ 315145 h 2789035"/>
                <a:gd name="connsiteX1043" fmla="*/ 658182 w 2061090"/>
                <a:gd name="connsiteY1043" fmla="*/ 307079 h 2789035"/>
                <a:gd name="connsiteX1044" fmla="*/ 665591 w 2061090"/>
                <a:gd name="connsiteY1044" fmla="*/ 304899 h 2789035"/>
                <a:gd name="connsiteX1045" fmla="*/ 669078 w 2061090"/>
                <a:gd name="connsiteY1045" fmla="*/ 298577 h 2789035"/>
                <a:gd name="connsiteX1046" fmla="*/ 667552 w 2061090"/>
                <a:gd name="connsiteY1046" fmla="*/ 291164 h 2789035"/>
                <a:gd name="connsiteX1047" fmla="*/ 668642 w 2061090"/>
                <a:gd name="connsiteY1047" fmla="*/ 290946 h 2789035"/>
                <a:gd name="connsiteX1048" fmla="*/ 676051 w 2061090"/>
                <a:gd name="connsiteY1048" fmla="*/ 286368 h 2789035"/>
                <a:gd name="connsiteX1049" fmla="*/ 686510 w 2061090"/>
                <a:gd name="connsiteY1049" fmla="*/ 280918 h 2789035"/>
                <a:gd name="connsiteX1050" fmla="*/ 698931 w 2061090"/>
                <a:gd name="connsiteY1050" fmla="*/ 251923 h 2789035"/>
                <a:gd name="connsiteX1051" fmla="*/ 698713 w 2061090"/>
                <a:gd name="connsiteY1051" fmla="*/ 243639 h 2789035"/>
                <a:gd name="connsiteX1052" fmla="*/ 704161 w 2061090"/>
                <a:gd name="connsiteY1052" fmla="*/ 235791 h 2789035"/>
                <a:gd name="connsiteX1053" fmla="*/ 713749 w 2061090"/>
                <a:gd name="connsiteY1053" fmla="*/ 232956 h 2789035"/>
                <a:gd name="connsiteX1054" fmla="*/ 712659 w 2061090"/>
                <a:gd name="connsiteY1054" fmla="*/ 239497 h 2789035"/>
                <a:gd name="connsiteX1055" fmla="*/ 712877 w 2061090"/>
                <a:gd name="connsiteY1055" fmla="*/ 248435 h 2789035"/>
                <a:gd name="connsiteX1056" fmla="*/ 712877 w 2061090"/>
                <a:gd name="connsiteY1056" fmla="*/ 255411 h 2789035"/>
                <a:gd name="connsiteX1057" fmla="*/ 717017 w 2061090"/>
                <a:gd name="connsiteY1057" fmla="*/ 263477 h 2789035"/>
                <a:gd name="connsiteX1058" fmla="*/ 721375 w 2061090"/>
                <a:gd name="connsiteY1058" fmla="*/ 270018 h 2789035"/>
                <a:gd name="connsiteX1059" fmla="*/ 714620 w 2061090"/>
                <a:gd name="connsiteY1059" fmla="*/ 270454 h 2789035"/>
                <a:gd name="connsiteX1060" fmla="*/ 707865 w 2061090"/>
                <a:gd name="connsiteY1060" fmla="*/ 269582 h 2789035"/>
                <a:gd name="connsiteX1061" fmla="*/ 719850 w 2061090"/>
                <a:gd name="connsiteY1061" fmla="*/ 291382 h 2789035"/>
                <a:gd name="connsiteX1062" fmla="*/ 723554 w 2061090"/>
                <a:gd name="connsiteY1062" fmla="*/ 283316 h 2789035"/>
                <a:gd name="connsiteX1063" fmla="*/ 728784 w 2061090"/>
                <a:gd name="connsiteY1063" fmla="*/ 274378 h 2789035"/>
                <a:gd name="connsiteX1064" fmla="*/ 735321 w 2061090"/>
                <a:gd name="connsiteY1064" fmla="*/ 277866 h 2789035"/>
                <a:gd name="connsiteX1065" fmla="*/ 743166 w 2061090"/>
                <a:gd name="connsiteY1065" fmla="*/ 280046 h 2789035"/>
                <a:gd name="connsiteX1066" fmla="*/ 754061 w 2061090"/>
                <a:gd name="connsiteY1066" fmla="*/ 283098 h 2789035"/>
                <a:gd name="connsiteX1067" fmla="*/ 761688 w 2061090"/>
                <a:gd name="connsiteY1067" fmla="*/ 286150 h 2789035"/>
                <a:gd name="connsiteX1068" fmla="*/ 764957 w 2061090"/>
                <a:gd name="connsiteY1068" fmla="*/ 287240 h 2789035"/>
                <a:gd name="connsiteX1069" fmla="*/ 769315 w 2061090"/>
                <a:gd name="connsiteY1069" fmla="*/ 287022 h 2789035"/>
                <a:gd name="connsiteX1070" fmla="*/ 768225 w 2061090"/>
                <a:gd name="connsiteY1070" fmla="*/ 278302 h 2789035"/>
                <a:gd name="connsiteX1071" fmla="*/ 762778 w 2061090"/>
                <a:gd name="connsiteY1071" fmla="*/ 272416 h 2789035"/>
                <a:gd name="connsiteX1072" fmla="*/ 753626 w 2061090"/>
                <a:gd name="connsiteY1072" fmla="*/ 267620 h 2789035"/>
                <a:gd name="connsiteX1073" fmla="*/ 743166 w 2061090"/>
                <a:gd name="connsiteY1073" fmla="*/ 264131 h 2789035"/>
                <a:gd name="connsiteX1074" fmla="*/ 740115 w 2061090"/>
                <a:gd name="connsiteY1074" fmla="*/ 261297 h 2789035"/>
                <a:gd name="connsiteX1075" fmla="*/ 734450 w 2061090"/>
                <a:gd name="connsiteY1075" fmla="*/ 258027 h 2789035"/>
                <a:gd name="connsiteX1076" fmla="*/ 727041 w 2061090"/>
                <a:gd name="connsiteY1076" fmla="*/ 254757 h 2789035"/>
                <a:gd name="connsiteX1077" fmla="*/ 718325 w 2061090"/>
                <a:gd name="connsiteY1077" fmla="*/ 251923 h 2789035"/>
                <a:gd name="connsiteX1078" fmla="*/ 720068 w 2061090"/>
                <a:gd name="connsiteY1078" fmla="*/ 244075 h 2789035"/>
                <a:gd name="connsiteX1079" fmla="*/ 723336 w 2061090"/>
                <a:gd name="connsiteY1079" fmla="*/ 233610 h 2789035"/>
                <a:gd name="connsiteX1080" fmla="*/ 721375 w 2061090"/>
                <a:gd name="connsiteY1080" fmla="*/ 218132 h 2789035"/>
                <a:gd name="connsiteX1081" fmla="*/ 719196 w 2061090"/>
                <a:gd name="connsiteY1081" fmla="*/ 204615 h 2789035"/>
                <a:gd name="connsiteX1082" fmla="*/ 713313 w 2061090"/>
                <a:gd name="connsiteY1082" fmla="*/ 205051 h 2789035"/>
                <a:gd name="connsiteX1083" fmla="*/ 712223 w 2061090"/>
                <a:gd name="connsiteY1083" fmla="*/ 211592 h 2789035"/>
                <a:gd name="connsiteX1084" fmla="*/ 710698 w 2061090"/>
                <a:gd name="connsiteY1084" fmla="*/ 218786 h 2789035"/>
                <a:gd name="connsiteX1085" fmla="*/ 703943 w 2061090"/>
                <a:gd name="connsiteY1085" fmla="*/ 220966 h 2789035"/>
                <a:gd name="connsiteX1086" fmla="*/ 696098 w 2061090"/>
                <a:gd name="connsiteY1086" fmla="*/ 224236 h 2789035"/>
                <a:gd name="connsiteX1087" fmla="*/ 690868 w 2061090"/>
                <a:gd name="connsiteY1087" fmla="*/ 227506 h 2789035"/>
                <a:gd name="connsiteX1088" fmla="*/ 695226 w 2061090"/>
                <a:gd name="connsiteY1088" fmla="*/ 230776 h 2789035"/>
                <a:gd name="connsiteX1089" fmla="*/ 695880 w 2061090"/>
                <a:gd name="connsiteY1089" fmla="*/ 239933 h 2789035"/>
                <a:gd name="connsiteX1090" fmla="*/ 684113 w 2061090"/>
                <a:gd name="connsiteY1090" fmla="*/ 243857 h 2789035"/>
                <a:gd name="connsiteX1091" fmla="*/ 684331 w 2061090"/>
                <a:gd name="connsiteY1091" fmla="*/ 255629 h 2789035"/>
                <a:gd name="connsiteX1092" fmla="*/ 690650 w 2061090"/>
                <a:gd name="connsiteY1092" fmla="*/ 266966 h 2789035"/>
                <a:gd name="connsiteX1093" fmla="*/ 678012 w 2061090"/>
                <a:gd name="connsiteY1093" fmla="*/ 269582 h 2789035"/>
                <a:gd name="connsiteX1094" fmla="*/ 667988 w 2061090"/>
                <a:gd name="connsiteY1094" fmla="*/ 274814 h 2789035"/>
                <a:gd name="connsiteX1095" fmla="*/ 663412 w 2061090"/>
                <a:gd name="connsiteY1095" fmla="*/ 280046 h 2789035"/>
                <a:gd name="connsiteX1096" fmla="*/ 658618 w 2061090"/>
                <a:gd name="connsiteY1096" fmla="*/ 284842 h 2789035"/>
                <a:gd name="connsiteX1097" fmla="*/ 654478 w 2061090"/>
                <a:gd name="connsiteY1097" fmla="*/ 292908 h 2789035"/>
                <a:gd name="connsiteX1098" fmla="*/ 648158 w 2061090"/>
                <a:gd name="connsiteY1098" fmla="*/ 294653 h 2789035"/>
                <a:gd name="connsiteX1099" fmla="*/ 642929 w 2061090"/>
                <a:gd name="connsiteY1099" fmla="*/ 292908 h 2789035"/>
                <a:gd name="connsiteX1100" fmla="*/ 640967 w 2061090"/>
                <a:gd name="connsiteY1100" fmla="*/ 289638 h 2789035"/>
                <a:gd name="connsiteX1101" fmla="*/ 637699 w 2061090"/>
                <a:gd name="connsiteY1101" fmla="*/ 301847 h 2789035"/>
                <a:gd name="connsiteX1102" fmla="*/ 643147 w 2061090"/>
                <a:gd name="connsiteY1102" fmla="*/ 305989 h 2789035"/>
                <a:gd name="connsiteX1103" fmla="*/ 647287 w 2061090"/>
                <a:gd name="connsiteY1103" fmla="*/ 306861 h 2789035"/>
                <a:gd name="connsiteX1104" fmla="*/ 644236 w 2061090"/>
                <a:gd name="connsiteY1104" fmla="*/ 309259 h 2789035"/>
                <a:gd name="connsiteX1105" fmla="*/ 638353 w 2061090"/>
                <a:gd name="connsiteY1105" fmla="*/ 316453 h 2789035"/>
                <a:gd name="connsiteX1106" fmla="*/ 629854 w 2061090"/>
                <a:gd name="connsiteY1106" fmla="*/ 328226 h 2789035"/>
                <a:gd name="connsiteX1107" fmla="*/ 619177 w 2061090"/>
                <a:gd name="connsiteY1107" fmla="*/ 329752 h 2789035"/>
                <a:gd name="connsiteX1108" fmla="*/ 615690 w 2061090"/>
                <a:gd name="connsiteY1108" fmla="*/ 322557 h 2789035"/>
                <a:gd name="connsiteX1109" fmla="*/ 612422 w 2061090"/>
                <a:gd name="connsiteY1109" fmla="*/ 312965 h 2789035"/>
                <a:gd name="connsiteX1110" fmla="*/ 610896 w 2061090"/>
                <a:gd name="connsiteY1110" fmla="*/ 302719 h 2789035"/>
                <a:gd name="connsiteX1111" fmla="*/ 622010 w 2061090"/>
                <a:gd name="connsiteY1111" fmla="*/ 314491 h 2789035"/>
                <a:gd name="connsiteX1112" fmla="*/ 627239 w 2061090"/>
                <a:gd name="connsiteY1112" fmla="*/ 315145 h 2789035"/>
                <a:gd name="connsiteX1113" fmla="*/ 627021 w 2061090"/>
                <a:gd name="connsiteY1113" fmla="*/ 305117 h 2789035"/>
                <a:gd name="connsiteX1114" fmla="*/ 623317 w 2061090"/>
                <a:gd name="connsiteY1114" fmla="*/ 297487 h 2789035"/>
                <a:gd name="connsiteX1115" fmla="*/ 642493 w 2061090"/>
                <a:gd name="connsiteY1115" fmla="*/ 283098 h 2789035"/>
                <a:gd name="connsiteX1116" fmla="*/ 643582 w 2061090"/>
                <a:gd name="connsiteY1116" fmla="*/ 271544 h 2789035"/>
                <a:gd name="connsiteX1117" fmla="*/ 647505 w 2061090"/>
                <a:gd name="connsiteY1117" fmla="*/ 268274 h 2789035"/>
                <a:gd name="connsiteX1118" fmla="*/ 653824 w 2061090"/>
                <a:gd name="connsiteY1118" fmla="*/ 263477 h 2789035"/>
                <a:gd name="connsiteX1119" fmla="*/ 646851 w 2061090"/>
                <a:gd name="connsiteY1119" fmla="*/ 257373 h 2789035"/>
                <a:gd name="connsiteX1120" fmla="*/ 638571 w 2061090"/>
                <a:gd name="connsiteY1120" fmla="*/ 253449 h 2789035"/>
                <a:gd name="connsiteX1121" fmla="*/ 631597 w 2061090"/>
                <a:gd name="connsiteY1121" fmla="*/ 250397 h 2789035"/>
                <a:gd name="connsiteX1122" fmla="*/ 627893 w 2061090"/>
                <a:gd name="connsiteY1122" fmla="*/ 257591 h 2789035"/>
                <a:gd name="connsiteX1123" fmla="*/ 625496 w 2061090"/>
                <a:gd name="connsiteY1123" fmla="*/ 263913 h 2789035"/>
                <a:gd name="connsiteX1124" fmla="*/ 616998 w 2061090"/>
                <a:gd name="connsiteY1124" fmla="*/ 245383 h 2789035"/>
                <a:gd name="connsiteX1125" fmla="*/ 606320 w 2061090"/>
                <a:gd name="connsiteY1125" fmla="*/ 230558 h 2789035"/>
                <a:gd name="connsiteX1126" fmla="*/ 595207 w 2061090"/>
                <a:gd name="connsiteY1126" fmla="*/ 222710 h 2789035"/>
                <a:gd name="connsiteX1127" fmla="*/ 588234 w 2061090"/>
                <a:gd name="connsiteY1127" fmla="*/ 189137 h 2789035"/>
                <a:gd name="connsiteX1128" fmla="*/ 585183 w 2061090"/>
                <a:gd name="connsiteY1128" fmla="*/ 179763 h 2789035"/>
                <a:gd name="connsiteX1129" fmla="*/ 578646 w 2061090"/>
                <a:gd name="connsiteY1129" fmla="*/ 166682 h 2789035"/>
                <a:gd name="connsiteX1130" fmla="*/ 566661 w 2061090"/>
                <a:gd name="connsiteY1130" fmla="*/ 164284 h 2789035"/>
                <a:gd name="connsiteX1131" fmla="*/ 561867 w 2061090"/>
                <a:gd name="connsiteY1131" fmla="*/ 165156 h 2789035"/>
                <a:gd name="connsiteX1132" fmla="*/ 557073 w 2061090"/>
                <a:gd name="connsiteY1132" fmla="*/ 163848 h 2789035"/>
                <a:gd name="connsiteX1133" fmla="*/ 554894 w 2061090"/>
                <a:gd name="connsiteY1133" fmla="*/ 173004 h 2789035"/>
                <a:gd name="connsiteX1134" fmla="*/ 552061 w 2061090"/>
                <a:gd name="connsiteY1134" fmla="*/ 180635 h 2789035"/>
                <a:gd name="connsiteX1135" fmla="*/ 545306 w 2061090"/>
                <a:gd name="connsiteY1135" fmla="*/ 178019 h 2789035"/>
                <a:gd name="connsiteX1136" fmla="*/ 547703 w 2061090"/>
                <a:gd name="connsiteY1136" fmla="*/ 186957 h 2789035"/>
                <a:gd name="connsiteX1137" fmla="*/ 555984 w 2061090"/>
                <a:gd name="connsiteY1137" fmla="*/ 200037 h 2789035"/>
                <a:gd name="connsiteX1138" fmla="*/ 566225 w 2061090"/>
                <a:gd name="connsiteY1138" fmla="*/ 206359 h 2789035"/>
                <a:gd name="connsiteX1139" fmla="*/ 573198 w 2061090"/>
                <a:gd name="connsiteY1139" fmla="*/ 210502 h 2789035"/>
                <a:gd name="connsiteX1140" fmla="*/ 574288 w 2061090"/>
                <a:gd name="connsiteY1140" fmla="*/ 213118 h 2789035"/>
                <a:gd name="connsiteX1141" fmla="*/ 573852 w 2061090"/>
                <a:gd name="connsiteY1141" fmla="*/ 203743 h 2789035"/>
                <a:gd name="connsiteX1142" fmla="*/ 569712 w 2061090"/>
                <a:gd name="connsiteY1142" fmla="*/ 196767 h 2789035"/>
                <a:gd name="connsiteX1143" fmla="*/ 560995 w 2061090"/>
                <a:gd name="connsiteY1143" fmla="*/ 183687 h 2789035"/>
                <a:gd name="connsiteX1144" fmla="*/ 579736 w 2061090"/>
                <a:gd name="connsiteY1144" fmla="*/ 187393 h 2789035"/>
                <a:gd name="connsiteX1145" fmla="*/ 585401 w 2061090"/>
                <a:gd name="connsiteY1145" fmla="*/ 194151 h 2789035"/>
                <a:gd name="connsiteX1146" fmla="*/ 587580 w 2061090"/>
                <a:gd name="connsiteY1146" fmla="*/ 202217 h 2789035"/>
                <a:gd name="connsiteX1147" fmla="*/ 584312 w 2061090"/>
                <a:gd name="connsiteY1147" fmla="*/ 219658 h 2789035"/>
                <a:gd name="connsiteX1148" fmla="*/ 580607 w 2061090"/>
                <a:gd name="connsiteY1148" fmla="*/ 237535 h 2789035"/>
                <a:gd name="connsiteX1149" fmla="*/ 579300 w 2061090"/>
                <a:gd name="connsiteY1149" fmla="*/ 244293 h 2789035"/>
                <a:gd name="connsiteX1150" fmla="*/ 583004 w 2061090"/>
                <a:gd name="connsiteY1150" fmla="*/ 243421 h 2789035"/>
                <a:gd name="connsiteX1151" fmla="*/ 601308 w 2061090"/>
                <a:gd name="connsiteY1151" fmla="*/ 242985 h 2789035"/>
                <a:gd name="connsiteX1152" fmla="*/ 605013 w 2061090"/>
                <a:gd name="connsiteY1152" fmla="*/ 248871 h 2789035"/>
                <a:gd name="connsiteX1153" fmla="*/ 607192 w 2061090"/>
                <a:gd name="connsiteY1153" fmla="*/ 257155 h 2789035"/>
                <a:gd name="connsiteX1154" fmla="*/ 604359 w 2061090"/>
                <a:gd name="connsiteY1154" fmla="*/ 266312 h 2789035"/>
                <a:gd name="connsiteX1155" fmla="*/ 602180 w 2061090"/>
                <a:gd name="connsiteY1155" fmla="*/ 259771 h 2789035"/>
                <a:gd name="connsiteX1156" fmla="*/ 599565 w 2061090"/>
                <a:gd name="connsiteY1156" fmla="*/ 255193 h 2789035"/>
                <a:gd name="connsiteX1157" fmla="*/ 596732 w 2061090"/>
                <a:gd name="connsiteY1157" fmla="*/ 267620 h 2789035"/>
                <a:gd name="connsiteX1158" fmla="*/ 589106 w 2061090"/>
                <a:gd name="connsiteY1158" fmla="*/ 283098 h 2789035"/>
                <a:gd name="connsiteX1159" fmla="*/ 587580 w 2061090"/>
                <a:gd name="connsiteY1159" fmla="*/ 276558 h 2789035"/>
                <a:gd name="connsiteX1160" fmla="*/ 586491 w 2061090"/>
                <a:gd name="connsiteY1160" fmla="*/ 266966 h 2789035"/>
                <a:gd name="connsiteX1161" fmla="*/ 586273 w 2061090"/>
                <a:gd name="connsiteY1161" fmla="*/ 262387 h 2789035"/>
                <a:gd name="connsiteX1162" fmla="*/ 581697 w 2061090"/>
                <a:gd name="connsiteY1162" fmla="*/ 258027 h 2789035"/>
                <a:gd name="connsiteX1163" fmla="*/ 575595 w 2061090"/>
                <a:gd name="connsiteY1163" fmla="*/ 251923 h 2789035"/>
                <a:gd name="connsiteX1164" fmla="*/ 574724 w 2061090"/>
                <a:gd name="connsiteY1164" fmla="*/ 242549 h 2789035"/>
                <a:gd name="connsiteX1165" fmla="*/ 573198 w 2061090"/>
                <a:gd name="connsiteY1165" fmla="*/ 236881 h 2789035"/>
                <a:gd name="connsiteX1166" fmla="*/ 569058 w 2061090"/>
                <a:gd name="connsiteY1166" fmla="*/ 232956 h 2789035"/>
                <a:gd name="connsiteX1167" fmla="*/ 563175 w 2061090"/>
                <a:gd name="connsiteY1167" fmla="*/ 230558 h 2789035"/>
                <a:gd name="connsiteX1168" fmla="*/ 556637 w 2061090"/>
                <a:gd name="connsiteY1168" fmla="*/ 229468 h 2789035"/>
                <a:gd name="connsiteX1169" fmla="*/ 554894 w 2061090"/>
                <a:gd name="connsiteY1169" fmla="*/ 225544 h 2789035"/>
                <a:gd name="connsiteX1170" fmla="*/ 554894 w 2061090"/>
                <a:gd name="connsiteY1170" fmla="*/ 219658 h 2789035"/>
                <a:gd name="connsiteX1171" fmla="*/ 552715 w 2061090"/>
                <a:gd name="connsiteY1171" fmla="*/ 208976 h 2789035"/>
                <a:gd name="connsiteX1172" fmla="*/ 548139 w 2061090"/>
                <a:gd name="connsiteY1172" fmla="*/ 198293 h 2789035"/>
                <a:gd name="connsiteX1173" fmla="*/ 530924 w 2061090"/>
                <a:gd name="connsiteY1173" fmla="*/ 195459 h 2789035"/>
                <a:gd name="connsiteX1174" fmla="*/ 540294 w 2061090"/>
                <a:gd name="connsiteY1174" fmla="*/ 206796 h 2789035"/>
                <a:gd name="connsiteX1175" fmla="*/ 544652 w 2061090"/>
                <a:gd name="connsiteY1175" fmla="*/ 215734 h 2789035"/>
                <a:gd name="connsiteX1176" fmla="*/ 543999 w 2061090"/>
                <a:gd name="connsiteY1176" fmla="*/ 222492 h 2789035"/>
                <a:gd name="connsiteX1177" fmla="*/ 540730 w 2061090"/>
                <a:gd name="connsiteY1177" fmla="*/ 228378 h 2789035"/>
                <a:gd name="connsiteX1178" fmla="*/ 535718 w 2061090"/>
                <a:gd name="connsiteY1178" fmla="*/ 235572 h 2789035"/>
                <a:gd name="connsiteX1179" fmla="*/ 528309 w 2061090"/>
                <a:gd name="connsiteY1179" fmla="*/ 236445 h 2789035"/>
                <a:gd name="connsiteX1180" fmla="*/ 530488 w 2061090"/>
                <a:gd name="connsiteY1180" fmla="*/ 223364 h 2789035"/>
                <a:gd name="connsiteX1181" fmla="*/ 530271 w 2061090"/>
                <a:gd name="connsiteY1181" fmla="*/ 206359 h 2789035"/>
                <a:gd name="connsiteX1182" fmla="*/ 518504 w 2061090"/>
                <a:gd name="connsiteY1182" fmla="*/ 211374 h 2789035"/>
                <a:gd name="connsiteX1183" fmla="*/ 520900 w 2061090"/>
                <a:gd name="connsiteY1183" fmla="*/ 219440 h 2789035"/>
                <a:gd name="connsiteX1184" fmla="*/ 522862 w 2061090"/>
                <a:gd name="connsiteY1184" fmla="*/ 230558 h 2789035"/>
                <a:gd name="connsiteX1185" fmla="*/ 523951 w 2061090"/>
                <a:gd name="connsiteY1185" fmla="*/ 245165 h 2789035"/>
                <a:gd name="connsiteX1186" fmla="*/ 527438 w 2061090"/>
                <a:gd name="connsiteY1186" fmla="*/ 254757 h 2789035"/>
                <a:gd name="connsiteX1187" fmla="*/ 520029 w 2061090"/>
                <a:gd name="connsiteY1187" fmla="*/ 254321 h 2789035"/>
                <a:gd name="connsiteX1188" fmla="*/ 516107 w 2061090"/>
                <a:gd name="connsiteY1188" fmla="*/ 254975 h 2789035"/>
                <a:gd name="connsiteX1189" fmla="*/ 507172 w 2061090"/>
                <a:gd name="connsiteY1189" fmla="*/ 259553 h 2789035"/>
                <a:gd name="connsiteX1190" fmla="*/ 501289 w 2061090"/>
                <a:gd name="connsiteY1190" fmla="*/ 252577 h 2789035"/>
                <a:gd name="connsiteX1191" fmla="*/ 496931 w 2061090"/>
                <a:gd name="connsiteY1191" fmla="*/ 238843 h 2789035"/>
                <a:gd name="connsiteX1192" fmla="*/ 492573 w 2061090"/>
                <a:gd name="connsiteY1192" fmla="*/ 232084 h 2789035"/>
                <a:gd name="connsiteX1193" fmla="*/ 508262 w 2061090"/>
                <a:gd name="connsiteY1193" fmla="*/ 234482 h 2789035"/>
                <a:gd name="connsiteX1194" fmla="*/ 512402 w 2061090"/>
                <a:gd name="connsiteY1194" fmla="*/ 232084 h 2789035"/>
                <a:gd name="connsiteX1195" fmla="*/ 511313 w 2061090"/>
                <a:gd name="connsiteY1195" fmla="*/ 223800 h 2789035"/>
                <a:gd name="connsiteX1196" fmla="*/ 509351 w 2061090"/>
                <a:gd name="connsiteY1196" fmla="*/ 221620 h 2789035"/>
                <a:gd name="connsiteX1197" fmla="*/ 503468 w 2061090"/>
                <a:gd name="connsiteY1197" fmla="*/ 223146 h 2789035"/>
                <a:gd name="connsiteX1198" fmla="*/ 505429 w 2061090"/>
                <a:gd name="connsiteY1198" fmla="*/ 213990 h 2789035"/>
                <a:gd name="connsiteX1199" fmla="*/ 509787 w 2061090"/>
                <a:gd name="connsiteY1199" fmla="*/ 202217 h 2789035"/>
                <a:gd name="connsiteX1200" fmla="*/ 503904 w 2061090"/>
                <a:gd name="connsiteY1200" fmla="*/ 203089 h 2789035"/>
                <a:gd name="connsiteX1201" fmla="*/ 498238 w 2061090"/>
                <a:gd name="connsiteY1201" fmla="*/ 206796 h 2789035"/>
                <a:gd name="connsiteX1202" fmla="*/ 488214 w 2061090"/>
                <a:gd name="connsiteY1202" fmla="*/ 219004 h 2789035"/>
                <a:gd name="connsiteX1203" fmla="*/ 481677 w 2061090"/>
                <a:gd name="connsiteY1203" fmla="*/ 227724 h 2789035"/>
                <a:gd name="connsiteX1204" fmla="*/ 476665 w 2061090"/>
                <a:gd name="connsiteY1204" fmla="*/ 239279 h 2789035"/>
                <a:gd name="connsiteX1205" fmla="*/ 484074 w 2061090"/>
                <a:gd name="connsiteY1205" fmla="*/ 242767 h 2789035"/>
                <a:gd name="connsiteX1206" fmla="*/ 490393 w 2061090"/>
                <a:gd name="connsiteY1206" fmla="*/ 243203 h 2789035"/>
                <a:gd name="connsiteX1207" fmla="*/ 491701 w 2061090"/>
                <a:gd name="connsiteY1207" fmla="*/ 249961 h 2789035"/>
                <a:gd name="connsiteX1208" fmla="*/ 487343 w 2061090"/>
                <a:gd name="connsiteY1208" fmla="*/ 254757 h 2789035"/>
                <a:gd name="connsiteX1209" fmla="*/ 483203 w 2061090"/>
                <a:gd name="connsiteY1209" fmla="*/ 258681 h 2789035"/>
                <a:gd name="connsiteX1210" fmla="*/ 489522 w 2061090"/>
                <a:gd name="connsiteY1210" fmla="*/ 266966 h 2789035"/>
                <a:gd name="connsiteX1211" fmla="*/ 490393 w 2061090"/>
                <a:gd name="connsiteY1211" fmla="*/ 281572 h 2789035"/>
                <a:gd name="connsiteX1212" fmla="*/ 486035 w 2061090"/>
                <a:gd name="connsiteY1212" fmla="*/ 287022 h 2789035"/>
                <a:gd name="connsiteX1213" fmla="*/ 504775 w 2061090"/>
                <a:gd name="connsiteY1213" fmla="*/ 284188 h 2789035"/>
                <a:gd name="connsiteX1214" fmla="*/ 503468 w 2061090"/>
                <a:gd name="connsiteY1214" fmla="*/ 271108 h 2789035"/>
                <a:gd name="connsiteX1215" fmla="*/ 501289 w 2061090"/>
                <a:gd name="connsiteY1215" fmla="*/ 270454 h 2789035"/>
                <a:gd name="connsiteX1216" fmla="*/ 537026 w 2061090"/>
                <a:gd name="connsiteY1216" fmla="*/ 268492 h 2789035"/>
                <a:gd name="connsiteX1217" fmla="*/ 544217 w 2061090"/>
                <a:gd name="connsiteY1217" fmla="*/ 266312 h 2789035"/>
                <a:gd name="connsiteX1218" fmla="*/ 542473 w 2061090"/>
                <a:gd name="connsiteY1218" fmla="*/ 263477 h 2789035"/>
                <a:gd name="connsiteX1219" fmla="*/ 533321 w 2061090"/>
                <a:gd name="connsiteY1219" fmla="*/ 253449 h 2789035"/>
                <a:gd name="connsiteX1220" fmla="*/ 543563 w 2061090"/>
                <a:gd name="connsiteY1220" fmla="*/ 254539 h 2789035"/>
                <a:gd name="connsiteX1221" fmla="*/ 550318 w 2061090"/>
                <a:gd name="connsiteY1221" fmla="*/ 257809 h 2789035"/>
                <a:gd name="connsiteX1222" fmla="*/ 557727 w 2061090"/>
                <a:gd name="connsiteY1222" fmla="*/ 261515 h 2789035"/>
                <a:gd name="connsiteX1223" fmla="*/ 567751 w 2061090"/>
                <a:gd name="connsiteY1223" fmla="*/ 263477 h 2789035"/>
                <a:gd name="connsiteX1224" fmla="*/ 574724 w 2061090"/>
                <a:gd name="connsiteY1224" fmla="*/ 261951 h 2789035"/>
                <a:gd name="connsiteX1225" fmla="*/ 569276 w 2061090"/>
                <a:gd name="connsiteY1225" fmla="*/ 276994 h 2789035"/>
                <a:gd name="connsiteX1226" fmla="*/ 573634 w 2061090"/>
                <a:gd name="connsiteY1226" fmla="*/ 279174 h 2789035"/>
                <a:gd name="connsiteX1227" fmla="*/ 581479 w 2061090"/>
                <a:gd name="connsiteY1227" fmla="*/ 285932 h 2789035"/>
                <a:gd name="connsiteX1228" fmla="*/ 587144 w 2061090"/>
                <a:gd name="connsiteY1228" fmla="*/ 289856 h 2789035"/>
                <a:gd name="connsiteX1229" fmla="*/ 594117 w 2061090"/>
                <a:gd name="connsiteY1229" fmla="*/ 290728 h 2789035"/>
                <a:gd name="connsiteX1230" fmla="*/ 603705 w 2061090"/>
                <a:gd name="connsiteY1230" fmla="*/ 289638 h 2789035"/>
                <a:gd name="connsiteX1231" fmla="*/ 615472 w 2061090"/>
                <a:gd name="connsiteY1231" fmla="*/ 268710 h 2789035"/>
                <a:gd name="connsiteX1232" fmla="*/ 622663 w 2061090"/>
                <a:gd name="connsiteY1232" fmla="*/ 271326 h 2789035"/>
                <a:gd name="connsiteX1233" fmla="*/ 620702 w 2061090"/>
                <a:gd name="connsiteY1233" fmla="*/ 282226 h 2789035"/>
                <a:gd name="connsiteX1234" fmla="*/ 612422 w 2061090"/>
                <a:gd name="connsiteY1234" fmla="*/ 293562 h 2789035"/>
                <a:gd name="connsiteX1235" fmla="*/ 608499 w 2061090"/>
                <a:gd name="connsiteY1235" fmla="*/ 298359 h 2789035"/>
                <a:gd name="connsiteX1236" fmla="*/ 586273 w 2061090"/>
                <a:gd name="connsiteY1236" fmla="*/ 315145 h 2789035"/>
                <a:gd name="connsiteX1237" fmla="*/ 596079 w 2061090"/>
                <a:gd name="connsiteY1237" fmla="*/ 317979 h 2789035"/>
                <a:gd name="connsiteX1238" fmla="*/ 606102 w 2061090"/>
                <a:gd name="connsiteY1238" fmla="*/ 320813 h 2789035"/>
                <a:gd name="connsiteX1239" fmla="*/ 608935 w 2061090"/>
                <a:gd name="connsiteY1239" fmla="*/ 331714 h 2789035"/>
                <a:gd name="connsiteX1240" fmla="*/ 608063 w 2061090"/>
                <a:gd name="connsiteY1240" fmla="*/ 338690 h 2789035"/>
                <a:gd name="connsiteX1241" fmla="*/ 600655 w 2061090"/>
                <a:gd name="connsiteY1241" fmla="*/ 334984 h 2789035"/>
                <a:gd name="connsiteX1242" fmla="*/ 595425 w 2061090"/>
                <a:gd name="connsiteY1242" fmla="*/ 331714 h 2789035"/>
                <a:gd name="connsiteX1243" fmla="*/ 584094 w 2061090"/>
                <a:gd name="connsiteY1243" fmla="*/ 328880 h 2789035"/>
                <a:gd name="connsiteX1244" fmla="*/ 565354 w 2061090"/>
                <a:gd name="connsiteY1244" fmla="*/ 315799 h 2789035"/>
                <a:gd name="connsiteX1245" fmla="*/ 562739 w 2061090"/>
                <a:gd name="connsiteY1245" fmla="*/ 324302 h 2789035"/>
                <a:gd name="connsiteX1246" fmla="*/ 559688 w 2061090"/>
                <a:gd name="connsiteY1246" fmla="*/ 329316 h 2789035"/>
                <a:gd name="connsiteX1247" fmla="*/ 550972 w 2061090"/>
                <a:gd name="connsiteY1247" fmla="*/ 333240 h 2789035"/>
                <a:gd name="connsiteX1248" fmla="*/ 542691 w 2061090"/>
                <a:gd name="connsiteY1248" fmla="*/ 340652 h 2789035"/>
                <a:gd name="connsiteX1249" fmla="*/ 528091 w 2061090"/>
                <a:gd name="connsiteY1249" fmla="*/ 344576 h 2789035"/>
                <a:gd name="connsiteX1250" fmla="*/ 513056 w 2061090"/>
                <a:gd name="connsiteY1250" fmla="*/ 341742 h 2789035"/>
                <a:gd name="connsiteX1251" fmla="*/ 503468 w 2061090"/>
                <a:gd name="connsiteY1251" fmla="*/ 337600 h 2789035"/>
                <a:gd name="connsiteX1252" fmla="*/ 489740 w 2061090"/>
                <a:gd name="connsiteY1252" fmla="*/ 324084 h 2789035"/>
                <a:gd name="connsiteX1253" fmla="*/ 487125 w 2061090"/>
                <a:gd name="connsiteY1253" fmla="*/ 304899 h 2789035"/>
                <a:gd name="connsiteX1254" fmla="*/ 477319 w 2061090"/>
                <a:gd name="connsiteY1254" fmla="*/ 321031 h 2789035"/>
                <a:gd name="connsiteX1255" fmla="*/ 480806 w 2061090"/>
                <a:gd name="connsiteY1255" fmla="*/ 328444 h 2789035"/>
                <a:gd name="connsiteX1256" fmla="*/ 477319 w 2061090"/>
                <a:gd name="connsiteY1256" fmla="*/ 341524 h 2789035"/>
                <a:gd name="connsiteX1257" fmla="*/ 469910 w 2061090"/>
                <a:gd name="connsiteY1257" fmla="*/ 344140 h 2789035"/>
                <a:gd name="connsiteX1258" fmla="*/ 689997 w 2061090"/>
                <a:gd name="connsiteY1258" fmla="*/ 672460 h 2789035"/>
                <a:gd name="connsiteX1259" fmla="*/ 917492 w 2061090"/>
                <a:gd name="connsiteY1259" fmla="*/ 1007755 h 2789035"/>
                <a:gd name="connsiteX1260" fmla="*/ 1480565 w 2061090"/>
                <a:gd name="connsiteY1260" fmla="*/ 1835748 h 2789035"/>
                <a:gd name="connsiteX1261" fmla="*/ 1505842 w 2061090"/>
                <a:gd name="connsiteY1261" fmla="*/ 1831169 h 2789035"/>
                <a:gd name="connsiteX1262" fmla="*/ 530271 w 2061090"/>
                <a:gd name="connsiteY1262" fmla="*/ 326264 h 2789035"/>
                <a:gd name="connsiteX1263" fmla="*/ 534629 w 2061090"/>
                <a:gd name="connsiteY1263" fmla="*/ 317543 h 2789035"/>
                <a:gd name="connsiteX1264" fmla="*/ 538987 w 2061090"/>
                <a:gd name="connsiteY1264" fmla="*/ 308169 h 2789035"/>
                <a:gd name="connsiteX1265" fmla="*/ 532232 w 2061090"/>
                <a:gd name="connsiteY1265" fmla="*/ 282662 h 2789035"/>
                <a:gd name="connsiteX1266" fmla="*/ 523080 w 2061090"/>
                <a:gd name="connsiteY1266" fmla="*/ 285496 h 2789035"/>
                <a:gd name="connsiteX1267" fmla="*/ 518939 w 2061090"/>
                <a:gd name="connsiteY1267" fmla="*/ 293344 h 2789035"/>
                <a:gd name="connsiteX1268" fmla="*/ 512184 w 2061090"/>
                <a:gd name="connsiteY1268" fmla="*/ 311003 h 2789035"/>
                <a:gd name="connsiteX1269" fmla="*/ 516324 w 2061090"/>
                <a:gd name="connsiteY1269" fmla="*/ 310567 h 2789035"/>
                <a:gd name="connsiteX1270" fmla="*/ 525041 w 2061090"/>
                <a:gd name="connsiteY1270" fmla="*/ 309695 h 2789035"/>
                <a:gd name="connsiteX1271" fmla="*/ 526566 w 2061090"/>
                <a:gd name="connsiteY1271" fmla="*/ 315799 h 2789035"/>
                <a:gd name="connsiteX1272" fmla="*/ 520900 w 2061090"/>
                <a:gd name="connsiteY1272" fmla="*/ 322339 h 2789035"/>
                <a:gd name="connsiteX1273" fmla="*/ 520900 w 2061090"/>
                <a:gd name="connsiteY1273" fmla="*/ 332150 h 2789035"/>
                <a:gd name="connsiteX1274" fmla="*/ 530271 w 2061090"/>
                <a:gd name="connsiteY1274" fmla="*/ 326264 h 2789035"/>
                <a:gd name="connsiteX1275" fmla="*/ 474268 w 2061090"/>
                <a:gd name="connsiteY1275" fmla="*/ 326046 h 2789035"/>
                <a:gd name="connsiteX1276" fmla="*/ 469256 w 2061090"/>
                <a:gd name="connsiteY1276" fmla="*/ 324520 h 2789035"/>
                <a:gd name="connsiteX1277" fmla="*/ 464027 w 2061090"/>
                <a:gd name="connsiteY1277" fmla="*/ 328880 h 2789035"/>
                <a:gd name="connsiteX1278" fmla="*/ 459886 w 2061090"/>
                <a:gd name="connsiteY1278" fmla="*/ 331060 h 2789035"/>
                <a:gd name="connsiteX1279" fmla="*/ 466642 w 2061090"/>
                <a:gd name="connsiteY1279" fmla="*/ 332586 h 2789035"/>
                <a:gd name="connsiteX1280" fmla="*/ 474268 w 2061090"/>
                <a:gd name="connsiteY1280" fmla="*/ 326046 h 2789035"/>
                <a:gd name="connsiteX1281" fmla="*/ 210382 w 2061090"/>
                <a:gd name="connsiteY1281" fmla="*/ 320159 h 2789035"/>
                <a:gd name="connsiteX1282" fmla="*/ 209511 w 2061090"/>
                <a:gd name="connsiteY1282" fmla="*/ 317979 h 2789035"/>
                <a:gd name="connsiteX1283" fmla="*/ 207114 w 2061090"/>
                <a:gd name="connsiteY1283" fmla="*/ 320159 h 2789035"/>
                <a:gd name="connsiteX1284" fmla="*/ 207985 w 2061090"/>
                <a:gd name="connsiteY1284" fmla="*/ 322339 h 2789035"/>
                <a:gd name="connsiteX1285" fmla="*/ 210382 w 2061090"/>
                <a:gd name="connsiteY1285" fmla="*/ 320159 h 2789035"/>
                <a:gd name="connsiteX1286" fmla="*/ 222149 w 2061090"/>
                <a:gd name="connsiteY1286" fmla="*/ 314491 h 2789035"/>
                <a:gd name="connsiteX1287" fmla="*/ 226943 w 2061090"/>
                <a:gd name="connsiteY1287" fmla="*/ 304463 h 2789035"/>
                <a:gd name="connsiteX1288" fmla="*/ 231084 w 2061090"/>
                <a:gd name="connsiteY1288" fmla="*/ 296397 h 2789035"/>
                <a:gd name="connsiteX1289" fmla="*/ 234352 w 2061090"/>
                <a:gd name="connsiteY1289" fmla="*/ 293999 h 2789035"/>
                <a:gd name="connsiteX1290" fmla="*/ 234570 w 2061090"/>
                <a:gd name="connsiteY1290" fmla="*/ 283316 h 2789035"/>
                <a:gd name="connsiteX1291" fmla="*/ 228905 w 2061090"/>
                <a:gd name="connsiteY1291" fmla="*/ 285278 h 2789035"/>
                <a:gd name="connsiteX1292" fmla="*/ 227597 w 2061090"/>
                <a:gd name="connsiteY1292" fmla="*/ 293126 h 2789035"/>
                <a:gd name="connsiteX1293" fmla="*/ 220406 w 2061090"/>
                <a:gd name="connsiteY1293" fmla="*/ 293562 h 2789035"/>
                <a:gd name="connsiteX1294" fmla="*/ 219099 w 2061090"/>
                <a:gd name="connsiteY1294" fmla="*/ 297923 h 2789035"/>
                <a:gd name="connsiteX1295" fmla="*/ 217138 w 2061090"/>
                <a:gd name="connsiteY1295" fmla="*/ 304899 h 2789035"/>
                <a:gd name="connsiteX1296" fmla="*/ 213869 w 2061090"/>
                <a:gd name="connsiteY1296" fmla="*/ 314927 h 2789035"/>
                <a:gd name="connsiteX1297" fmla="*/ 222149 w 2061090"/>
                <a:gd name="connsiteY1297" fmla="*/ 314491 h 2789035"/>
                <a:gd name="connsiteX1298" fmla="*/ 500853 w 2061090"/>
                <a:gd name="connsiteY1298" fmla="*/ 313837 h 2789035"/>
                <a:gd name="connsiteX1299" fmla="*/ 494534 w 2061090"/>
                <a:gd name="connsiteY1299" fmla="*/ 306425 h 2789035"/>
                <a:gd name="connsiteX1300" fmla="*/ 497802 w 2061090"/>
                <a:gd name="connsiteY1300" fmla="*/ 319505 h 2789035"/>
                <a:gd name="connsiteX1301" fmla="*/ 500853 w 2061090"/>
                <a:gd name="connsiteY1301" fmla="*/ 313837 h 2789035"/>
                <a:gd name="connsiteX1302" fmla="*/ 564046 w 2061090"/>
                <a:gd name="connsiteY1302" fmla="*/ 310131 h 2789035"/>
                <a:gd name="connsiteX1303" fmla="*/ 558816 w 2061090"/>
                <a:gd name="connsiteY1303" fmla="*/ 300539 h 2789035"/>
                <a:gd name="connsiteX1304" fmla="*/ 551408 w 2061090"/>
                <a:gd name="connsiteY1304" fmla="*/ 314927 h 2789035"/>
                <a:gd name="connsiteX1305" fmla="*/ 564046 w 2061090"/>
                <a:gd name="connsiteY1305" fmla="*/ 310131 h 2789035"/>
                <a:gd name="connsiteX1306" fmla="*/ 701110 w 2061090"/>
                <a:gd name="connsiteY1306" fmla="*/ 303373 h 2789035"/>
                <a:gd name="connsiteX1307" fmla="*/ 705032 w 2061090"/>
                <a:gd name="connsiteY1307" fmla="*/ 300539 h 2789035"/>
                <a:gd name="connsiteX1308" fmla="*/ 710262 w 2061090"/>
                <a:gd name="connsiteY1308" fmla="*/ 297487 h 2789035"/>
                <a:gd name="connsiteX1309" fmla="*/ 709390 w 2061090"/>
                <a:gd name="connsiteY1309" fmla="*/ 290946 h 2789035"/>
                <a:gd name="connsiteX1310" fmla="*/ 701764 w 2061090"/>
                <a:gd name="connsiteY1310" fmla="*/ 289856 h 2789035"/>
                <a:gd name="connsiteX1311" fmla="*/ 694791 w 2061090"/>
                <a:gd name="connsiteY1311" fmla="*/ 299013 h 2789035"/>
                <a:gd name="connsiteX1312" fmla="*/ 688035 w 2061090"/>
                <a:gd name="connsiteY1312" fmla="*/ 305989 h 2789035"/>
                <a:gd name="connsiteX1313" fmla="*/ 689561 w 2061090"/>
                <a:gd name="connsiteY1313" fmla="*/ 299885 h 2789035"/>
                <a:gd name="connsiteX1314" fmla="*/ 681934 w 2061090"/>
                <a:gd name="connsiteY1314" fmla="*/ 289856 h 2789035"/>
                <a:gd name="connsiteX1315" fmla="*/ 682370 w 2061090"/>
                <a:gd name="connsiteY1315" fmla="*/ 308605 h 2789035"/>
                <a:gd name="connsiteX1316" fmla="*/ 693701 w 2061090"/>
                <a:gd name="connsiteY1316" fmla="*/ 309695 h 2789035"/>
                <a:gd name="connsiteX1317" fmla="*/ 701110 w 2061090"/>
                <a:gd name="connsiteY1317" fmla="*/ 303373 h 2789035"/>
                <a:gd name="connsiteX1318" fmla="*/ 456618 w 2061090"/>
                <a:gd name="connsiteY1318" fmla="*/ 299231 h 2789035"/>
                <a:gd name="connsiteX1319" fmla="*/ 452260 w 2061090"/>
                <a:gd name="connsiteY1319" fmla="*/ 292908 h 2789035"/>
                <a:gd name="connsiteX1320" fmla="*/ 448555 w 2061090"/>
                <a:gd name="connsiteY1320" fmla="*/ 286804 h 2789035"/>
                <a:gd name="connsiteX1321" fmla="*/ 444633 w 2061090"/>
                <a:gd name="connsiteY1321" fmla="*/ 280918 h 2789035"/>
                <a:gd name="connsiteX1322" fmla="*/ 443543 w 2061090"/>
                <a:gd name="connsiteY1322" fmla="*/ 272198 h 2789035"/>
                <a:gd name="connsiteX1323" fmla="*/ 440928 w 2061090"/>
                <a:gd name="connsiteY1323" fmla="*/ 266748 h 2789035"/>
                <a:gd name="connsiteX1324" fmla="*/ 435481 w 2061090"/>
                <a:gd name="connsiteY1324" fmla="*/ 276776 h 2789035"/>
                <a:gd name="connsiteX1325" fmla="*/ 438096 w 2061090"/>
                <a:gd name="connsiteY1325" fmla="*/ 286368 h 2789035"/>
                <a:gd name="connsiteX1326" fmla="*/ 440711 w 2061090"/>
                <a:gd name="connsiteY1326" fmla="*/ 304027 h 2789035"/>
                <a:gd name="connsiteX1327" fmla="*/ 449645 w 2061090"/>
                <a:gd name="connsiteY1327" fmla="*/ 305989 h 2789035"/>
                <a:gd name="connsiteX1328" fmla="*/ 456618 w 2061090"/>
                <a:gd name="connsiteY1328" fmla="*/ 299231 h 2789035"/>
                <a:gd name="connsiteX1329" fmla="*/ 582786 w 2061090"/>
                <a:gd name="connsiteY1329" fmla="*/ 305771 h 2789035"/>
                <a:gd name="connsiteX1330" fmla="*/ 577992 w 2061090"/>
                <a:gd name="connsiteY1330" fmla="*/ 299885 h 2789035"/>
                <a:gd name="connsiteX1331" fmla="*/ 573852 w 2061090"/>
                <a:gd name="connsiteY1331" fmla="*/ 296397 h 2789035"/>
                <a:gd name="connsiteX1332" fmla="*/ 565136 w 2061090"/>
                <a:gd name="connsiteY1332" fmla="*/ 292472 h 2789035"/>
                <a:gd name="connsiteX1333" fmla="*/ 568622 w 2061090"/>
                <a:gd name="connsiteY1333" fmla="*/ 300539 h 2789035"/>
                <a:gd name="connsiteX1334" fmla="*/ 575377 w 2061090"/>
                <a:gd name="connsiteY1334" fmla="*/ 303809 h 2789035"/>
                <a:gd name="connsiteX1335" fmla="*/ 582786 w 2061090"/>
                <a:gd name="connsiteY1335" fmla="*/ 305771 h 2789035"/>
                <a:gd name="connsiteX1336" fmla="*/ 472961 w 2061090"/>
                <a:gd name="connsiteY1336" fmla="*/ 302719 h 2789035"/>
                <a:gd name="connsiteX1337" fmla="*/ 470564 w 2061090"/>
                <a:gd name="connsiteY1337" fmla="*/ 300539 h 2789035"/>
                <a:gd name="connsiteX1338" fmla="*/ 469692 w 2061090"/>
                <a:gd name="connsiteY1338" fmla="*/ 302719 h 2789035"/>
                <a:gd name="connsiteX1339" fmla="*/ 472089 w 2061090"/>
                <a:gd name="connsiteY1339" fmla="*/ 304899 h 2789035"/>
                <a:gd name="connsiteX1340" fmla="*/ 472961 w 2061090"/>
                <a:gd name="connsiteY1340" fmla="*/ 302719 h 2789035"/>
                <a:gd name="connsiteX1341" fmla="*/ 1444392 w 2061090"/>
                <a:gd name="connsiteY1341" fmla="*/ 295961 h 2789035"/>
                <a:gd name="connsiteX1342" fmla="*/ 1446135 w 2061090"/>
                <a:gd name="connsiteY1342" fmla="*/ 291600 h 2789035"/>
                <a:gd name="connsiteX1343" fmla="*/ 1450058 w 2061090"/>
                <a:gd name="connsiteY1343" fmla="*/ 295961 h 2789035"/>
                <a:gd name="connsiteX1344" fmla="*/ 1457902 w 2061090"/>
                <a:gd name="connsiteY1344" fmla="*/ 287240 h 2789035"/>
                <a:gd name="connsiteX1345" fmla="*/ 1454416 w 2061090"/>
                <a:gd name="connsiteY1345" fmla="*/ 275250 h 2789035"/>
                <a:gd name="connsiteX1346" fmla="*/ 1447879 w 2061090"/>
                <a:gd name="connsiteY1346" fmla="*/ 274160 h 2789035"/>
                <a:gd name="connsiteX1347" fmla="*/ 1439598 w 2061090"/>
                <a:gd name="connsiteY1347" fmla="*/ 278084 h 2789035"/>
                <a:gd name="connsiteX1348" fmla="*/ 1436330 w 2061090"/>
                <a:gd name="connsiteY1348" fmla="*/ 286368 h 2789035"/>
                <a:gd name="connsiteX1349" fmla="*/ 1438291 w 2061090"/>
                <a:gd name="connsiteY1349" fmla="*/ 294435 h 2789035"/>
                <a:gd name="connsiteX1350" fmla="*/ 1444392 w 2061090"/>
                <a:gd name="connsiteY1350" fmla="*/ 295961 h 2789035"/>
                <a:gd name="connsiteX1351" fmla="*/ 474704 w 2061090"/>
                <a:gd name="connsiteY1351" fmla="*/ 288984 h 2789035"/>
                <a:gd name="connsiteX1352" fmla="*/ 472089 w 2061090"/>
                <a:gd name="connsiteY1352" fmla="*/ 285278 h 2789035"/>
                <a:gd name="connsiteX1353" fmla="*/ 468603 w 2061090"/>
                <a:gd name="connsiteY1353" fmla="*/ 289856 h 2789035"/>
                <a:gd name="connsiteX1354" fmla="*/ 474704 w 2061090"/>
                <a:gd name="connsiteY1354" fmla="*/ 288984 h 2789035"/>
                <a:gd name="connsiteX1355" fmla="*/ 560342 w 2061090"/>
                <a:gd name="connsiteY1355" fmla="*/ 287022 h 2789035"/>
                <a:gd name="connsiteX1356" fmla="*/ 559906 w 2061090"/>
                <a:gd name="connsiteY1356" fmla="*/ 279828 h 2789035"/>
                <a:gd name="connsiteX1357" fmla="*/ 550100 w 2061090"/>
                <a:gd name="connsiteY1357" fmla="*/ 276340 h 2789035"/>
                <a:gd name="connsiteX1358" fmla="*/ 544870 w 2061090"/>
                <a:gd name="connsiteY1358" fmla="*/ 271544 h 2789035"/>
                <a:gd name="connsiteX1359" fmla="*/ 544870 w 2061090"/>
                <a:gd name="connsiteY1359" fmla="*/ 276776 h 2789035"/>
                <a:gd name="connsiteX1360" fmla="*/ 553805 w 2061090"/>
                <a:gd name="connsiteY1360" fmla="*/ 291818 h 2789035"/>
                <a:gd name="connsiteX1361" fmla="*/ 560342 w 2061090"/>
                <a:gd name="connsiteY1361" fmla="*/ 287022 h 2789035"/>
                <a:gd name="connsiteX1362" fmla="*/ 431776 w 2061090"/>
                <a:gd name="connsiteY1362" fmla="*/ 265440 h 2789035"/>
                <a:gd name="connsiteX1363" fmla="*/ 438096 w 2061090"/>
                <a:gd name="connsiteY1363" fmla="*/ 259553 h 2789035"/>
                <a:gd name="connsiteX1364" fmla="*/ 434391 w 2061090"/>
                <a:gd name="connsiteY1364" fmla="*/ 251705 h 2789035"/>
                <a:gd name="connsiteX1365" fmla="*/ 424368 w 2061090"/>
                <a:gd name="connsiteY1365" fmla="*/ 245165 h 2789035"/>
                <a:gd name="connsiteX1366" fmla="*/ 425239 w 2061090"/>
                <a:gd name="connsiteY1366" fmla="*/ 250615 h 2789035"/>
                <a:gd name="connsiteX1367" fmla="*/ 423060 w 2061090"/>
                <a:gd name="connsiteY1367" fmla="*/ 254757 h 2789035"/>
                <a:gd name="connsiteX1368" fmla="*/ 419791 w 2061090"/>
                <a:gd name="connsiteY1368" fmla="*/ 271544 h 2789035"/>
                <a:gd name="connsiteX1369" fmla="*/ 424803 w 2061090"/>
                <a:gd name="connsiteY1369" fmla="*/ 275250 h 2789035"/>
                <a:gd name="connsiteX1370" fmla="*/ 431776 w 2061090"/>
                <a:gd name="connsiteY1370" fmla="*/ 265440 h 2789035"/>
                <a:gd name="connsiteX1371" fmla="*/ 173556 w 2061090"/>
                <a:gd name="connsiteY1371" fmla="*/ 270672 h 2789035"/>
                <a:gd name="connsiteX1372" fmla="*/ 171377 w 2061090"/>
                <a:gd name="connsiteY1372" fmla="*/ 274596 h 2789035"/>
                <a:gd name="connsiteX1373" fmla="*/ 173992 w 2061090"/>
                <a:gd name="connsiteY1373" fmla="*/ 274596 h 2789035"/>
                <a:gd name="connsiteX1374" fmla="*/ 173556 w 2061090"/>
                <a:gd name="connsiteY1374" fmla="*/ 270672 h 2789035"/>
                <a:gd name="connsiteX1375" fmla="*/ 159392 w 2061090"/>
                <a:gd name="connsiteY1375" fmla="*/ 262387 h 2789035"/>
                <a:gd name="connsiteX1376" fmla="*/ 154380 w 2061090"/>
                <a:gd name="connsiteY1376" fmla="*/ 242985 h 2789035"/>
                <a:gd name="connsiteX1377" fmla="*/ 165711 w 2061090"/>
                <a:gd name="connsiteY1377" fmla="*/ 253667 h 2789035"/>
                <a:gd name="connsiteX1378" fmla="*/ 168108 w 2061090"/>
                <a:gd name="connsiteY1378" fmla="*/ 260425 h 2789035"/>
                <a:gd name="connsiteX1379" fmla="*/ 170723 w 2061090"/>
                <a:gd name="connsiteY1379" fmla="*/ 236227 h 2789035"/>
                <a:gd name="connsiteX1380" fmla="*/ 160917 w 2061090"/>
                <a:gd name="connsiteY1380" fmla="*/ 231212 h 2789035"/>
                <a:gd name="connsiteX1381" fmla="*/ 146100 w 2061090"/>
                <a:gd name="connsiteY1381" fmla="*/ 221620 h 2789035"/>
                <a:gd name="connsiteX1382" fmla="*/ 154598 w 2061090"/>
                <a:gd name="connsiteY1382" fmla="*/ 219876 h 2789035"/>
                <a:gd name="connsiteX1383" fmla="*/ 165711 w 2061090"/>
                <a:gd name="connsiteY1383" fmla="*/ 216606 h 2789035"/>
                <a:gd name="connsiteX1384" fmla="*/ 174428 w 2061090"/>
                <a:gd name="connsiteY1384" fmla="*/ 220966 h 2789035"/>
                <a:gd name="connsiteX1385" fmla="*/ 178786 w 2061090"/>
                <a:gd name="connsiteY1385" fmla="*/ 233392 h 2789035"/>
                <a:gd name="connsiteX1386" fmla="*/ 183362 w 2061090"/>
                <a:gd name="connsiteY1386" fmla="*/ 237099 h 2789035"/>
                <a:gd name="connsiteX1387" fmla="*/ 184016 w 2061090"/>
                <a:gd name="connsiteY1387" fmla="*/ 224672 h 2789035"/>
                <a:gd name="connsiteX1388" fmla="*/ 179440 w 2061090"/>
                <a:gd name="connsiteY1388" fmla="*/ 212028 h 2789035"/>
                <a:gd name="connsiteX1389" fmla="*/ 174864 w 2061090"/>
                <a:gd name="connsiteY1389" fmla="*/ 203961 h 2789035"/>
                <a:gd name="connsiteX1390" fmla="*/ 168980 w 2061090"/>
                <a:gd name="connsiteY1390" fmla="*/ 195677 h 2789035"/>
                <a:gd name="connsiteX1391" fmla="*/ 160700 w 2061090"/>
                <a:gd name="connsiteY1391" fmla="*/ 196985 h 2789035"/>
                <a:gd name="connsiteX1392" fmla="*/ 153291 w 2061090"/>
                <a:gd name="connsiteY1392" fmla="*/ 195895 h 2789035"/>
                <a:gd name="connsiteX1393" fmla="*/ 151330 w 2061090"/>
                <a:gd name="connsiteY1393" fmla="*/ 187829 h 2789035"/>
                <a:gd name="connsiteX1394" fmla="*/ 150458 w 2061090"/>
                <a:gd name="connsiteY1394" fmla="*/ 178455 h 2789035"/>
                <a:gd name="connsiteX1395" fmla="*/ 152637 w 2061090"/>
                <a:gd name="connsiteY1395" fmla="*/ 182379 h 2789035"/>
                <a:gd name="connsiteX1396" fmla="*/ 162225 w 2061090"/>
                <a:gd name="connsiteY1396" fmla="*/ 190009 h 2789035"/>
                <a:gd name="connsiteX1397" fmla="*/ 158303 w 2061090"/>
                <a:gd name="connsiteY1397" fmla="*/ 171696 h 2789035"/>
                <a:gd name="connsiteX1398" fmla="*/ 149586 w 2061090"/>
                <a:gd name="connsiteY1398" fmla="*/ 159488 h 2789035"/>
                <a:gd name="connsiteX1399" fmla="*/ 144574 w 2061090"/>
                <a:gd name="connsiteY1399" fmla="*/ 158180 h 2789035"/>
                <a:gd name="connsiteX1400" fmla="*/ 142395 w 2061090"/>
                <a:gd name="connsiteY1400" fmla="*/ 169080 h 2789035"/>
                <a:gd name="connsiteX1401" fmla="*/ 141524 w 2061090"/>
                <a:gd name="connsiteY1401" fmla="*/ 179763 h 2789035"/>
                <a:gd name="connsiteX1402" fmla="*/ 143921 w 2061090"/>
                <a:gd name="connsiteY1402" fmla="*/ 191317 h 2789035"/>
                <a:gd name="connsiteX1403" fmla="*/ 148715 w 2061090"/>
                <a:gd name="connsiteY1403" fmla="*/ 200691 h 2789035"/>
                <a:gd name="connsiteX1404" fmla="*/ 151983 w 2061090"/>
                <a:gd name="connsiteY1404" fmla="*/ 207668 h 2789035"/>
                <a:gd name="connsiteX1405" fmla="*/ 145446 w 2061090"/>
                <a:gd name="connsiteY1405" fmla="*/ 208322 h 2789035"/>
                <a:gd name="connsiteX1406" fmla="*/ 136512 w 2061090"/>
                <a:gd name="connsiteY1406" fmla="*/ 207232 h 2789035"/>
                <a:gd name="connsiteX1407" fmla="*/ 133897 w 2061090"/>
                <a:gd name="connsiteY1407" fmla="*/ 204833 h 2789035"/>
                <a:gd name="connsiteX1408" fmla="*/ 136512 w 2061090"/>
                <a:gd name="connsiteY1408" fmla="*/ 195895 h 2789035"/>
                <a:gd name="connsiteX1409" fmla="*/ 135422 w 2061090"/>
                <a:gd name="connsiteY1409" fmla="*/ 191535 h 2789035"/>
                <a:gd name="connsiteX1410" fmla="*/ 133025 w 2061090"/>
                <a:gd name="connsiteY1410" fmla="*/ 195023 h 2789035"/>
                <a:gd name="connsiteX1411" fmla="*/ 126924 w 2061090"/>
                <a:gd name="connsiteY1411" fmla="*/ 200473 h 2789035"/>
                <a:gd name="connsiteX1412" fmla="*/ 118208 w 2061090"/>
                <a:gd name="connsiteY1412" fmla="*/ 209412 h 2789035"/>
                <a:gd name="connsiteX1413" fmla="*/ 122784 w 2061090"/>
                <a:gd name="connsiteY1413" fmla="*/ 217914 h 2789035"/>
                <a:gd name="connsiteX1414" fmla="*/ 141960 w 2061090"/>
                <a:gd name="connsiteY1414" fmla="*/ 225762 h 2789035"/>
                <a:gd name="connsiteX1415" fmla="*/ 145446 w 2061090"/>
                <a:gd name="connsiteY1415" fmla="*/ 231212 h 2789035"/>
                <a:gd name="connsiteX1416" fmla="*/ 144139 w 2061090"/>
                <a:gd name="connsiteY1416" fmla="*/ 240805 h 2789035"/>
                <a:gd name="connsiteX1417" fmla="*/ 140870 w 2061090"/>
                <a:gd name="connsiteY1417" fmla="*/ 253885 h 2789035"/>
                <a:gd name="connsiteX1418" fmla="*/ 137601 w 2061090"/>
                <a:gd name="connsiteY1418" fmla="*/ 263913 h 2789035"/>
                <a:gd name="connsiteX1419" fmla="*/ 135204 w 2061090"/>
                <a:gd name="connsiteY1419" fmla="*/ 272198 h 2789035"/>
                <a:gd name="connsiteX1420" fmla="*/ 137383 w 2061090"/>
                <a:gd name="connsiteY1420" fmla="*/ 270236 h 2789035"/>
                <a:gd name="connsiteX1421" fmla="*/ 157867 w 2061090"/>
                <a:gd name="connsiteY1421" fmla="*/ 271326 h 2789035"/>
                <a:gd name="connsiteX1422" fmla="*/ 159392 w 2061090"/>
                <a:gd name="connsiteY1422" fmla="*/ 262387 h 2789035"/>
                <a:gd name="connsiteX1423" fmla="*/ 1438073 w 2061090"/>
                <a:gd name="connsiteY1423" fmla="*/ 268710 h 2789035"/>
                <a:gd name="connsiteX1424" fmla="*/ 1433715 w 2061090"/>
                <a:gd name="connsiteY1424" fmla="*/ 265658 h 2789035"/>
                <a:gd name="connsiteX1425" fmla="*/ 1434586 w 2061090"/>
                <a:gd name="connsiteY1425" fmla="*/ 272852 h 2789035"/>
                <a:gd name="connsiteX1426" fmla="*/ 1438073 w 2061090"/>
                <a:gd name="connsiteY1426" fmla="*/ 268710 h 2789035"/>
                <a:gd name="connsiteX1427" fmla="*/ 189899 w 2061090"/>
                <a:gd name="connsiteY1427" fmla="*/ 263041 h 2789035"/>
                <a:gd name="connsiteX1428" fmla="*/ 196436 w 2061090"/>
                <a:gd name="connsiteY1428" fmla="*/ 254103 h 2789035"/>
                <a:gd name="connsiteX1429" fmla="*/ 197962 w 2061090"/>
                <a:gd name="connsiteY1429" fmla="*/ 242113 h 2789035"/>
                <a:gd name="connsiteX1430" fmla="*/ 192732 w 2061090"/>
                <a:gd name="connsiteY1430" fmla="*/ 247999 h 2789035"/>
                <a:gd name="connsiteX1431" fmla="*/ 185541 w 2061090"/>
                <a:gd name="connsiteY1431" fmla="*/ 256065 h 2789035"/>
                <a:gd name="connsiteX1432" fmla="*/ 184234 w 2061090"/>
                <a:gd name="connsiteY1432" fmla="*/ 267838 h 2789035"/>
                <a:gd name="connsiteX1433" fmla="*/ 189899 w 2061090"/>
                <a:gd name="connsiteY1433" fmla="*/ 263041 h 2789035"/>
                <a:gd name="connsiteX1434" fmla="*/ 553587 w 2061090"/>
                <a:gd name="connsiteY1434" fmla="*/ 266966 h 2789035"/>
                <a:gd name="connsiteX1435" fmla="*/ 551408 w 2061090"/>
                <a:gd name="connsiteY1435" fmla="*/ 264567 h 2789035"/>
                <a:gd name="connsiteX1436" fmla="*/ 549228 w 2061090"/>
                <a:gd name="connsiteY1436" fmla="*/ 265440 h 2789035"/>
                <a:gd name="connsiteX1437" fmla="*/ 551408 w 2061090"/>
                <a:gd name="connsiteY1437" fmla="*/ 267838 h 2789035"/>
                <a:gd name="connsiteX1438" fmla="*/ 553587 w 2061090"/>
                <a:gd name="connsiteY1438" fmla="*/ 266966 h 2789035"/>
                <a:gd name="connsiteX1439" fmla="*/ 671257 w 2061090"/>
                <a:gd name="connsiteY1439" fmla="*/ 258027 h 2789035"/>
                <a:gd name="connsiteX1440" fmla="*/ 668860 w 2061090"/>
                <a:gd name="connsiteY1440" fmla="*/ 254757 h 2789035"/>
                <a:gd name="connsiteX1441" fmla="*/ 667770 w 2061090"/>
                <a:gd name="connsiteY1441" fmla="*/ 249307 h 2789035"/>
                <a:gd name="connsiteX1442" fmla="*/ 660797 w 2061090"/>
                <a:gd name="connsiteY1442" fmla="*/ 249307 h 2789035"/>
                <a:gd name="connsiteX1443" fmla="*/ 664719 w 2061090"/>
                <a:gd name="connsiteY1443" fmla="*/ 261297 h 2789035"/>
                <a:gd name="connsiteX1444" fmla="*/ 671257 w 2061090"/>
                <a:gd name="connsiteY1444" fmla="*/ 258027 h 2789035"/>
                <a:gd name="connsiteX1445" fmla="*/ 512184 w 2061090"/>
                <a:gd name="connsiteY1445" fmla="*/ 251269 h 2789035"/>
                <a:gd name="connsiteX1446" fmla="*/ 514363 w 2061090"/>
                <a:gd name="connsiteY1446" fmla="*/ 248217 h 2789035"/>
                <a:gd name="connsiteX1447" fmla="*/ 516542 w 2061090"/>
                <a:gd name="connsiteY1447" fmla="*/ 244947 h 2789035"/>
                <a:gd name="connsiteX1448" fmla="*/ 515017 w 2061090"/>
                <a:gd name="connsiteY1448" fmla="*/ 241677 h 2789035"/>
                <a:gd name="connsiteX1449" fmla="*/ 506737 w 2061090"/>
                <a:gd name="connsiteY1449" fmla="*/ 254757 h 2789035"/>
                <a:gd name="connsiteX1450" fmla="*/ 512184 w 2061090"/>
                <a:gd name="connsiteY1450" fmla="*/ 251269 h 2789035"/>
                <a:gd name="connsiteX1451" fmla="*/ 183580 w 2061090"/>
                <a:gd name="connsiteY1451" fmla="*/ 243421 h 2789035"/>
                <a:gd name="connsiteX1452" fmla="*/ 180965 w 2061090"/>
                <a:gd name="connsiteY1452" fmla="*/ 242985 h 2789035"/>
                <a:gd name="connsiteX1453" fmla="*/ 185105 w 2061090"/>
                <a:gd name="connsiteY1453" fmla="*/ 247127 h 2789035"/>
                <a:gd name="connsiteX1454" fmla="*/ 183580 w 2061090"/>
                <a:gd name="connsiteY1454" fmla="*/ 243421 h 2789035"/>
                <a:gd name="connsiteX1455" fmla="*/ 404102 w 2061090"/>
                <a:gd name="connsiteY1455" fmla="*/ 238625 h 2789035"/>
                <a:gd name="connsiteX1456" fmla="*/ 406499 w 2061090"/>
                <a:gd name="connsiteY1456" fmla="*/ 229904 h 2789035"/>
                <a:gd name="connsiteX1457" fmla="*/ 416305 w 2061090"/>
                <a:gd name="connsiteY1457" fmla="*/ 237535 h 2789035"/>
                <a:gd name="connsiteX1458" fmla="*/ 418484 w 2061090"/>
                <a:gd name="connsiteY1458" fmla="*/ 242767 h 2789035"/>
                <a:gd name="connsiteX1459" fmla="*/ 420663 w 2061090"/>
                <a:gd name="connsiteY1459" fmla="*/ 241677 h 2789035"/>
                <a:gd name="connsiteX1460" fmla="*/ 426111 w 2061090"/>
                <a:gd name="connsiteY1460" fmla="*/ 232084 h 2789035"/>
                <a:gd name="connsiteX1461" fmla="*/ 429379 w 2061090"/>
                <a:gd name="connsiteY1461" fmla="*/ 219876 h 2789035"/>
                <a:gd name="connsiteX1462" fmla="*/ 435263 w 2061090"/>
                <a:gd name="connsiteY1462" fmla="*/ 207886 h 2789035"/>
                <a:gd name="connsiteX1463" fmla="*/ 441800 w 2061090"/>
                <a:gd name="connsiteY1463" fmla="*/ 197203 h 2789035"/>
                <a:gd name="connsiteX1464" fmla="*/ 434173 w 2061090"/>
                <a:gd name="connsiteY1464" fmla="*/ 194369 h 2789035"/>
                <a:gd name="connsiteX1465" fmla="*/ 423932 w 2061090"/>
                <a:gd name="connsiteY1465" fmla="*/ 192407 h 2789035"/>
                <a:gd name="connsiteX1466" fmla="*/ 416087 w 2061090"/>
                <a:gd name="connsiteY1466" fmla="*/ 193933 h 2789035"/>
                <a:gd name="connsiteX1467" fmla="*/ 405410 w 2061090"/>
                <a:gd name="connsiteY1467" fmla="*/ 190445 h 2789035"/>
                <a:gd name="connsiteX1468" fmla="*/ 401269 w 2061090"/>
                <a:gd name="connsiteY1468" fmla="*/ 184995 h 2789035"/>
                <a:gd name="connsiteX1469" fmla="*/ 394514 w 2061090"/>
                <a:gd name="connsiteY1469" fmla="*/ 176056 h 2789035"/>
                <a:gd name="connsiteX1470" fmla="*/ 398437 w 2061090"/>
                <a:gd name="connsiteY1470" fmla="*/ 174094 h 2789035"/>
                <a:gd name="connsiteX1471" fmla="*/ 411293 w 2061090"/>
                <a:gd name="connsiteY1471" fmla="*/ 162322 h 2789035"/>
                <a:gd name="connsiteX1472" fmla="*/ 399090 w 2061090"/>
                <a:gd name="connsiteY1472" fmla="*/ 165810 h 2789035"/>
                <a:gd name="connsiteX1473" fmla="*/ 380568 w 2061090"/>
                <a:gd name="connsiteY1473" fmla="*/ 182815 h 2789035"/>
                <a:gd name="connsiteX1474" fmla="*/ 379261 w 2061090"/>
                <a:gd name="connsiteY1474" fmla="*/ 176710 h 2789035"/>
                <a:gd name="connsiteX1475" fmla="*/ 373377 w 2061090"/>
                <a:gd name="connsiteY1475" fmla="*/ 167772 h 2789035"/>
                <a:gd name="connsiteX1476" fmla="*/ 362482 w 2061090"/>
                <a:gd name="connsiteY1476" fmla="*/ 171260 h 2789035"/>
                <a:gd name="connsiteX1477" fmla="*/ 359431 w 2061090"/>
                <a:gd name="connsiteY1477" fmla="*/ 182815 h 2789035"/>
                <a:gd name="connsiteX1478" fmla="*/ 362918 w 2061090"/>
                <a:gd name="connsiteY1478" fmla="*/ 180417 h 2789035"/>
                <a:gd name="connsiteX1479" fmla="*/ 371634 w 2061090"/>
                <a:gd name="connsiteY1479" fmla="*/ 186085 h 2789035"/>
                <a:gd name="connsiteX1480" fmla="*/ 378389 w 2061090"/>
                <a:gd name="connsiteY1480" fmla="*/ 192189 h 2789035"/>
                <a:gd name="connsiteX1481" fmla="*/ 386670 w 2061090"/>
                <a:gd name="connsiteY1481" fmla="*/ 195023 h 2789035"/>
                <a:gd name="connsiteX1482" fmla="*/ 392335 w 2061090"/>
                <a:gd name="connsiteY1482" fmla="*/ 195895 h 2789035"/>
                <a:gd name="connsiteX1483" fmla="*/ 404538 w 2061090"/>
                <a:gd name="connsiteY1483" fmla="*/ 205487 h 2789035"/>
                <a:gd name="connsiteX1484" fmla="*/ 405410 w 2061090"/>
                <a:gd name="connsiteY1484" fmla="*/ 214426 h 2789035"/>
                <a:gd name="connsiteX1485" fmla="*/ 403013 w 2061090"/>
                <a:gd name="connsiteY1485" fmla="*/ 221184 h 2789035"/>
                <a:gd name="connsiteX1486" fmla="*/ 396693 w 2061090"/>
                <a:gd name="connsiteY1486" fmla="*/ 222056 h 2789035"/>
                <a:gd name="connsiteX1487" fmla="*/ 394514 w 2061090"/>
                <a:gd name="connsiteY1487" fmla="*/ 212028 h 2789035"/>
                <a:gd name="connsiteX1488" fmla="*/ 390592 w 2061090"/>
                <a:gd name="connsiteY1488" fmla="*/ 201781 h 2789035"/>
                <a:gd name="connsiteX1489" fmla="*/ 381876 w 2061090"/>
                <a:gd name="connsiteY1489" fmla="*/ 201563 h 2789035"/>
                <a:gd name="connsiteX1490" fmla="*/ 382747 w 2061090"/>
                <a:gd name="connsiteY1490" fmla="*/ 208322 h 2789035"/>
                <a:gd name="connsiteX1491" fmla="*/ 389720 w 2061090"/>
                <a:gd name="connsiteY1491" fmla="*/ 218568 h 2789035"/>
                <a:gd name="connsiteX1492" fmla="*/ 392771 w 2061090"/>
                <a:gd name="connsiteY1492" fmla="*/ 224236 h 2789035"/>
                <a:gd name="connsiteX1493" fmla="*/ 396693 w 2061090"/>
                <a:gd name="connsiteY1493" fmla="*/ 229468 h 2789035"/>
                <a:gd name="connsiteX1494" fmla="*/ 403448 w 2061090"/>
                <a:gd name="connsiteY1494" fmla="*/ 246909 h 2789035"/>
                <a:gd name="connsiteX1495" fmla="*/ 404102 w 2061090"/>
                <a:gd name="connsiteY1495" fmla="*/ 238625 h 2789035"/>
                <a:gd name="connsiteX1496" fmla="*/ 195347 w 2061090"/>
                <a:gd name="connsiteY1496" fmla="*/ 224890 h 2789035"/>
                <a:gd name="connsiteX1497" fmla="*/ 193168 w 2061090"/>
                <a:gd name="connsiteY1497" fmla="*/ 228814 h 2789035"/>
                <a:gd name="connsiteX1498" fmla="*/ 195783 w 2061090"/>
                <a:gd name="connsiteY1498" fmla="*/ 228814 h 2789035"/>
                <a:gd name="connsiteX1499" fmla="*/ 195347 w 2061090"/>
                <a:gd name="connsiteY1499" fmla="*/ 224890 h 2789035"/>
                <a:gd name="connsiteX1500" fmla="*/ 757330 w 2061090"/>
                <a:gd name="connsiteY1500" fmla="*/ 226416 h 2789035"/>
                <a:gd name="connsiteX1501" fmla="*/ 751882 w 2061090"/>
                <a:gd name="connsiteY1501" fmla="*/ 219222 h 2789035"/>
                <a:gd name="connsiteX1502" fmla="*/ 749703 w 2061090"/>
                <a:gd name="connsiteY1502" fmla="*/ 226634 h 2789035"/>
                <a:gd name="connsiteX1503" fmla="*/ 757330 w 2061090"/>
                <a:gd name="connsiteY1503" fmla="*/ 226416 h 2789035"/>
                <a:gd name="connsiteX1504" fmla="*/ 569712 w 2061090"/>
                <a:gd name="connsiteY1504" fmla="*/ 215080 h 2789035"/>
                <a:gd name="connsiteX1505" fmla="*/ 564482 w 2061090"/>
                <a:gd name="connsiteY1505" fmla="*/ 220530 h 2789035"/>
                <a:gd name="connsiteX1506" fmla="*/ 567751 w 2061090"/>
                <a:gd name="connsiteY1506" fmla="*/ 221184 h 2789035"/>
                <a:gd name="connsiteX1507" fmla="*/ 569712 w 2061090"/>
                <a:gd name="connsiteY1507" fmla="*/ 215080 h 2789035"/>
                <a:gd name="connsiteX1508" fmla="*/ 1455723 w 2061090"/>
                <a:gd name="connsiteY1508" fmla="*/ 205487 h 2789035"/>
                <a:gd name="connsiteX1509" fmla="*/ 1449186 w 2061090"/>
                <a:gd name="connsiteY1509" fmla="*/ 205705 h 2789035"/>
                <a:gd name="connsiteX1510" fmla="*/ 1452673 w 2061090"/>
                <a:gd name="connsiteY1510" fmla="*/ 210938 h 2789035"/>
                <a:gd name="connsiteX1511" fmla="*/ 1455723 w 2061090"/>
                <a:gd name="connsiteY1511" fmla="*/ 205487 h 2789035"/>
                <a:gd name="connsiteX1512" fmla="*/ 629418 w 2061090"/>
                <a:gd name="connsiteY1512" fmla="*/ 196331 h 2789035"/>
                <a:gd name="connsiteX1513" fmla="*/ 626804 w 2061090"/>
                <a:gd name="connsiteY1513" fmla="*/ 193715 h 2789035"/>
                <a:gd name="connsiteX1514" fmla="*/ 623317 w 2061090"/>
                <a:gd name="connsiteY1514" fmla="*/ 197203 h 2789035"/>
                <a:gd name="connsiteX1515" fmla="*/ 629418 w 2061090"/>
                <a:gd name="connsiteY1515" fmla="*/ 196331 h 2789035"/>
                <a:gd name="connsiteX1516" fmla="*/ 1448314 w 2061090"/>
                <a:gd name="connsiteY1516" fmla="*/ 197857 h 2789035"/>
                <a:gd name="connsiteX1517" fmla="*/ 1447879 w 2061090"/>
                <a:gd name="connsiteY1517" fmla="*/ 193715 h 2789035"/>
                <a:gd name="connsiteX1518" fmla="*/ 1441341 w 2061090"/>
                <a:gd name="connsiteY1518" fmla="*/ 197857 h 2789035"/>
                <a:gd name="connsiteX1519" fmla="*/ 1448314 w 2061090"/>
                <a:gd name="connsiteY1519" fmla="*/ 197857 h 2789035"/>
                <a:gd name="connsiteX1520" fmla="*/ 599347 w 2061090"/>
                <a:gd name="connsiteY1520" fmla="*/ 184777 h 2789035"/>
                <a:gd name="connsiteX1521" fmla="*/ 597168 w 2061090"/>
                <a:gd name="connsiteY1521" fmla="*/ 181725 h 2789035"/>
                <a:gd name="connsiteX1522" fmla="*/ 594989 w 2061090"/>
                <a:gd name="connsiteY1522" fmla="*/ 186303 h 2789035"/>
                <a:gd name="connsiteX1523" fmla="*/ 597168 w 2061090"/>
                <a:gd name="connsiteY1523" fmla="*/ 189355 h 2789035"/>
                <a:gd name="connsiteX1524" fmla="*/ 599347 w 2061090"/>
                <a:gd name="connsiteY1524" fmla="*/ 184777 h 2789035"/>
                <a:gd name="connsiteX1525" fmla="*/ 1452237 w 2061090"/>
                <a:gd name="connsiteY1525" fmla="*/ 188047 h 2789035"/>
                <a:gd name="connsiteX1526" fmla="*/ 1448968 w 2061090"/>
                <a:gd name="connsiteY1526" fmla="*/ 182815 h 2789035"/>
                <a:gd name="connsiteX1527" fmla="*/ 1444828 w 2061090"/>
                <a:gd name="connsiteY1527" fmla="*/ 186085 h 2789035"/>
                <a:gd name="connsiteX1528" fmla="*/ 1452237 w 2061090"/>
                <a:gd name="connsiteY1528" fmla="*/ 188047 h 2789035"/>
                <a:gd name="connsiteX1529" fmla="*/ 626368 w 2061090"/>
                <a:gd name="connsiteY1529" fmla="*/ 183687 h 2789035"/>
                <a:gd name="connsiteX1530" fmla="*/ 626586 w 2061090"/>
                <a:gd name="connsiteY1530" fmla="*/ 178891 h 2789035"/>
                <a:gd name="connsiteX1531" fmla="*/ 620266 w 2061090"/>
                <a:gd name="connsiteY1531" fmla="*/ 185213 h 2789035"/>
                <a:gd name="connsiteX1532" fmla="*/ 626368 w 2061090"/>
                <a:gd name="connsiteY1532" fmla="*/ 183687 h 2789035"/>
                <a:gd name="connsiteX1533" fmla="*/ 651645 w 2061090"/>
                <a:gd name="connsiteY1533" fmla="*/ 173876 h 2789035"/>
                <a:gd name="connsiteX1534" fmla="*/ 649466 w 2061090"/>
                <a:gd name="connsiteY1534" fmla="*/ 168644 h 2789035"/>
                <a:gd name="connsiteX1535" fmla="*/ 648594 w 2061090"/>
                <a:gd name="connsiteY1535" fmla="*/ 164938 h 2789035"/>
                <a:gd name="connsiteX1536" fmla="*/ 653170 w 2061090"/>
                <a:gd name="connsiteY1536" fmla="*/ 166682 h 2789035"/>
                <a:gd name="connsiteX1537" fmla="*/ 658400 w 2061090"/>
                <a:gd name="connsiteY1537" fmla="*/ 167554 h 2789035"/>
                <a:gd name="connsiteX1538" fmla="*/ 657093 w 2061090"/>
                <a:gd name="connsiteY1538" fmla="*/ 150768 h 2789035"/>
                <a:gd name="connsiteX1539" fmla="*/ 662105 w 2061090"/>
                <a:gd name="connsiteY1539" fmla="*/ 151204 h 2789035"/>
                <a:gd name="connsiteX1540" fmla="*/ 671257 w 2061090"/>
                <a:gd name="connsiteY1540" fmla="*/ 153384 h 2789035"/>
                <a:gd name="connsiteX1541" fmla="*/ 681280 w 2061090"/>
                <a:gd name="connsiteY1541" fmla="*/ 159924 h 2789035"/>
                <a:gd name="connsiteX1542" fmla="*/ 688689 w 2061090"/>
                <a:gd name="connsiteY1542" fmla="*/ 169298 h 2789035"/>
                <a:gd name="connsiteX1543" fmla="*/ 691740 w 2061090"/>
                <a:gd name="connsiteY1543" fmla="*/ 157090 h 2789035"/>
                <a:gd name="connsiteX1544" fmla="*/ 690650 w 2061090"/>
                <a:gd name="connsiteY1544" fmla="*/ 149460 h 2789035"/>
                <a:gd name="connsiteX1545" fmla="*/ 688689 w 2061090"/>
                <a:gd name="connsiteY1545" fmla="*/ 142483 h 2789035"/>
                <a:gd name="connsiteX1546" fmla="*/ 688689 w 2061090"/>
                <a:gd name="connsiteY1546" fmla="*/ 134635 h 2789035"/>
                <a:gd name="connsiteX1547" fmla="*/ 684985 w 2061090"/>
                <a:gd name="connsiteY1547" fmla="*/ 110218 h 2789035"/>
                <a:gd name="connsiteX1548" fmla="*/ 683459 w 2061090"/>
                <a:gd name="connsiteY1548" fmla="*/ 107166 h 2789035"/>
                <a:gd name="connsiteX1549" fmla="*/ 690650 w 2061090"/>
                <a:gd name="connsiteY1549" fmla="*/ 103460 h 2789035"/>
                <a:gd name="connsiteX1550" fmla="*/ 691086 w 2061090"/>
                <a:gd name="connsiteY1550" fmla="*/ 94522 h 2789035"/>
                <a:gd name="connsiteX1551" fmla="*/ 679973 w 2061090"/>
                <a:gd name="connsiteY1551" fmla="*/ 96048 h 2789035"/>
                <a:gd name="connsiteX1552" fmla="*/ 672346 w 2061090"/>
                <a:gd name="connsiteY1552" fmla="*/ 104332 h 2789035"/>
                <a:gd name="connsiteX1553" fmla="*/ 664719 w 2061090"/>
                <a:gd name="connsiteY1553" fmla="*/ 114796 h 2789035"/>
                <a:gd name="connsiteX1554" fmla="*/ 655785 w 2061090"/>
                <a:gd name="connsiteY1554" fmla="*/ 119593 h 2789035"/>
                <a:gd name="connsiteX1555" fmla="*/ 648376 w 2061090"/>
                <a:gd name="connsiteY1555" fmla="*/ 112834 h 2789035"/>
                <a:gd name="connsiteX1556" fmla="*/ 644890 w 2061090"/>
                <a:gd name="connsiteY1556" fmla="*/ 107166 h 2789035"/>
                <a:gd name="connsiteX1557" fmla="*/ 635956 w 2061090"/>
                <a:gd name="connsiteY1557" fmla="*/ 108692 h 2789035"/>
                <a:gd name="connsiteX1558" fmla="*/ 632033 w 2061090"/>
                <a:gd name="connsiteY1558" fmla="*/ 110872 h 2789035"/>
                <a:gd name="connsiteX1559" fmla="*/ 636391 w 2061090"/>
                <a:gd name="connsiteY1559" fmla="*/ 113052 h 2789035"/>
                <a:gd name="connsiteX1560" fmla="*/ 640750 w 2061090"/>
                <a:gd name="connsiteY1560" fmla="*/ 114360 h 2789035"/>
                <a:gd name="connsiteX1561" fmla="*/ 636391 w 2061090"/>
                <a:gd name="connsiteY1561" fmla="*/ 121119 h 2789035"/>
                <a:gd name="connsiteX1562" fmla="*/ 632033 w 2061090"/>
                <a:gd name="connsiteY1562" fmla="*/ 132237 h 2789035"/>
                <a:gd name="connsiteX1563" fmla="*/ 636609 w 2061090"/>
                <a:gd name="connsiteY1563" fmla="*/ 133545 h 2789035"/>
                <a:gd name="connsiteX1564" fmla="*/ 643147 w 2061090"/>
                <a:gd name="connsiteY1564" fmla="*/ 133327 h 2789035"/>
                <a:gd name="connsiteX1565" fmla="*/ 648594 w 2061090"/>
                <a:gd name="connsiteY1565" fmla="*/ 137033 h 2789035"/>
                <a:gd name="connsiteX1566" fmla="*/ 650338 w 2061090"/>
                <a:gd name="connsiteY1566" fmla="*/ 142701 h 2789035"/>
                <a:gd name="connsiteX1567" fmla="*/ 651863 w 2061090"/>
                <a:gd name="connsiteY1567" fmla="*/ 150550 h 2789035"/>
                <a:gd name="connsiteX1568" fmla="*/ 652299 w 2061090"/>
                <a:gd name="connsiteY1568" fmla="*/ 153820 h 2789035"/>
                <a:gd name="connsiteX1569" fmla="*/ 649466 w 2061090"/>
                <a:gd name="connsiteY1569" fmla="*/ 157962 h 2789035"/>
                <a:gd name="connsiteX1570" fmla="*/ 646633 w 2061090"/>
                <a:gd name="connsiteY1570" fmla="*/ 161014 h 2789035"/>
                <a:gd name="connsiteX1571" fmla="*/ 639878 w 2061090"/>
                <a:gd name="connsiteY1571" fmla="*/ 163848 h 2789035"/>
                <a:gd name="connsiteX1572" fmla="*/ 643582 w 2061090"/>
                <a:gd name="connsiteY1572" fmla="*/ 180199 h 2789035"/>
                <a:gd name="connsiteX1573" fmla="*/ 651645 w 2061090"/>
                <a:gd name="connsiteY1573" fmla="*/ 173876 h 2789035"/>
                <a:gd name="connsiteX1574" fmla="*/ 632033 w 2061090"/>
                <a:gd name="connsiteY1574" fmla="*/ 171696 h 2789035"/>
                <a:gd name="connsiteX1575" fmla="*/ 629854 w 2061090"/>
                <a:gd name="connsiteY1575" fmla="*/ 170824 h 2789035"/>
                <a:gd name="connsiteX1576" fmla="*/ 627675 w 2061090"/>
                <a:gd name="connsiteY1576" fmla="*/ 174312 h 2789035"/>
                <a:gd name="connsiteX1577" fmla="*/ 629854 w 2061090"/>
                <a:gd name="connsiteY1577" fmla="*/ 175184 h 2789035"/>
                <a:gd name="connsiteX1578" fmla="*/ 632033 w 2061090"/>
                <a:gd name="connsiteY1578" fmla="*/ 171696 h 2789035"/>
                <a:gd name="connsiteX1579" fmla="*/ 786094 w 2061090"/>
                <a:gd name="connsiteY1579" fmla="*/ 171478 h 2789035"/>
                <a:gd name="connsiteX1580" fmla="*/ 784786 w 2061090"/>
                <a:gd name="connsiteY1580" fmla="*/ 172786 h 2789035"/>
                <a:gd name="connsiteX1581" fmla="*/ 785876 w 2061090"/>
                <a:gd name="connsiteY1581" fmla="*/ 175620 h 2789035"/>
                <a:gd name="connsiteX1582" fmla="*/ 786094 w 2061090"/>
                <a:gd name="connsiteY1582" fmla="*/ 171478 h 2789035"/>
                <a:gd name="connsiteX1583" fmla="*/ 1456595 w 2061090"/>
                <a:gd name="connsiteY1583" fmla="*/ 170606 h 2789035"/>
                <a:gd name="connsiteX1584" fmla="*/ 1453980 w 2061090"/>
                <a:gd name="connsiteY1584" fmla="*/ 166028 h 2789035"/>
                <a:gd name="connsiteX1585" fmla="*/ 1447443 w 2061090"/>
                <a:gd name="connsiteY1585" fmla="*/ 169734 h 2789035"/>
                <a:gd name="connsiteX1586" fmla="*/ 1444828 w 2061090"/>
                <a:gd name="connsiteY1586" fmla="*/ 171914 h 2789035"/>
                <a:gd name="connsiteX1587" fmla="*/ 1456595 w 2061090"/>
                <a:gd name="connsiteY1587" fmla="*/ 170606 h 2789035"/>
                <a:gd name="connsiteX1588" fmla="*/ 638788 w 2061090"/>
                <a:gd name="connsiteY1588" fmla="*/ 156000 h 2789035"/>
                <a:gd name="connsiteX1589" fmla="*/ 632687 w 2061090"/>
                <a:gd name="connsiteY1589" fmla="*/ 141829 h 2789035"/>
                <a:gd name="connsiteX1590" fmla="*/ 627021 w 2061090"/>
                <a:gd name="connsiteY1590" fmla="*/ 160142 h 2789035"/>
                <a:gd name="connsiteX1591" fmla="*/ 632251 w 2061090"/>
                <a:gd name="connsiteY1591" fmla="*/ 164720 h 2789035"/>
                <a:gd name="connsiteX1592" fmla="*/ 638788 w 2061090"/>
                <a:gd name="connsiteY1592" fmla="*/ 156000 h 2789035"/>
                <a:gd name="connsiteX1593" fmla="*/ 1375098 w 2061090"/>
                <a:gd name="connsiteY1593" fmla="*/ 141393 h 2789035"/>
                <a:gd name="connsiteX1594" fmla="*/ 1373136 w 2061090"/>
                <a:gd name="connsiteY1594" fmla="*/ 139213 h 2789035"/>
                <a:gd name="connsiteX1595" fmla="*/ 1369650 w 2061090"/>
                <a:gd name="connsiteY1595" fmla="*/ 141393 h 2789035"/>
                <a:gd name="connsiteX1596" fmla="*/ 1371611 w 2061090"/>
                <a:gd name="connsiteY1596" fmla="*/ 143573 h 2789035"/>
                <a:gd name="connsiteX1597" fmla="*/ 1375098 w 2061090"/>
                <a:gd name="connsiteY1597" fmla="*/ 141393 h 2789035"/>
                <a:gd name="connsiteX1598" fmla="*/ 1453544 w 2061090"/>
                <a:gd name="connsiteY1598" fmla="*/ 124607 h 2789035"/>
                <a:gd name="connsiteX1599" fmla="*/ 1454198 w 2061090"/>
                <a:gd name="connsiteY1599" fmla="*/ 113706 h 2789035"/>
                <a:gd name="connsiteX1600" fmla="*/ 1448968 w 2061090"/>
                <a:gd name="connsiteY1600" fmla="*/ 115886 h 2789035"/>
                <a:gd name="connsiteX1601" fmla="*/ 1445264 w 2061090"/>
                <a:gd name="connsiteY1601" fmla="*/ 125479 h 2789035"/>
                <a:gd name="connsiteX1602" fmla="*/ 1447225 w 2061090"/>
                <a:gd name="connsiteY1602" fmla="*/ 132673 h 2789035"/>
                <a:gd name="connsiteX1603" fmla="*/ 1453544 w 2061090"/>
                <a:gd name="connsiteY1603" fmla="*/ 124607 h 2789035"/>
                <a:gd name="connsiteX1604" fmla="*/ 705032 w 2061090"/>
                <a:gd name="connsiteY1604" fmla="*/ 121773 h 2789035"/>
                <a:gd name="connsiteX1605" fmla="*/ 704161 w 2061090"/>
                <a:gd name="connsiteY1605" fmla="*/ 119593 h 2789035"/>
                <a:gd name="connsiteX1606" fmla="*/ 701764 w 2061090"/>
                <a:gd name="connsiteY1606" fmla="*/ 121773 h 2789035"/>
                <a:gd name="connsiteX1607" fmla="*/ 702635 w 2061090"/>
                <a:gd name="connsiteY1607" fmla="*/ 123953 h 2789035"/>
                <a:gd name="connsiteX1608" fmla="*/ 705032 w 2061090"/>
                <a:gd name="connsiteY1608" fmla="*/ 121773 h 2789035"/>
                <a:gd name="connsiteX1609" fmla="*/ 1375098 w 2061090"/>
                <a:gd name="connsiteY1609" fmla="*/ 116322 h 2789035"/>
                <a:gd name="connsiteX1610" fmla="*/ 1372918 w 2061090"/>
                <a:gd name="connsiteY1610" fmla="*/ 113052 h 2789035"/>
                <a:gd name="connsiteX1611" fmla="*/ 1370739 w 2061090"/>
                <a:gd name="connsiteY1611" fmla="*/ 116322 h 2789035"/>
                <a:gd name="connsiteX1612" fmla="*/ 1372918 w 2061090"/>
                <a:gd name="connsiteY1612" fmla="*/ 119593 h 2789035"/>
                <a:gd name="connsiteX1613" fmla="*/ 1375098 w 2061090"/>
                <a:gd name="connsiteY1613" fmla="*/ 116322 h 2789035"/>
                <a:gd name="connsiteX1614" fmla="*/ 315632 w 2061090"/>
                <a:gd name="connsiteY1614" fmla="*/ 112616 h 2789035"/>
                <a:gd name="connsiteX1615" fmla="*/ 309748 w 2061090"/>
                <a:gd name="connsiteY1615" fmla="*/ 111744 h 2789035"/>
                <a:gd name="connsiteX1616" fmla="*/ 315632 w 2061090"/>
                <a:gd name="connsiteY1616" fmla="*/ 117412 h 2789035"/>
                <a:gd name="connsiteX1617" fmla="*/ 315632 w 2061090"/>
                <a:gd name="connsiteY1617" fmla="*/ 112616 h 2789035"/>
                <a:gd name="connsiteX1618" fmla="*/ 1452673 w 2061090"/>
                <a:gd name="connsiteY1618" fmla="*/ 96484 h 2789035"/>
                <a:gd name="connsiteX1619" fmla="*/ 1446571 w 2061090"/>
                <a:gd name="connsiteY1619" fmla="*/ 97138 h 2789035"/>
                <a:gd name="connsiteX1620" fmla="*/ 1443520 w 2061090"/>
                <a:gd name="connsiteY1620" fmla="*/ 105640 h 2789035"/>
                <a:gd name="connsiteX1621" fmla="*/ 1449622 w 2061090"/>
                <a:gd name="connsiteY1621" fmla="*/ 104986 h 2789035"/>
                <a:gd name="connsiteX1622" fmla="*/ 1452673 w 2061090"/>
                <a:gd name="connsiteY1622" fmla="*/ 96484 h 2789035"/>
                <a:gd name="connsiteX1623" fmla="*/ 1291421 w 2061090"/>
                <a:gd name="connsiteY1623" fmla="*/ 98882 h 2789035"/>
                <a:gd name="connsiteX1624" fmla="*/ 1297305 w 2061090"/>
                <a:gd name="connsiteY1624" fmla="*/ 94086 h 2789035"/>
                <a:gd name="connsiteX1625" fmla="*/ 1302752 w 2061090"/>
                <a:gd name="connsiteY1625" fmla="*/ 90816 h 2789035"/>
                <a:gd name="connsiteX1626" fmla="*/ 1299048 w 2061090"/>
                <a:gd name="connsiteY1626" fmla="*/ 86891 h 2789035"/>
                <a:gd name="connsiteX1627" fmla="*/ 1294472 w 2061090"/>
                <a:gd name="connsiteY1627" fmla="*/ 84711 h 2789035"/>
                <a:gd name="connsiteX1628" fmla="*/ 1292293 w 2061090"/>
                <a:gd name="connsiteY1628" fmla="*/ 82531 h 2789035"/>
                <a:gd name="connsiteX1629" fmla="*/ 1290114 w 2061090"/>
                <a:gd name="connsiteY1629" fmla="*/ 85801 h 2789035"/>
                <a:gd name="connsiteX1630" fmla="*/ 1287063 w 2061090"/>
                <a:gd name="connsiteY1630" fmla="*/ 89071 h 2789035"/>
                <a:gd name="connsiteX1631" fmla="*/ 1282269 w 2061090"/>
                <a:gd name="connsiteY1631" fmla="*/ 99100 h 2789035"/>
                <a:gd name="connsiteX1632" fmla="*/ 1291421 w 2061090"/>
                <a:gd name="connsiteY1632" fmla="*/ 98882 h 2789035"/>
                <a:gd name="connsiteX1633" fmla="*/ 638571 w 2061090"/>
                <a:gd name="connsiteY1633" fmla="*/ 94522 h 2789035"/>
                <a:gd name="connsiteX1634" fmla="*/ 640750 w 2061090"/>
                <a:gd name="connsiteY1634" fmla="*/ 89071 h 2789035"/>
                <a:gd name="connsiteX1635" fmla="*/ 642929 w 2061090"/>
                <a:gd name="connsiteY1635" fmla="*/ 93432 h 2789035"/>
                <a:gd name="connsiteX1636" fmla="*/ 645108 w 2061090"/>
                <a:gd name="connsiteY1636" fmla="*/ 97792 h 2789035"/>
                <a:gd name="connsiteX1637" fmla="*/ 647287 w 2061090"/>
                <a:gd name="connsiteY1637" fmla="*/ 89071 h 2789035"/>
                <a:gd name="connsiteX1638" fmla="*/ 642057 w 2061090"/>
                <a:gd name="connsiteY1638" fmla="*/ 81877 h 2789035"/>
                <a:gd name="connsiteX1639" fmla="*/ 631815 w 2061090"/>
                <a:gd name="connsiteY1639" fmla="*/ 82749 h 2789035"/>
                <a:gd name="connsiteX1640" fmla="*/ 616780 w 2061090"/>
                <a:gd name="connsiteY1640" fmla="*/ 91688 h 2789035"/>
                <a:gd name="connsiteX1641" fmla="*/ 620920 w 2061090"/>
                <a:gd name="connsiteY1641" fmla="*/ 94522 h 2789035"/>
                <a:gd name="connsiteX1642" fmla="*/ 628111 w 2061090"/>
                <a:gd name="connsiteY1642" fmla="*/ 96484 h 2789035"/>
                <a:gd name="connsiteX1643" fmla="*/ 638571 w 2061090"/>
                <a:gd name="connsiteY1643" fmla="*/ 94522 h 2789035"/>
                <a:gd name="connsiteX1644" fmla="*/ 1244353 w 2061090"/>
                <a:gd name="connsiteY1644" fmla="*/ 97138 h 2789035"/>
                <a:gd name="connsiteX1645" fmla="*/ 1251326 w 2061090"/>
                <a:gd name="connsiteY1645" fmla="*/ 88635 h 2789035"/>
                <a:gd name="connsiteX1646" fmla="*/ 1266362 w 2061090"/>
                <a:gd name="connsiteY1646" fmla="*/ 82967 h 2789035"/>
                <a:gd name="connsiteX1647" fmla="*/ 1282269 w 2061090"/>
                <a:gd name="connsiteY1647" fmla="*/ 78389 h 2789035"/>
                <a:gd name="connsiteX1648" fmla="*/ 1289896 w 2061090"/>
                <a:gd name="connsiteY1648" fmla="*/ 73811 h 2789035"/>
                <a:gd name="connsiteX1649" fmla="*/ 1291639 w 2061090"/>
                <a:gd name="connsiteY1649" fmla="*/ 71195 h 2789035"/>
                <a:gd name="connsiteX1650" fmla="*/ 1284666 w 2061090"/>
                <a:gd name="connsiteY1650" fmla="*/ 68361 h 2789035"/>
                <a:gd name="connsiteX1651" fmla="*/ 1276168 w 2061090"/>
                <a:gd name="connsiteY1651" fmla="*/ 64437 h 2789035"/>
                <a:gd name="connsiteX1652" fmla="*/ 1278782 w 2061090"/>
                <a:gd name="connsiteY1652" fmla="*/ 56370 h 2789035"/>
                <a:gd name="connsiteX1653" fmla="*/ 1297087 w 2061090"/>
                <a:gd name="connsiteY1653" fmla="*/ 73811 h 2789035"/>
                <a:gd name="connsiteX1654" fmla="*/ 1306021 w 2061090"/>
                <a:gd name="connsiteY1654" fmla="*/ 82967 h 2789035"/>
                <a:gd name="connsiteX1655" fmla="*/ 1311904 w 2061090"/>
                <a:gd name="connsiteY1655" fmla="*/ 87981 h 2789035"/>
                <a:gd name="connsiteX1656" fmla="*/ 1318224 w 2061090"/>
                <a:gd name="connsiteY1656" fmla="*/ 87763 h 2789035"/>
                <a:gd name="connsiteX1657" fmla="*/ 1326068 w 2061090"/>
                <a:gd name="connsiteY1657" fmla="*/ 82967 h 2789035"/>
                <a:gd name="connsiteX1658" fmla="*/ 1329991 w 2061090"/>
                <a:gd name="connsiteY1658" fmla="*/ 78171 h 2789035"/>
                <a:gd name="connsiteX1659" fmla="*/ 1333477 w 2061090"/>
                <a:gd name="connsiteY1659" fmla="*/ 70541 h 2789035"/>
                <a:gd name="connsiteX1660" fmla="*/ 1339143 w 2061090"/>
                <a:gd name="connsiteY1660" fmla="*/ 52882 h 2789035"/>
                <a:gd name="connsiteX1661" fmla="*/ 1333913 w 2061090"/>
                <a:gd name="connsiteY1661" fmla="*/ 45470 h 2789035"/>
                <a:gd name="connsiteX1662" fmla="*/ 1331952 w 2061090"/>
                <a:gd name="connsiteY1662" fmla="*/ 51356 h 2789035"/>
                <a:gd name="connsiteX1663" fmla="*/ 1327594 w 2061090"/>
                <a:gd name="connsiteY1663" fmla="*/ 60948 h 2789035"/>
                <a:gd name="connsiteX1664" fmla="*/ 1321492 w 2061090"/>
                <a:gd name="connsiteY1664" fmla="*/ 69233 h 2789035"/>
                <a:gd name="connsiteX1665" fmla="*/ 1315391 w 2061090"/>
                <a:gd name="connsiteY1665" fmla="*/ 75337 h 2789035"/>
                <a:gd name="connsiteX1666" fmla="*/ 1312994 w 2061090"/>
                <a:gd name="connsiteY1666" fmla="*/ 66399 h 2789035"/>
                <a:gd name="connsiteX1667" fmla="*/ 1309943 w 2061090"/>
                <a:gd name="connsiteY1667" fmla="*/ 57460 h 2789035"/>
                <a:gd name="connsiteX1668" fmla="*/ 1301445 w 2061090"/>
                <a:gd name="connsiteY1668" fmla="*/ 57242 h 2789035"/>
                <a:gd name="connsiteX1669" fmla="*/ 1293382 w 2061090"/>
                <a:gd name="connsiteY1669" fmla="*/ 50920 h 2789035"/>
                <a:gd name="connsiteX1670" fmla="*/ 1289242 w 2061090"/>
                <a:gd name="connsiteY1670" fmla="*/ 43072 h 2789035"/>
                <a:gd name="connsiteX1671" fmla="*/ 1296215 w 2061090"/>
                <a:gd name="connsiteY1671" fmla="*/ 36750 h 2789035"/>
                <a:gd name="connsiteX1672" fmla="*/ 1301009 w 2061090"/>
                <a:gd name="connsiteY1672" fmla="*/ 19309 h 2789035"/>
                <a:gd name="connsiteX1673" fmla="*/ 1298830 w 2061090"/>
                <a:gd name="connsiteY1673" fmla="*/ 14949 h 2789035"/>
                <a:gd name="connsiteX1674" fmla="*/ 1295561 w 2061090"/>
                <a:gd name="connsiteY1674" fmla="*/ 10589 h 2789035"/>
                <a:gd name="connsiteX1675" fmla="*/ 1290767 w 2061090"/>
                <a:gd name="connsiteY1675" fmla="*/ 25849 h 2789035"/>
                <a:gd name="connsiteX1676" fmla="*/ 1289242 w 2061090"/>
                <a:gd name="connsiteY1676" fmla="*/ 33698 h 2789035"/>
                <a:gd name="connsiteX1677" fmla="*/ 1281833 w 2061090"/>
                <a:gd name="connsiteY1677" fmla="*/ 34788 h 2789035"/>
                <a:gd name="connsiteX1678" fmla="*/ 1278347 w 2061090"/>
                <a:gd name="connsiteY1678" fmla="*/ 38712 h 2789035"/>
                <a:gd name="connsiteX1679" fmla="*/ 1270284 w 2061090"/>
                <a:gd name="connsiteY1679" fmla="*/ 56370 h 2789035"/>
                <a:gd name="connsiteX1680" fmla="*/ 1270720 w 2061090"/>
                <a:gd name="connsiteY1680" fmla="*/ 40892 h 2789035"/>
                <a:gd name="connsiteX1681" fmla="*/ 1269630 w 2061090"/>
                <a:gd name="connsiteY1681" fmla="*/ 32608 h 2789035"/>
                <a:gd name="connsiteX1682" fmla="*/ 1273335 w 2061090"/>
                <a:gd name="connsiteY1682" fmla="*/ 21053 h 2789035"/>
                <a:gd name="connsiteX1683" fmla="*/ 1280308 w 2061090"/>
                <a:gd name="connsiteY1683" fmla="*/ 14949 h 2789035"/>
                <a:gd name="connsiteX1684" fmla="*/ 1270066 w 2061090"/>
                <a:gd name="connsiteY1684" fmla="*/ 8845 h 2789035"/>
                <a:gd name="connsiteX1685" fmla="*/ 1259171 w 2061090"/>
                <a:gd name="connsiteY1685" fmla="*/ 24759 h 2789035"/>
                <a:gd name="connsiteX1686" fmla="*/ 1260696 w 2061090"/>
                <a:gd name="connsiteY1686" fmla="*/ 38712 h 2789035"/>
                <a:gd name="connsiteX1687" fmla="*/ 1255684 w 2061090"/>
                <a:gd name="connsiteY1687" fmla="*/ 42418 h 2789035"/>
                <a:gd name="connsiteX1688" fmla="*/ 1247622 w 2061090"/>
                <a:gd name="connsiteY1688" fmla="*/ 47432 h 2789035"/>
                <a:gd name="connsiteX1689" fmla="*/ 1252416 w 2061090"/>
                <a:gd name="connsiteY1689" fmla="*/ 57678 h 2789035"/>
                <a:gd name="connsiteX1690" fmla="*/ 1260914 w 2061090"/>
                <a:gd name="connsiteY1690" fmla="*/ 61821 h 2789035"/>
                <a:gd name="connsiteX1691" fmla="*/ 1262875 w 2061090"/>
                <a:gd name="connsiteY1691" fmla="*/ 69451 h 2789035"/>
                <a:gd name="connsiteX1692" fmla="*/ 1237816 w 2061090"/>
                <a:gd name="connsiteY1692" fmla="*/ 95830 h 2789035"/>
                <a:gd name="connsiteX1693" fmla="*/ 1244353 w 2061090"/>
                <a:gd name="connsiteY1693" fmla="*/ 97138 h 2789035"/>
                <a:gd name="connsiteX1694" fmla="*/ 316068 w 2061090"/>
                <a:gd name="connsiteY1694" fmla="*/ 91252 h 2789035"/>
                <a:gd name="connsiteX1695" fmla="*/ 313888 w 2061090"/>
                <a:gd name="connsiteY1695" fmla="*/ 86891 h 2789035"/>
                <a:gd name="connsiteX1696" fmla="*/ 311709 w 2061090"/>
                <a:gd name="connsiteY1696" fmla="*/ 91252 h 2789035"/>
                <a:gd name="connsiteX1697" fmla="*/ 313888 w 2061090"/>
                <a:gd name="connsiteY1697" fmla="*/ 95612 h 2789035"/>
                <a:gd name="connsiteX1698" fmla="*/ 316068 w 2061090"/>
                <a:gd name="connsiteY1698" fmla="*/ 91252 h 2789035"/>
                <a:gd name="connsiteX1699" fmla="*/ 1408873 w 2061090"/>
                <a:gd name="connsiteY1699" fmla="*/ 93650 h 2789035"/>
                <a:gd name="connsiteX1700" fmla="*/ 1407784 w 2061090"/>
                <a:gd name="connsiteY1700" fmla="*/ 90161 h 2789035"/>
                <a:gd name="connsiteX1701" fmla="*/ 1405605 w 2061090"/>
                <a:gd name="connsiteY1701" fmla="*/ 92124 h 2789035"/>
                <a:gd name="connsiteX1702" fmla="*/ 1408873 w 2061090"/>
                <a:gd name="connsiteY1702" fmla="*/ 93650 h 2789035"/>
                <a:gd name="connsiteX1703" fmla="*/ 1457902 w 2061090"/>
                <a:gd name="connsiteY1703" fmla="*/ 82749 h 2789035"/>
                <a:gd name="connsiteX1704" fmla="*/ 1449404 w 2061090"/>
                <a:gd name="connsiteY1704" fmla="*/ 79043 h 2789035"/>
                <a:gd name="connsiteX1705" fmla="*/ 1448532 w 2061090"/>
                <a:gd name="connsiteY1705" fmla="*/ 86455 h 2789035"/>
                <a:gd name="connsiteX1706" fmla="*/ 1453762 w 2061090"/>
                <a:gd name="connsiteY1706" fmla="*/ 88853 h 2789035"/>
                <a:gd name="connsiteX1707" fmla="*/ 1457902 w 2061090"/>
                <a:gd name="connsiteY1707" fmla="*/ 82749 h 2789035"/>
                <a:gd name="connsiteX1708" fmla="*/ 616780 w 2061090"/>
                <a:gd name="connsiteY1708" fmla="*/ 83839 h 2789035"/>
                <a:gd name="connsiteX1709" fmla="*/ 614601 w 2061090"/>
                <a:gd name="connsiteY1709" fmla="*/ 81441 h 2789035"/>
                <a:gd name="connsiteX1710" fmla="*/ 612422 w 2061090"/>
                <a:gd name="connsiteY1710" fmla="*/ 82313 h 2789035"/>
                <a:gd name="connsiteX1711" fmla="*/ 614601 w 2061090"/>
                <a:gd name="connsiteY1711" fmla="*/ 84711 h 2789035"/>
                <a:gd name="connsiteX1712" fmla="*/ 616780 w 2061090"/>
                <a:gd name="connsiteY1712" fmla="*/ 83839 h 2789035"/>
                <a:gd name="connsiteX1713" fmla="*/ 427200 w 2061090"/>
                <a:gd name="connsiteY1713" fmla="*/ 66835 h 2789035"/>
                <a:gd name="connsiteX1714" fmla="*/ 432648 w 2061090"/>
                <a:gd name="connsiteY1714" fmla="*/ 64219 h 2789035"/>
                <a:gd name="connsiteX1715" fmla="*/ 439403 w 2061090"/>
                <a:gd name="connsiteY1715" fmla="*/ 64001 h 2789035"/>
                <a:gd name="connsiteX1716" fmla="*/ 438314 w 2061090"/>
                <a:gd name="connsiteY1716" fmla="*/ 57896 h 2789035"/>
                <a:gd name="connsiteX1717" fmla="*/ 435917 w 2061090"/>
                <a:gd name="connsiteY1717" fmla="*/ 51138 h 2789035"/>
                <a:gd name="connsiteX1718" fmla="*/ 430469 w 2061090"/>
                <a:gd name="connsiteY1718" fmla="*/ 54626 h 2789035"/>
                <a:gd name="connsiteX1719" fmla="*/ 420663 w 2061090"/>
                <a:gd name="connsiteY1719" fmla="*/ 65091 h 2789035"/>
                <a:gd name="connsiteX1720" fmla="*/ 417830 w 2061090"/>
                <a:gd name="connsiteY1720" fmla="*/ 78825 h 2789035"/>
                <a:gd name="connsiteX1721" fmla="*/ 427200 w 2061090"/>
                <a:gd name="connsiteY1721" fmla="*/ 66835 h 2789035"/>
                <a:gd name="connsiteX1722" fmla="*/ 1374226 w 2061090"/>
                <a:gd name="connsiteY1722" fmla="*/ 71195 h 2789035"/>
                <a:gd name="connsiteX1723" fmla="*/ 1381199 w 2061090"/>
                <a:gd name="connsiteY1723" fmla="*/ 58114 h 2789035"/>
                <a:gd name="connsiteX1724" fmla="*/ 1396017 w 2061090"/>
                <a:gd name="connsiteY1724" fmla="*/ 58768 h 2789035"/>
                <a:gd name="connsiteX1725" fmla="*/ 1405605 w 2061090"/>
                <a:gd name="connsiteY1725" fmla="*/ 50702 h 2789035"/>
                <a:gd name="connsiteX1726" fmla="*/ 1400157 w 2061090"/>
                <a:gd name="connsiteY1726" fmla="*/ 40674 h 2789035"/>
                <a:gd name="connsiteX1727" fmla="*/ 1404297 w 2061090"/>
                <a:gd name="connsiteY1727" fmla="*/ 27811 h 2789035"/>
                <a:gd name="connsiteX1728" fmla="*/ 1399067 w 2061090"/>
                <a:gd name="connsiteY1728" fmla="*/ 19309 h 2789035"/>
                <a:gd name="connsiteX1729" fmla="*/ 1384685 w 2061090"/>
                <a:gd name="connsiteY1729" fmla="*/ 19527 h 2789035"/>
                <a:gd name="connsiteX1730" fmla="*/ 1379238 w 2061090"/>
                <a:gd name="connsiteY1730" fmla="*/ 19963 h 2789035"/>
                <a:gd name="connsiteX1731" fmla="*/ 1367253 w 2061090"/>
                <a:gd name="connsiteY1731" fmla="*/ 18873 h 2789035"/>
                <a:gd name="connsiteX1732" fmla="*/ 1358101 w 2061090"/>
                <a:gd name="connsiteY1732" fmla="*/ 16911 h 2789035"/>
                <a:gd name="connsiteX1733" fmla="*/ 1331952 w 2061090"/>
                <a:gd name="connsiteY1733" fmla="*/ 19091 h 2789035"/>
                <a:gd name="connsiteX1734" fmla="*/ 1336528 w 2061090"/>
                <a:gd name="connsiteY1734" fmla="*/ 20617 h 2789035"/>
                <a:gd name="connsiteX1735" fmla="*/ 1349820 w 2061090"/>
                <a:gd name="connsiteY1735" fmla="*/ 28901 h 2789035"/>
                <a:gd name="connsiteX1736" fmla="*/ 1355486 w 2061090"/>
                <a:gd name="connsiteY1736" fmla="*/ 45470 h 2789035"/>
                <a:gd name="connsiteX1737" fmla="*/ 1350692 w 2061090"/>
                <a:gd name="connsiteY1737" fmla="*/ 42200 h 2789035"/>
                <a:gd name="connsiteX1738" fmla="*/ 1339797 w 2061090"/>
                <a:gd name="connsiteY1738" fmla="*/ 34134 h 2789035"/>
                <a:gd name="connsiteX1739" fmla="*/ 1360498 w 2061090"/>
                <a:gd name="connsiteY1739" fmla="*/ 58550 h 2789035"/>
                <a:gd name="connsiteX1740" fmla="*/ 1366381 w 2061090"/>
                <a:gd name="connsiteY1740" fmla="*/ 64655 h 2789035"/>
                <a:gd name="connsiteX1741" fmla="*/ 1370957 w 2061090"/>
                <a:gd name="connsiteY1741" fmla="*/ 75991 h 2789035"/>
                <a:gd name="connsiteX1742" fmla="*/ 1374226 w 2061090"/>
                <a:gd name="connsiteY1742" fmla="*/ 71195 h 2789035"/>
                <a:gd name="connsiteX1743" fmla="*/ 1453326 w 2061090"/>
                <a:gd name="connsiteY1743" fmla="*/ 69451 h 2789035"/>
                <a:gd name="connsiteX1744" fmla="*/ 1457467 w 2061090"/>
                <a:gd name="connsiteY1744" fmla="*/ 63565 h 2789035"/>
                <a:gd name="connsiteX1745" fmla="*/ 1448750 w 2061090"/>
                <a:gd name="connsiteY1745" fmla="*/ 58114 h 2789035"/>
                <a:gd name="connsiteX1746" fmla="*/ 1440470 w 2061090"/>
                <a:gd name="connsiteY1746" fmla="*/ 56806 h 2789035"/>
                <a:gd name="connsiteX1747" fmla="*/ 1435022 w 2061090"/>
                <a:gd name="connsiteY1747" fmla="*/ 51138 h 2789035"/>
                <a:gd name="connsiteX1748" fmla="*/ 1427395 w 2061090"/>
                <a:gd name="connsiteY1748" fmla="*/ 52228 h 2789035"/>
                <a:gd name="connsiteX1749" fmla="*/ 1434586 w 2061090"/>
                <a:gd name="connsiteY1749" fmla="*/ 63347 h 2789035"/>
                <a:gd name="connsiteX1750" fmla="*/ 1438727 w 2061090"/>
                <a:gd name="connsiteY1750" fmla="*/ 67053 h 2789035"/>
                <a:gd name="connsiteX1751" fmla="*/ 1439380 w 2061090"/>
                <a:gd name="connsiteY1751" fmla="*/ 73375 h 2789035"/>
                <a:gd name="connsiteX1752" fmla="*/ 1444392 w 2061090"/>
                <a:gd name="connsiteY1752" fmla="*/ 72939 h 2789035"/>
                <a:gd name="connsiteX1753" fmla="*/ 1453326 w 2061090"/>
                <a:gd name="connsiteY1753" fmla="*/ 69451 h 2789035"/>
                <a:gd name="connsiteX1754" fmla="*/ 649466 w 2061090"/>
                <a:gd name="connsiteY1754" fmla="*/ 65963 h 2789035"/>
                <a:gd name="connsiteX1755" fmla="*/ 647287 w 2061090"/>
                <a:gd name="connsiteY1755" fmla="*/ 64001 h 2789035"/>
                <a:gd name="connsiteX1756" fmla="*/ 645108 w 2061090"/>
                <a:gd name="connsiteY1756" fmla="*/ 67489 h 2789035"/>
                <a:gd name="connsiteX1757" fmla="*/ 647287 w 2061090"/>
                <a:gd name="connsiteY1757" fmla="*/ 69451 h 2789035"/>
                <a:gd name="connsiteX1758" fmla="*/ 649466 w 2061090"/>
                <a:gd name="connsiteY1758" fmla="*/ 65963 h 2789035"/>
                <a:gd name="connsiteX1759" fmla="*/ 1250890 w 2061090"/>
                <a:gd name="connsiteY1759" fmla="*/ 65963 h 2789035"/>
                <a:gd name="connsiteX1760" fmla="*/ 1248711 w 2061090"/>
                <a:gd name="connsiteY1760" fmla="*/ 64001 h 2789035"/>
                <a:gd name="connsiteX1761" fmla="*/ 1246532 w 2061090"/>
                <a:gd name="connsiteY1761" fmla="*/ 67489 h 2789035"/>
                <a:gd name="connsiteX1762" fmla="*/ 1248711 w 2061090"/>
                <a:gd name="connsiteY1762" fmla="*/ 69451 h 2789035"/>
                <a:gd name="connsiteX1763" fmla="*/ 1250890 w 2061090"/>
                <a:gd name="connsiteY1763" fmla="*/ 65963 h 2789035"/>
                <a:gd name="connsiteX1764" fmla="*/ 450298 w 2061090"/>
                <a:gd name="connsiteY1764" fmla="*/ 54844 h 2789035"/>
                <a:gd name="connsiteX1765" fmla="*/ 451388 w 2061090"/>
                <a:gd name="connsiteY1765" fmla="*/ 50266 h 2789035"/>
                <a:gd name="connsiteX1766" fmla="*/ 442454 w 2061090"/>
                <a:gd name="connsiteY1766" fmla="*/ 55280 h 2789035"/>
                <a:gd name="connsiteX1767" fmla="*/ 450298 w 2061090"/>
                <a:gd name="connsiteY1767" fmla="*/ 54844 h 2789035"/>
                <a:gd name="connsiteX1768" fmla="*/ 662540 w 2061090"/>
                <a:gd name="connsiteY1768" fmla="*/ 55280 h 2789035"/>
                <a:gd name="connsiteX1769" fmla="*/ 659490 w 2061090"/>
                <a:gd name="connsiteY1769" fmla="*/ 52010 h 2789035"/>
                <a:gd name="connsiteX1770" fmla="*/ 656439 w 2061090"/>
                <a:gd name="connsiteY1770" fmla="*/ 57024 h 2789035"/>
                <a:gd name="connsiteX1771" fmla="*/ 662540 w 2061090"/>
                <a:gd name="connsiteY1771" fmla="*/ 55280 h 2789035"/>
                <a:gd name="connsiteX1772" fmla="*/ 1327158 w 2061090"/>
                <a:gd name="connsiteY1772" fmla="*/ 54844 h 2789035"/>
                <a:gd name="connsiteX1773" fmla="*/ 1322582 w 2061090"/>
                <a:gd name="connsiteY1773" fmla="*/ 46342 h 2789035"/>
                <a:gd name="connsiteX1774" fmla="*/ 1320403 w 2061090"/>
                <a:gd name="connsiteY1774" fmla="*/ 36968 h 2789035"/>
                <a:gd name="connsiteX1775" fmla="*/ 1321492 w 2061090"/>
                <a:gd name="connsiteY1775" fmla="*/ 27157 h 2789035"/>
                <a:gd name="connsiteX1776" fmla="*/ 1324761 w 2061090"/>
                <a:gd name="connsiteY1776" fmla="*/ 19309 h 2789035"/>
                <a:gd name="connsiteX1777" fmla="*/ 1329337 w 2061090"/>
                <a:gd name="connsiteY1777" fmla="*/ 13859 h 2789035"/>
                <a:gd name="connsiteX1778" fmla="*/ 1319313 w 2061090"/>
                <a:gd name="connsiteY1778" fmla="*/ 12333 h 2789035"/>
                <a:gd name="connsiteX1779" fmla="*/ 1309725 w 2061090"/>
                <a:gd name="connsiteY1779" fmla="*/ 29337 h 2789035"/>
                <a:gd name="connsiteX1780" fmla="*/ 1305367 w 2061090"/>
                <a:gd name="connsiteY1780" fmla="*/ 39584 h 2789035"/>
                <a:gd name="connsiteX1781" fmla="*/ 1303842 w 2061090"/>
                <a:gd name="connsiteY1781" fmla="*/ 49176 h 2789035"/>
                <a:gd name="connsiteX1782" fmla="*/ 1310161 w 2061090"/>
                <a:gd name="connsiteY1782" fmla="*/ 46560 h 2789035"/>
                <a:gd name="connsiteX1783" fmla="*/ 1315391 w 2061090"/>
                <a:gd name="connsiteY1783" fmla="*/ 48958 h 2789035"/>
                <a:gd name="connsiteX1784" fmla="*/ 1327158 w 2061090"/>
                <a:gd name="connsiteY1784" fmla="*/ 54844 h 2789035"/>
                <a:gd name="connsiteX1785" fmla="*/ 283381 w 2061090"/>
                <a:gd name="connsiteY1785" fmla="*/ 50048 h 2789035"/>
                <a:gd name="connsiteX1786" fmla="*/ 277498 w 2061090"/>
                <a:gd name="connsiteY1786" fmla="*/ 46124 h 2789035"/>
                <a:gd name="connsiteX1787" fmla="*/ 281420 w 2061090"/>
                <a:gd name="connsiteY1787" fmla="*/ 52010 h 2789035"/>
                <a:gd name="connsiteX1788" fmla="*/ 283381 w 2061090"/>
                <a:gd name="connsiteY1788" fmla="*/ 50048 h 2789035"/>
                <a:gd name="connsiteX1789" fmla="*/ 1237380 w 2061090"/>
                <a:gd name="connsiteY1789" fmla="*/ 46124 h 2789035"/>
                <a:gd name="connsiteX1790" fmla="*/ 1226921 w 2061090"/>
                <a:gd name="connsiteY1790" fmla="*/ 42636 h 2789035"/>
                <a:gd name="connsiteX1791" fmla="*/ 1235201 w 2061090"/>
                <a:gd name="connsiteY1791" fmla="*/ 52010 h 2789035"/>
                <a:gd name="connsiteX1792" fmla="*/ 1237380 w 2061090"/>
                <a:gd name="connsiteY1792" fmla="*/ 46124 h 2789035"/>
                <a:gd name="connsiteX1793" fmla="*/ 620048 w 2061090"/>
                <a:gd name="connsiteY1793" fmla="*/ 47650 h 2789035"/>
                <a:gd name="connsiteX1794" fmla="*/ 618087 w 2061090"/>
                <a:gd name="connsiteY1794" fmla="*/ 45470 h 2789035"/>
                <a:gd name="connsiteX1795" fmla="*/ 614601 w 2061090"/>
                <a:gd name="connsiteY1795" fmla="*/ 47650 h 2789035"/>
                <a:gd name="connsiteX1796" fmla="*/ 616562 w 2061090"/>
                <a:gd name="connsiteY1796" fmla="*/ 49830 h 2789035"/>
                <a:gd name="connsiteX1797" fmla="*/ 620048 w 2061090"/>
                <a:gd name="connsiteY1797" fmla="*/ 47650 h 2789035"/>
                <a:gd name="connsiteX1798" fmla="*/ 1133220 w 2061090"/>
                <a:gd name="connsiteY1798" fmla="*/ 48958 h 2789035"/>
                <a:gd name="connsiteX1799" fmla="*/ 1131041 w 2061090"/>
                <a:gd name="connsiteY1799" fmla="*/ 46560 h 2789035"/>
                <a:gd name="connsiteX1800" fmla="*/ 1128862 w 2061090"/>
                <a:gd name="connsiteY1800" fmla="*/ 47432 h 2789035"/>
                <a:gd name="connsiteX1801" fmla="*/ 1131041 w 2061090"/>
                <a:gd name="connsiteY1801" fmla="*/ 49830 h 2789035"/>
                <a:gd name="connsiteX1802" fmla="*/ 1133220 w 2061090"/>
                <a:gd name="connsiteY1802" fmla="*/ 48958 h 2789035"/>
                <a:gd name="connsiteX1803" fmla="*/ 1447879 w 2061090"/>
                <a:gd name="connsiteY1803" fmla="*/ 46560 h 2789035"/>
                <a:gd name="connsiteX1804" fmla="*/ 1449186 w 2061090"/>
                <a:gd name="connsiteY1804" fmla="*/ 40020 h 2789035"/>
                <a:gd name="connsiteX1805" fmla="*/ 1443956 w 2061090"/>
                <a:gd name="connsiteY1805" fmla="*/ 36750 h 2789035"/>
                <a:gd name="connsiteX1806" fmla="*/ 1437637 w 2061090"/>
                <a:gd name="connsiteY1806" fmla="*/ 32389 h 2789035"/>
                <a:gd name="connsiteX1807" fmla="*/ 1413449 w 2061090"/>
                <a:gd name="connsiteY1807" fmla="*/ 37186 h 2789035"/>
                <a:gd name="connsiteX1808" fmla="*/ 1418243 w 2061090"/>
                <a:gd name="connsiteY1808" fmla="*/ 42636 h 2789035"/>
                <a:gd name="connsiteX1809" fmla="*/ 1431971 w 2061090"/>
                <a:gd name="connsiteY1809" fmla="*/ 44162 h 2789035"/>
                <a:gd name="connsiteX1810" fmla="*/ 1447879 w 2061090"/>
                <a:gd name="connsiteY1810" fmla="*/ 46560 h 2789035"/>
                <a:gd name="connsiteX1811" fmla="*/ 271179 w 2061090"/>
                <a:gd name="connsiteY1811" fmla="*/ 42200 h 2789035"/>
                <a:gd name="connsiteX1812" fmla="*/ 265731 w 2061090"/>
                <a:gd name="connsiteY1812" fmla="*/ 28029 h 2789035"/>
                <a:gd name="connsiteX1813" fmla="*/ 262680 w 2061090"/>
                <a:gd name="connsiteY1813" fmla="*/ 30209 h 2789035"/>
                <a:gd name="connsiteX1814" fmla="*/ 255925 w 2061090"/>
                <a:gd name="connsiteY1814" fmla="*/ 32389 h 2789035"/>
                <a:gd name="connsiteX1815" fmla="*/ 255925 w 2061090"/>
                <a:gd name="connsiteY1815" fmla="*/ 38930 h 2789035"/>
                <a:gd name="connsiteX1816" fmla="*/ 262680 w 2061090"/>
                <a:gd name="connsiteY1816" fmla="*/ 43072 h 2789035"/>
                <a:gd name="connsiteX1817" fmla="*/ 271179 w 2061090"/>
                <a:gd name="connsiteY1817" fmla="*/ 42200 h 2789035"/>
                <a:gd name="connsiteX1818" fmla="*/ 453349 w 2061090"/>
                <a:gd name="connsiteY1818" fmla="*/ 43290 h 2789035"/>
                <a:gd name="connsiteX1819" fmla="*/ 451170 w 2061090"/>
                <a:gd name="connsiteY1819" fmla="*/ 41110 h 2789035"/>
                <a:gd name="connsiteX1820" fmla="*/ 448991 w 2061090"/>
                <a:gd name="connsiteY1820" fmla="*/ 43290 h 2789035"/>
                <a:gd name="connsiteX1821" fmla="*/ 451170 w 2061090"/>
                <a:gd name="connsiteY1821" fmla="*/ 45470 h 2789035"/>
                <a:gd name="connsiteX1822" fmla="*/ 453349 w 2061090"/>
                <a:gd name="connsiteY1822" fmla="*/ 43290 h 2789035"/>
                <a:gd name="connsiteX1823" fmla="*/ 483856 w 2061090"/>
                <a:gd name="connsiteY1823" fmla="*/ 35442 h 2789035"/>
                <a:gd name="connsiteX1824" fmla="*/ 481677 w 2061090"/>
                <a:gd name="connsiteY1824" fmla="*/ 33480 h 2789035"/>
                <a:gd name="connsiteX1825" fmla="*/ 480588 w 2061090"/>
                <a:gd name="connsiteY1825" fmla="*/ 36968 h 2789035"/>
                <a:gd name="connsiteX1826" fmla="*/ 483856 w 2061090"/>
                <a:gd name="connsiteY1826" fmla="*/ 35442 h 2789035"/>
                <a:gd name="connsiteX1827" fmla="*/ 1247404 w 2061090"/>
                <a:gd name="connsiteY1827" fmla="*/ 33044 h 2789035"/>
                <a:gd name="connsiteX1828" fmla="*/ 1242174 w 2061090"/>
                <a:gd name="connsiteY1828" fmla="*/ 25849 h 2789035"/>
                <a:gd name="connsiteX1829" fmla="*/ 1236944 w 2061090"/>
                <a:gd name="connsiteY1829" fmla="*/ 23887 h 2789035"/>
                <a:gd name="connsiteX1830" fmla="*/ 1248058 w 2061090"/>
                <a:gd name="connsiteY1830" fmla="*/ 19309 h 2789035"/>
                <a:gd name="connsiteX1831" fmla="*/ 1252634 w 2061090"/>
                <a:gd name="connsiteY1831" fmla="*/ 14513 h 2789035"/>
                <a:gd name="connsiteX1832" fmla="*/ 1244135 w 2061090"/>
                <a:gd name="connsiteY1832" fmla="*/ 8845 h 2789035"/>
                <a:gd name="connsiteX1833" fmla="*/ 1234765 w 2061090"/>
                <a:gd name="connsiteY1833" fmla="*/ 13641 h 2789035"/>
                <a:gd name="connsiteX1834" fmla="*/ 1227356 w 2061090"/>
                <a:gd name="connsiteY1834" fmla="*/ 13423 h 2789035"/>
                <a:gd name="connsiteX1835" fmla="*/ 1228010 w 2061090"/>
                <a:gd name="connsiteY1835" fmla="*/ 7319 h 2789035"/>
                <a:gd name="connsiteX1836" fmla="*/ 1188351 w 2061090"/>
                <a:gd name="connsiteY1836" fmla="*/ 6883 h 2789035"/>
                <a:gd name="connsiteX1837" fmla="*/ 1148474 w 2061090"/>
                <a:gd name="connsiteY1837" fmla="*/ 7537 h 2789035"/>
                <a:gd name="connsiteX1838" fmla="*/ 1151089 w 2061090"/>
                <a:gd name="connsiteY1838" fmla="*/ 12769 h 2789035"/>
                <a:gd name="connsiteX1839" fmla="*/ 1151525 w 2061090"/>
                <a:gd name="connsiteY1839" fmla="*/ 21053 h 2789035"/>
                <a:gd name="connsiteX1840" fmla="*/ 1156319 w 2061090"/>
                <a:gd name="connsiteY1840" fmla="*/ 36532 h 2789035"/>
                <a:gd name="connsiteX1841" fmla="*/ 1170265 w 2061090"/>
                <a:gd name="connsiteY1841" fmla="*/ 23669 h 2789035"/>
                <a:gd name="connsiteX1842" fmla="*/ 1183775 w 2061090"/>
                <a:gd name="connsiteY1842" fmla="*/ 20181 h 2789035"/>
                <a:gd name="connsiteX1843" fmla="*/ 1189223 w 2061090"/>
                <a:gd name="connsiteY1843" fmla="*/ 21707 h 2789035"/>
                <a:gd name="connsiteX1844" fmla="*/ 1196631 w 2061090"/>
                <a:gd name="connsiteY1844" fmla="*/ 22143 h 2789035"/>
                <a:gd name="connsiteX1845" fmla="*/ 1206655 w 2061090"/>
                <a:gd name="connsiteY1845" fmla="*/ 19745 h 2789035"/>
                <a:gd name="connsiteX1846" fmla="*/ 1216461 w 2061090"/>
                <a:gd name="connsiteY1846" fmla="*/ 19091 h 2789035"/>
                <a:gd name="connsiteX1847" fmla="*/ 1221473 w 2061090"/>
                <a:gd name="connsiteY1847" fmla="*/ 27811 h 2789035"/>
                <a:gd name="connsiteX1848" fmla="*/ 1230189 w 2061090"/>
                <a:gd name="connsiteY1848" fmla="*/ 30209 h 2789035"/>
                <a:gd name="connsiteX1849" fmla="*/ 1237816 w 2061090"/>
                <a:gd name="connsiteY1849" fmla="*/ 33480 h 2789035"/>
                <a:gd name="connsiteX1850" fmla="*/ 1247404 w 2061090"/>
                <a:gd name="connsiteY1850" fmla="*/ 33044 h 2789035"/>
                <a:gd name="connsiteX1851" fmla="*/ 281202 w 2061090"/>
                <a:gd name="connsiteY1851" fmla="*/ 24977 h 2789035"/>
                <a:gd name="connsiteX1852" fmla="*/ 271614 w 2061090"/>
                <a:gd name="connsiteY1852" fmla="*/ 12769 h 2789035"/>
                <a:gd name="connsiteX1853" fmla="*/ 271397 w 2061090"/>
                <a:gd name="connsiteY1853" fmla="*/ 28901 h 2789035"/>
                <a:gd name="connsiteX1854" fmla="*/ 274665 w 2061090"/>
                <a:gd name="connsiteY1854" fmla="*/ 33916 h 2789035"/>
                <a:gd name="connsiteX1855" fmla="*/ 277934 w 2061090"/>
                <a:gd name="connsiteY1855" fmla="*/ 33698 h 2789035"/>
                <a:gd name="connsiteX1856" fmla="*/ 281202 w 2061090"/>
                <a:gd name="connsiteY1856" fmla="*/ 24977 h 2789035"/>
                <a:gd name="connsiteX1857" fmla="*/ 626150 w 2061090"/>
                <a:gd name="connsiteY1857" fmla="*/ 33698 h 2789035"/>
                <a:gd name="connsiteX1858" fmla="*/ 619177 w 2061090"/>
                <a:gd name="connsiteY1858" fmla="*/ 28029 h 2789035"/>
                <a:gd name="connsiteX1859" fmla="*/ 622010 w 2061090"/>
                <a:gd name="connsiteY1859" fmla="*/ 36750 h 2789035"/>
                <a:gd name="connsiteX1860" fmla="*/ 626150 w 2061090"/>
                <a:gd name="connsiteY1860" fmla="*/ 33698 h 2789035"/>
                <a:gd name="connsiteX1861" fmla="*/ 190771 w 2061090"/>
                <a:gd name="connsiteY1861" fmla="*/ 32389 h 2789035"/>
                <a:gd name="connsiteX1862" fmla="*/ 196001 w 2061090"/>
                <a:gd name="connsiteY1862" fmla="*/ 30209 h 2789035"/>
                <a:gd name="connsiteX1863" fmla="*/ 202320 w 2061090"/>
                <a:gd name="connsiteY1863" fmla="*/ 24541 h 2789035"/>
                <a:gd name="connsiteX1864" fmla="*/ 215394 w 2061090"/>
                <a:gd name="connsiteY1864" fmla="*/ 20399 h 2789035"/>
                <a:gd name="connsiteX1865" fmla="*/ 228033 w 2061090"/>
                <a:gd name="connsiteY1865" fmla="*/ 24977 h 2789035"/>
                <a:gd name="connsiteX1866" fmla="*/ 238710 w 2061090"/>
                <a:gd name="connsiteY1866" fmla="*/ 26067 h 2789035"/>
                <a:gd name="connsiteX1867" fmla="*/ 237185 w 2061090"/>
                <a:gd name="connsiteY1867" fmla="*/ 18219 h 2789035"/>
                <a:gd name="connsiteX1868" fmla="*/ 217138 w 2061090"/>
                <a:gd name="connsiteY1868" fmla="*/ 13859 h 2789035"/>
                <a:gd name="connsiteX1869" fmla="*/ 194039 w 2061090"/>
                <a:gd name="connsiteY1869" fmla="*/ 22579 h 2789035"/>
                <a:gd name="connsiteX1870" fmla="*/ 189681 w 2061090"/>
                <a:gd name="connsiteY1870" fmla="*/ 28029 h 2789035"/>
                <a:gd name="connsiteX1871" fmla="*/ 185323 w 2061090"/>
                <a:gd name="connsiteY1871" fmla="*/ 31299 h 2789035"/>
                <a:gd name="connsiteX1872" fmla="*/ 190771 w 2061090"/>
                <a:gd name="connsiteY1872" fmla="*/ 32389 h 2789035"/>
                <a:gd name="connsiteX1873" fmla="*/ 642057 w 2061090"/>
                <a:gd name="connsiteY1873" fmla="*/ 27593 h 2789035"/>
                <a:gd name="connsiteX1874" fmla="*/ 647505 w 2061090"/>
                <a:gd name="connsiteY1874" fmla="*/ 24323 h 2789035"/>
                <a:gd name="connsiteX1875" fmla="*/ 651645 w 2061090"/>
                <a:gd name="connsiteY1875" fmla="*/ 22361 h 2789035"/>
                <a:gd name="connsiteX1876" fmla="*/ 641839 w 2061090"/>
                <a:gd name="connsiteY1876" fmla="*/ 19309 h 2789035"/>
                <a:gd name="connsiteX1877" fmla="*/ 632033 w 2061090"/>
                <a:gd name="connsiteY1877" fmla="*/ 25413 h 2789035"/>
                <a:gd name="connsiteX1878" fmla="*/ 633341 w 2061090"/>
                <a:gd name="connsiteY1878" fmla="*/ 33044 h 2789035"/>
                <a:gd name="connsiteX1879" fmla="*/ 642057 w 2061090"/>
                <a:gd name="connsiteY1879" fmla="*/ 27593 h 2789035"/>
                <a:gd name="connsiteX1880" fmla="*/ 259412 w 2061090"/>
                <a:gd name="connsiteY1880" fmla="*/ 24759 h 2789035"/>
                <a:gd name="connsiteX1881" fmla="*/ 249824 w 2061090"/>
                <a:gd name="connsiteY1881" fmla="*/ 12769 h 2789035"/>
                <a:gd name="connsiteX1882" fmla="*/ 248298 w 2061090"/>
                <a:gd name="connsiteY1882" fmla="*/ 25413 h 2789035"/>
                <a:gd name="connsiteX1883" fmla="*/ 259412 w 2061090"/>
                <a:gd name="connsiteY1883" fmla="*/ 24759 h 2789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Lst>
              <a:rect l="l" t="t" r="r" b="b"/>
              <a:pathLst>
                <a:path w="2061090" h="2789035">
                  <a:moveTo>
                    <a:pt x="1949719" y="2778412"/>
                  </a:moveTo>
                  <a:cubicBezTo>
                    <a:pt x="1942964" y="2775578"/>
                    <a:pt x="1934030" y="2770782"/>
                    <a:pt x="1930108" y="2767730"/>
                  </a:cubicBezTo>
                  <a:cubicBezTo>
                    <a:pt x="1925967" y="2764678"/>
                    <a:pt x="1798492" y="2579153"/>
                    <a:pt x="1611745" y="2304246"/>
                  </a:cubicBezTo>
                  <a:lnTo>
                    <a:pt x="1300355" y="1846212"/>
                  </a:lnTo>
                  <a:lnTo>
                    <a:pt x="698713" y="1846212"/>
                  </a:lnTo>
                  <a:cubicBezTo>
                    <a:pt x="35403" y="1846212"/>
                    <a:pt x="83342" y="1847084"/>
                    <a:pt x="56104" y="1832695"/>
                  </a:cubicBezTo>
                  <a:cubicBezTo>
                    <a:pt x="30609" y="1818961"/>
                    <a:pt x="-4256" y="1779720"/>
                    <a:pt x="-4256" y="1764895"/>
                  </a:cubicBezTo>
                  <a:cubicBezTo>
                    <a:pt x="-4256" y="1759227"/>
                    <a:pt x="4678" y="1745929"/>
                    <a:pt x="8382" y="1745929"/>
                  </a:cubicBezTo>
                  <a:cubicBezTo>
                    <a:pt x="10561" y="1745929"/>
                    <a:pt x="22110" y="1747891"/>
                    <a:pt x="34531" y="1750289"/>
                  </a:cubicBezTo>
                  <a:cubicBezTo>
                    <a:pt x="58937" y="1755085"/>
                    <a:pt x="82907" y="1755957"/>
                    <a:pt x="89444" y="1752469"/>
                  </a:cubicBezTo>
                  <a:cubicBezTo>
                    <a:pt x="99685" y="1747019"/>
                    <a:pt x="99250" y="1790402"/>
                    <a:pt x="100339" y="896789"/>
                  </a:cubicBezTo>
                  <a:lnTo>
                    <a:pt x="101429" y="53100"/>
                  </a:lnTo>
                  <a:lnTo>
                    <a:pt x="106441" y="43726"/>
                  </a:lnTo>
                  <a:cubicBezTo>
                    <a:pt x="129975" y="-312"/>
                    <a:pt x="205806" y="-5762"/>
                    <a:pt x="796553" y="-5762"/>
                  </a:cubicBezTo>
                  <a:cubicBezTo>
                    <a:pt x="1269195" y="-5762"/>
                    <a:pt x="1379456" y="-1838"/>
                    <a:pt x="1430882" y="17347"/>
                  </a:cubicBezTo>
                  <a:cubicBezTo>
                    <a:pt x="1449186" y="24105"/>
                    <a:pt x="1463132" y="38494"/>
                    <a:pt x="1466401" y="53754"/>
                  </a:cubicBezTo>
                  <a:cubicBezTo>
                    <a:pt x="1468144" y="62257"/>
                    <a:pt x="1468798" y="285496"/>
                    <a:pt x="1468798" y="884581"/>
                  </a:cubicBezTo>
                  <a:cubicBezTo>
                    <a:pt x="1468798" y="1698839"/>
                    <a:pt x="1468798" y="1703853"/>
                    <a:pt x="1473156" y="1721076"/>
                  </a:cubicBezTo>
                  <a:cubicBezTo>
                    <a:pt x="1478821" y="1743094"/>
                    <a:pt x="1488409" y="1762715"/>
                    <a:pt x="1507803" y="1792582"/>
                  </a:cubicBezTo>
                  <a:cubicBezTo>
                    <a:pt x="1516302" y="1805663"/>
                    <a:pt x="1523275" y="1818743"/>
                    <a:pt x="1523275" y="1821577"/>
                  </a:cubicBezTo>
                  <a:cubicBezTo>
                    <a:pt x="1523275" y="1829425"/>
                    <a:pt x="1512379" y="1839018"/>
                    <a:pt x="1500394" y="1842070"/>
                  </a:cubicBezTo>
                  <a:cubicBezTo>
                    <a:pt x="1494729" y="1843378"/>
                    <a:pt x="1489717" y="1845994"/>
                    <a:pt x="1489063" y="1847520"/>
                  </a:cubicBezTo>
                  <a:cubicBezTo>
                    <a:pt x="1488627" y="1849046"/>
                    <a:pt x="1614142" y="2035660"/>
                    <a:pt x="1768202" y="2262170"/>
                  </a:cubicBezTo>
                  <a:cubicBezTo>
                    <a:pt x="1941003" y="2516585"/>
                    <a:pt x="2049957" y="2678783"/>
                    <a:pt x="2052790" y="2685977"/>
                  </a:cubicBezTo>
                  <a:cubicBezTo>
                    <a:pt x="2058455" y="2701019"/>
                    <a:pt x="2058237" y="2705816"/>
                    <a:pt x="2051700" y="2722602"/>
                  </a:cubicBezTo>
                  <a:cubicBezTo>
                    <a:pt x="2043202" y="2743967"/>
                    <a:pt x="2022065" y="2762934"/>
                    <a:pt x="1990468" y="2777322"/>
                  </a:cubicBezTo>
                  <a:cubicBezTo>
                    <a:pt x="1973689" y="2784952"/>
                    <a:pt x="1966280" y="2785170"/>
                    <a:pt x="1949719" y="2778412"/>
                  </a:cubicBezTo>
                  <a:close/>
                  <a:moveTo>
                    <a:pt x="2037100" y="2729796"/>
                  </a:moveTo>
                  <a:cubicBezTo>
                    <a:pt x="2048214" y="2714100"/>
                    <a:pt x="2048431" y="2694479"/>
                    <a:pt x="2037754" y="2675731"/>
                  </a:cubicBezTo>
                  <a:cubicBezTo>
                    <a:pt x="2034267" y="2669626"/>
                    <a:pt x="1907010" y="2481922"/>
                    <a:pt x="1754910" y="2258246"/>
                  </a:cubicBezTo>
                  <a:lnTo>
                    <a:pt x="1478386" y="1851662"/>
                  </a:lnTo>
                  <a:lnTo>
                    <a:pt x="1455287" y="1851662"/>
                  </a:lnTo>
                  <a:cubicBezTo>
                    <a:pt x="1442431" y="1851662"/>
                    <a:pt x="1431536" y="1852316"/>
                    <a:pt x="1430664" y="1852970"/>
                  </a:cubicBezTo>
                  <a:cubicBezTo>
                    <a:pt x="1430010" y="1853842"/>
                    <a:pt x="1438944" y="1868449"/>
                    <a:pt x="1450711" y="1885671"/>
                  </a:cubicBezTo>
                  <a:cubicBezTo>
                    <a:pt x="1462478" y="1902894"/>
                    <a:pt x="1480783" y="1929927"/>
                    <a:pt x="1491242" y="1945405"/>
                  </a:cubicBezTo>
                  <a:cubicBezTo>
                    <a:pt x="1501920" y="1961102"/>
                    <a:pt x="1527415" y="1998817"/>
                    <a:pt x="1548334" y="2029338"/>
                  </a:cubicBezTo>
                  <a:cubicBezTo>
                    <a:pt x="1569035" y="2059859"/>
                    <a:pt x="1602375" y="2108911"/>
                    <a:pt x="1622422" y="2138342"/>
                  </a:cubicBezTo>
                  <a:cubicBezTo>
                    <a:pt x="1642470" y="2167773"/>
                    <a:pt x="1668619" y="2206578"/>
                    <a:pt x="1680822" y="2224455"/>
                  </a:cubicBezTo>
                  <a:cubicBezTo>
                    <a:pt x="1693242" y="2242550"/>
                    <a:pt x="1774086" y="2361582"/>
                    <a:pt x="1860813" y="2489334"/>
                  </a:cubicBezTo>
                  <a:cubicBezTo>
                    <a:pt x="2031435" y="2740479"/>
                    <a:pt x="2028166" y="2735683"/>
                    <a:pt x="2030999" y="2735683"/>
                  </a:cubicBezTo>
                  <a:cubicBezTo>
                    <a:pt x="2032088" y="2735683"/>
                    <a:pt x="2034703" y="2733067"/>
                    <a:pt x="2037100" y="2729796"/>
                  </a:cubicBezTo>
                  <a:close/>
                  <a:moveTo>
                    <a:pt x="1290114" y="1835094"/>
                  </a:moveTo>
                  <a:cubicBezTo>
                    <a:pt x="1290114" y="1832695"/>
                    <a:pt x="754279" y="1043072"/>
                    <a:pt x="731835" y="1012333"/>
                  </a:cubicBezTo>
                  <a:cubicBezTo>
                    <a:pt x="724862" y="1002741"/>
                    <a:pt x="663412" y="913140"/>
                    <a:pt x="595425" y="813074"/>
                  </a:cubicBezTo>
                  <a:lnTo>
                    <a:pt x="471871" y="631256"/>
                  </a:lnTo>
                  <a:lnTo>
                    <a:pt x="458143" y="630820"/>
                  </a:lnTo>
                  <a:cubicBezTo>
                    <a:pt x="444633" y="630602"/>
                    <a:pt x="438531" y="627768"/>
                    <a:pt x="441364" y="623190"/>
                  </a:cubicBezTo>
                  <a:cubicBezTo>
                    <a:pt x="442236" y="621882"/>
                    <a:pt x="445940" y="621010"/>
                    <a:pt x="449645" y="621446"/>
                  </a:cubicBezTo>
                  <a:cubicBezTo>
                    <a:pt x="455746" y="622100"/>
                    <a:pt x="456618" y="621446"/>
                    <a:pt x="457272" y="616214"/>
                  </a:cubicBezTo>
                  <a:cubicBezTo>
                    <a:pt x="457925" y="611635"/>
                    <a:pt x="452695" y="602479"/>
                    <a:pt x="434827" y="576318"/>
                  </a:cubicBezTo>
                  <a:cubicBezTo>
                    <a:pt x="422188" y="557788"/>
                    <a:pt x="410857" y="542527"/>
                    <a:pt x="409550" y="542527"/>
                  </a:cubicBezTo>
                  <a:cubicBezTo>
                    <a:pt x="408460" y="542527"/>
                    <a:pt x="407371" y="718241"/>
                    <a:pt x="407153" y="1003177"/>
                  </a:cubicBezTo>
                  <a:cubicBezTo>
                    <a:pt x="407153" y="1256284"/>
                    <a:pt x="406717" y="1464699"/>
                    <a:pt x="406717" y="1466225"/>
                  </a:cubicBezTo>
                  <a:cubicBezTo>
                    <a:pt x="406063" y="1472547"/>
                    <a:pt x="401269" y="1473637"/>
                    <a:pt x="371416" y="1472983"/>
                  </a:cubicBezTo>
                  <a:cubicBezTo>
                    <a:pt x="344613" y="1472329"/>
                    <a:pt x="341127" y="1471893"/>
                    <a:pt x="340473" y="1468623"/>
                  </a:cubicBezTo>
                  <a:cubicBezTo>
                    <a:pt x="339819" y="1465135"/>
                    <a:pt x="342216" y="1464699"/>
                    <a:pt x="365750" y="1464699"/>
                  </a:cubicBezTo>
                  <a:cubicBezTo>
                    <a:pt x="380132" y="1464699"/>
                    <a:pt x="393425" y="1464045"/>
                    <a:pt x="395386" y="1463391"/>
                  </a:cubicBezTo>
                  <a:cubicBezTo>
                    <a:pt x="398437" y="1462083"/>
                    <a:pt x="398872" y="1447912"/>
                    <a:pt x="398872" y="1323212"/>
                  </a:cubicBezTo>
                  <a:cubicBezTo>
                    <a:pt x="398872" y="1218132"/>
                    <a:pt x="398219" y="1183687"/>
                    <a:pt x="396257" y="1181725"/>
                  </a:cubicBezTo>
                  <a:cubicBezTo>
                    <a:pt x="394514" y="1179981"/>
                    <a:pt x="384708" y="1179109"/>
                    <a:pt x="366622" y="1179109"/>
                  </a:cubicBezTo>
                  <a:cubicBezTo>
                    <a:pt x="342216" y="1179109"/>
                    <a:pt x="339819" y="1178673"/>
                    <a:pt x="340473" y="1175403"/>
                  </a:cubicBezTo>
                  <a:cubicBezTo>
                    <a:pt x="341127" y="1171915"/>
                    <a:pt x="344831" y="1171261"/>
                    <a:pt x="369455" y="1170389"/>
                  </a:cubicBezTo>
                  <a:lnTo>
                    <a:pt x="397783" y="1169299"/>
                  </a:lnTo>
                  <a:lnTo>
                    <a:pt x="398219" y="1114797"/>
                  </a:lnTo>
                  <a:cubicBezTo>
                    <a:pt x="398654" y="1084930"/>
                    <a:pt x="398001" y="1022144"/>
                    <a:pt x="397129" y="975272"/>
                  </a:cubicBezTo>
                  <a:lnTo>
                    <a:pt x="395604" y="890249"/>
                  </a:lnTo>
                  <a:lnTo>
                    <a:pt x="367712" y="889595"/>
                  </a:lnTo>
                  <a:cubicBezTo>
                    <a:pt x="344831" y="889159"/>
                    <a:pt x="339602" y="888505"/>
                    <a:pt x="338512" y="885671"/>
                  </a:cubicBezTo>
                  <a:cubicBezTo>
                    <a:pt x="336333" y="879785"/>
                    <a:pt x="342434" y="878259"/>
                    <a:pt x="370109" y="878259"/>
                  </a:cubicBezTo>
                  <a:lnTo>
                    <a:pt x="396693" y="878259"/>
                  </a:lnTo>
                  <a:lnTo>
                    <a:pt x="396693" y="738734"/>
                  </a:lnTo>
                  <a:lnTo>
                    <a:pt x="396693" y="599209"/>
                  </a:lnTo>
                  <a:lnTo>
                    <a:pt x="370109" y="599209"/>
                  </a:lnTo>
                  <a:cubicBezTo>
                    <a:pt x="342434" y="599209"/>
                    <a:pt x="336333" y="597683"/>
                    <a:pt x="338512" y="591797"/>
                  </a:cubicBezTo>
                  <a:cubicBezTo>
                    <a:pt x="339602" y="588963"/>
                    <a:pt x="344831" y="588309"/>
                    <a:pt x="367712" y="587873"/>
                  </a:cubicBezTo>
                  <a:lnTo>
                    <a:pt x="395604" y="587219"/>
                  </a:lnTo>
                  <a:lnTo>
                    <a:pt x="396257" y="553863"/>
                  </a:lnTo>
                  <a:lnTo>
                    <a:pt x="396911" y="520508"/>
                  </a:lnTo>
                  <a:lnTo>
                    <a:pt x="338730" y="435049"/>
                  </a:lnTo>
                  <a:cubicBezTo>
                    <a:pt x="306698" y="387960"/>
                    <a:pt x="277062" y="346320"/>
                    <a:pt x="272922" y="342614"/>
                  </a:cubicBezTo>
                  <a:cubicBezTo>
                    <a:pt x="265077" y="335420"/>
                    <a:pt x="259847" y="333676"/>
                    <a:pt x="256143" y="337382"/>
                  </a:cubicBezTo>
                  <a:cubicBezTo>
                    <a:pt x="250477" y="342832"/>
                    <a:pt x="237621" y="339562"/>
                    <a:pt x="237621" y="333022"/>
                  </a:cubicBezTo>
                  <a:cubicBezTo>
                    <a:pt x="237621" y="328444"/>
                    <a:pt x="240889" y="327572"/>
                    <a:pt x="243069" y="331060"/>
                  </a:cubicBezTo>
                  <a:cubicBezTo>
                    <a:pt x="244158" y="332804"/>
                    <a:pt x="245466" y="332586"/>
                    <a:pt x="247645" y="330842"/>
                  </a:cubicBezTo>
                  <a:cubicBezTo>
                    <a:pt x="249388" y="329534"/>
                    <a:pt x="253528" y="328880"/>
                    <a:pt x="257233" y="329752"/>
                  </a:cubicBezTo>
                  <a:cubicBezTo>
                    <a:pt x="265295" y="331278"/>
                    <a:pt x="265513" y="329316"/>
                    <a:pt x="258322" y="317979"/>
                  </a:cubicBezTo>
                  <a:cubicBezTo>
                    <a:pt x="252003" y="307951"/>
                    <a:pt x="248516" y="306861"/>
                    <a:pt x="248516" y="314709"/>
                  </a:cubicBezTo>
                  <a:cubicBezTo>
                    <a:pt x="248516" y="322339"/>
                    <a:pt x="242415" y="324302"/>
                    <a:pt x="237839" y="318197"/>
                  </a:cubicBezTo>
                  <a:cubicBezTo>
                    <a:pt x="232609" y="311439"/>
                    <a:pt x="226725" y="314273"/>
                    <a:pt x="226725" y="323430"/>
                  </a:cubicBezTo>
                  <a:cubicBezTo>
                    <a:pt x="226725" y="330624"/>
                    <a:pt x="223457" y="335638"/>
                    <a:pt x="221932" y="330842"/>
                  </a:cubicBezTo>
                  <a:cubicBezTo>
                    <a:pt x="221496" y="329316"/>
                    <a:pt x="219317" y="329316"/>
                    <a:pt x="214958" y="331278"/>
                  </a:cubicBezTo>
                  <a:cubicBezTo>
                    <a:pt x="209729" y="333676"/>
                    <a:pt x="208421" y="333676"/>
                    <a:pt x="206024" y="330406"/>
                  </a:cubicBezTo>
                  <a:cubicBezTo>
                    <a:pt x="204717" y="328444"/>
                    <a:pt x="202756" y="327354"/>
                    <a:pt x="202102" y="328226"/>
                  </a:cubicBezTo>
                  <a:cubicBezTo>
                    <a:pt x="201230" y="328880"/>
                    <a:pt x="200577" y="327354"/>
                    <a:pt x="200577" y="324738"/>
                  </a:cubicBezTo>
                  <a:cubicBezTo>
                    <a:pt x="200577" y="321467"/>
                    <a:pt x="199051" y="319287"/>
                    <a:pt x="196001" y="318633"/>
                  </a:cubicBezTo>
                  <a:cubicBezTo>
                    <a:pt x="192732" y="317761"/>
                    <a:pt x="191860" y="316017"/>
                    <a:pt x="192296" y="311657"/>
                  </a:cubicBezTo>
                  <a:cubicBezTo>
                    <a:pt x="192950" y="306861"/>
                    <a:pt x="193821" y="305989"/>
                    <a:pt x="198833" y="306643"/>
                  </a:cubicBezTo>
                  <a:cubicBezTo>
                    <a:pt x="203627" y="307079"/>
                    <a:pt x="205153" y="306207"/>
                    <a:pt x="206242" y="301411"/>
                  </a:cubicBezTo>
                  <a:cubicBezTo>
                    <a:pt x="208203" y="293344"/>
                    <a:pt x="202974" y="288112"/>
                    <a:pt x="196654" y="292036"/>
                  </a:cubicBezTo>
                  <a:cubicBezTo>
                    <a:pt x="190117" y="296179"/>
                    <a:pt x="188592" y="293126"/>
                    <a:pt x="193168" y="285060"/>
                  </a:cubicBezTo>
                  <a:cubicBezTo>
                    <a:pt x="198615" y="275904"/>
                    <a:pt x="200795" y="275250"/>
                    <a:pt x="207985" y="282008"/>
                  </a:cubicBezTo>
                  <a:cubicBezTo>
                    <a:pt x="214958" y="288330"/>
                    <a:pt x="218009" y="287458"/>
                    <a:pt x="218009" y="278956"/>
                  </a:cubicBezTo>
                  <a:cubicBezTo>
                    <a:pt x="218009" y="275686"/>
                    <a:pt x="219099" y="271980"/>
                    <a:pt x="220188" y="270890"/>
                  </a:cubicBezTo>
                  <a:cubicBezTo>
                    <a:pt x="221714" y="269364"/>
                    <a:pt x="221060" y="268710"/>
                    <a:pt x="217573" y="268710"/>
                  </a:cubicBezTo>
                  <a:cubicBezTo>
                    <a:pt x="212997" y="268928"/>
                    <a:pt x="212562" y="268056"/>
                    <a:pt x="212997" y="259553"/>
                  </a:cubicBezTo>
                  <a:cubicBezTo>
                    <a:pt x="213433" y="247563"/>
                    <a:pt x="207985" y="246691"/>
                    <a:pt x="206024" y="258681"/>
                  </a:cubicBezTo>
                  <a:cubicBezTo>
                    <a:pt x="203627" y="271980"/>
                    <a:pt x="203409" y="272634"/>
                    <a:pt x="198615" y="270018"/>
                  </a:cubicBezTo>
                  <a:cubicBezTo>
                    <a:pt x="192296" y="266748"/>
                    <a:pt x="190335" y="267402"/>
                    <a:pt x="188810" y="273288"/>
                  </a:cubicBezTo>
                  <a:cubicBezTo>
                    <a:pt x="187066" y="280482"/>
                    <a:pt x="180965" y="283316"/>
                    <a:pt x="172467" y="280918"/>
                  </a:cubicBezTo>
                  <a:cubicBezTo>
                    <a:pt x="165929" y="279174"/>
                    <a:pt x="165711" y="279174"/>
                    <a:pt x="165711" y="285714"/>
                  </a:cubicBezTo>
                  <a:cubicBezTo>
                    <a:pt x="165711" y="291600"/>
                    <a:pt x="165276" y="292254"/>
                    <a:pt x="160046" y="290946"/>
                  </a:cubicBezTo>
                  <a:cubicBezTo>
                    <a:pt x="155688" y="289856"/>
                    <a:pt x="154162" y="290292"/>
                    <a:pt x="153509" y="293344"/>
                  </a:cubicBezTo>
                  <a:cubicBezTo>
                    <a:pt x="152855" y="295743"/>
                    <a:pt x="150240" y="298359"/>
                    <a:pt x="147625" y="299449"/>
                  </a:cubicBezTo>
                  <a:cubicBezTo>
                    <a:pt x="145010" y="300757"/>
                    <a:pt x="142613" y="303809"/>
                    <a:pt x="142177" y="306425"/>
                  </a:cubicBezTo>
                  <a:cubicBezTo>
                    <a:pt x="141306" y="312747"/>
                    <a:pt x="148715" y="320159"/>
                    <a:pt x="154598" y="318633"/>
                  </a:cubicBezTo>
                  <a:cubicBezTo>
                    <a:pt x="158520" y="317543"/>
                    <a:pt x="159174" y="318415"/>
                    <a:pt x="159174" y="324302"/>
                  </a:cubicBezTo>
                  <a:cubicBezTo>
                    <a:pt x="159174" y="328880"/>
                    <a:pt x="160264" y="331060"/>
                    <a:pt x="162443" y="331060"/>
                  </a:cubicBezTo>
                  <a:cubicBezTo>
                    <a:pt x="164186" y="331060"/>
                    <a:pt x="165711" y="332586"/>
                    <a:pt x="165711" y="334330"/>
                  </a:cubicBezTo>
                  <a:cubicBezTo>
                    <a:pt x="165711" y="336074"/>
                    <a:pt x="164840" y="337600"/>
                    <a:pt x="163750" y="337600"/>
                  </a:cubicBezTo>
                  <a:cubicBezTo>
                    <a:pt x="162661" y="337600"/>
                    <a:pt x="160700" y="336074"/>
                    <a:pt x="159174" y="334330"/>
                  </a:cubicBezTo>
                  <a:cubicBezTo>
                    <a:pt x="157649" y="332586"/>
                    <a:pt x="154816" y="331060"/>
                    <a:pt x="152855" y="331060"/>
                  </a:cubicBezTo>
                  <a:cubicBezTo>
                    <a:pt x="150676" y="331060"/>
                    <a:pt x="146971" y="325828"/>
                    <a:pt x="143267" y="317979"/>
                  </a:cubicBezTo>
                  <a:cubicBezTo>
                    <a:pt x="138909" y="308605"/>
                    <a:pt x="135858" y="304899"/>
                    <a:pt x="132807" y="304899"/>
                  </a:cubicBezTo>
                  <a:cubicBezTo>
                    <a:pt x="130410" y="304899"/>
                    <a:pt x="128667" y="303373"/>
                    <a:pt x="128667" y="301411"/>
                  </a:cubicBezTo>
                  <a:cubicBezTo>
                    <a:pt x="128667" y="299013"/>
                    <a:pt x="129757" y="298359"/>
                    <a:pt x="132154" y="299231"/>
                  </a:cubicBezTo>
                  <a:cubicBezTo>
                    <a:pt x="136294" y="300757"/>
                    <a:pt x="143921" y="294871"/>
                    <a:pt x="143921" y="290292"/>
                  </a:cubicBezTo>
                  <a:cubicBezTo>
                    <a:pt x="143921" y="288766"/>
                    <a:pt x="146318" y="287458"/>
                    <a:pt x="149368" y="287458"/>
                  </a:cubicBezTo>
                  <a:cubicBezTo>
                    <a:pt x="152855" y="287458"/>
                    <a:pt x="154816" y="286150"/>
                    <a:pt x="154816" y="283970"/>
                  </a:cubicBezTo>
                  <a:cubicBezTo>
                    <a:pt x="154816" y="280918"/>
                    <a:pt x="153291" y="280700"/>
                    <a:pt x="145664" y="281790"/>
                  </a:cubicBezTo>
                  <a:cubicBezTo>
                    <a:pt x="140652" y="282662"/>
                    <a:pt x="135204" y="284842"/>
                    <a:pt x="133679" y="287022"/>
                  </a:cubicBezTo>
                  <a:cubicBezTo>
                    <a:pt x="130846" y="290292"/>
                    <a:pt x="130628" y="290074"/>
                    <a:pt x="131718" y="283752"/>
                  </a:cubicBezTo>
                  <a:cubicBezTo>
                    <a:pt x="132372" y="279392"/>
                    <a:pt x="131718" y="276122"/>
                    <a:pt x="129757" y="274378"/>
                  </a:cubicBezTo>
                  <a:cubicBezTo>
                    <a:pt x="127360" y="272416"/>
                    <a:pt x="127142" y="270672"/>
                    <a:pt x="128667" y="267838"/>
                  </a:cubicBezTo>
                  <a:cubicBezTo>
                    <a:pt x="131936" y="261951"/>
                    <a:pt x="131282" y="250397"/>
                    <a:pt x="128013" y="250397"/>
                  </a:cubicBezTo>
                  <a:cubicBezTo>
                    <a:pt x="123655" y="250397"/>
                    <a:pt x="119951" y="255193"/>
                    <a:pt x="119951" y="260643"/>
                  </a:cubicBezTo>
                  <a:cubicBezTo>
                    <a:pt x="119951" y="265658"/>
                    <a:pt x="114939" y="267620"/>
                    <a:pt x="112542" y="263695"/>
                  </a:cubicBezTo>
                  <a:cubicBezTo>
                    <a:pt x="110145" y="259771"/>
                    <a:pt x="114067" y="247563"/>
                    <a:pt x="118208" y="246691"/>
                  </a:cubicBezTo>
                  <a:cubicBezTo>
                    <a:pt x="120387" y="246037"/>
                    <a:pt x="122130" y="244511"/>
                    <a:pt x="122130" y="243421"/>
                  </a:cubicBezTo>
                  <a:cubicBezTo>
                    <a:pt x="122130" y="242331"/>
                    <a:pt x="124963" y="241895"/>
                    <a:pt x="128667" y="242767"/>
                  </a:cubicBezTo>
                  <a:cubicBezTo>
                    <a:pt x="135640" y="244293"/>
                    <a:pt x="135858" y="243857"/>
                    <a:pt x="133897" y="233174"/>
                  </a:cubicBezTo>
                  <a:cubicBezTo>
                    <a:pt x="132372" y="225762"/>
                    <a:pt x="128885" y="224672"/>
                    <a:pt x="121258" y="229904"/>
                  </a:cubicBezTo>
                  <a:cubicBezTo>
                    <a:pt x="114503" y="234046"/>
                    <a:pt x="113196" y="232084"/>
                    <a:pt x="112978" y="216170"/>
                  </a:cubicBezTo>
                  <a:cubicBezTo>
                    <a:pt x="112542" y="201999"/>
                    <a:pt x="114721" y="193715"/>
                    <a:pt x="118426" y="193715"/>
                  </a:cubicBezTo>
                  <a:cubicBezTo>
                    <a:pt x="119951" y="193715"/>
                    <a:pt x="124745" y="190009"/>
                    <a:pt x="129321" y="185213"/>
                  </a:cubicBezTo>
                  <a:cubicBezTo>
                    <a:pt x="136294" y="178019"/>
                    <a:pt x="136948" y="176492"/>
                    <a:pt x="134115" y="174094"/>
                  </a:cubicBezTo>
                  <a:cubicBezTo>
                    <a:pt x="132372" y="172568"/>
                    <a:pt x="130846" y="170170"/>
                    <a:pt x="130846" y="168426"/>
                  </a:cubicBezTo>
                  <a:cubicBezTo>
                    <a:pt x="130846" y="164066"/>
                    <a:pt x="126706" y="162540"/>
                    <a:pt x="123002" y="165592"/>
                  </a:cubicBezTo>
                  <a:cubicBezTo>
                    <a:pt x="120605" y="167554"/>
                    <a:pt x="119733" y="170824"/>
                    <a:pt x="120605" y="176492"/>
                  </a:cubicBezTo>
                  <a:cubicBezTo>
                    <a:pt x="121476" y="183905"/>
                    <a:pt x="119297" y="189355"/>
                    <a:pt x="115157" y="189355"/>
                  </a:cubicBezTo>
                  <a:cubicBezTo>
                    <a:pt x="112542" y="189355"/>
                    <a:pt x="112978" y="181943"/>
                    <a:pt x="115811" y="179109"/>
                  </a:cubicBezTo>
                  <a:cubicBezTo>
                    <a:pt x="117554" y="177364"/>
                    <a:pt x="117118" y="174748"/>
                    <a:pt x="114503" y="169952"/>
                  </a:cubicBezTo>
                  <a:cubicBezTo>
                    <a:pt x="110799" y="162540"/>
                    <a:pt x="111670" y="158834"/>
                    <a:pt x="116900" y="158834"/>
                  </a:cubicBezTo>
                  <a:cubicBezTo>
                    <a:pt x="122130" y="158834"/>
                    <a:pt x="123002" y="152512"/>
                    <a:pt x="118643" y="147497"/>
                  </a:cubicBezTo>
                  <a:cubicBezTo>
                    <a:pt x="114503" y="143137"/>
                    <a:pt x="114503" y="143137"/>
                    <a:pt x="118861" y="143791"/>
                  </a:cubicBezTo>
                  <a:cubicBezTo>
                    <a:pt x="121258" y="144445"/>
                    <a:pt x="124527" y="147497"/>
                    <a:pt x="126052" y="150768"/>
                  </a:cubicBezTo>
                  <a:cubicBezTo>
                    <a:pt x="129103" y="157308"/>
                    <a:pt x="131064" y="157744"/>
                    <a:pt x="137819" y="154256"/>
                  </a:cubicBezTo>
                  <a:cubicBezTo>
                    <a:pt x="142177" y="151858"/>
                    <a:pt x="141960" y="151640"/>
                    <a:pt x="135422" y="145535"/>
                  </a:cubicBezTo>
                  <a:cubicBezTo>
                    <a:pt x="131500" y="142047"/>
                    <a:pt x="127578" y="139213"/>
                    <a:pt x="126488" y="139213"/>
                  </a:cubicBezTo>
                  <a:cubicBezTo>
                    <a:pt x="122348" y="139213"/>
                    <a:pt x="120169" y="120901"/>
                    <a:pt x="124309" y="118502"/>
                  </a:cubicBezTo>
                  <a:cubicBezTo>
                    <a:pt x="127796" y="116322"/>
                    <a:pt x="126924" y="102806"/>
                    <a:pt x="123002" y="101280"/>
                  </a:cubicBezTo>
                  <a:cubicBezTo>
                    <a:pt x="121258" y="100626"/>
                    <a:pt x="120387" y="99100"/>
                    <a:pt x="121040" y="97792"/>
                  </a:cubicBezTo>
                  <a:cubicBezTo>
                    <a:pt x="121912" y="96484"/>
                    <a:pt x="120387" y="92342"/>
                    <a:pt x="117990" y="88199"/>
                  </a:cubicBezTo>
                  <a:cubicBezTo>
                    <a:pt x="113414" y="81005"/>
                    <a:pt x="111888" y="71631"/>
                    <a:pt x="115157" y="71631"/>
                  </a:cubicBezTo>
                  <a:cubicBezTo>
                    <a:pt x="116029" y="71631"/>
                    <a:pt x="117990" y="74683"/>
                    <a:pt x="119515" y="78171"/>
                  </a:cubicBezTo>
                  <a:cubicBezTo>
                    <a:pt x="123219" y="86237"/>
                    <a:pt x="127578" y="86891"/>
                    <a:pt x="125616" y="79261"/>
                  </a:cubicBezTo>
                  <a:cubicBezTo>
                    <a:pt x="124963" y="76209"/>
                    <a:pt x="123655" y="71413"/>
                    <a:pt x="123002" y="68361"/>
                  </a:cubicBezTo>
                  <a:cubicBezTo>
                    <a:pt x="122130" y="64655"/>
                    <a:pt x="122784" y="61384"/>
                    <a:pt x="124963" y="58986"/>
                  </a:cubicBezTo>
                  <a:cubicBezTo>
                    <a:pt x="126924" y="56806"/>
                    <a:pt x="128013" y="53100"/>
                    <a:pt x="127360" y="50484"/>
                  </a:cubicBezTo>
                  <a:cubicBezTo>
                    <a:pt x="126706" y="48086"/>
                    <a:pt x="127142" y="45252"/>
                    <a:pt x="128449" y="44598"/>
                  </a:cubicBezTo>
                  <a:cubicBezTo>
                    <a:pt x="131064" y="42854"/>
                    <a:pt x="132807" y="48740"/>
                    <a:pt x="133461" y="62911"/>
                  </a:cubicBezTo>
                  <a:cubicBezTo>
                    <a:pt x="133897" y="69887"/>
                    <a:pt x="134986" y="72721"/>
                    <a:pt x="137383" y="72721"/>
                  </a:cubicBezTo>
                  <a:cubicBezTo>
                    <a:pt x="139780" y="72721"/>
                    <a:pt x="140434" y="70759"/>
                    <a:pt x="139998" y="65745"/>
                  </a:cubicBezTo>
                  <a:cubicBezTo>
                    <a:pt x="139780" y="61166"/>
                    <a:pt x="140652" y="58550"/>
                    <a:pt x="142177" y="58332"/>
                  </a:cubicBezTo>
                  <a:cubicBezTo>
                    <a:pt x="143703" y="58114"/>
                    <a:pt x="146100" y="57896"/>
                    <a:pt x="147189" y="57460"/>
                  </a:cubicBezTo>
                  <a:cubicBezTo>
                    <a:pt x="148497" y="57242"/>
                    <a:pt x="150458" y="56806"/>
                    <a:pt x="151983" y="56806"/>
                  </a:cubicBezTo>
                  <a:cubicBezTo>
                    <a:pt x="153291" y="56588"/>
                    <a:pt x="154380" y="53754"/>
                    <a:pt x="154162" y="50266"/>
                  </a:cubicBezTo>
                  <a:cubicBezTo>
                    <a:pt x="153727" y="44816"/>
                    <a:pt x="154380" y="44380"/>
                    <a:pt x="161789" y="44380"/>
                  </a:cubicBezTo>
                  <a:cubicBezTo>
                    <a:pt x="171377" y="44380"/>
                    <a:pt x="172467" y="43290"/>
                    <a:pt x="173338" y="34134"/>
                  </a:cubicBezTo>
                  <a:cubicBezTo>
                    <a:pt x="173774" y="28247"/>
                    <a:pt x="174864" y="26939"/>
                    <a:pt x="178568" y="27375"/>
                  </a:cubicBezTo>
                  <a:cubicBezTo>
                    <a:pt x="183580" y="28029"/>
                    <a:pt x="187284" y="22579"/>
                    <a:pt x="184016" y="19309"/>
                  </a:cubicBezTo>
                  <a:cubicBezTo>
                    <a:pt x="181401" y="16693"/>
                    <a:pt x="166147" y="21925"/>
                    <a:pt x="167237" y="24977"/>
                  </a:cubicBezTo>
                  <a:cubicBezTo>
                    <a:pt x="168326" y="28247"/>
                    <a:pt x="160046" y="35224"/>
                    <a:pt x="157213" y="33480"/>
                  </a:cubicBezTo>
                  <a:cubicBezTo>
                    <a:pt x="155906" y="32826"/>
                    <a:pt x="154816" y="30645"/>
                    <a:pt x="154816" y="28901"/>
                  </a:cubicBezTo>
                  <a:cubicBezTo>
                    <a:pt x="154816" y="23669"/>
                    <a:pt x="143049" y="25413"/>
                    <a:pt x="132590" y="32389"/>
                  </a:cubicBezTo>
                  <a:cubicBezTo>
                    <a:pt x="118426" y="41764"/>
                    <a:pt x="117336" y="43508"/>
                    <a:pt x="120169" y="52010"/>
                  </a:cubicBezTo>
                  <a:cubicBezTo>
                    <a:pt x="122130" y="57678"/>
                    <a:pt x="122130" y="59422"/>
                    <a:pt x="119733" y="60948"/>
                  </a:cubicBezTo>
                  <a:cubicBezTo>
                    <a:pt x="115157" y="63783"/>
                    <a:pt x="113414" y="63347"/>
                    <a:pt x="113196" y="59204"/>
                  </a:cubicBezTo>
                  <a:cubicBezTo>
                    <a:pt x="113196" y="56370"/>
                    <a:pt x="112542" y="56806"/>
                    <a:pt x="110799" y="60730"/>
                  </a:cubicBezTo>
                  <a:cubicBezTo>
                    <a:pt x="109055" y="64655"/>
                    <a:pt x="108184" y="302501"/>
                    <a:pt x="107530" y="884799"/>
                  </a:cubicBezTo>
                  <a:cubicBezTo>
                    <a:pt x="107094" y="1334984"/>
                    <a:pt x="106659" y="1713227"/>
                    <a:pt x="106223" y="1725218"/>
                  </a:cubicBezTo>
                  <a:cubicBezTo>
                    <a:pt x="105133" y="1764241"/>
                    <a:pt x="95763" y="1768819"/>
                    <a:pt x="38018" y="1759009"/>
                  </a:cubicBezTo>
                  <a:cubicBezTo>
                    <a:pt x="23854" y="1756611"/>
                    <a:pt x="10997" y="1755085"/>
                    <a:pt x="9472" y="1755521"/>
                  </a:cubicBezTo>
                  <a:cubicBezTo>
                    <a:pt x="7729" y="1756175"/>
                    <a:pt x="6639" y="1760317"/>
                    <a:pt x="6639" y="1765113"/>
                  </a:cubicBezTo>
                  <a:cubicBezTo>
                    <a:pt x="6639" y="1776014"/>
                    <a:pt x="15791" y="1789966"/>
                    <a:pt x="33442" y="1806099"/>
                  </a:cubicBezTo>
                  <a:cubicBezTo>
                    <a:pt x="49785" y="1820705"/>
                    <a:pt x="61552" y="1827899"/>
                    <a:pt x="78113" y="1833350"/>
                  </a:cubicBezTo>
                  <a:cubicBezTo>
                    <a:pt x="90098" y="1837056"/>
                    <a:pt x="116029" y="1837274"/>
                    <a:pt x="690432" y="1837274"/>
                  </a:cubicBezTo>
                  <a:cubicBezTo>
                    <a:pt x="1125594" y="1837492"/>
                    <a:pt x="1290114" y="1836838"/>
                    <a:pt x="1290114" y="1835094"/>
                  </a:cubicBezTo>
                  <a:close/>
                  <a:moveTo>
                    <a:pt x="1505842" y="1831169"/>
                  </a:moveTo>
                  <a:cubicBezTo>
                    <a:pt x="1517827" y="1825719"/>
                    <a:pt x="1516955" y="1820487"/>
                    <a:pt x="1500830" y="1796070"/>
                  </a:cubicBezTo>
                  <a:cubicBezTo>
                    <a:pt x="1483180" y="1769691"/>
                    <a:pt x="1472502" y="1748981"/>
                    <a:pt x="1466183" y="1728052"/>
                  </a:cubicBezTo>
                  <a:lnTo>
                    <a:pt x="1461171" y="1712137"/>
                  </a:lnTo>
                  <a:lnTo>
                    <a:pt x="1460081" y="1028684"/>
                  </a:lnTo>
                  <a:cubicBezTo>
                    <a:pt x="1459428" y="652839"/>
                    <a:pt x="1458774" y="345012"/>
                    <a:pt x="1458338" y="344794"/>
                  </a:cubicBezTo>
                  <a:cubicBezTo>
                    <a:pt x="1458120" y="344358"/>
                    <a:pt x="1456595" y="344140"/>
                    <a:pt x="1455070" y="344140"/>
                  </a:cubicBezTo>
                  <a:cubicBezTo>
                    <a:pt x="1451583" y="344140"/>
                    <a:pt x="1446353" y="333894"/>
                    <a:pt x="1448097" y="330842"/>
                  </a:cubicBezTo>
                  <a:cubicBezTo>
                    <a:pt x="1448968" y="329752"/>
                    <a:pt x="1451365" y="328880"/>
                    <a:pt x="1453544" y="328880"/>
                  </a:cubicBezTo>
                  <a:cubicBezTo>
                    <a:pt x="1458992" y="328880"/>
                    <a:pt x="1461171" y="325174"/>
                    <a:pt x="1457684" y="321031"/>
                  </a:cubicBezTo>
                  <a:cubicBezTo>
                    <a:pt x="1455723" y="318633"/>
                    <a:pt x="1452237" y="317761"/>
                    <a:pt x="1446571" y="318415"/>
                  </a:cubicBezTo>
                  <a:cubicBezTo>
                    <a:pt x="1440906" y="318851"/>
                    <a:pt x="1438291" y="318415"/>
                    <a:pt x="1438291" y="316453"/>
                  </a:cubicBezTo>
                  <a:cubicBezTo>
                    <a:pt x="1438291" y="314927"/>
                    <a:pt x="1439598" y="313619"/>
                    <a:pt x="1441341" y="313619"/>
                  </a:cubicBezTo>
                  <a:cubicBezTo>
                    <a:pt x="1442867" y="313619"/>
                    <a:pt x="1445482" y="312093"/>
                    <a:pt x="1447007" y="310349"/>
                  </a:cubicBezTo>
                  <a:cubicBezTo>
                    <a:pt x="1449186" y="307733"/>
                    <a:pt x="1449186" y="306425"/>
                    <a:pt x="1447007" y="303809"/>
                  </a:cubicBezTo>
                  <a:cubicBezTo>
                    <a:pt x="1444610" y="300975"/>
                    <a:pt x="1443738" y="301193"/>
                    <a:pt x="1438944" y="304899"/>
                  </a:cubicBezTo>
                  <a:cubicBezTo>
                    <a:pt x="1434586" y="308169"/>
                    <a:pt x="1432625" y="308605"/>
                    <a:pt x="1428485" y="306643"/>
                  </a:cubicBezTo>
                  <a:cubicBezTo>
                    <a:pt x="1423909" y="304681"/>
                    <a:pt x="1423691" y="303591"/>
                    <a:pt x="1425652" y="297923"/>
                  </a:cubicBezTo>
                  <a:cubicBezTo>
                    <a:pt x="1426960" y="294217"/>
                    <a:pt x="1427395" y="285496"/>
                    <a:pt x="1426524" y="277866"/>
                  </a:cubicBezTo>
                  <a:cubicBezTo>
                    <a:pt x="1425434" y="266094"/>
                    <a:pt x="1425652" y="263695"/>
                    <a:pt x="1429356" y="260425"/>
                  </a:cubicBezTo>
                  <a:cubicBezTo>
                    <a:pt x="1435240" y="254975"/>
                    <a:pt x="1441341" y="256719"/>
                    <a:pt x="1442213" y="264131"/>
                  </a:cubicBezTo>
                  <a:cubicBezTo>
                    <a:pt x="1443085" y="270454"/>
                    <a:pt x="1444610" y="271544"/>
                    <a:pt x="1448750" y="267402"/>
                  </a:cubicBezTo>
                  <a:cubicBezTo>
                    <a:pt x="1452890" y="263259"/>
                    <a:pt x="1451801" y="259989"/>
                    <a:pt x="1444828" y="253013"/>
                  </a:cubicBezTo>
                  <a:cubicBezTo>
                    <a:pt x="1437201" y="245383"/>
                    <a:pt x="1435676" y="237971"/>
                    <a:pt x="1442431" y="241677"/>
                  </a:cubicBezTo>
                  <a:cubicBezTo>
                    <a:pt x="1449840" y="245601"/>
                    <a:pt x="1457902" y="244511"/>
                    <a:pt x="1457902" y="239497"/>
                  </a:cubicBezTo>
                  <a:cubicBezTo>
                    <a:pt x="1457902" y="236881"/>
                    <a:pt x="1456813" y="235791"/>
                    <a:pt x="1455070" y="236445"/>
                  </a:cubicBezTo>
                  <a:cubicBezTo>
                    <a:pt x="1453544" y="236881"/>
                    <a:pt x="1450929" y="234918"/>
                    <a:pt x="1449186" y="232084"/>
                  </a:cubicBezTo>
                  <a:cubicBezTo>
                    <a:pt x="1446789" y="227506"/>
                    <a:pt x="1446789" y="225980"/>
                    <a:pt x="1449404" y="222928"/>
                  </a:cubicBezTo>
                  <a:cubicBezTo>
                    <a:pt x="1452019" y="219658"/>
                    <a:pt x="1451801" y="219440"/>
                    <a:pt x="1447007" y="220966"/>
                  </a:cubicBezTo>
                  <a:cubicBezTo>
                    <a:pt x="1443956" y="221838"/>
                    <a:pt x="1441559" y="222710"/>
                    <a:pt x="1441559" y="222928"/>
                  </a:cubicBezTo>
                  <a:cubicBezTo>
                    <a:pt x="1441559" y="224672"/>
                    <a:pt x="1436547" y="231212"/>
                    <a:pt x="1435458" y="230994"/>
                  </a:cubicBezTo>
                  <a:cubicBezTo>
                    <a:pt x="1434586" y="230994"/>
                    <a:pt x="1431536" y="230776"/>
                    <a:pt x="1428485" y="230776"/>
                  </a:cubicBezTo>
                  <a:cubicBezTo>
                    <a:pt x="1424998" y="230776"/>
                    <a:pt x="1423037" y="229468"/>
                    <a:pt x="1423037" y="227288"/>
                  </a:cubicBezTo>
                  <a:cubicBezTo>
                    <a:pt x="1423037" y="225108"/>
                    <a:pt x="1424127" y="224236"/>
                    <a:pt x="1426306" y="225108"/>
                  </a:cubicBezTo>
                  <a:cubicBezTo>
                    <a:pt x="1429792" y="226416"/>
                    <a:pt x="1438073" y="222710"/>
                    <a:pt x="1440906" y="218786"/>
                  </a:cubicBezTo>
                  <a:cubicBezTo>
                    <a:pt x="1443520" y="215298"/>
                    <a:pt x="1442867" y="202435"/>
                    <a:pt x="1439816" y="199383"/>
                  </a:cubicBezTo>
                  <a:cubicBezTo>
                    <a:pt x="1438291" y="197857"/>
                    <a:pt x="1433497" y="195241"/>
                    <a:pt x="1428921" y="193933"/>
                  </a:cubicBezTo>
                  <a:cubicBezTo>
                    <a:pt x="1421948" y="191535"/>
                    <a:pt x="1419986" y="191753"/>
                    <a:pt x="1415193" y="194587"/>
                  </a:cubicBezTo>
                  <a:cubicBezTo>
                    <a:pt x="1410834" y="197639"/>
                    <a:pt x="1410399" y="198947"/>
                    <a:pt x="1412142" y="202435"/>
                  </a:cubicBezTo>
                  <a:cubicBezTo>
                    <a:pt x="1414975" y="207668"/>
                    <a:pt x="1422383" y="208104"/>
                    <a:pt x="1427613" y="203307"/>
                  </a:cubicBezTo>
                  <a:cubicBezTo>
                    <a:pt x="1431753" y="199601"/>
                    <a:pt x="1436112" y="200691"/>
                    <a:pt x="1436112" y="205705"/>
                  </a:cubicBezTo>
                  <a:cubicBezTo>
                    <a:pt x="1436112" y="210938"/>
                    <a:pt x="1425870" y="220966"/>
                    <a:pt x="1420640" y="220966"/>
                  </a:cubicBezTo>
                  <a:cubicBezTo>
                    <a:pt x="1414975" y="220966"/>
                    <a:pt x="1414975" y="221838"/>
                    <a:pt x="1417589" y="236009"/>
                  </a:cubicBezTo>
                  <a:cubicBezTo>
                    <a:pt x="1419115" y="244075"/>
                    <a:pt x="1419115" y="244293"/>
                    <a:pt x="1414539" y="241895"/>
                  </a:cubicBezTo>
                  <a:cubicBezTo>
                    <a:pt x="1412142" y="240369"/>
                    <a:pt x="1409963" y="237971"/>
                    <a:pt x="1409963" y="236227"/>
                  </a:cubicBezTo>
                  <a:cubicBezTo>
                    <a:pt x="1409963" y="232520"/>
                    <a:pt x="1403208" y="231866"/>
                    <a:pt x="1399721" y="235354"/>
                  </a:cubicBezTo>
                  <a:cubicBezTo>
                    <a:pt x="1398196" y="236881"/>
                    <a:pt x="1397106" y="236009"/>
                    <a:pt x="1396017" y="232084"/>
                  </a:cubicBezTo>
                  <a:cubicBezTo>
                    <a:pt x="1394273" y="225108"/>
                    <a:pt x="1391223" y="224890"/>
                    <a:pt x="1384250" y="231430"/>
                  </a:cubicBezTo>
                  <a:cubicBezTo>
                    <a:pt x="1379674" y="235572"/>
                    <a:pt x="1378802" y="235791"/>
                    <a:pt x="1376623" y="232956"/>
                  </a:cubicBezTo>
                  <a:cubicBezTo>
                    <a:pt x="1372918" y="228378"/>
                    <a:pt x="1354614" y="228814"/>
                    <a:pt x="1353743" y="233610"/>
                  </a:cubicBezTo>
                  <a:cubicBezTo>
                    <a:pt x="1353089" y="236227"/>
                    <a:pt x="1355268" y="237317"/>
                    <a:pt x="1363548" y="237753"/>
                  </a:cubicBezTo>
                  <a:cubicBezTo>
                    <a:pt x="1371829" y="238189"/>
                    <a:pt x="1373790" y="239061"/>
                    <a:pt x="1373354" y="242113"/>
                  </a:cubicBezTo>
                  <a:cubicBezTo>
                    <a:pt x="1372483" y="247127"/>
                    <a:pt x="1376187" y="248871"/>
                    <a:pt x="1381635" y="246037"/>
                  </a:cubicBezTo>
                  <a:cubicBezTo>
                    <a:pt x="1384032" y="244947"/>
                    <a:pt x="1387954" y="242985"/>
                    <a:pt x="1390351" y="241677"/>
                  </a:cubicBezTo>
                  <a:cubicBezTo>
                    <a:pt x="1395581" y="239061"/>
                    <a:pt x="1397324" y="241459"/>
                    <a:pt x="1395581" y="250179"/>
                  </a:cubicBezTo>
                  <a:cubicBezTo>
                    <a:pt x="1394491" y="255629"/>
                    <a:pt x="1393184" y="256937"/>
                    <a:pt x="1388390" y="256937"/>
                  </a:cubicBezTo>
                  <a:cubicBezTo>
                    <a:pt x="1385121" y="256937"/>
                    <a:pt x="1381417" y="258027"/>
                    <a:pt x="1379892" y="259553"/>
                  </a:cubicBezTo>
                  <a:cubicBezTo>
                    <a:pt x="1376405" y="263041"/>
                    <a:pt x="1371175" y="258245"/>
                    <a:pt x="1370304" y="250833"/>
                  </a:cubicBezTo>
                  <a:cubicBezTo>
                    <a:pt x="1369650" y="244947"/>
                    <a:pt x="1369214" y="244729"/>
                    <a:pt x="1356140" y="244075"/>
                  </a:cubicBezTo>
                  <a:cubicBezTo>
                    <a:pt x="1353307" y="243857"/>
                    <a:pt x="1351128" y="242549"/>
                    <a:pt x="1351128" y="240587"/>
                  </a:cubicBezTo>
                  <a:cubicBezTo>
                    <a:pt x="1351128" y="238625"/>
                    <a:pt x="1349167" y="237317"/>
                    <a:pt x="1346552" y="237317"/>
                  </a:cubicBezTo>
                  <a:cubicBezTo>
                    <a:pt x="1343065" y="237317"/>
                    <a:pt x="1342194" y="236227"/>
                    <a:pt x="1342847" y="231430"/>
                  </a:cubicBezTo>
                  <a:cubicBezTo>
                    <a:pt x="1343283" y="226634"/>
                    <a:pt x="1342411" y="225326"/>
                    <a:pt x="1338053" y="224236"/>
                  </a:cubicBezTo>
                  <a:cubicBezTo>
                    <a:pt x="1332388" y="222928"/>
                    <a:pt x="1329119" y="215516"/>
                    <a:pt x="1334131" y="215516"/>
                  </a:cubicBezTo>
                  <a:cubicBezTo>
                    <a:pt x="1335656" y="215516"/>
                    <a:pt x="1341322" y="217914"/>
                    <a:pt x="1346770" y="220748"/>
                  </a:cubicBezTo>
                  <a:cubicBezTo>
                    <a:pt x="1354178" y="224672"/>
                    <a:pt x="1357883" y="225326"/>
                    <a:pt x="1361805" y="224018"/>
                  </a:cubicBezTo>
                  <a:cubicBezTo>
                    <a:pt x="1365728" y="222492"/>
                    <a:pt x="1366381" y="221402"/>
                    <a:pt x="1364420" y="219004"/>
                  </a:cubicBezTo>
                  <a:cubicBezTo>
                    <a:pt x="1362895" y="217260"/>
                    <a:pt x="1359844" y="216388"/>
                    <a:pt x="1357447" y="217042"/>
                  </a:cubicBezTo>
                  <a:cubicBezTo>
                    <a:pt x="1353525" y="218132"/>
                    <a:pt x="1344591" y="211810"/>
                    <a:pt x="1344591" y="207886"/>
                  </a:cubicBezTo>
                  <a:cubicBezTo>
                    <a:pt x="1344591" y="204833"/>
                    <a:pt x="1357665" y="207232"/>
                    <a:pt x="1359626" y="210720"/>
                  </a:cubicBezTo>
                  <a:cubicBezTo>
                    <a:pt x="1361587" y="213990"/>
                    <a:pt x="1361805" y="213990"/>
                    <a:pt x="1362023" y="209630"/>
                  </a:cubicBezTo>
                  <a:cubicBezTo>
                    <a:pt x="1362023" y="206796"/>
                    <a:pt x="1361151" y="204615"/>
                    <a:pt x="1359844" y="204615"/>
                  </a:cubicBezTo>
                  <a:cubicBezTo>
                    <a:pt x="1358537" y="204615"/>
                    <a:pt x="1358754" y="202435"/>
                    <a:pt x="1360280" y="199165"/>
                  </a:cubicBezTo>
                  <a:cubicBezTo>
                    <a:pt x="1361805" y="195677"/>
                    <a:pt x="1363984" y="193933"/>
                    <a:pt x="1366163" y="194587"/>
                  </a:cubicBezTo>
                  <a:cubicBezTo>
                    <a:pt x="1368125" y="195241"/>
                    <a:pt x="1373354" y="196331"/>
                    <a:pt x="1377930" y="197203"/>
                  </a:cubicBezTo>
                  <a:cubicBezTo>
                    <a:pt x="1386647" y="198729"/>
                    <a:pt x="1388826" y="203525"/>
                    <a:pt x="1381635" y="205705"/>
                  </a:cubicBezTo>
                  <a:cubicBezTo>
                    <a:pt x="1377277" y="207014"/>
                    <a:pt x="1375533" y="214208"/>
                    <a:pt x="1379238" y="216388"/>
                  </a:cubicBezTo>
                  <a:cubicBezTo>
                    <a:pt x="1380327" y="217260"/>
                    <a:pt x="1384032" y="217914"/>
                    <a:pt x="1387518" y="217914"/>
                  </a:cubicBezTo>
                  <a:cubicBezTo>
                    <a:pt x="1390787" y="218132"/>
                    <a:pt x="1395799" y="219222"/>
                    <a:pt x="1398414" y="220530"/>
                  </a:cubicBezTo>
                  <a:cubicBezTo>
                    <a:pt x="1401246" y="221838"/>
                    <a:pt x="1404079" y="222274"/>
                    <a:pt x="1404733" y="221402"/>
                  </a:cubicBezTo>
                  <a:cubicBezTo>
                    <a:pt x="1405605" y="220748"/>
                    <a:pt x="1406258" y="210720"/>
                    <a:pt x="1406476" y="199383"/>
                  </a:cubicBezTo>
                  <a:cubicBezTo>
                    <a:pt x="1406476" y="188047"/>
                    <a:pt x="1407566" y="178019"/>
                    <a:pt x="1408437" y="177146"/>
                  </a:cubicBezTo>
                  <a:cubicBezTo>
                    <a:pt x="1409309" y="176056"/>
                    <a:pt x="1412142" y="176492"/>
                    <a:pt x="1414321" y="178019"/>
                  </a:cubicBezTo>
                  <a:cubicBezTo>
                    <a:pt x="1416718" y="179545"/>
                    <a:pt x="1420422" y="180635"/>
                    <a:pt x="1422601" y="180635"/>
                  </a:cubicBezTo>
                  <a:cubicBezTo>
                    <a:pt x="1424563" y="180635"/>
                    <a:pt x="1428703" y="182161"/>
                    <a:pt x="1431318" y="184123"/>
                  </a:cubicBezTo>
                  <a:cubicBezTo>
                    <a:pt x="1437201" y="188047"/>
                    <a:pt x="1440252" y="186739"/>
                    <a:pt x="1436330" y="181943"/>
                  </a:cubicBezTo>
                  <a:cubicBezTo>
                    <a:pt x="1433497" y="178455"/>
                    <a:pt x="1435022" y="169734"/>
                    <a:pt x="1438291" y="169734"/>
                  </a:cubicBezTo>
                  <a:cubicBezTo>
                    <a:pt x="1440688" y="169734"/>
                    <a:pt x="1446135" y="158616"/>
                    <a:pt x="1448097" y="150332"/>
                  </a:cubicBezTo>
                  <a:cubicBezTo>
                    <a:pt x="1449186" y="145317"/>
                    <a:pt x="1448314" y="143137"/>
                    <a:pt x="1443520" y="139431"/>
                  </a:cubicBezTo>
                  <a:cubicBezTo>
                    <a:pt x="1438291" y="135289"/>
                    <a:pt x="1437855" y="134199"/>
                    <a:pt x="1440034" y="129185"/>
                  </a:cubicBezTo>
                  <a:cubicBezTo>
                    <a:pt x="1443303" y="122209"/>
                    <a:pt x="1443303" y="121773"/>
                    <a:pt x="1439816" y="121773"/>
                  </a:cubicBezTo>
                  <a:cubicBezTo>
                    <a:pt x="1437201" y="121773"/>
                    <a:pt x="1427395" y="110654"/>
                    <a:pt x="1427395" y="107602"/>
                  </a:cubicBezTo>
                  <a:cubicBezTo>
                    <a:pt x="1427395" y="106948"/>
                    <a:pt x="1429356" y="106512"/>
                    <a:pt x="1431971" y="106512"/>
                  </a:cubicBezTo>
                  <a:cubicBezTo>
                    <a:pt x="1435240" y="106512"/>
                    <a:pt x="1436112" y="105422"/>
                    <a:pt x="1435022" y="102370"/>
                  </a:cubicBezTo>
                  <a:cubicBezTo>
                    <a:pt x="1434150" y="99754"/>
                    <a:pt x="1435894" y="95830"/>
                    <a:pt x="1439598" y="91470"/>
                  </a:cubicBezTo>
                  <a:cubicBezTo>
                    <a:pt x="1443085" y="87327"/>
                    <a:pt x="1444610" y="83621"/>
                    <a:pt x="1443520" y="82531"/>
                  </a:cubicBezTo>
                  <a:cubicBezTo>
                    <a:pt x="1441341" y="80351"/>
                    <a:pt x="1427395" y="86237"/>
                    <a:pt x="1427395" y="89507"/>
                  </a:cubicBezTo>
                  <a:cubicBezTo>
                    <a:pt x="1427395" y="90598"/>
                    <a:pt x="1426306" y="90816"/>
                    <a:pt x="1425216" y="90161"/>
                  </a:cubicBezTo>
                  <a:cubicBezTo>
                    <a:pt x="1423909" y="89289"/>
                    <a:pt x="1423473" y="87763"/>
                    <a:pt x="1424345" y="86673"/>
                  </a:cubicBezTo>
                  <a:cubicBezTo>
                    <a:pt x="1424998" y="85583"/>
                    <a:pt x="1426088" y="79915"/>
                    <a:pt x="1426524" y="74029"/>
                  </a:cubicBezTo>
                  <a:cubicBezTo>
                    <a:pt x="1427177" y="66399"/>
                    <a:pt x="1426524" y="62693"/>
                    <a:pt x="1424127" y="60730"/>
                  </a:cubicBezTo>
                  <a:cubicBezTo>
                    <a:pt x="1420204" y="57460"/>
                    <a:pt x="1415410" y="60512"/>
                    <a:pt x="1413013" y="67925"/>
                  </a:cubicBezTo>
                  <a:cubicBezTo>
                    <a:pt x="1412360" y="70541"/>
                    <a:pt x="1410181" y="74465"/>
                    <a:pt x="1408437" y="76427"/>
                  </a:cubicBezTo>
                  <a:cubicBezTo>
                    <a:pt x="1406476" y="78607"/>
                    <a:pt x="1405605" y="81877"/>
                    <a:pt x="1406476" y="83839"/>
                  </a:cubicBezTo>
                  <a:cubicBezTo>
                    <a:pt x="1407784" y="87327"/>
                    <a:pt x="1408219" y="87109"/>
                    <a:pt x="1411052" y="83403"/>
                  </a:cubicBezTo>
                  <a:cubicBezTo>
                    <a:pt x="1413885" y="79479"/>
                    <a:pt x="1414321" y="79479"/>
                    <a:pt x="1417807" y="82967"/>
                  </a:cubicBezTo>
                  <a:cubicBezTo>
                    <a:pt x="1421076" y="86019"/>
                    <a:pt x="1421294" y="87763"/>
                    <a:pt x="1419115" y="91688"/>
                  </a:cubicBezTo>
                  <a:cubicBezTo>
                    <a:pt x="1417807" y="94522"/>
                    <a:pt x="1416282" y="100190"/>
                    <a:pt x="1416064" y="104332"/>
                  </a:cubicBezTo>
                  <a:cubicBezTo>
                    <a:pt x="1415193" y="113270"/>
                    <a:pt x="1409309" y="115014"/>
                    <a:pt x="1408219" y="106512"/>
                  </a:cubicBezTo>
                  <a:cubicBezTo>
                    <a:pt x="1407130" y="99536"/>
                    <a:pt x="1403861" y="95612"/>
                    <a:pt x="1398849" y="95612"/>
                  </a:cubicBezTo>
                  <a:cubicBezTo>
                    <a:pt x="1392748" y="95612"/>
                    <a:pt x="1391441" y="90816"/>
                    <a:pt x="1396452" y="86673"/>
                  </a:cubicBezTo>
                  <a:cubicBezTo>
                    <a:pt x="1400375" y="83621"/>
                    <a:pt x="1400593" y="82749"/>
                    <a:pt x="1397760" y="81659"/>
                  </a:cubicBezTo>
                  <a:cubicBezTo>
                    <a:pt x="1395581" y="80787"/>
                    <a:pt x="1394927" y="78825"/>
                    <a:pt x="1395581" y="76427"/>
                  </a:cubicBezTo>
                  <a:cubicBezTo>
                    <a:pt x="1397324" y="70977"/>
                    <a:pt x="1388826" y="62693"/>
                    <a:pt x="1385993" y="67271"/>
                  </a:cubicBezTo>
                  <a:cubicBezTo>
                    <a:pt x="1384250" y="69887"/>
                    <a:pt x="1385557" y="108474"/>
                    <a:pt x="1387300" y="110654"/>
                  </a:cubicBezTo>
                  <a:cubicBezTo>
                    <a:pt x="1387736" y="111090"/>
                    <a:pt x="1389479" y="110218"/>
                    <a:pt x="1391223" y="108910"/>
                  </a:cubicBezTo>
                  <a:cubicBezTo>
                    <a:pt x="1396452" y="104550"/>
                    <a:pt x="1399067" y="107820"/>
                    <a:pt x="1396452" y="115232"/>
                  </a:cubicBezTo>
                  <a:cubicBezTo>
                    <a:pt x="1394055" y="122209"/>
                    <a:pt x="1391441" y="123517"/>
                    <a:pt x="1389479" y="119156"/>
                  </a:cubicBezTo>
                  <a:cubicBezTo>
                    <a:pt x="1388826" y="117194"/>
                    <a:pt x="1387736" y="117412"/>
                    <a:pt x="1385993" y="120247"/>
                  </a:cubicBezTo>
                  <a:cubicBezTo>
                    <a:pt x="1384685" y="122209"/>
                    <a:pt x="1381635" y="123953"/>
                    <a:pt x="1379238" y="123953"/>
                  </a:cubicBezTo>
                  <a:cubicBezTo>
                    <a:pt x="1374226" y="123953"/>
                    <a:pt x="1371175" y="130275"/>
                    <a:pt x="1375098" y="132673"/>
                  </a:cubicBezTo>
                  <a:cubicBezTo>
                    <a:pt x="1378584" y="134853"/>
                    <a:pt x="1385993" y="132891"/>
                    <a:pt x="1387518" y="129185"/>
                  </a:cubicBezTo>
                  <a:cubicBezTo>
                    <a:pt x="1389262" y="124607"/>
                    <a:pt x="1394055" y="125479"/>
                    <a:pt x="1397760" y="130929"/>
                  </a:cubicBezTo>
                  <a:lnTo>
                    <a:pt x="1401246" y="135725"/>
                  </a:lnTo>
                  <a:lnTo>
                    <a:pt x="1406040" y="131147"/>
                  </a:lnTo>
                  <a:cubicBezTo>
                    <a:pt x="1409745" y="127441"/>
                    <a:pt x="1410181" y="125697"/>
                    <a:pt x="1408219" y="123299"/>
                  </a:cubicBezTo>
                  <a:cubicBezTo>
                    <a:pt x="1406040" y="120901"/>
                    <a:pt x="1406258" y="119593"/>
                    <a:pt x="1408655" y="117630"/>
                  </a:cubicBezTo>
                  <a:cubicBezTo>
                    <a:pt x="1410834" y="115886"/>
                    <a:pt x="1412142" y="115668"/>
                    <a:pt x="1413231" y="117412"/>
                  </a:cubicBezTo>
                  <a:cubicBezTo>
                    <a:pt x="1413885" y="118502"/>
                    <a:pt x="1418025" y="119593"/>
                    <a:pt x="1422166" y="119593"/>
                  </a:cubicBezTo>
                  <a:cubicBezTo>
                    <a:pt x="1426306" y="119593"/>
                    <a:pt x="1429574" y="120247"/>
                    <a:pt x="1429574" y="121337"/>
                  </a:cubicBezTo>
                  <a:cubicBezTo>
                    <a:pt x="1429356" y="125043"/>
                    <a:pt x="1425216" y="129403"/>
                    <a:pt x="1421512" y="129403"/>
                  </a:cubicBezTo>
                  <a:cubicBezTo>
                    <a:pt x="1418243" y="129403"/>
                    <a:pt x="1417589" y="131365"/>
                    <a:pt x="1417372" y="140957"/>
                  </a:cubicBezTo>
                  <a:cubicBezTo>
                    <a:pt x="1417372" y="147279"/>
                    <a:pt x="1416064" y="153602"/>
                    <a:pt x="1414757" y="154910"/>
                  </a:cubicBezTo>
                  <a:cubicBezTo>
                    <a:pt x="1411488" y="158180"/>
                    <a:pt x="1411488" y="161014"/>
                    <a:pt x="1414321" y="161014"/>
                  </a:cubicBezTo>
                  <a:cubicBezTo>
                    <a:pt x="1415628" y="161014"/>
                    <a:pt x="1416500" y="159488"/>
                    <a:pt x="1416500" y="157744"/>
                  </a:cubicBezTo>
                  <a:cubicBezTo>
                    <a:pt x="1416500" y="156000"/>
                    <a:pt x="1417372" y="154474"/>
                    <a:pt x="1418461" y="154474"/>
                  </a:cubicBezTo>
                  <a:cubicBezTo>
                    <a:pt x="1419551" y="154474"/>
                    <a:pt x="1421076" y="149678"/>
                    <a:pt x="1421948" y="143573"/>
                  </a:cubicBezTo>
                  <a:cubicBezTo>
                    <a:pt x="1422819" y="137687"/>
                    <a:pt x="1424127" y="132237"/>
                    <a:pt x="1425216" y="131583"/>
                  </a:cubicBezTo>
                  <a:cubicBezTo>
                    <a:pt x="1426088" y="130929"/>
                    <a:pt x="1429356" y="132455"/>
                    <a:pt x="1431971" y="134853"/>
                  </a:cubicBezTo>
                  <a:cubicBezTo>
                    <a:pt x="1436983" y="138995"/>
                    <a:pt x="1436983" y="139431"/>
                    <a:pt x="1433279" y="142265"/>
                  </a:cubicBezTo>
                  <a:cubicBezTo>
                    <a:pt x="1430446" y="144445"/>
                    <a:pt x="1430010" y="146843"/>
                    <a:pt x="1430882" y="152076"/>
                  </a:cubicBezTo>
                  <a:cubicBezTo>
                    <a:pt x="1431971" y="157308"/>
                    <a:pt x="1431536" y="158834"/>
                    <a:pt x="1429139" y="158834"/>
                  </a:cubicBezTo>
                  <a:cubicBezTo>
                    <a:pt x="1426960" y="158834"/>
                    <a:pt x="1426088" y="160360"/>
                    <a:pt x="1426742" y="163848"/>
                  </a:cubicBezTo>
                  <a:cubicBezTo>
                    <a:pt x="1427831" y="170170"/>
                    <a:pt x="1422601" y="177364"/>
                    <a:pt x="1417807" y="175620"/>
                  </a:cubicBezTo>
                  <a:cubicBezTo>
                    <a:pt x="1415846" y="174748"/>
                    <a:pt x="1414321" y="172132"/>
                    <a:pt x="1414321" y="169734"/>
                  </a:cubicBezTo>
                  <a:cubicBezTo>
                    <a:pt x="1414321" y="165156"/>
                    <a:pt x="1411270" y="163848"/>
                    <a:pt x="1408873" y="167554"/>
                  </a:cubicBezTo>
                  <a:cubicBezTo>
                    <a:pt x="1408219" y="168862"/>
                    <a:pt x="1404079" y="169734"/>
                    <a:pt x="1400157" y="169734"/>
                  </a:cubicBezTo>
                  <a:cubicBezTo>
                    <a:pt x="1393838" y="169734"/>
                    <a:pt x="1392312" y="168862"/>
                    <a:pt x="1391223" y="164284"/>
                  </a:cubicBezTo>
                  <a:cubicBezTo>
                    <a:pt x="1389479" y="157090"/>
                    <a:pt x="1391659" y="154910"/>
                    <a:pt x="1396888" y="158398"/>
                  </a:cubicBezTo>
                  <a:cubicBezTo>
                    <a:pt x="1402990" y="162104"/>
                    <a:pt x="1405605" y="161668"/>
                    <a:pt x="1407566" y="156218"/>
                  </a:cubicBezTo>
                  <a:cubicBezTo>
                    <a:pt x="1409745" y="149896"/>
                    <a:pt x="1405822" y="143137"/>
                    <a:pt x="1401029" y="144663"/>
                  </a:cubicBezTo>
                  <a:cubicBezTo>
                    <a:pt x="1398632" y="145535"/>
                    <a:pt x="1397106" y="144227"/>
                    <a:pt x="1396235" y="141175"/>
                  </a:cubicBezTo>
                  <a:cubicBezTo>
                    <a:pt x="1394927" y="136597"/>
                    <a:pt x="1394709" y="136597"/>
                    <a:pt x="1389915" y="139649"/>
                  </a:cubicBezTo>
                  <a:cubicBezTo>
                    <a:pt x="1386211" y="142047"/>
                    <a:pt x="1384903" y="145099"/>
                    <a:pt x="1385121" y="150332"/>
                  </a:cubicBezTo>
                  <a:cubicBezTo>
                    <a:pt x="1385121" y="160142"/>
                    <a:pt x="1382506" y="161450"/>
                    <a:pt x="1373354" y="156218"/>
                  </a:cubicBezTo>
                  <a:cubicBezTo>
                    <a:pt x="1366381" y="152512"/>
                    <a:pt x="1365510" y="152294"/>
                    <a:pt x="1363766" y="155346"/>
                  </a:cubicBezTo>
                  <a:cubicBezTo>
                    <a:pt x="1361151" y="160142"/>
                    <a:pt x="1355486" y="159706"/>
                    <a:pt x="1355486" y="154910"/>
                  </a:cubicBezTo>
                  <a:cubicBezTo>
                    <a:pt x="1355486" y="149024"/>
                    <a:pt x="1353525" y="147933"/>
                    <a:pt x="1348513" y="150768"/>
                  </a:cubicBezTo>
                  <a:cubicBezTo>
                    <a:pt x="1344155" y="153384"/>
                    <a:pt x="1337182" y="167336"/>
                    <a:pt x="1339143" y="169298"/>
                  </a:cubicBezTo>
                  <a:cubicBezTo>
                    <a:pt x="1339797" y="169952"/>
                    <a:pt x="1341976" y="168862"/>
                    <a:pt x="1344155" y="166900"/>
                  </a:cubicBezTo>
                  <a:cubicBezTo>
                    <a:pt x="1349167" y="162322"/>
                    <a:pt x="1353307" y="162104"/>
                    <a:pt x="1353307" y="166464"/>
                  </a:cubicBezTo>
                  <a:cubicBezTo>
                    <a:pt x="1353307" y="172132"/>
                    <a:pt x="1359408" y="172568"/>
                    <a:pt x="1365510" y="167772"/>
                  </a:cubicBezTo>
                  <a:cubicBezTo>
                    <a:pt x="1372483" y="162322"/>
                    <a:pt x="1381635" y="161232"/>
                    <a:pt x="1377277" y="166464"/>
                  </a:cubicBezTo>
                  <a:cubicBezTo>
                    <a:pt x="1375751" y="168208"/>
                    <a:pt x="1373354" y="169734"/>
                    <a:pt x="1371829" y="169734"/>
                  </a:cubicBezTo>
                  <a:cubicBezTo>
                    <a:pt x="1370521" y="169734"/>
                    <a:pt x="1367471" y="171696"/>
                    <a:pt x="1365292" y="174094"/>
                  </a:cubicBezTo>
                  <a:cubicBezTo>
                    <a:pt x="1362241" y="177364"/>
                    <a:pt x="1362023" y="179109"/>
                    <a:pt x="1363984" y="181507"/>
                  </a:cubicBezTo>
                  <a:cubicBezTo>
                    <a:pt x="1366163" y="183905"/>
                    <a:pt x="1365292" y="185431"/>
                    <a:pt x="1360280" y="189137"/>
                  </a:cubicBezTo>
                  <a:cubicBezTo>
                    <a:pt x="1354178" y="193279"/>
                    <a:pt x="1351128" y="193279"/>
                    <a:pt x="1351128" y="188701"/>
                  </a:cubicBezTo>
                  <a:cubicBezTo>
                    <a:pt x="1351128" y="187611"/>
                    <a:pt x="1352653" y="187175"/>
                    <a:pt x="1354396" y="188047"/>
                  </a:cubicBezTo>
                  <a:cubicBezTo>
                    <a:pt x="1356358" y="188701"/>
                    <a:pt x="1357665" y="188047"/>
                    <a:pt x="1357665" y="186303"/>
                  </a:cubicBezTo>
                  <a:cubicBezTo>
                    <a:pt x="1357665" y="182161"/>
                    <a:pt x="1349602" y="180635"/>
                    <a:pt x="1338053" y="182815"/>
                  </a:cubicBezTo>
                  <a:cubicBezTo>
                    <a:pt x="1326286" y="184995"/>
                    <a:pt x="1319749" y="182379"/>
                    <a:pt x="1321274" y="175838"/>
                  </a:cubicBezTo>
                  <a:cubicBezTo>
                    <a:pt x="1321928" y="173440"/>
                    <a:pt x="1321492" y="169734"/>
                    <a:pt x="1320185" y="167554"/>
                  </a:cubicBezTo>
                  <a:cubicBezTo>
                    <a:pt x="1318877" y="165592"/>
                    <a:pt x="1318442" y="162104"/>
                    <a:pt x="1319095" y="160142"/>
                  </a:cubicBezTo>
                  <a:cubicBezTo>
                    <a:pt x="1321492" y="154256"/>
                    <a:pt x="1326504" y="158616"/>
                    <a:pt x="1328030" y="167772"/>
                  </a:cubicBezTo>
                  <a:cubicBezTo>
                    <a:pt x="1328683" y="172350"/>
                    <a:pt x="1330209" y="176274"/>
                    <a:pt x="1331080" y="176274"/>
                  </a:cubicBezTo>
                  <a:cubicBezTo>
                    <a:pt x="1333695" y="176274"/>
                    <a:pt x="1332824" y="157526"/>
                    <a:pt x="1329773" y="154038"/>
                  </a:cubicBezTo>
                  <a:cubicBezTo>
                    <a:pt x="1327594" y="151422"/>
                    <a:pt x="1328030" y="149678"/>
                    <a:pt x="1331734" y="144881"/>
                  </a:cubicBezTo>
                  <a:cubicBezTo>
                    <a:pt x="1335874" y="139431"/>
                    <a:pt x="1336746" y="139213"/>
                    <a:pt x="1340014" y="142483"/>
                  </a:cubicBezTo>
                  <a:cubicBezTo>
                    <a:pt x="1342194" y="144227"/>
                    <a:pt x="1346552" y="145535"/>
                    <a:pt x="1349602" y="145317"/>
                  </a:cubicBezTo>
                  <a:cubicBezTo>
                    <a:pt x="1354614" y="144881"/>
                    <a:pt x="1355268" y="144009"/>
                    <a:pt x="1354832" y="138123"/>
                  </a:cubicBezTo>
                  <a:cubicBezTo>
                    <a:pt x="1354396" y="132673"/>
                    <a:pt x="1355268" y="131583"/>
                    <a:pt x="1359408" y="131583"/>
                  </a:cubicBezTo>
                  <a:cubicBezTo>
                    <a:pt x="1367471" y="131583"/>
                    <a:pt x="1369214" y="125915"/>
                    <a:pt x="1362895" y="119374"/>
                  </a:cubicBezTo>
                  <a:cubicBezTo>
                    <a:pt x="1356140" y="112180"/>
                    <a:pt x="1357665" y="105422"/>
                    <a:pt x="1365945" y="107602"/>
                  </a:cubicBezTo>
                  <a:cubicBezTo>
                    <a:pt x="1369432" y="108474"/>
                    <a:pt x="1372701" y="107602"/>
                    <a:pt x="1375315" y="105204"/>
                  </a:cubicBezTo>
                  <a:cubicBezTo>
                    <a:pt x="1380981" y="100190"/>
                    <a:pt x="1380545" y="96048"/>
                    <a:pt x="1374008" y="92996"/>
                  </a:cubicBezTo>
                  <a:cubicBezTo>
                    <a:pt x="1369214" y="90816"/>
                    <a:pt x="1367689" y="91252"/>
                    <a:pt x="1362241" y="96484"/>
                  </a:cubicBezTo>
                  <a:lnTo>
                    <a:pt x="1356140" y="102370"/>
                  </a:lnTo>
                  <a:lnTo>
                    <a:pt x="1352653" y="94086"/>
                  </a:lnTo>
                  <a:cubicBezTo>
                    <a:pt x="1349602" y="86455"/>
                    <a:pt x="1349602" y="85583"/>
                    <a:pt x="1352653" y="83185"/>
                  </a:cubicBezTo>
                  <a:cubicBezTo>
                    <a:pt x="1355704" y="81005"/>
                    <a:pt x="1356793" y="81223"/>
                    <a:pt x="1359190" y="84711"/>
                  </a:cubicBezTo>
                  <a:cubicBezTo>
                    <a:pt x="1362459" y="89289"/>
                    <a:pt x="1369650" y="90379"/>
                    <a:pt x="1375098" y="86891"/>
                  </a:cubicBezTo>
                  <a:cubicBezTo>
                    <a:pt x="1377930" y="85147"/>
                    <a:pt x="1377930" y="84711"/>
                    <a:pt x="1374662" y="84711"/>
                  </a:cubicBezTo>
                  <a:cubicBezTo>
                    <a:pt x="1367035" y="84711"/>
                    <a:pt x="1360062" y="79915"/>
                    <a:pt x="1360498" y="75119"/>
                  </a:cubicBezTo>
                  <a:cubicBezTo>
                    <a:pt x="1360934" y="71413"/>
                    <a:pt x="1359844" y="70759"/>
                    <a:pt x="1355486" y="71195"/>
                  </a:cubicBezTo>
                  <a:cubicBezTo>
                    <a:pt x="1352435" y="71631"/>
                    <a:pt x="1347205" y="72067"/>
                    <a:pt x="1343937" y="72067"/>
                  </a:cubicBezTo>
                  <a:cubicBezTo>
                    <a:pt x="1340450" y="72067"/>
                    <a:pt x="1338489" y="72939"/>
                    <a:pt x="1339797" y="73593"/>
                  </a:cubicBezTo>
                  <a:cubicBezTo>
                    <a:pt x="1340886" y="74247"/>
                    <a:pt x="1341758" y="81659"/>
                    <a:pt x="1341976" y="89943"/>
                  </a:cubicBezTo>
                  <a:cubicBezTo>
                    <a:pt x="1341976" y="101062"/>
                    <a:pt x="1343065" y="105640"/>
                    <a:pt x="1345462" y="106948"/>
                  </a:cubicBezTo>
                  <a:cubicBezTo>
                    <a:pt x="1347205" y="108038"/>
                    <a:pt x="1350256" y="110436"/>
                    <a:pt x="1352217" y="112180"/>
                  </a:cubicBezTo>
                  <a:cubicBezTo>
                    <a:pt x="1355268" y="115232"/>
                    <a:pt x="1355268" y="116104"/>
                    <a:pt x="1352653" y="119374"/>
                  </a:cubicBezTo>
                  <a:cubicBezTo>
                    <a:pt x="1350910" y="121337"/>
                    <a:pt x="1348949" y="124825"/>
                    <a:pt x="1348513" y="127223"/>
                  </a:cubicBezTo>
                  <a:cubicBezTo>
                    <a:pt x="1347423" y="133545"/>
                    <a:pt x="1334131" y="133763"/>
                    <a:pt x="1328247" y="127659"/>
                  </a:cubicBezTo>
                  <a:cubicBezTo>
                    <a:pt x="1324979" y="123953"/>
                    <a:pt x="1318660" y="111090"/>
                    <a:pt x="1318442" y="106948"/>
                  </a:cubicBezTo>
                  <a:cubicBezTo>
                    <a:pt x="1318442" y="106730"/>
                    <a:pt x="1320185" y="107384"/>
                    <a:pt x="1322364" y="108474"/>
                  </a:cubicBezTo>
                  <a:cubicBezTo>
                    <a:pt x="1324325" y="109564"/>
                    <a:pt x="1327594" y="111090"/>
                    <a:pt x="1329555" y="111526"/>
                  </a:cubicBezTo>
                  <a:cubicBezTo>
                    <a:pt x="1331952" y="112398"/>
                    <a:pt x="1332824" y="114578"/>
                    <a:pt x="1331952" y="119374"/>
                  </a:cubicBezTo>
                  <a:cubicBezTo>
                    <a:pt x="1331080" y="125043"/>
                    <a:pt x="1331734" y="126133"/>
                    <a:pt x="1335438" y="126133"/>
                  </a:cubicBezTo>
                  <a:cubicBezTo>
                    <a:pt x="1343065" y="126133"/>
                    <a:pt x="1345244" y="114142"/>
                    <a:pt x="1337835" y="111962"/>
                  </a:cubicBezTo>
                  <a:cubicBezTo>
                    <a:pt x="1334131" y="110654"/>
                    <a:pt x="1333477" y="109128"/>
                    <a:pt x="1334349" y="103678"/>
                  </a:cubicBezTo>
                  <a:cubicBezTo>
                    <a:pt x="1335003" y="98664"/>
                    <a:pt x="1334131" y="96048"/>
                    <a:pt x="1330644" y="93214"/>
                  </a:cubicBezTo>
                  <a:cubicBezTo>
                    <a:pt x="1325850" y="89289"/>
                    <a:pt x="1320621" y="89943"/>
                    <a:pt x="1320621" y="94740"/>
                  </a:cubicBezTo>
                  <a:cubicBezTo>
                    <a:pt x="1320621" y="96484"/>
                    <a:pt x="1318660" y="97792"/>
                    <a:pt x="1316263" y="97792"/>
                  </a:cubicBezTo>
                  <a:cubicBezTo>
                    <a:pt x="1312340" y="97792"/>
                    <a:pt x="1311904" y="99318"/>
                    <a:pt x="1311904" y="110000"/>
                  </a:cubicBezTo>
                  <a:cubicBezTo>
                    <a:pt x="1311904" y="116540"/>
                    <a:pt x="1312994" y="123953"/>
                    <a:pt x="1314083" y="126133"/>
                  </a:cubicBezTo>
                  <a:cubicBezTo>
                    <a:pt x="1315827" y="129403"/>
                    <a:pt x="1315391" y="130711"/>
                    <a:pt x="1312122" y="132673"/>
                  </a:cubicBezTo>
                  <a:cubicBezTo>
                    <a:pt x="1309725" y="133763"/>
                    <a:pt x="1305803" y="134853"/>
                    <a:pt x="1303188" y="134853"/>
                  </a:cubicBezTo>
                  <a:cubicBezTo>
                    <a:pt x="1300573" y="134853"/>
                    <a:pt x="1299048" y="135725"/>
                    <a:pt x="1299919" y="136815"/>
                  </a:cubicBezTo>
                  <a:cubicBezTo>
                    <a:pt x="1300573" y="137905"/>
                    <a:pt x="1300137" y="139431"/>
                    <a:pt x="1298830" y="140303"/>
                  </a:cubicBezTo>
                  <a:cubicBezTo>
                    <a:pt x="1297523" y="140957"/>
                    <a:pt x="1295997" y="139867"/>
                    <a:pt x="1295126" y="137687"/>
                  </a:cubicBezTo>
                  <a:cubicBezTo>
                    <a:pt x="1294254" y="135507"/>
                    <a:pt x="1292293" y="132455"/>
                    <a:pt x="1290767" y="130711"/>
                  </a:cubicBezTo>
                  <a:cubicBezTo>
                    <a:pt x="1286845" y="127005"/>
                    <a:pt x="1288370" y="122645"/>
                    <a:pt x="1293164" y="123517"/>
                  </a:cubicBezTo>
                  <a:cubicBezTo>
                    <a:pt x="1297087" y="124171"/>
                    <a:pt x="1301881" y="114360"/>
                    <a:pt x="1300137" y="109346"/>
                  </a:cubicBezTo>
                  <a:cubicBezTo>
                    <a:pt x="1299484" y="107820"/>
                    <a:pt x="1295779" y="106512"/>
                    <a:pt x="1291421" y="106512"/>
                  </a:cubicBezTo>
                  <a:cubicBezTo>
                    <a:pt x="1279218" y="106512"/>
                    <a:pt x="1273117" y="103024"/>
                    <a:pt x="1269412" y="94086"/>
                  </a:cubicBezTo>
                  <a:lnTo>
                    <a:pt x="1265926" y="85801"/>
                  </a:lnTo>
                  <a:lnTo>
                    <a:pt x="1260478" y="92342"/>
                  </a:lnTo>
                  <a:cubicBezTo>
                    <a:pt x="1245878" y="109782"/>
                    <a:pt x="1247186" y="109128"/>
                    <a:pt x="1231061" y="107602"/>
                  </a:cubicBezTo>
                  <a:cubicBezTo>
                    <a:pt x="1217333" y="106294"/>
                    <a:pt x="1216243" y="106512"/>
                    <a:pt x="1214936" y="110872"/>
                  </a:cubicBezTo>
                  <a:cubicBezTo>
                    <a:pt x="1212974" y="116976"/>
                    <a:pt x="1217333" y="121991"/>
                    <a:pt x="1223652" y="120465"/>
                  </a:cubicBezTo>
                  <a:cubicBezTo>
                    <a:pt x="1227138" y="119593"/>
                    <a:pt x="1229535" y="120683"/>
                    <a:pt x="1231932" y="124171"/>
                  </a:cubicBezTo>
                  <a:lnTo>
                    <a:pt x="1235419" y="128967"/>
                  </a:lnTo>
                  <a:lnTo>
                    <a:pt x="1243264" y="123081"/>
                  </a:lnTo>
                  <a:cubicBezTo>
                    <a:pt x="1247622" y="119593"/>
                    <a:pt x="1252198" y="114578"/>
                    <a:pt x="1253287" y="111526"/>
                  </a:cubicBezTo>
                  <a:cubicBezTo>
                    <a:pt x="1255031" y="106512"/>
                    <a:pt x="1256120" y="106294"/>
                    <a:pt x="1263529" y="107384"/>
                  </a:cubicBezTo>
                  <a:cubicBezTo>
                    <a:pt x="1276385" y="109782"/>
                    <a:pt x="1279218" y="110872"/>
                    <a:pt x="1279218" y="114142"/>
                  </a:cubicBezTo>
                  <a:cubicBezTo>
                    <a:pt x="1279218" y="115886"/>
                    <a:pt x="1277693" y="116540"/>
                    <a:pt x="1275078" y="115886"/>
                  </a:cubicBezTo>
                  <a:cubicBezTo>
                    <a:pt x="1268323" y="114142"/>
                    <a:pt x="1267669" y="119156"/>
                    <a:pt x="1274206" y="122209"/>
                  </a:cubicBezTo>
                  <a:cubicBezTo>
                    <a:pt x="1281397" y="125697"/>
                    <a:pt x="1283359" y="132019"/>
                    <a:pt x="1277693" y="133109"/>
                  </a:cubicBezTo>
                  <a:cubicBezTo>
                    <a:pt x="1272027" y="134417"/>
                    <a:pt x="1266144" y="132455"/>
                    <a:pt x="1266144" y="129403"/>
                  </a:cubicBezTo>
                  <a:cubicBezTo>
                    <a:pt x="1266144" y="128095"/>
                    <a:pt x="1264183" y="125043"/>
                    <a:pt x="1261786" y="122863"/>
                  </a:cubicBezTo>
                  <a:cubicBezTo>
                    <a:pt x="1257428" y="118938"/>
                    <a:pt x="1257210" y="118938"/>
                    <a:pt x="1252634" y="123517"/>
                  </a:cubicBezTo>
                  <a:cubicBezTo>
                    <a:pt x="1248493" y="127441"/>
                    <a:pt x="1247840" y="130711"/>
                    <a:pt x="1247840" y="143573"/>
                  </a:cubicBezTo>
                  <a:cubicBezTo>
                    <a:pt x="1247840" y="163194"/>
                    <a:pt x="1250019" y="165374"/>
                    <a:pt x="1260260" y="155564"/>
                  </a:cubicBezTo>
                  <a:cubicBezTo>
                    <a:pt x="1268105" y="147933"/>
                    <a:pt x="1272681" y="147061"/>
                    <a:pt x="1272681" y="153602"/>
                  </a:cubicBezTo>
                  <a:cubicBezTo>
                    <a:pt x="1272681" y="155346"/>
                    <a:pt x="1271156" y="156654"/>
                    <a:pt x="1269412" y="156654"/>
                  </a:cubicBezTo>
                  <a:cubicBezTo>
                    <a:pt x="1267451" y="156654"/>
                    <a:pt x="1264836" y="159052"/>
                    <a:pt x="1263529" y="162104"/>
                  </a:cubicBezTo>
                  <a:cubicBezTo>
                    <a:pt x="1262222" y="165156"/>
                    <a:pt x="1260042" y="167772"/>
                    <a:pt x="1258735" y="167772"/>
                  </a:cubicBezTo>
                  <a:cubicBezTo>
                    <a:pt x="1257428" y="167990"/>
                    <a:pt x="1254813" y="168208"/>
                    <a:pt x="1253069" y="168426"/>
                  </a:cubicBezTo>
                  <a:cubicBezTo>
                    <a:pt x="1251108" y="168426"/>
                    <a:pt x="1249583" y="171260"/>
                    <a:pt x="1249147" y="175184"/>
                  </a:cubicBezTo>
                  <a:cubicBezTo>
                    <a:pt x="1248275" y="185431"/>
                    <a:pt x="1244135" y="191753"/>
                    <a:pt x="1239123" y="191099"/>
                  </a:cubicBezTo>
                  <a:cubicBezTo>
                    <a:pt x="1236291" y="190663"/>
                    <a:pt x="1234983" y="189137"/>
                    <a:pt x="1235419" y="187175"/>
                  </a:cubicBezTo>
                  <a:cubicBezTo>
                    <a:pt x="1237598" y="179327"/>
                    <a:pt x="1237816" y="170606"/>
                    <a:pt x="1235855" y="167554"/>
                  </a:cubicBezTo>
                  <a:cubicBezTo>
                    <a:pt x="1233894" y="164720"/>
                    <a:pt x="1232804" y="164720"/>
                    <a:pt x="1228882" y="167118"/>
                  </a:cubicBezTo>
                  <a:cubicBezTo>
                    <a:pt x="1222780" y="171042"/>
                    <a:pt x="1222344" y="170170"/>
                    <a:pt x="1225395" y="160360"/>
                  </a:cubicBezTo>
                  <a:cubicBezTo>
                    <a:pt x="1228010" y="152076"/>
                    <a:pt x="1229971" y="150550"/>
                    <a:pt x="1232368" y="154474"/>
                  </a:cubicBezTo>
                  <a:cubicBezTo>
                    <a:pt x="1234329" y="157744"/>
                    <a:pt x="1242174" y="157090"/>
                    <a:pt x="1242174" y="153820"/>
                  </a:cubicBezTo>
                  <a:cubicBezTo>
                    <a:pt x="1242174" y="152294"/>
                    <a:pt x="1240867" y="149024"/>
                    <a:pt x="1239123" y="146625"/>
                  </a:cubicBezTo>
                  <a:cubicBezTo>
                    <a:pt x="1237162" y="144227"/>
                    <a:pt x="1236508" y="140303"/>
                    <a:pt x="1237162" y="137033"/>
                  </a:cubicBezTo>
                  <a:cubicBezTo>
                    <a:pt x="1238470" y="132019"/>
                    <a:pt x="1238252" y="131801"/>
                    <a:pt x="1234765" y="134635"/>
                  </a:cubicBezTo>
                  <a:cubicBezTo>
                    <a:pt x="1231714" y="137251"/>
                    <a:pt x="1230625" y="137033"/>
                    <a:pt x="1227356" y="133981"/>
                  </a:cubicBezTo>
                  <a:cubicBezTo>
                    <a:pt x="1222344" y="129621"/>
                    <a:pt x="1220383" y="131365"/>
                    <a:pt x="1220383" y="139649"/>
                  </a:cubicBezTo>
                  <a:cubicBezTo>
                    <a:pt x="1220383" y="142919"/>
                    <a:pt x="1219512" y="145753"/>
                    <a:pt x="1218204" y="145753"/>
                  </a:cubicBezTo>
                  <a:cubicBezTo>
                    <a:pt x="1217115" y="145753"/>
                    <a:pt x="1216025" y="141829"/>
                    <a:pt x="1216025" y="137251"/>
                  </a:cubicBezTo>
                  <a:cubicBezTo>
                    <a:pt x="1216025" y="127223"/>
                    <a:pt x="1212321" y="123735"/>
                    <a:pt x="1208180" y="129403"/>
                  </a:cubicBezTo>
                  <a:cubicBezTo>
                    <a:pt x="1206001" y="132455"/>
                    <a:pt x="1205784" y="134199"/>
                    <a:pt x="1207745" y="136379"/>
                  </a:cubicBezTo>
                  <a:cubicBezTo>
                    <a:pt x="1209488" y="138559"/>
                    <a:pt x="1209488" y="140085"/>
                    <a:pt x="1207745" y="141829"/>
                  </a:cubicBezTo>
                  <a:cubicBezTo>
                    <a:pt x="1206219" y="143355"/>
                    <a:pt x="1205130" y="146625"/>
                    <a:pt x="1205130" y="149460"/>
                  </a:cubicBezTo>
                  <a:cubicBezTo>
                    <a:pt x="1205130" y="161232"/>
                    <a:pt x="1196196" y="149678"/>
                    <a:pt x="1195978" y="137469"/>
                  </a:cubicBezTo>
                  <a:cubicBezTo>
                    <a:pt x="1195760" y="133327"/>
                    <a:pt x="1193581" y="128095"/>
                    <a:pt x="1190530" y="124825"/>
                  </a:cubicBezTo>
                  <a:cubicBezTo>
                    <a:pt x="1187915" y="121773"/>
                    <a:pt x="1185518" y="118720"/>
                    <a:pt x="1185518" y="118066"/>
                  </a:cubicBezTo>
                  <a:cubicBezTo>
                    <a:pt x="1185518" y="117194"/>
                    <a:pt x="1183993" y="114796"/>
                    <a:pt x="1181814" y="112616"/>
                  </a:cubicBezTo>
                  <a:cubicBezTo>
                    <a:pt x="1179853" y="110436"/>
                    <a:pt x="1178763" y="108038"/>
                    <a:pt x="1179417" y="107384"/>
                  </a:cubicBezTo>
                  <a:cubicBezTo>
                    <a:pt x="1181378" y="105640"/>
                    <a:pt x="1189876" y="111526"/>
                    <a:pt x="1189876" y="114796"/>
                  </a:cubicBezTo>
                  <a:cubicBezTo>
                    <a:pt x="1189876" y="116322"/>
                    <a:pt x="1192273" y="118502"/>
                    <a:pt x="1195106" y="119593"/>
                  </a:cubicBezTo>
                  <a:cubicBezTo>
                    <a:pt x="1197939" y="120683"/>
                    <a:pt x="1200990" y="122645"/>
                    <a:pt x="1201861" y="123735"/>
                  </a:cubicBezTo>
                  <a:cubicBezTo>
                    <a:pt x="1204694" y="128531"/>
                    <a:pt x="1206219" y="125915"/>
                    <a:pt x="1206437" y="116322"/>
                  </a:cubicBezTo>
                  <a:cubicBezTo>
                    <a:pt x="1206655" y="109346"/>
                    <a:pt x="1205784" y="106512"/>
                    <a:pt x="1203604" y="106512"/>
                  </a:cubicBezTo>
                  <a:cubicBezTo>
                    <a:pt x="1202079" y="106512"/>
                    <a:pt x="1200772" y="107602"/>
                    <a:pt x="1200772" y="108692"/>
                  </a:cubicBezTo>
                  <a:cubicBezTo>
                    <a:pt x="1200772" y="110000"/>
                    <a:pt x="1199900" y="110872"/>
                    <a:pt x="1198593" y="110872"/>
                  </a:cubicBezTo>
                  <a:cubicBezTo>
                    <a:pt x="1197503" y="110872"/>
                    <a:pt x="1196413" y="108910"/>
                    <a:pt x="1196413" y="106512"/>
                  </a:cubicBezTo>
                  <a:cubicBezTo>
                    <a:pt x="1196413" y="103678"/>
                    <a:pt x="1193799" y="100844"/>
                    <a:pt x="1188787" y="98446"/>
                  </a:cubicBezTo>
                  <a:cubicBezTo>
                    <a:pt x="1182685" y="95612"/>
                    <a:pt x="1181160" y="93432"/>
                    <a:pt x="1181160" y="88635"/>
                  </a:cubicBezTo>
                  <a:cubicBezTo>
                    <a:pt x="1181160" y="83621"/>
                    <a:pt x="1182032" y="82531"/>
                    <a:pt x="1186608" y="82531"/>
                  </a:cubicBezTo>
                  <a:cubicBezTo>
                    <a:pt x="1190530" y="82531"/>
                    <a:pt x="1192709" y="84057"/>
                    <a:pt x="1194234" y="87981"/>
                  </a:cubicBezTo>
                  <a:cubicBezTo>
                    <a:pt x="1196631" y="94304"/>
                    <a:pt x="1198375" y="94740"/>
                    <a:pt x="1204258" y="90161"/>
                  </a:cubicBezTo>
                  <a:cubicBezTo>
                    <a:pt x="1208398" y="86891"/>
                    <a:pt x="1208398" y="86891"/>
                    <a:pt x="1204258" y="83621"/>
                  </a:cubicBezTo>
                  <a:cubicBezTo>
                    <a:pt x="1201861" y="81877"/>
                    <a:pt x="1198593" y="80351"/>
                    <a:pt x="1197067" y="80351"/>
                  </a:cubicBezTo>
                  <a:cubicBezTo>
                    <a:pt x="1195542" y="80351"/>
                    <a:pt x="1194234" y="78825"/>
                    <a:pt x="1194234" y="77081"/>
                  </a:cubicBezTo>
                  <a:cubicBezTo>
                    <a:pt x="1194234" y="75337"/>
                    <a:pt x="1195542" y="73811"/>
                    <a:pt x="1197285" y="73811"/>
                  </a:cubicBezTo>
                  <a:cubicBezTo>
                    <a:pt x="1199028" y="73811"/>
                    <a:pt x="1200772" y="72503"/>
                    <a:pt x="1201425" y="71195"/>
                  </a:cubicBezTo>
                  <a:cubicBezTo>
                    <a:pt x="1202515" y="67707"/>
                    <a:pt x="1209488" y="72939"/>
                    <a:pt x="1209488" y="77299"/>
                  </a:cubicBezTo>
                  <a:cubicBezTo>
                    <a:pt x="1209488" y="78825"/>
                    <a:pt x="1211449" y="80787"/>
                    <a:pt x="1213846" y="81441"/>
                  </a:cubicBezTo>
                  <a:cubicBezTo>
                    <a:pt x="1217115" y="82531"/>
                    <a:pt x="1218204" y="84711"/>
                    <a:pt x="1218204" y="90379"/>
                  </a:cubicBezTo>
                  <a:cubicBezTo>
                    <a:pt x="1218204" y="99536"/>
                    <a:pt x="1221255" y="99754"/>
                    <a:pt x="1230407" y="91470"/>
                  </a:cubicBezTo>
                  <a:cubicBezTo>
                    <a:pt x="1238034" y="84711"/>
                    <a:pt x="1239777" y="73157"/>
                    <a:pt x="1234329" y="67271"/>
                  </a:cubicBezTo>
                  <a:cubicBezTo>
                    <a:pt x="1232586" y="65527"/>
                    <a:pt x="1229535" y="61603"/>
                    <a:pt x="1227138" y="58768"/>
                  </a:cubicBezTo>
                  <a:cubicBezTo>
                    <a:pt x="1224524" y="55280"/>
                    <a:pt x="1221909" y="53972"/>
                    <a:pt x="1219730" y="54844"/>
                  </a:cubicBezTo>
                  <a:cubicBezTo>
                    <a:pt x="1213846" y="57024"/>
                    <a:pt x="1215154" y="62911"/>
                    <a:pt x="1221473" y="62911"/>
                  </a:cubicBezTo>
                  <a:cubicBezTo>
                    <a:pt x="1226485" y="62911"/>
                    <a:pt x="1226921" y="63783"/>
                    <a:pt x="1226921" y="71631"/>
                  </a:cubicBezTo>
                  <a:cubicBezTo>
                    <a:pt x="1226921" y="76427"/>
                    <a:pt x="1226049" y="80351"/>
                    <a:pt x="1224741" y="80351"/>
                  </a:cubicBezTo>
                  <a:cubicBezTo>
                    <a:pt x="1223652" y="80351"/>
                    <a:pt x="1222562" y="79479"/>
                    <a:pt x="1222562" y="78389"/>
                  </a:cubicBezTo>
                  <a:cubicBezTo>
                    <a:pt x="1222562" y="75555"/>
                    <a:pt x="1213192" y="66181"/>
                    <a:pt x="1208616" y="64437"/>
                  </a:cubicBezTo>
                  <a:cubicBezTo>
                    <a:pt x="1205784" y="63347"/>
                    <a:pt x="1204912" y="61603"/>
                    <a:pt x="1206001" y="57460"/>
                  </a:cubicBezTo>
                  <a:cubicBezTo>
                    <a:pt x="1207091" y="52882"/>
                    <a:pt x="1206655" y="52010"/>
                    <a:pt x="1202951" y="52010"/>
                  </a:cubicBezTo>
                  <a:cubicBezTo>
                    <a:pt x="1200336" y="52010"/>
                    <a:pt x="1197503" y="54190"/>
                    <a:pt x="1195978" y="57460"/>
                  </a:cubicBezTo>
                  <a:cubicBezTo>
                    <a:pt x="1191184" y="68143"/>
                    <a:pt x="1185082" y="63565"/>
                    <a:pt x="1184429" y="48522"/>
                  </a:cubicBezTo>
                  <a:cubicBezTo>
                    <a:pt x="1184211" y="40892"/>
                    <a:pt x="1184646" y="39802"/>
                    <a:pt x="1186608" y="42636"/>
                  </a:cubicBezTo>
                  <a:cubicBezTo>
                    <a:pt x="1188569" y="45252"/>
                    <a:pt x="1191184" y="45906"/>
                    <a:pt x="1197067" y="44816"/>
                  </a:cubicBezTo>
                  <a:cubicBezTo>
                    <a:pt x="1201425" y="44162"/>
                    <a:pt x="1205566" y="44598"/>
                    <a:pt x="1206219" y="45688"/>
                  </a:cubicBezTo>
                  <a:cubicBezTo>
                    <a:pt x="1208834" y="49830"/>
                    <a:pt x="1215154" y="47432"/>
                    <a:pt x="1219076" y="40892"/>
                  </a:cubicBezTo>
                  <a:cubicBezTo>
                    <a:pt x="1221255" y="37186"/>
                    <a:pt x="1222562" y="33698"/>
                    <a:pt x="1221909" y="33262"/>
                  </a:cubicBezTo>
                  <a:cubicBezTo>
                    <a:pt x="1219947" y="31081"/>
                    <a:pt x="1196413" y="30645"/>
                    <a:pt x="1195106" y="32608"/>
                  </a:cubicBezTo>
                  <a:cubicBezTo>
                    <a:pt x="1193145" y="36096"/>
                    <a:pt x="1181160" y="34788"/>
                    <a:pt x="1181160" y="31299"/>
                  </a:cubicBezTo>
                  <a:cubicBezTo>
                    <a:pt x="1181160" y="29555"/>
                    <a:pt x="1180070" y="28029"/>
                    <a:pt x="1178981" y="28029"/>
                  </a:cubicBezTo>
                  <a:cubicBezTo>
                    <a:pt x="1175712" y="28029"/>
                    <a:pt x="1172008" y="38712"/>
                    <a:pt x="1173751" y="43726"/>
                  </a:cubicBezTo>
                  <a:cubicBezTo>
                    <a:pt x="1174405" y="45906"/>
                    <a:pt x="1173751" y="49394"/>
                    <a:pt x="1172226" y="51356"/>
                  </a:cubicBezTo>
                  <a:cubicBezTo>
                    <a:pt x="1169829" y="54190"/>
                    <a:pt x="1170047" y="55062"/>
                    <a:pt x="1172879" y="57242"/>
                  </a:cubicBezTo>
                  <a:cubicBezTo>
                    <a:pt x="1178763" y="61603"/>
                    <a:pt x="1175712" y="83185"/>
                    <a:pt x="1168086" y="91252"/>
                  </a:cubicBezTo>
                  <a:cubicBezTo>
                    <a:pt x="1160241" y="99754"/>
                    <a:pt x="1163074" y="105640"/>
                    <a:pt x="1171354" y="97792"/>
                  </a:cubicBezTo>
                  <a:cubicBezTo>
                    <a:pt x="1176584" y="92996"/>
                    <a:pt x="1177020" y="92778"/>
                    <a:pt x="1180506" y="96266"/>
                  </a:cubicBezTo>
                  <a:cubicBezTo>
                    <a:pt x="1183993" y="99754"/>
                    <a:pt x="1183993" y="100190"/>
                    <a:pt x="1180724" y="103460"/>
                  </a:cubicBezTo>
                  <a:cubicBezTo>
                    <a:pt x="1177020" y="107384"/>
                    <a:pt x="1157408" y="109346"/>
                    <a:pt x="1152614" y="106512"/>
                  </a:cubicBezTo>
                  <a:cubicBezTo>
                    <a:pt x="1149999" y="104768"/>
                    <a:pt x="1151307" y="97356"/>
                    <a:pt x="1156319" y="85583"/>
                  </a:cubicBezTo>
                  <a:cubicBezTo>
                    <a:pt x="1157626" y="82313"/>
                    <a:pt x="1150435" y="79697"/>
                    <a:pt x="1147602" y="82531"/>
                  </a:cubicBezTo>
                  <a:cubicBezTo>
                    <a:pt x="1146295" y="83839"/>
                    <a:pt x="1144334" y="83621"/>
                    <a:pt x="1141719" y="81223"/>
                  </a:cubicBezTo>
                  <a:cubicBezTo>
                    <a:pt x="1138668" y="78389"/>
                    <a:pt x="1138232" y="76863"/>
                    <a:pt x="1140193" y="72503"/>
                  </a:cubicBezTo>
                  <a:cubicBezTo>
                    <a:pt x="1143026" y="66617"/>
                    <a:pt x="1139322" y="60294"/>
                    <a:pt x="1133438" y="60948"/>
                  </a:cubicBezTo>
                  <a:cubicBezTo>
                    <a:pt x="1131477" y="61166"/>
                    <a:pt x="1127119" y="60294"/>
                    <a:pt x="1123632" y="58768"/>
                  </a:cubicBezTo>
                  <a:cubicBezTo>
                    <a:pt x="1118403" y="56588"/>
                    <a:pt x="1117531" y="55280"/>
                    <a:pt x="1118403" y="49830"/>
                  </a:cubicBezTo>
                  <a:cubicBezTo>
                    <a:pt x="1119274" y="44380"/>
                    <a:pt x="1118838" y="43508"/>
                    <a:pt x="1115570" y="44380"/>
                  </a:cubicBezTo>
                  <a:cubicBezTo>
                    <a:pt x="1112955" y="45252"/>
                    <a:pt x="1110122" y="43508"/>
                    <a:pt x="1106854" y="38930"/>
                  </a:cubicBezTo>
                  <a:cubicBezTo>
                    <a:pt x="1101624" y="32171"/>
                    <a:pt x="1097266" y="30427"/>
                    <a:pt x="1095740" y="35006"/>
                  </a:cubicBezTo>
                  <a:cubicBezTo>
                    <a:pt x="1093997" y="40238"/>
                    <a:pt x="1089639" y="33916"/>
                    <a:pt x="1090075" y="26939"/>
                  </a:cubicBezTo>
                  <a:cubicBezTo>
                    <a:pt x="1090293" y="22143"/>
                    <a:pt x="1088985" y="18001"/>
                    <a:pt x="1086370" y="14949"/>
                  </a:cubicBezTo>
                  <a:cubicBezTo>
                    <a:pt x="1081140" y="9281"/>
                    <a:pt x="1082230" y="8409"/>
                    <a:pt x="1093561" y="9935"/>
                  </a:cubicBezTo>
                  <a:cubicBezTo>
                    <a:pt x="1102060" y="11025"/>
                    <a:pt x="1102931" y="11679"/>
                    <a:pt x="1101842" y="16257"/>
                  </a:cubicBezTo>
                  <a:cubicBezTo>
                    <a:pt x="1101188" y="18873"/>
                    <a:pt x="1101624" y="23887"/>
                    <a:pt x="1103149" y="26939"/>
                  </a:cubicBezTo>
                  <a:cubicBezTo>
                    <a:pt x="1105110" y="31517"/>
                    <a:pt x="1106854" y="32608"/>
                    <a:pt x="1111212" y="31735"/>
                  </a:cubicBezTo>
                  <a:cubicBezTo>
                    <a:pt x="1114262" y="31081"/>
                    <a:pt x="1118403" y="31517"/>
                    <a:pt x="1120146" y="32389"/>
                  </a:cubicBezTo>
                  <a:cubicBezTo>
                    <a:pt x="1122107" y="33480"/>
                    <a:pt x="1124940" y="33480"/>
                    <a:pt x="1126683" y="32389"/>
                  </a:cubicBezTo>
                  <a:cubicBezTo>
                    <a:pt x="1130823" y="29773"/>
                    <a:pt x="1139322" y="34352"/>
                    <a:pt x="1140629" y="40020"/>
                  </a:cubicBezTo>
                  <a:cubicBezTo>
                    <a:pt x="1141283" y="42854"/>
                    <a:pt x="1141283" y="48086"/>
                    <a:pt x="1140629" y="51792"/>
                  </a:cubicBezTo>
                  <a:cubicBezTo>
                    <a:pt x="1139540" y="57024"/>
                    <a:pt x="1139975" y="58550"/>
                    <a:pt x="1142590" y="58550"/>
                  </a:cubicBezTo>
                  <a:cubicBezTo>
                    <a:pt x="1144334" y="58550"/>
                    <a:pt x="1146295" y="60730"/>
                    <a:pt x="1146949" y="63565"/>
                  </a:cubicBezTo>
                  <a:cubicBezTo>
                    <a:pt x="1147820" y="66181"/>
                    <a:pt x="1150435" y="69451"/>
                    <a:pt x="1153268" y="70541"/>
                  </a:cubicBezTo>
                  <a:cubicBezTo>
                    <a:pt x="1156101" y="71849"/>
                    <a:pt x="1158498" y="74901"/>
                    <a:pt x="1158933" y="77735"/>
                  </a:cubicBezTo>
                  <a:cubicBezTo>
                    <a:pt x="1159805" y="83185"/>
                    <a:pt x="1161984" y="83839"/>
                    <a:pt x="1165689" y="79479"/>
                  </a:cubicBezTo>
                  <a:cubicBezTo>
                    <a:pt x="1167650" y="77081"/>
                    <a:pt x="1167868" y="75119"/>
                    <a:pt x="1165906" y="71849"/>
                  </a:cubicBezTo>
                  <a:cubicBezTo>
                    <a:pt x="1164381" y="68579"/>
                    <a:pt x="1164163" y="65963"/>
                    <a:pt x="1165906" y="63129"/>
                  </a:cubicBezTo>
                  <a:cubicBezTo>
                    <a:pt x="1168521" y="58114"/>
                    <a:pt x="1166124" y="55716"/>
                    <a:pt x="1161548" y="58768"/>
                  </a:cubicBezTo>
                  <a:cubicBezTo>
                    <a:pt x="1156319" y="61821"/>
                    <a:pt x="1154575" y="61166"/>
                    <a:pt x="1155447" y="55934"/>
                  </a:cubicBezTo>
                  <a:cubicBezTo>
                    <a:pt x="1155883" y="52882"/>
                    <a:pt x="1158062" y="50484"/>
                    <a:pt x="1161548" y="49612"/>
                  </a:cubicBezTo>
                  <a:lnTo>
                    <a:pt x="1166996" y="48304"/>
                  </a:lnTo>
                  <a:lnTo>
                    <a:pt x="1160895" y="45688"/>
                  </a:lnTo>
                  <a:cubicBezTo>
                    <a:pt x="1157408" y="44380"/>
                    <a:pt x="1153922" y="43290"/>
                    <a:pt x="1152832" y="43290"/>
                  </a:cubicBezTo>
                  <a:cubicBezTo>
                    <a:pt x="1151960" y="43290"/>
                    <a:pt x="1150435" y="40892"/>
                    <a:pt x="1149781" y="37840"/>
                  </a:cubicBezTo>
                  <a:cubicBezTo>
                    <a:pt x="1148910" y="34352"/>
                    <a:pt x="1146949" y="32389"/>
                    <a:pt x="1144116" y="32389"/>
                  </a:cubicBezTo>
                  <a:cubicBezTo>
                    <a:pt x="1141719" y="32389"/>
                    <a:pt x="1139758" y="30863"/>
                    <a:pt x="1139758" y="29119"/>
                  </a:cubicBezTo>
                  <a:cubicBezTo>
                    <a:pt x="1139758" y="27375"/>
                    <a:pt x="1140847" y="25849"/>
                    <a:pt x="1141937" y="25849"/>
                  </a:cubicBezTo>
                  <a:cubicBezTo>
                    <a:pt x="1143244" y="25849"/>
                    <a:pt x="1144116" y="24323"/>
                    <a:pt x="1144116" y="22361"/>
                  </a:cubicBezTo>
                  <a:cubicBezTo>
                    <a:pt x="1144116" y="19309"/>
                    <a:pt x="1143462" y="19309"/>
                    <a:pt x="1140847" y="21489"/>
                  </a:cubicBezTo>
                  <a:cubicBezTo>
                    <a:pt x="1135399" y="26067"/>
                    <a:pt x="1134310" y="21925"/>
                    <a:pt x="1139322" y="16475"/>
                  </a:cubicBezTo>
                  <a:cubicBezTo>
                    <a:pt x="1141937" y="13641"/>
                    <a:pt x="1144116" y="10371"/>
                    <a:pt x="1144116" y="8845"/>
                  </a:cubicBezTo>
                  <a:cubicBezTo>
                    <a:pt x="1144116" y="5575"/>
                    <a:pt x="1121235" y="5139"/>
                    <a:pt x="916402" y="5139"/>
                  </a:cubicBezTo>
                  <a:lnTo>
                    <a:pt x="739897" y="5139"/>
                  </a:lnTo>
                  <a:lnTo>
                    <a:pt x="740551" y="10371"/>
                  </a:lnTo>
                  <a:cubicBezTo>
                    <a:pt x="741205" y="13859"/>
                    <a:pt x="740333" y="15167"/>
                    <a:pt x="738372" y="14513"/>
                  </a:cubicBezTo>
                  <a:cubicBezTo>
                    <a:pt x="736847" y="13859"/>
                    <a:pt x="735539" y="11679"/>
                    <a:pt x="735539" y="9281"/>
                  </a:cubicBezTo>
                  <a:cubicBezTo>
                    <a:pt x="735539" y="5357"/>
                    <a:pt x="732924" y="5139"/>
                    <a:pt x="664719" y="5139"/>
                  </a:cubicBezTo>
                  <a:lnTo>
                    <a:pt x="593899" y="5139"/>
                  </a:lnTo>
                  <a:lnTo>
                    <a:pt x="593899" y="13859"/>
                  </a:lnTo>
                  <a:cubicBezTo>
                    <a:pt x="593899" y="21053"/>
                    <a:pt x="593246" y="22579"/>
                    <a:pt x="589541" y="22579"/>
                  </a:cubicBezTo>
                  <a:cubicBezTo>
                    <a:pt x="584529" y="22579"/>
                    <a:pt x="582350" y="14295"/>
                    <a:pt x="586273" y="9499"/>
                  </a:cubicBezTo>
                  <a:cubicBezTo>
                    <a:pt x="587580" y="7973"/>
                    <a:pt x="587798" y="6229"/>
                    <a:pt x="586926" y="5575"/>
                  </a:cubicBezTo>
                  <a:cubicBezTo>
                    <a:pt x="586055" y="4921"/>
                    <a:pt x="561649" y="4921"/>
                    <a:pt x="532885" y="5357"/>
                  </a:cubicBezTo>
                  <a:cubicBezTo>
                    <a:pt x="504122" y="5793"/>
                    <a:pt x="477319" y="6229"/>
                    <a:pt x="473615" y="6229"/>
                  </a:cubicBezTo>
                  <a:cubicBezTo>
                    <a:pt x="466859" y="6229"/>
                    <a:pt x="466642" y="6665"/>
                    <a:pt x="466642" y="14513"/>
                  </a:cubicBezTo>
                  <a:cubicBezTo>
                    <a:pt x="466859" y="18873"/>
                    <a:pt x="466642" y="24541"/>
                    <a:pt x="466206" y="26939"/>
                  </a:cubicBezTo>
                  <a:cubicBezTo>
                    <a:pt x="465116" y="32608"/>
                    <a:pt x="471436" y="33698"/>
                    <a:pt x="477101" y="28683"/>
                  </a:cubicBezTo>
                  <a:cubicBezTo>
                    <a:pt x="479716" y="26721"/>
                    <a:pt x="481677" y="22797"/>
                    <a:pt x="481895" y="20399"/>
                  </a:cubicBezTo>
                  <a:cubicBezTo>
                    <a:pt x="481895" y="16257"/>
                    <a:pt x="482113" y="16475"/>
                    <a:pt x="483856" y="21053"/>
                  </a:cubicBezTo>
                  <a:cubicBezTo>
                    <a:pt x="484946" y="23669"/>
                    <a:pt x="486907" y="25849"/>
                    <a:pt x="488214" y="25849"/>
                  </a:cubicBezTo>
                  <a:cubicBezTo>
                    <a:pt x="489304" y="25849"/>
                    <a:pt x="490393" y="30427"/>
                    <a:pt x="490393" y="35878"/>
                  </a:cubicBezTo>
                  <a:cubicBezTo>
                    <a:pt x="490393" y="45034"/>
                    <a:pt x="489958" y="45906"/>
                    <a:pt x="486035" y="44816"/>
                  </a:cubicBezTo>
                  <a:cubicBezTo>
                    <a:pt x="482985" y="43944"/>
                    <a:pt x="480588" y="45252"/>
                    <a:pt x="478191" y="48958"/>
                  </a:cubicBezTo>
                  <a:cubicBezTo>
                    <a:pt x="473179" y="56370"/>
                    <a:pt x="468603" y="55716"/>
                    <a:pt x="468603" y="47650"/>
                  </a:cubicBezTo>
                  <a:cubicBezTo>
                    <a:pt x="468603" y="41110"/>
                    <a:pt x="463591" y="36532"/>
                    <a:pt x="460322" y="40020"/>
                  </a:cubicBezTo>
                  <a:cubicBezTo>
                    <a:pt x="459451" y="40892"/>
                    <a:pt x="458797" y="48522"/>
                    <a:pt x="458797" y="57024"/>
                  </a:cubicBezTo>
                  <a:cubicBezTo>
                    <a:pt x="458797" y="66181"/>
                    <a:pt x="457925" y="72503"/>
                    <a:pt x="456618" y="72503"/>
                  </a:cubicBezTo>
                  <a:cubicBezTo>
                    <a:pt x="455528" y="72285"/>
                    <a:pt x="450734" y="71413"/>
                    <a:pt x="446158" y="70759"/>
                  </a:cubicBezTo>
                  <a:cubicBezTo>
                    <a:pt x="439621" y="69451"/>
                    <a:pt x="438096" y="69887"/>
                    <a:pt x="438096" y="72721"/>
                  </a:cubicBezTo>
                  <a:cubicBezTo>
                    <a:pt x="438096" y="74465"/>
                    <a:pt x="437442" y="75991"/>
                    <a:pt x="436570" y="75991"/>
                  </a:cubicBezTo>
                  <a:cubicBezTo>
                    <a:pt x="435481" y="76209"/>
                    <a:pt x="432648" y="77953"/>
                    <a:pt x="429815" y="80133"/>
                  </a:cubicBezTo>
                  <a:cubicBezTo>
                    <a:pt x="424368" y="84929"/>
                    <a:pt x="425457" y="91252"/>
                    <a:pt x="431776" y="91252"/>
                  </a:cubicBezTo>
                  <a:cubicBezTo>
                    <a:pt x="436788" y="91252"/>
                    <a:pt x="437224" y="94740"/>
                    <a:pt x="432648" y="99318"/>
                  </a:cubicBezTo>
                  <a:cubicBezTo>
                    <a:pt x="428072" y="103896"/>
                    <a:pt x="430905" y="107166"/>
                    <a:pt x="438096" y="105640"/>
                  </a:cubicBezTo>
                  <a:cubicBezTo>
                    <a:pt x="446812" y="104114"/>
                    <a:pt x="450952" y="109346"/>
                    <a:pt x="445722" y="115232"/>
                  </a:cubicBezTo>
                  <a:cubicBezTo>
                    <a:pt x="443543" y="117630"/>
                    <a:pt x="440928" y="119593"/>
                    <a:pt x="439621" y="119593"/>
                  </a:cubicBezTo>
                  <a:cubicBezTo>
                    <a:pt x="436788" y="119593"/>
                    <a:pt x="424803" y="106294"/>
                    <a:pt x="426111" y="104332"/>
                  </a:cubicBezTo>
                  <a:cubicBezTo>
                    <a:pt x="426764" y="103460"/>
                    <a:pt x="424803" y="101062"/>
                    <a:pt x="421753" y="99100"/>
                  </a:cubicBezTo>
                  <a:cubicBezTo>
                    <a:pt x="418702" y="97138"/>
                    <a:pt x="416523" y="93868"/>
                    <a:pt x="416741" y="91688"/>
                  </a:cubicBezTo>
                  <a:cubicBezTo>
                    <a:pt x="417394" y="82313"/>
                    <a:pt x="416305" y="80351"/>
                    <a:pt x="411293" y="81441"/>
                  </a:cubicBezTo>
                  <a:cubicBezTo>
                    <a:pt x="408242" y="82095"/>
                    <a:pt x="404538" y="80787"/>
                    <a:pt x="401269" y="77953"/>
                  </a:cubicBezTo>
                  <a:cubicBezTo>
                    <a:pt x="396911" y="74465"/>
                    <a:pt x="396040" y="71849"/>
                    <a:pt x="396475" y="64655"/>
                  </a:cubicBezTo>
                  <a:lnTo>
                    <a:pt x="396911" y="55716"/>
                  </a:lnTo>
                  <a:lnTo>
                    <a:pt x="389284" y="57024"/>
                  </a:lnTo>
                  <a:cubicBezTo>
                    <a:pt x="383837" y="57896"/>
                    <a:pt x="381440" y="57242"/>
                    <a:pt x="380568" y="55062"/>
                  </a:cubicBezTo>
                  <a:cubicBezTo>
                    <a:pt x="378825" y="50702"/>
                    <a:pt x="381222" y="45470"/>
                    <a:pt x="384926" y="45470"/>
                  </a:cubicBezTo>
                  <a:cubicBezTo>
                    <a:pt x="387105" y="45470"/>
                    <a:pt x="387541" y="43726"/>
                    <a:pt x="386670" y="38930"/>
                  </a:cubicBezTo>
                  <a:cubicBezTo>
                    <a:pt x="385798" y="34788"/>
                    <a:pt x="386234" y="32389"/>
                    <a:pt x="387759" y="32389"/>
                  </a:cubicBezTo>
                  <a:cubicBezTo>
                    <a:pt x="389067" y="32389"/>
                    <a:pt x="390156" y="33480"/>
                    <a:pt x="390156" y="35006"/>
                  </a:cubicBezTo>
                  <a:cubicBezTo>
                    <a:pt x="390156" y="36314"/>
                    <a:pt x="391899" y="35878"/>
                    <a:pt x="394296" y="33698"/>
                  </a:cubicBezTo>
                  <a:cubicBezTo>
                    <a:pt x="399308" y="29119"/>
                    <a:pt x="404974" y="29773"/>
                    <a:pt x="408460" y="35006"/>
                  </a:cubicBezTo>
                  <a:cubicBezTo>
                    <a:pt x="410204" y="37840"/>
                    <a:pt x="409768" y="40456"/>
                    <a:pt x="406935" y="45470"/>
                  </a:cubicBezTo>
                  <a:cubicBezTo>
                    <a:pt x="404320" y="49830"/>
                    <a:pt x="403448" y="53754"/>
                    <a:pt x="404538" y="57024"/>
                  </a:cubicBezTo>
                  <a:cubicBezTo>
                    <a:pt x="405627" y="59640"/>
                    <a:pt x="406063" y="63129"/>
                    <a:pt x="405627" y="64655"/>
                  </a:cubicBezTo>
                  <a:cubicBezTo>
                    <a:pt x="405192" y="66835"/>
                    <a:pt x="406499" y="67271"/>
                    <a:pt x="410204" y="66181"/>
                  </a:cubicBezTo>
                  <a:cubicBezTo>
                    <a:pt x="418048" y="63783"/>
                    <a:pt x="418484" y="62475"/>
                    <a:pt x="414126" y="53754"/>
                  </a:cubicBezTo>
                  <a:cubicBezTo>
                    <a:pt x="409550" y="44380"/>
                    <a:pt x="411947" y="41110"/>
                    <a:pt x="418484" y="47650"/>
                  </a:cubicBezTo>
                  <a:cubicBezTo>
                    <a:pt x="426764" y="55934"/>
                    <a:pt x="429815" y="52446"/>
                    <a:pt x="423932" y="40892"/>
                  </a:cubicBezTo>
                  <a:cubicBezTo>
                    <a:pt x="420663" y="34788"/>
                    <a:pt x="420663" y="34352"/>
                    <a:pt x="425675" y="32608"/>
                  </a:cubicBezTo>
                  <a:cubicBezTo>
                    <a:pt x="432430" y="29991"/>
                    <a:pt x="438096" y="21053"/>
                    <a:pt x="436570" y="15167"/>
                  </a:cubicBezTo>
                  <a:cubicBezTo>
                    <a:pt x="435481" y="11025"/>
                    <a:pt x="436352" y="10589"/>
                    <a:pt x="443325" y="10589"/>
                  </a:cubicBezTo>
                  <a:cubicBezTo>
                    <a:pt x="447684" y="10589"/>
                    <a:pt x="451170" y="11461"/>
                    <a:pt x="451170" y="12769"/>
                  </a:cubicBezTo>
                  <a:cubicBezTo>
                    <a:pt x="451170" y="13859"/>
                    <a:pt x="447684" y="18219"/>
                    <a:pt x="443543" y="22361"/>
                  </a:cubicBezTo>
                  <a:cubicBezTo>
                    <a:pt x="439403" y="26721"/>
                    <a:pt x="435917" y="31517"/>
                    <a:pt x="435917" y="33480"/>
                  </a:cubicBezTo>
                  <a:cubicBezTo>
                    <a:pt x="435917" y="37186"/>
                    <a:pt x="439403" y="37840"/>
                    <a:pt x="441364" y="34570"/>
                  </a:cubicBezTo>
                  <a:cubicBezTo>
                    <a:pt x="442236" y="33262"/>
                    <a:pt x="445940" y="32826"/>
                    <a:pt x="449863" y="33480"/>
                  </a:cubicBezTo>
                  <a:cubicBezTo>
                    <a:pt x="457489" y="35006"/>
                    <a:pt x="463809" y="30427"/>
                    <a:pt x="460758" y="25413"/>
                  </a:cubicBezTo>
                  <a:cubicBezTo>
                    <a:pt x="459886" y="23887"/>
                    <a:pt x="459233" y="19091"/>
                    <a:pt x="459669" y="14513"/>
                  </a:cubicBezTo>
                  <a:lnTo>
                    <a:pt x="460322" y="6229"/>
                  </a:lnTo>
                  <a:lnTo>
                    <a:pt x="438314" y="6229"/>
                  </a:lnTo>
                  <a:cubicBezTo>
                    <a:pt x="419791" y="6229"/>
                    <a:pt x="416087" y="6883"/>
                    <a:pt x="414126" y="10153"/>
                  </a:cubicBezTo>
                  <a:cubicBezTo>
                    <a:pt x="411947" y="13641"/>
                    <a:pt x="411947" y="13641"/>
                    <a:pt x="409768" y="10153"/>
                  </a:cubicBezTo>
                  <a:cubicBezTo>
                    <a:pt x="408242" y="7755"/>
                    <a:pt x="404756" y="6229"/>
                    <a:pt x="401051" y="6229"/>
                  </a:cubicBezTo>
                  <a:cubicBezTo>
                    <a:pt x="394950" y="6229"/>
                    <a:pt x="394514" y="6665"/>
                    <a:pt x="394514" y="14949"/>
                  </a:cubicBezTo>
                  <a:cubicBezTo>
                    <a:pt x="394514" y="20835"/>
                    <a:pt x="393643" y="23669"/>
                    <a:pt x="391464" y="23669"/>
                  </a:cubicBezTo>
                  <a:cubicBezTo>
                    <a:pt x="387105" y="23669"/>
                    <a:pt x="383401" y="18437"/>
                    <a:pt x="384055" y="12551"/>
                  </a:cubicBezTo>
                  <a:cubicBezTo>
                    <a:pt x="384708" y="7755"/>
                    <a:pt x="384055" y="7319"/>
                    <a:pt x="374903" y="7755"/>
                  </a:cubicBezTo>
                  <a:cubicBezTo>
                    <a:pt x="369455" y="7973"/>
                    <a:pt x="364443" y="8191"/>
                    <a:pt x="363571" y="8191"/>
                  </a:cubicBezTo>
                  <a:cubicBezTo>
                    <a:pt x="362700" y="8409"/>
                    <a:pt x="362264" y="12115"/>
                    <a:pt x="362482" y="16693"/>
                  </a:cubicBezTo>
                  <a:cubicBezTo>
                    <a:pt x="362918" y="23887"/>
                    <a:pt x="362264" y="24759"/>
                    <a:pt x="358124" y="24541"/>
                  </a:cubicBezTo>
                  <a:cubicBezTo>
                    <a:pt x="353983" y="24541"/>
                    <a:pt x="353112" y="25631"/>
                    <a:pt x="353112" y="30645"/>
                  </a:cubicBezTo>
                  <a:cubicBezTo>
                    <a:pt x="353112" y="36750"/>
                    <a:pt x="348318" y="39148"/>
                    <a:pt x="345267" y="34352"/>
                  </a:cubicBezTo>
                  <a:cubicBezTo>
                    <a:pt x="344613" y="33044"/>
                    <a:pt x="341999" y="32608"/>
                    <a:pt x="339384" y="33262"/>
                  </a:cubicBezTo>
                  <a:cubicBezTo>
                    <a:pt x="336987" y="33916"/>
                    <a:pt x="333064" y="33480"/>
                    <a:pt x="330885" y="32171"/>
                  </a:cubicBezTo>
                  <a:cubicBezTo>
                    <a:pt x="325655" y="29337"/>
                    <a:pt x="318247" y="33262"/>
                    <a:pt x="318247" y="39148"/>
                  </a:cubicBezTo>
                  <a:cubicBezTo>
                    <a:pt x="318247" y="41546"/>
                    <a:pt x="319772" y="43944"/>
                    <a:pt x="321515" y="44598"/>
                  </a:cubicBezTo>
                  <a:cubicBezTo>
                    <a:pt x="324784" y="45906"/>
                    <a:pt x="326309" y="54190"/>
                    <a:pt x="323258" y="54190"/>
                  </a:cubicBezTo>
                  <a:cubicBezTo>
                    <a:pt x="321297" y="54190"/>
                    <a:pt x="307351" y="40238"/>
                    <a:pt x="307351" y="38276"/>
                  </a:cubicBezTo>
                  <a:cubicBezTo>
                    <a:pt x="307351" y="37622"/>
                    <a:pt x="309312" y="35006"/>
                    <a:pt x="311927" y="32608"/>
                  </a:cubicBezTo>
                  <a:cubicBezTo>
                    <a:pt x="314542" y="30209"/>
                    <a:pt x="316068" y="27157"/>
                    <a:pt x="315632" y="25413"/>
                  </a:cubicBezTo>
                  <a:cubicBezTo>
                    <a:pt x="314978" y="23887"/>
                    <a:pt x="317375" y="21489"/>
                    <a:pt x="321079" y="19745"/>
                  </a:cubicBezTo>
                  <a:cubicBezTo>
                    <a:pt x="326963" y="17347"/>
                    <a:pt x="328270" y="17565"/>
                    <a:pt x="332411" y="21489"/>
                  </a:cubicBezTo>
                  <a:cubicBezTo>
                    <a:pt x="338948" y="27593"/>
                    <a:pt x="342216" y="26939"/>
                    <a:pt x="342216" y="19309"/>
                  </a:cubicBezTo>
                  <a:cubicBezTo>
                    <a:pt x="342216" y="14295"/>
                    <a:pt x="343306" y="12769"/>
                    <a:pt x="346357" y="12769"/>
                  </a:cubicBezTo>
                  <a:cubicBezTo>
                    <a:pt x="348754" y="12769"/>
                    <a:pt x="351369" y="13859"/>
                    <a:pt x="352240" y="15167"/>
                  </a:cubicBezTo>
                  <a:cubicBezTo>
                    <a:pt x="353112" y="16911"/>
                    <a:pt x="354201" y="16693"/>
                    <a:pt x="355509" y="14731"/>
                  </a:cubicBezTo>
                  <a:cubicBezTo>
                    <a:pt x="356380" y="13205"/>
                    <a:pt x="356816" y="11243"/>
                    <a:pt x="356380" y="10371"/>
                  </a:cubicBezTo>
                  <a:cubicBezTo>
                    <a:pt x="354855" y="7973"/>
                    <a:pt x="317375" y="8627"/>
                    <a:pt x="314542" y="11025"/>
                  </a:cubicBezTo>
                  <a:cubicBezTo>
                    <a:pt x="312581" y="12551"/>
                    <a:pt x="311709" y="12551"/>
                    <a:pt x="311709" y="10807"/>
                  </a:cubicBezTo>
                  <a:cubicBezTo>
                    <a:pt x="311709" y="8845"/>
                    <a:pt x="302121" y="8627"/>
                    <a:pt x="287304" y="10371"/>
                  </a:cubicBezTo>
                  <a:cubicBezTo>
                    <a:pt x="286214" y="10589"/>
                    <a:pt x="285561" y="12115"/>
                    <a:pt x="285561" y="13859"/>
                  </a:cubicBezTo>
                  <a:cubicBezTo>
                    <a:pt x="285561" y="18219"/>
                    <a:pt x="291662" y="20617"/>
                    <a:pt x="294931" y="17347"/>
                  </a:cubicBezTo>
                  <a:cubicBezTo>
                    <a:pt x="296238" y="16039"/>
                    <a:pt x="298199" y="14949"/>
                    <a:pt x="299071" y="14949"/>
                  </a:cubicBezTo>
                  <a:cubicBezTo>
                    <a:pt x="302557" y="14949"/>
                    <a:pt x="300596" y="19963"/>
                    <a:pt x="294059" y="28465"/>
                  </a:cubicBezTo>
                  <a:cubicBezTo>
                    <a:pt x="287740" y="36314"/>
                    <a:pt x="287522" y="37622"/>
                    <a:pt x="289919" y="42418"/>
                  </a:cubicBezTo>
                  <a:cubicBezTo>
                    <a:pt x="291662" y="45252"/>
                    <a:pt x="294059" y="47650"/>
                    <a:pt x="295802" y="47650"/>
                  </a:cubicBezTo>
                  <a:cubicBezTo>
                    <a:pt x="297328" y="47650"/>
                    <a:pt x="298635" y="48522"/>
                    <a:pt x="298635" y="49394"/>
                  </a:cubicBezTo>
                  <a:cubicBezTo>
                    <a:pt x="298635" y="52228"/>
                    <a:pt x="288393" y="57024"/>
                    <a:pt x="285996" y="55498"/>
                  </a:cubicBezTo>
                  <a:cubicBezTo>
                    <a:pt x="283164" y="53754"/>
                    <a:pt x="275973" y="62039"/>
                    <a:pt x="277934" y="64873"/>
                  </a:cubicBezTo>
                  <a:cubicBezTo>
                    <a:pt x="278587" y="66181"/>
                    <a:pt x="280984" y="67271"/>
                    <a:pt x="283164" y="67271"/>
                  </a:cubicBezTo>
                  <a:cubicBezTo>
                    <a:pt x="289047" y="67271"/>
                    <a:pt x="292098" y="71849"/>
                    <a:pt x="292098" y="80787"/>
                  </a:cubicBezTo>
                  <a:cubicBezTo>
                    <a:pt x="292098" y="89071"/>
                    <a:pt x="294495" y="91034"/>
                    <a:pt x="300160" y="87327"/>
                  </a:cubicBezTo>
                  <a:cubicBezTo>
                    <a:pt x="301904" y="86237"/>
                    <a:pt x="302121" y="82749"/>
                    <a:pt x="300596" y="74901"/>
                  </a:cubicBezTo>
                  <a:cubicBezTo>
                    <a:pt x="297763" y="60076"/>
                    <a:pt x="299507" y="53536"/>
                    <a:pt x="305826" y="55498"/>
                  </a:cubicBezTo>
                  <a:cubicBezTo>
                    <a:pt x="314324" y="57896"/>
                    <a:pt x="314978" y="60076"/>
                    <a:pt x="310838" y="71631"/>
                  </a:cubicBezTo>
                  <a:cubicBezTo>
                    <a:pt x="308659" y="77735"/>
                    <a:pt x="307569" y="83403"/>
                    <a:pt x="308441" y="84275"/>
                  </a:cubicBezTo>
                  <a:cubicBezTo>
                    <a:pt x="309312" y="85147"/>
                    <a:pt x="310620" y="84493"/>
                    <a:pt x="311056" y="83185"/>
                  </a:cubicBezTo>
                  <a:cubicBezTo>
                    <a:pt x="311709" y="81659"/>
                    <a:pt x="314542" y="80351"/>
                    <a:pt x="317375" y="80351"/>
                  </a:cubicBezTo>
                  <a:cubicBezTo>
                    <a:pt x="322169" y="80351"/>
                    <a:pt x="322605" y="79479"/>
                    <a:pt x="322605" y="68361"/>
                  </a:cubicBezTo>
                  <a:cubicBezTo>
                    <a:pt x="322605" y="57242"/>
                    <a:pt x="323041" y="56370"/>
                    <a:pt x="327617" y="57024"/>
                  </a:cubicBezTo>
                  <a:cubicBezTo>
                    <a:pt x="331757" y="57460"/>
                    <a:pt x="332411" y="56370"/>
                    <a:pt x="332411" y="49830"/>
                  </a:cubicBezTo>
                  <a:cubicBezTo>
                    <a:pt x="332411" y="41110"/>
                    <a:pt x="337205" y="38712"/>
                    <a:pt x="342652" y="44816"/>
                  </a:cubicBezTo>
                  <a:cubicBezTo>
                    <a:pt x="348754" y="51574"/>
                    <a:pt x="348318" y="57024"/>
                    <a:pt x="341563" y="60294"/>
                  </a:cubicBezTo>
                  <a:cubicBezTo>
                    <a:pt x="333936" y="64001"/>
                    <a:pt x="330885" y="71631"/>
                    <a:pt x="332629" y="82095"/>
                  </a:cubicBezTo>
                  <a:cubicBezTo>
                    <a:pt x="333718" y="89289"/>
                    <a:pt x="333064" y="90598"/>
                    <a:pt x="327835" y="93650"/>
                  </a:cubicBezTo>
                  <a:cubicBezTo>
                    <a:pt x="322169" y="97138"/>
                    <a:pt x="321733" y="98228"/>
                    <a:pt x="322387" y="110000"/>
                  </a:cubicBezTo>
                  <a:cubicBezTo>
                    <a:pt x="322823" y="119156"/>
                    <a:pt x="324130" y="124171"/>
                    <a:pt x="327181" y="127441"/>
                  </a:cubicBezTo>
                  <a:cubicBezTo>
                    <a:pt x="330232" y="130711"/>
                    <a:pt x="330667" y="132455"/>
                    <a:pt x="328924" y="134199"/>
                  </a:cubicBezTo>
                  <a:cubicBezTo>
                    <a:pt x="325438" y="137687"/>
                    <a:pt x="328706" y="142047"/>
                    <a:pt x="333718" y="140739"/>
                  </a:cubicBezTo>
                  <a:cubicBezTo>
                    <a:pt x="335897" y="140085"/>
                    <a:pt x="338730" y="140957"/>
                    <a:pt x="340255" y="142701"/>
                  </a:cubicBezTo>
                  <a:cubicBezTo>
                    <a:pt x="341563" y="144445"/>
                    <a:pt x="343960" y="145753"/>
                    <a:pt x="345485" y="145753"/>
                  </a:cubicBezTo>
                  <a:cubicBezTo>
                    <a:pt x="348972" y="145753"/>
                    <a:pt x="351151" y="153384"/>
                    <a:pt x="348318" y="156218"/>
                  </a:cubicBezTo>
                  <a:cubicBezTo>
                    <a:pt x="345703" y="158834"/>
                    <a:pt x="348536" y="170170"/>
                    <a:pt x="351804" y="169080"/>
                  </a:cubicBezTo>
                  <a:cubicBezTo>
                    <a:pt x="353112" y="168644"/>
                    <a:pt x="354201" y="164938"/>
                    <a:pt x="354419" y="160796"/>
                  </a:cubicBezTo>
                  <a:cubicBezTo>
                    <a:pt x="354637" y="149896"/>
                    <a:pt x="354855" y="149460"/>
                    <a:pt x="358777" y="153166"/>
                  </a:cubicBezTo>
                  <a:cubicBezTo>
                    <a:pt x="362482" y="157090"/>
                    <a:pt x="364007" y="157308"/>
                    <a:pt x="367930" y="154910"/>
                  </a:cubicBezTo>
                  <a:cubicBezTo>
                    <a:pt x="372070" y="152294"/>
                    <a:pt x="368583" y="145753"/>
                    <a:pt x="363136" y="145753"/>
                  </a:cubicBezTo>
                  <a:cubicBezTo>
                    <a:pt x="360739" y="145753"/>
                    <a:pt x="356380" y="145099"/>
                    <a:pt x="353766" y="144445"/>
                  </a:cubicBezTo>
                  <a:cubicBezTo>
                    <a:pt x="349189" y="143137"/>
                    <a:pt x="349189" y="142919"/>
                    <a:pt x="352458" y="137905"/>
                  </a:cubicBezTo>
                  <a:cubicBezTo>
                    <a:pt x="354419" y="134853"/>
                    <a:pt x="354855" y="132673"/>
                    <a:pt x="353548" y="132673"/>
                  </a:cubicBezTo>
                  <a:cubicBezTo>
                    <a:pt x="352240" y="132673"/>
                    <a:pt x="350279" y="134199"/>
                    <a:pt x="349189" y="136161"/>
                  </a:cubicBezTo>
                  <a:cubicBezTo>
                    <a:pt x="346357" y="141393"/>
                    <a:pt x="341563" y="137687"/>
                    <a:pt x="343088" y="131583"/>
                  </a:cubicBezTo>
                  <a:cubicBezTo>
                    <a:pt x="344178" y="127441"/>
                    <a:pt x="343306" y="126351"/>
                    <a:pt x="338076" y="125479"/>
                  </a:cubicBezTo>
                  <a:cubicBezTo>
                    <a:pt x="330885" y="123953"/>
                    <a:pt x="327399" y="116758"/>
                    <a:pt x="331321" y="112180"/>
                  </a:cubicBezTo>
                  <a:cubicBezTo>
                    <a:pt x="332629" y="110436"/>
                    <a:pt x="333282" y="107820"/>
                    <a:pt x="333064" y="106294"/>
                  </a:cubicBezTo>
                  <a:cubicBezTo>
                    <a:pt x="332629" y="104550"/>
                    <a:pt x="334590" y="103024"/>
                    <a:pt x="336987" y="102588"/>
                  </a:cubicBezTo>
                  <a:cubicBezTo>
                    <a:pt x="342652" y="101716"/>
                    <a:pt x="345703" y="107820"/>
                    <a:pt x="341999" y="112398"/>
                  </a:cubicBezTo>
                  <a:cubicBezTo>
                    <a:pt x="337858" y="117194"/>
                    <a:pt x="344613" y="123081"/>
                    <a:pt x="350497" y="119811"/>
                  </a:cubicBezTo>
                  <a:cubicBezTo>
                    <a:pt x="355073" y="117412"/>
                    <a:pt x="359649" y="120901"/>
                    <a:pt x="362482" y="128967"/>
                  </a:cubicBezTo>
                  <a:cubicBezTo>
                    <a:pt x="363353" y="130929"/>
                    <a:pt x="365315" y="132673"/>
                    <a:pt x="367058" y="132673"/>
                  </a:cubicBezTo>
                  <a:cubicBezTo>
                    <a:pt x="369019" y="132673"/>
                    <a:pt x="371198" y="135289"/>
                    <a:pt x="371852" y="138777"/>
                  </a:cubicBezTo>
                  <a:cubicBezTo>
                    <a:pt x="372723" y="142047"/>
                    <a:pt x="374249" y="145753"/>
                    <a:pt x="375338" y="147279"/>
                  </a:cubicBezTo>
                  <a:cubicBezTo>
                    <a:pt x="376428" y="148588"/>
                    <a:pt x="377082" y="151640"/>
                    <a:pt x="376864" y="153820"/>
                  </a:cubicBezTo>
                  <a:cubicBezTo>
                    <a:pt x="376210" y="159706"/>
                    <a:pt x="381004" y="170170"/>
                    <a:pt x="384273" y="169080"/>
                  </a:cubicBezTo>
                  <a:cubicBezTo>
                    <a:pt x="385798" y="168644"/>
                    <a:pt x="386670" y="165810"/>
                    <a:pt x="386234" y="162540"/>
                  </a:cubicBezTo>
                  <a:cubicBezTo>
                    <a:pt x="385580" y="157308"/>
                    <a:pt x="386234" y="156654"/>
                    <a:pt x="392335" y="156654"/>
                  </a:cubicBezTo>
                  <a:cubicBezTo>
                    <a:pt x="399308" y="156654"/>
                    <a:pt x="402577" y="152730"/>
                    <a:pt x="400180" y="146843"/>
                  </a:cubicBezTo>
                  <a:cubicBezTo>
                    <a:pt x="399308" y="144227"/>
                    <a:pt x="398001" y="144009"/>
                    <a:pt x="394732" y="145535"/>
                  </a:cubicBezTo>
                  <a:cubicBezTo>
                    <a:pt x="391246" y="147497"/>
                    <a:pt x="389067" y="146407"/>
                    <a:pt x="381440" y="139213"/>
                  </a:cubicBezTo>
                  <a:cubicBezTo>
                    <a:pt x="373159" y="131365"/>
                    <a:pt x="372723" y="130493"/>
                    <a:pt x="377082" y="130493"/>
                  </a:cubicBezTo>
                  <a:cubicBezTo>
                    <a:pt x="381222" y="130493"/>
                    <a:pt x="381440" y="129839"/>
                    <a:pt x="379261" y="127223"/>
                  </a:cubicBezTo>
                  <a:cubicBezTo>
                    <a:pt x="376428" y="123735"/>
                    <a:pt x="377953" y="119593"/>
                    <a:pt x="382529" y="119593"/>
                  </a:cubicBezTo>
                  <a:cubicBezTo>
                    <a:pt x="386887" y="119593"/>
                    <a:pt x="388849" y="123735"/>
                    <a:pt x="386016" y="127005"/>
                  </a:cubicBezTo>
                  <a:cubicBezTo>
                    <a:pt x="384708" y="128531"/>
                    <a:pt x="384055" y="131583"/>
                    <a:pt x="384926" y="133545"/>
                  </a:cubicBezTo>
                  <a:cubicBezTo>
                    <a:pt x="386670" y="137905"/>
                    <a:pt x="393643" y="138123"/>
                    <a:pt x="395386" y="133763"/>
                  </a:cubicBezTo>
                  <a:cubicBezTo>
                    <a:pt x="396040" y="132019"/>
                    <a:pt x="399308" y="130493"/>
                    <a:pt x="402359" y="130493"/>
                  </a:cubicBezTo>
                  <a:cubicBezTo>
                    <a:pt x="412383" y="130493"/>
                    <a:pt x="421099" y="118502"/>
                    <a:pt x="414126" y="114142"/>
                  </a:cubicBezTo>
                  <a:cubicBezTo>
                    <a:pt x="410421" y="111744"/>
                    <a:pt x="413472" y="109564"/>
                    <a:pt x="420009" y="109782"/>
                  </a:cubicBezTo>
                  <a:cubicBezTo>
                    <a:pt x="425021" y="110000"/>
                    <a:pt x="426111" y="111090"/>
                    <a:pt x="426764" y="116540"/>
                  </a:cubicBezTo>
                  <a:cubicBezTo>
                    <a:pt x="427200" y="121773"/>
                    <a:pt x="426329" y="123735"/>
                    <a:pt x="421753" y="125697"/>
                  </a:cubicBezTo>
                  <a:cubicBezTo>
                    <a:pt x="418702" y="127005"/>
                    <a:pt x="416305" y="130057"/>
                    <a:pt x="416305" y="132237"/>
                  </a:cubicBezTo>
                  <a:cubicBezTo>
                    <a:pt x="416305" y="134417"/>
                    <a:pt x="415215" y="137251"/>
                    <a:pt x="413690" y="138777"/>
                  </a:cubicBezTo>
                  <a:cubicBezTo>
                    <a:pt x="411729" y="140739"/>
                    <a:pt x="411947" y="142047"/>
                    <a:pt x="414998" y="144227"/>
                  </a:cubicBezTo>
                  <a:cubicBezTo>
                    <a:pt x="418702" y="146843"/>
                    <a:pt x="418702" y="147279"/>
                    <a:pt x="415215" y="150114"/>
                  </a:cubicBezTo>
                  <a:cubicBezTo>
                    <a:pt x="411947" y="152948"/>
                    <a:pt x="411947" y="153384"/>
                    <a:pt x="416741" y="157090"/>
                  </a:cubicBezTo>
                  <a:cubicBezTo>
                    <a:pt x="420663" y="160142"/>
                    <a:pt x="421099" y="161450"/>
                    <a:pt x="418702" y="162976"/>
                  </a:cubicBezTo>
                  <a:cubicBezTo>
                    <a:pt x="417177" y="164066"/>
                    <a:pt x="415433" y="168426"/>
                    <a:pt x="414998" y="173004"/>
                  </a:cubicBezTo>
                  <a:lnTo>
                    <a:pt x="414344" y="180853"/>
                  </a:lnTo>
                  <a:lnTo>
                    <a:pt x="423060" y="180417"/>
                  </a:lnTo>
                  <a:cubicBezTo>
                    <a:pt x="429597" y="179763"/>
                    <a:pt x="432430" y="180635"/>
                    <a:pt x="433955" y="183469"/>
                  </a:cubicBezTo>
                  <a:cubicBezTo>
                    <a:pt x="435263" y="185431"/>
                    <a:pt x="437878" y="187175"/>
                    <a:pt x="439839" y="187175"/>
                  </a:cubicBezTo>
                  <a:cubicBezTo>
                    <a:pt x="442018" y="187175"/>
                    <a:pt x="444851" y="188265"/>
                    <a:pt x="446376" y="189791"/>
                  </a:cubicBezTo>
                  <a:cubicBezTo>
                    <a:pt x="450081" y="193497"/>
                    <a:pt x="449645" y="206141"/>
                    <a:pt x="445722" y="207668"/>
                  </a:cubicBezTo>
                  <a:cubicBezTo>
                    <a:pt x="443979" y="208322"/>
                    <a:pt x="442454" y="210284"/>
                    <a:pt x="442454" y="211810"/>
                  </a:cubicBezTo>
                  <a:cubicBezTo>
                    <a:pt x="442454" y="213554"/>
                    <a:pt x="440928" y="216170"/>
                    <a:pt x="439185" y="217696"/>
                  </a:cubicBezTo>
                  <a:cubicBezTo>
                    <a:pt x="437442" y="219222"/>
                    <a:pt x="436135" y="222492"/>
                    <a:pt x="436352" y="225108"/>
                  </a:cubicBezTo>
                  <a:cubicBezTo>
                    <a:pt x="436352" y="227506"/>
                    <a:pt x="435917" y="232302"/>
                    <a:pt x="435045" y="235354"/>
                  </a:cubicBezTo>
                  <a:cubicBezTo>
                    <a:pt x="433955" y="239279"/>
                    <a:pt x="434391" y="241677"/>
                    <a:pt x="436788" y="243639"/>
                  </a:cubicBezTo>
                  <a:cubicBezTo>
                    <a:pt x="438749" y="245383"/>
                    <a:pt x="440275" y="248435"/>
                    <a:pt x="440275" y="250833"/>
                  </a:cubicBezTo>
                  <a:cubicBezTo>
                    <a:pt x="440275" y="254321"/>
                    <a:pt x="441364" y="254975"/>
                    <a:pt x="445940" y="254103"/>
                  </a:cubicBezTo>
                  <a:cubicBezTo>
                    <a:pt x="450516" y="253231"/>
                    <a:pt x="452478" y="254539"/>
                    <a:pt x="456182" y="260425"/>
                  </a:cubicBezTo>
                  <a:cubicBezTo>
                    <a:pt x="458797" y="264567"/>
                    <a:pt x="462283" y="267838"/>
                    <a:pt x="464027" y="267838"/>
                  </a:cubicBezTo>
                  <a:cubicBezTo>
                    <a:pt x="465552" y="267838"/>
                    <a:pt x="470128" y="269800"/>
                    <a:pt x="474268" y="272198"/>
                  </a:cubicBezTo>
                  <a:cubicBezTo>
                    <a:pt x="484728" y="278738"/>
                    <a:pt x="486253" y="273506"/>
                    <a:pt x="476447" y="264567"/>
                  </a:cubicBezTo>
                  <a:cubicBezTo>
                    <a:pt x="469910" y="258681"/>
                    <a:pt x="468603" y="256283"/>
                    <a:pt x="469692" y="251923"/>
                  </a:cubicBezTo>
                  <a:cubicBezTo>
                    <a:pt x="470782" y="247781"/>
                    <a:pt x="470128" y="245819"/>
                    <a:pt x="466642" y="243857"/>
                  </a:cubicBezTo>
                  <a:cubicBezTo>
                    <a:pt x="460540" y="240805"/>
                    <a:pt x="460758" y="239061"/>
                    <a:pt x="468385" y="230776"/>
                  </a:cubicBezTo>
                  <a:cubicBezTo>
                    <a:pt x="480370" y="217478"/>
                    <a:pt x="481241" y="216170"/>
                    <a:pt x="479934" y="210066"/>
                  </a:cubicBezTo>
                  <a:cubicBezTo>
                    <a:pt x="478844" y="204179"/>
                    <a:pt x="479062" y="203961"/>
                    <a:pt x="486253" y="205487"/>
                  </a:cubicBezTo>
                  <a:cubicBezTo>
                    <a:pt x="493226" y="206796"/>
                    <a:pt x="494098" y="206359"/>
                    <a:pt x="496277" y="200037"/>
                  </a:cubicBezTo>
                  <a:cubicBezTo>
                    <a:pt x="498238" y="195241"/>
                    <a:pt x="499981" y="193497"/>
                    <a:pt x="502378" y="194587"/>
                  </a:cubicBezTo>
                  <a:cubicBezTo>
                    <a:pt x="504122" y="195241"/>
                    <a:pt x="508698" y="195241"/>
                    <a:pt x="512402" y="194369"/>
                  </a:cubicBezTo>
                  <a:cubicBezTo>
                    <a:pt x="518286" y="193279"/>
                    <a:pt x="518939" y="192407"/>
                    <a:pt x="517632" y="187611"/>
                  </a:cubicBezTo>
                  <a:cubicBezTo>
                    <a:pt x="516324" y="182597"/>
                    <a:pt x="516760" y="182379"/>
                    <a:pt x="523080" y="183469"/>
                  </a:cubicBezTo>
                  <a:cubicBezTo>
                    <a:pt x="528745" y="184777"/>
                    <a:pt x="530053" y="184123"/>
                    <a:pt x="532232" y="179327"/>
                  </a:cubicBezTo>
                  <a:cubicBezTo>
                    <a:pt x="534193" y="175184"/>
                    <a:pt x="534193" y="172786"/>
                    <a:pt x="532232" y="169516"/>
                  </a:cubicBezTo>
                  <a:cubicBezTo>
                    <a:pt x="530706" y="167336"/>
                    <a:pt x="529617" y="164066"/>
                    <a:pt x="529617" y="162322"/>
                  </a:cubicBezTo>
                  <a:cubicBezTo>
                    <a:pt x="529617" y="158834"/>
                    <a:pt x="540294" y="155782"/>
                    <a:pt x="549664" y="156218"/>
                  </a:cubicBezTo>
                  <a:cubicBezTo>
                    <a:pt x="557509" y="156872"/>
                    <a:pt x="559034" y="153602"/>
                    <a:pt x="554240" y="145753"/>
                  </a:cubicBezTo>
                  <a:cubicBezTo>
                    <a:pt x="549011" y="136597"/>
                    <a:pt x="542909" y="137251"/>
                    <a:pt x="533321" y="147497"/>
                  </a:cubicBezTo>
                  <a:cubicBezTo>
                    <a:pt x="531796" y="149024"/>
                    <a:pt x="528527" y="152512"/>
                    <a:pt x="525912" y="155128"/>
                  </a:cubicBezTo>
                  <a:cubicBezTo>
                    <a:pt x="523515" y="157744"/>
                    <a:pt x="520900" y="161886"/>
                    <a:pt x="520465" y="164284"/>
                  </a:cubicBezTo>
                  <a:cubicBezTo>
                    <a:pt x="520029" y="166682"/>
                    <a:pt x="517850" y="168862"/>
                    <a:pt x="515235" y="169298"/>
                  </a:cubicBezTo>
                  <a:cubicBezTo>
                    <a:pt x="512838" y="169734"/>
                    <a:pt x="509787" y="172568"/>
                    <a:pt x="508480" y="176274"/>
                  </a:cubicBezTo>
                  <a:cubicBezTo>
                    <a:pt x="507172" y="179981"/>
                    <a:pt x="504340" y="182815"/>
                    <a:pt x="502596" y="182815"/>
                  </a:cubicBezTo>
                  <a:cubicBezTo>
                    <a:pt x="500635" y="182815"/>
                    <a:pt x="498020" y="185431"/>
                    <a:pt x="496931" y="188483"/>
                  </a:cubicBezTo>
                  <a:cubicBezTo>
                    <a:pt x="494534" y="194805"/>
                    <a:pt x="488868" y="194369"/>
                    <a:pt x="489958" y="188047"/>
                  </a:cubicBezTo>
                  <a:cubicBezTo>
                    <a:pt x="490176" y="185867"/>
                    <a:pt x="490611" y="179327"/>
                    <a:pt x="490829" y="173876"/>
                  </a:cubicBezTo>
                  <a:cubicBezTo>
                    <a:pt x="491265" y="165156"/>
                    <a:pt x="491701" y="164066"/>
                    <a:pt x="494316" y="166900"/>
                  </a:cubicBezTo>
                  <a:cubicBezTo>
                    <a:pt x="496931" y="169516"/>
                    <a:pt x="498238" y="169298"/>
                    <a:pt x="504340" y="165592"/>
                  </a:cubicBezTo>
                  <a:cubicBezTo>
                    <a:pt x="516324" y="157962"/>
                    <a:pt x="511966" y="153384"/>
                    <a:pt x="496495" y="157526"/>
                  </a:cubicBezTo>
                  <a:cubicBezTo>
                    <a:pt x="491919" y="158834"/>
                    <a:pt x="490611" y="158398"/>
                    <a:pt x="489304" y="154692"/>
                  </a:cubicBezTo>
                  <a:cubicBezTo>
                    <a:pt x="488650" y="152076"/>
                    <a:pt x="488650" y="148151"/>
                    <a:pt x="489304" y="145753"/>
                  </a:cubicBezTo>
                  <a:cubicBezTo>
                    <a:pt x="490393" y="142047"/>
                    <a:pt x="491919" y="141393"/>
                    <a:pt x="498020" y="142701"/>
                  </a:cubicBezTo>
                  <a:cubicBezTo>
                    <a:pt x="504993" y="144009"/>
                    <a:pt x="505647" y="143573"/>
                    <a:pt x="508698" y="136161"/>
                  </a:cubicBezTo>
                  <a:cubicBezTo>
                    <a:pt x="510441" y="131801"/>
                    <a:pt x="511530" y="126787"/>
                    <a:pt x="510877" y="125043"/>
                  </a:cubicBezTo>
                  <a:cubicBezTo>
                    <a:pt x="509351" y="121119"/>
                    <a:pt x="511748" y="120901"/>
                    <a:pt x="519375" y="124607"/>
                  </a:cubicBezTo>
                  <a:cubicBezTo>
                    <a:pt x="525694" y="127441"/>
                    <a:pt x="527220" y="130493"/>
                    <a:pt x="522208" y="130493"/>
                  </a:cubicBezTo>
                  <a:cubicBezTo>
                    <a:pt x="518286" y="130493"/>
                    <a:pt x="512184" y="138777"/>
                    <a:pt x="512184" y="144009"/>
                  </a:cubicBezTo>
                  <a:cubicBezTo>
                    <a:pt x="512184" y="149242"/>
                    <a:pt x="517196" y="149024"/>
                    <a:pt x="521990" y="143573"/>
                  </a:cubicBezTo>
                  <a:cubicBezTo>
                    <a:pt x="524169" y="141175"/>
                    <a:pt x="527656" y="139213"/>
                    <a:pt x="530053" y="139213"/>
                  </a:cubicBezTo>
                  <a:cubicBezTo>
                    <a:pt x="532232" y="139213"/>
                    <a:pt x="533975" y="137687"/>
                    <a:pt x="533975" y="135943"/>
                  </a:cubicBezTo>
                  <a:cubicBezTo>
                    <a:pt x="533975" y="133981"/>
                    <a:pt x="535936" y="132673"/>
                    <a:pt x="538551" y="132673"/>
                  </a:cubicBezTo>
                  <a:cubicBezTo>
                    <a:pt x="542909" y="132673"/>
                    <a:pt x="543127" y="131801"/>
                    <a:pt x="542038" y="122427"/>
                  </a:cubicBezTo>
                  <a:cubicBezTo>
                    <a:pt x="540730" y="113488"/>
                    <a:pt x="540948" y="112398"/>
                    <a:pt x="543563" y="115886"/>
                  </a:cubicBezTo>
                  <a:cubicBezTo>
                    <a:pt x="547267" y="120683"/>
                    <a:pt x="553369" y="120683"/>
                    <a:pt x="555112" y="116104"/>
                  </a:cubicBezTo>
                  <a:cubicBezTo>
                    <a:pt x="557073" y="110654"/>
                    <a:pt x="552715" y="105422"/>
                    <a:pt x="546831" y="106076"/>
                  </a:cubicBezTo>
                  <a:cubicBezTo>
                    <a:pt x="533975" y="107602"/>
                    <a:pt x="531796" y="108692"/>
                    <a:pt x="531796" y="114142"/>
                  </a:cubicBezTo>
                  <a:cubicBezTo>
                    <a:pt x="531796" y="124607"/>
                    <a:pt x="516324" y="118066"/>
                    <a:pt x="511530" y="105640"/>
                  </a:cubicBezTo>
                  <a:cubicBezTo>
                    <a:pt x="509569" y="100408"/>
                    <a:pt x="504340" y="101498"/>
                    <a:pt x="499328" y="108256"/>
                  </a:cubicBezTo>
                  <a:cubicBezTo>
                    <a:pt x="495187" y="113706"/>
                    <a:pt x="494534" y="113706"/>
                    <a:pt x="492355" y="110436"/>
                  </a:cubicBezTo>
                  <a:cubicBezTo>
                    <a:pt x="491265" y="108256"/>
                    <a:pt x="488214" y="106512"/>
                    <a:pt x="486035" y="106512"/>
                  </a:cubicBezTo>
                  <a:cubicBezTo>
                    <a:pt x="483638" y="106512"/>
                    <a:pt x="481677" y="105858"/>
                    <a:pt x="481677" y="104986"/>
                  </a:cubicBezTo>
                  <a:cubicBezTo>
                    <a:pt x="481677" y="103896"/>
                    <a:pt x="481023" y="101062"/>
                    <a:pt x="480370" y="98228"/>
                  </a:cubicBezTo>
                  <a:lnTo>
                    <a:pt x="479062" y="93432"/>
                  </a:lnTo>
                  <a:lnTo>
                    <a:pt x="504557" y="94522"/>
                  </a:lnTo>
                  <a:cubicBezTo>
                    <a:pt x="526566" y="95830"/>
                    <a:pt x="530488" y="95394"/>
                    <a:pt x="533975" y="92342"/>
                  </a:cubicBezTo>
                  <a:cubicBezTo>
                    <a:pt x="538333" y="88417"/>
                    <a:pt x="542691" y="89507"/>
                    <a:pt x="542691" y="94740"/>
                  </a:cubicBezTo>
                  <a:cubicBezTo>
                    <a:pt x="542691" y="98664"/>
                    <a:pt x="545742" y="98664"/>
                    <a:pt x="549228" y="94522"/>
                  </a:cubicBezTo>
                  <a:cubicBezTo>
                    <a:pt x="551625" y="91688"/>
                    <a:pt x="551190" y="90379"/>
                    <a:pt x="546831" y="87327"/>
                  </a:cubicBezTo>
                  <a:cubicBezTo>
                    <a:pt x="541384" y="83403"/>
                    <a:pt x="536372" y="82531"/>
                    <a:pt x="522644" y="82313"/>
                  </a:cubicBezTo>
                  <a:cubicBezTo>
                    <a:pt x="513274" y="82313"/>
                    <a:pt x="511966" y="80133"/>
                    <a:pt x="519375" y="77081"/>
                  </a:cubicBezTo>
                  <a:cubicBezTo>
                    <a:pt x="521990" y="75773"/>
                    <a:pt x="523951" y="73375"/>
                    <a:pt x="523515" y="71195"/>
                  </a:cubicBezTo>
                  <a:cubicBezTo>
                    <a:pt x="523297" y="69233"/>
                    <a:pt x="523951" y="67053"/>
                    <a:pt x="525259" y="66181"/>
                  </a:cubicBezTo>
                  <a:cubicBezTo>
                    <a:pt x="526348" y="65527"/>
                    <a:pt x="527438" y="65963"/>
                    <a:pt x="527438" y="67271"/>
                  </a:cubicBezTo>
                  <a:cubicBezTo>
                    <a:pt x="527438" y="69015"/>
                    <a:pt x="529399" y="69451"/>
                    <a:pt x="532668" y="68579"/>
                  </a:cubicBezTo>
                  <a:cubicBezTo>
                    <a:pt x="536590" y="67707"/>
                    <a:pt x="538333" y="68361"/>
                    <a:pt x="539205" y="70977"/>
                  </a:cubicBezTo>
                  <a:cubicBezTo>
                    <a:pt x="539641" y="73157"/>
                    <a:pt x="539641" y="71195"/>
                    <a:pt x="538987" y="66835"/>
                  </a:cubicBezTo>
                  <a:cubicBezTo>
                    <a:pt x="537897" y="59640"/>
                    <a:pt x="538333" y="58550"/>
                    <a:pt x="542255" y="58550"/>
                  </a:cubicBezTo>
                  <a:cubicBezTo>
                    <a:pt x="544870" y="58550"/>
                    <a:pt x="547485" y="57460"/>
                    <a:pt x="548139" y="56370"/>
                  </a:cubicBezTo>
                  <a:cubicBezTo>
                    <a:pt x="549011" y="55062"/>
                    <a:pt x="550754" y="54844"/>
                    <a:pt x="552061" y="55716"/>
                  </a:cubicBezTo>
                  <a:cubicBezTo>
                    <a:pt x="553587" y="56806"/>
                    <a:pt x="556637" y="57460"/>
                    <a:pt x="559034" y="57460"/>
                  </a:cubicBezTo>
                  <a:cubicBezTo>
                    <a:pt x="562303" y="57460"/>
                    <a:pt x="563610" y="59204"/>
                    <a:pt x="564046" y="64655"/>
                  </a:cubicBezTo>
                  <a:cubicBezTo>
                    <a:pt x="564700" y="71413"/>
                    <a:pt x="561431" y="74465"/>
                    <a:pt x="559470" y="69015"/>
                  </a:cubicBezTo>
                  <a:cubicBezTo>
                    <a:pt x="558816" y="66835"/>
                    <a:pt x="557291" y="67271"/>
                    <a:pt x="554022" y="70105"/>
                  </a:cubicBezTo>
                  <a:cubicBezTo>
                    <a:pt x="550318" y="73593"/>
                    <a:pt x="549882" y="75119"/>
                    <a:pt x="551843" y="80569"/>
                  </a:cubicBezTo>
                  <a:cubicBezTo>
                    <a:pt x="554458" y="87981"/>
                    <a:pt x="557073" y="88635"/>
                    <a:pt x="559034" y="82531"/>
                  </a:cubicBezTo>
                  <a:cubicBezTo>
                    <a:pt x="561431" y="74683"/>
                    <a:pt x="564482" y="77953"/>
                    <a:pt x="564482" y="88635"/>
                  </a:cubicBezTo>
                  <a:cubicBezTo>
                    <a:pt x="564264" y="94304"/>
                    <a:pt x="564264" y="102806"/>
                    <a:pt x="564264" y="107602"/>
                  </a:cubicBezTo>
                  <a:cubicBezTo>
                    <a:pt x="564482" y="112398"/>
                    <a:pt x="563392" y="118502"/>
                    <a:pt x="561867" y="121119"/>
                  </a:cubicBezTo>
                  <a:cubicBezTo>
                    <a:pt x="560124" y="124825"/>
                    <a:pt x="560124" y="126787"/>
                    <a:pt x="562303" y="129403"/>
                  </a:cubicBezTo>
                  <a:cubicBezTo>
                    <a:pt x="564482" y="132019"/>
                    <a:pt x="564482" y="133545"/>
                    <a:pt x="562739" y="135289"/>
                  </a:cubicBezTo>
                  <a:cubicBezTo>
                    <a:pt x="559252" y="138777"/>
                    <a:pt x="559470" y="143573"/>
                    <a:pt x="562957" y="143573"/>
                  </a:cubicBezTo>
                  <a:cubicBezTo>
                    <a:pt x="569276" y="143573"/>
                    <a:pt x="577556" y="149242"/>
                    <a:pt x="577556" y="153384"/>
                  </a:cubicBezTo>
                  <a:cubicBezTo>
                    <a:pt x="577556" y="157090"/>
                    <a:pt x="578864" y="157744"/>
                    <a:pt x="585837" y="157744"/>
                  </a:cubicBezTo>
                  <a:cubicBezTo>
                    <a:pt x="595643" y="157526"/>
                    <a:pt x="599347" y="155564"/>
                    <a:pt x="599347" y="150114"/>
                  </a:cubicBezTo>
                  <a:cubicBezTo>
                    <a:pt x="599347" y="142919"/>
                    <a:pt x="603923" y="142919"/>
                    <a:pt x="611114" y="149896"/>
                  </a:cubicBezTo>
                  <a:lnTo>
                    <a:pt x="617869" y="156872"/>
                  </a:lnTo>
                  <a:lnTo>
                    <a:pt x="612204" y="155564"/>
                  </a:lnTo>
                  <a:cubicBezTo>
                    <a:pt x="607192" y="154256"/>
                    <a:pt x="605884" y="155346"/>
                    <a:pt x="600437" y="164284"/>
                  </a:cubicBezTo>
                  <a:cubicBezTo>
                    <a:pt x="596079" y="171696"/>
                    <a:pt x="595207" y="175184"/>
                    <a:pt x="596950" y="176928"/>
                  </a:cubicBezTo>
                  <a:cubicBezTo>
                    <a:pt x="598693" y="178673"/>
                    <a:pt x="599347" y="178455"/>
                    <a:pt x="599347" y="175838"/>
                  </a:cubicBezTo>
                  <a:cubicBezTo>
                    <a:pt x="599347" y="171914"/>
                    <a:pt x="605231" y="168862"/>
                    <a:pt x="606974" y="171914"/>
                  </a:cubicBezTo>
                  <a:cubicBezTo>
                    <a:pt x="607628" y="173004"/>
                    <a:pt x="607192" y="176056"/>
                    <a:pt x="605884" y="178455"/>
                  </a:cubicBezTo>
                  <a:cubicBezTo>
                    <a:pt x="604141" y="181943"/>
                    <a:pt x="604359" y="183469"/>
                    <a:pt x="608063" y="186521"/>
                  </a:cubicBezTo>
                  <a:cubicBezTo>
                    <a:pt x="613511" y="191317"/>
                    <a:pt x="613729" y="193715"/>
                    <a:pt x="608281" y="193715"/>
                  </a:cubicBezTo>
                  <a:cubicBezTo>
                    <a:pt x="600873" y="193715"/>
                    <a:pt x="599347" y="198511"/>
                    <a:pt x="603923" y="208322"/>
                  </a:cubicBezTo>
                  <a:cubicBezTo>
                    <a:pt x="608281" y="217696"/>
                    <a:pt x="611332" y="220748"/>
                    <a:pt x="616780" y="220966"/>
                  </a:cubicBezTo>
                  <a:cubicBezTo>
                    <a:pt x="618523" y="220966"/>
                    <a:pt x="620484" y="223364"/>
                    <a:pt x="621138" y="226416"/>
                  </a:cubicBezTo>
                  <a:cubicBezTo>
                    <a:pt x="622010" y="229686"/>
                    <a:pt x="623971" y="231648"/>
                    <a:pt x="626150" y="231648"/>
                  </a:cubicBezTo>
                  <a:cubicBezTo>
                    <a:pt x="630508" y="231212"/>
                    <a:pt x="630944" y="233174"/>
                    <a:pt x="627457" y="236663"/>
                  </a:cubicBezTo>
                  <a:cubicBezTo>
                    <a:pt x="623971" y="240151"/>
                    <a:pt x="626586" y="243203"/>
                    <a:pt x="633559" y="244293"/>
                  </a:cubicBezTo>
                  <a:cubicBezTo>
                    <a:pt x="637045" y="244947"/>
                    <a:pt x="641403" y="246255"/>
                    <a:pt x="643582" y="247127"/>
                  </a:cubicBezTo>
                  <a:cubicBezTo>
                    <a:pt x="650338" y="249961"/>
                    <a:pt x="647941" y="241241"/>
                    <a:pt x="639660" y="233392"/>
                  </a:cubicBezTo>
                  <a:cubicBezTo>
                    <a:pt x="632687" y="226416"/>
                    <a:pt x="632469" y="225762"/>
                    <a:pt x="635520" y="220966"/>
                  </a:cubicBezTo>
                  <a:cubicBezTo>
                    <a:pt x="637699" y="217696"/>
                    <a:pt x="640096" y="216388"/>
                    <a:pt x="643147" y="217042"/>
                  </a:cubicBezTo>
                  <a:cubicBezTo>
                    <a:pt x="648812" y="218568"/>
                    <a:pt x="650338" y="221620"/>
                    <a:pt x="647505" y="225108"/>
                  </a:cubicBezTo>
                  <a:cubicBezTo>
                    <a:pt x="645761" y="227288"/>
                    <a:pt x="645761" y="228596"/>
                    <a:pt x="648158" y="230558"/>
                  </a:cubicBezTo>
                  <a:cubicBezTo>
                    <a:pt x="650555" y="232520"/>
                    <a:pt x="652952" y="232520"/>
                    <a:pt x="659054" y="229904"/>
                  </a:cubicBezTo>
                  <a:cubicBezTo>
                    <a:pt x="666245" y="226852"/>
                    <a:pt x="666898" y="227070"/>
                    <a:pt x="667988" y="230776"/>
                  </a:cubicBezTo>
                  <a:cubicBezTo>
                    <a:pt x="671257" y="240805"/>
                    <a:pt x="681716" y="235572"/>
                    <a:pt x="679101" y="225108"/>
                  </a:cubicBezTo>
                  <a:cubicBezTo>
                    <a:pt x="677794" y="219876"/>
                    <a:pt x="678012" y="219440"/>
                    <a:pt x="683024" y="220748"/>
                  </a:cubicBezTo>
                  <a:cubicBezTo>
                    <a:pt x="686074" y="221402"/>
                    <a:pt x="689125" y="220966"/>
                    <a:pt x="689997" y="219658"/>
                  </a:cubicBezTo>
                  <a:cubicBezTo>
                    <a:pt x="690650" y="218350"/>
                    <a:pt x="693265" y="217696"/>
                    <a:pt x="695444" y="218350"/>
                  </a:cubicBezTo>
                  <a:cubicBezTo>
                    <a:pt x="697841" y="219004"/>
                    <a:pt x="701764" y="217696"/>
                    <a:pt x="704379" y="215516"/>
                  </a:cubicBezTo>
                  <a:cubicBezTo>
                    <a:pt x="708519" y="212246"/>
                    <a:pt x="708737" y="211156"/>
                    <a:pt x="706340" y="208322"/>
                  </a:cubicBezTo>
                  <a:cubicBezTo>
                    <a:pt x="703071" y="204397"/>
                    <a:pt x="704814" y="200255"/>
                    <a:pt x="709608" y="200255"/>
                  </a:cubicBezTo>
                  <a:cubicBezTo>
                    <a:pt x="711569" y="200255"/>
                    <a:pt x="712659" y="198729"/>
                    <a:pt x="712223" y="196549"/>
                  </a:cubicBezTo>
                  <a:cubicBezTo>
                    <a:pt x="711787" y="193933"/>
                    <a:pt x="709390" y="192625"/>
                    <a:pt x="705686" y="192625"/>
                  </a:cubicBezTo>
                  <a:cubicBezTo>
                    <a:pt x="702199" y="192625"/>
                    <a:pt x="697841" y="190227"/>
                    <a:pt x="694355" y="186521"/>
                  </a:cubicBezTo>
                  <a:cubicBezTo>
                    <a:pt x="691086" y="183033"/>
                    <a:pt x="687164" y="180853"/>
                    <a:pt x="685421" y="181289"/>
                  </a:cubicBezTo>
                  <a:cubicBezTo>
                    <a:pt x="681280" y="183033"/>
                    <a:pt x="677576" y="178019"/>
                    <a:pt x="678230" y="171696"/>
                  </a:cubicBezTo>
                  <a:cubicBezTo>
                    <a:pt x="679101" y="164938"/>
                    <a:pt x="670603" y="164066"/>
                    <a:pt x="669513" y="170824"/>
                  </a:cubicBezTo>
                  <a:cubicBezTo>
                    <a:pt x="669078" y="173222"/>
                    <a:pt x="666681" y="176274"/>
                    <a:pt x="664066" y="177364"/>
                  </a:cubicBezTo>
                  <a:cubicBezTo>
                    <a:pt x="661233" y="178673"/>
                    <a:pt x="659054" y="181943"/>
                    <a:pt x="658618" y="185431"/>
                  </a:cubicBezTo>
                  <a:cubicBezTo>
                    <a:pt x="657746" y="191971"/>
                    <a:pt x="650555" y="195677"/>
                    <a:pt x="646633" y="191753"/>
                  </a:cubicBezTo>
                  <a:cubicBezTo>
                    <a:pt x="640967" y="186085"/>
                    <a:pt x="634648" y="193279"/>
                    <a:pt x="638788" y="200909"/>
                  </a:cubicBezTo>
                  <a:cubicBezTo>
                    <a:pt x="640750" y="204397"/>
                    <a:pt x="636174" y="206141"/>
                    <a:pt x="623099" y="206577"/>
                  </a:cubicBezTo>
                  <a:cubicBezTo>
                    <a:pt x="616344" y="206796"/>
                    <a:pt x="613511" y="200037"/>
                    <a:pt x="615908" y="190227"/>
                  </a:cubicBezTo>
                  <a:cubicBezTo>
                    <a:pt x="616780" y="187175"/>
                    <a:pt x="616126" y="182379"/>
                    <a:pt x="614601" y="179327"/>
                  </a:cubicBezTo>
                  <a:cubicBezTo>
                    <a:pt x="612204" y="174966"/>
                    <a:pt x="612204" y="173440"/>
                    <a:pt x="615254" y="170170"/>
                  </a:cubicBezTo>
                  <a:cubicBezTo>
                    <a:pt x="617433" y="167990"/>
                    <a:pt x="618959" y="164720"/>
                    <a:pt x="618959" y="162976"/>
                  </a:cubicBezTo>
                  <a:cubicBezTo>
                    <a:pt x="618959" y="161232"/>
                    <a:pt x="620048" y="158616"/>
                    <a:pt x="621138" y="157526"/>
                  </a:cubicBezTo>
                  <a:cubicBezTo>
                    <a:pt x="622881" y="155782"/>
                    <a:pt x="622445" y="154256"/>
                    <a:pt x="620048" y="152294"/>
                  </a:cubicBezTo>
                  <a:cubicBezTo>
                    <a:pt x="618305" y="150768"/>
                    <a:pt x="616780" y="147715"/>
                    <a:pt x="616780" y="145535"/>
                  </a:cubicBezTo>
                  <a:cubicBezTo>
                    <a:pt x="616780" y="143137"/>
                    <a:pt x="614383" y="140303"/>
                    <a:pt x="611332" y="138777"/>
                  </a:cubicBezTo>
                  <a:cubicBezTo>
                    <a:pt x="605449" y="136161"/>
                    <a:pt x="604359" y="132891"/>
                    <a:pt x="608281" y="128967"/>
                  </a:cubicBezTo>
                  <a:cubicBezTo>
                    <a:pt x="611768" y="125479"/>
                    <a:pt x="616780" y="127877"/>
                    <a:pt x="616780" y="133109"/>
                  </a:cubicBezTo>
                  <a:cubicBezTo>
                    <a:pt x="616780" y="136161"/>
                    <a:pt x="618087" y="137251"/>
                    <a:pt x="621792" y="136597"/>
                  </a:cubicBezTo>
                  <a:cubicBezTo>
                    <a:pt x="626150" y="135943"/>
                    <a:pt x="626586" y="134635"/>
                    <a:pt x="627239" y="119811"/>
                  </a:cubicBezTo>
                  <a:lnTo>
                    <a:pt x="627893" y="103678"/>
                  </a:lnTo>
                  <a:lnTo>
                    <a:pt x="622227" y="104768"/>
                  </a:lnTo>
                  <a:cubicBezTo>
                    <a:pt x="618305" y="105640"/>
                    <a:pt x="616780" y="104986"/>
                    <a:pt x="616780" y="102588"/>
                  </a:cubicBezTo>
                  <a:cubicBezTo>
                    <a:pt x="616780" y="99972"/>
                    <a:pt x="615908" y="99972"/>
                    <a:pt x="611332" y="103024"/>
                  </a:cubicBezTo>
                  <a:cubicBezTo>
                    <a:pt x="608499" y="104986"/>
                    <a:pt x="605013" y="106512"/>
                    <a:pt x="603705" y="106512"/>
                  </a:cubicBezTo>
                  <a:cubicBezTo>
                    <a:pt x="600219" y="106512"/>
                    <a:pt x="601090" y="99754"/>
                    <a:pt x="605013" y="95176"/>
                  </a:cubicBezTo>
                  <a:cubicBezTo>
                    <a:pt x="607846" y="92342"/>
                    <a:pt x="608063" y="90598"/>
                    <a:pt x="606102" y="88417"/>
                  </a:cubicBezTo>
                  <a:cubicBezTo>
                    <a:pt x="604141" y="86019"/>
                    <a:pt x="604359" y="84711"/>
                    <a:pt x="606756" y="82531"/>
                  </a:cubicBezTo>
                  <a:cubicBezTo>
                    <a:pt x="612640" y="77953"/>
                    <a:pt x="613075" y="71849"/>
                    <a:pt x="608281" y="67707"/>
                  </a:cubicBezTo>
                  <a:cubicBezTo>
                    <a:pt x="605231" y="65309"/>
                    <a:pt x="603705" y="61384"/>
                    <a:pt x="603487" y="56370"/>
                  </a:cubicBezTo>
                  <a:cubicBezTo>
                    <a:pt x="603270" y="44816"/>
                    <a:pt x="605013" y="34570"/>
                    <a:pt x="607628" y="31953"/>
                  </a:cubicBezTo>
                  <a:cubicBezTo>
                    <a:pt x="609153" y="30427"/>
                    <a:pt x="609371" y="28247"/>
                    <a:pt x="608063" y="25849"/>
                  </a:cubicBezTo>
                  <a:cubicBezTo>
                    <a:pt x="605013" y="20181"/>
                    <a:pt x="611114" y="15385"/>
                    <a:pt x="615908" y="19527"/>
                  </a:cubicBezTo>
                  <a:cubicBezTo>
                    <a:pt x="618959" y="22143"/>
                    <a:pt x="620048" y="21707"/>
                    <a:pt x="624189" y="16475"/>
                  </a:cubicBezTo>
                  <a:cubicBezTo>
                    <a:pt x="628329" y="11461"/>
                    <a:pt x="630508" y="10589"/>
                    <a:pt x="640314" y="10589"/>
                  </a:cubicBezTo>
                  <a:cubicBezTo>
                    <a:pt x="652517" y="10589"/>
                    <a:pt x="651645" y="9935"/>
                    <a:pt x="652517" y="24105"/>
                  </a:cubicBezTo>
                  <a:cubicBezTo>
                    <a:pt x="652734" y="26285"/>
                    <a:pt x="654042" y="29119"/>
                    <a:pt x="655567" y="30645"/>
                  </a:cubicBezTo>
                  <a:cubicBezTo>
                    <a:pt x="659272" y="34352"/>
                    <a:pt x="658836" y="38930"/>
                    <a:pt x="654914" y="38930"/>
                  </a:cubicBezTo>
                  <a:cubicBezTo>
                    <a:pt x="653170" y="38930"/>
                    <a:pt x="651645" y="37404"/>
                    <a:pt x="651645" y="35660"/>
                  </a:cubicBezTo>
                  <a:cubicBezTo>
                    <a:pt x="651645" y="30427"/>
                    <a:pt x="647723" y="31735"/>
                    <a:pt x="642493" y="38930"/>
                  </a:cubicBezTo>
                  <a:cubicBezTo>
                    <a:pt x="637917" y="45252"/>
                    <a:pt x="632033" y="47650"/>
                    <a:pt x="632033" y="43290"/>
                  </a:cubicBezTo>
                  <a:cubicBezTo>
                    <a:pt x="632033" y="42200"/>
                    <a:pt x="630944" y="41110"/>
                    <a:pt x="629854" y="41110"/>
                  </a:cubicBezTo>
                  <a:cubicBezTo>
                    <a:pt x="628547" y="41110"/>
                    <a:pt x="627675" y="43290"/>
                    <a:pt x="627893" y="46124"/>
                  </a:cubicBezTo>
                  <a:cubicBezTo>
                    <a:pt x="628983" y="57896"/>
                    <a:pt x="628111" y="59204"/>
                    <a:pt x="620048" y="57896"/>
                  </a:cubicBezTo>
                  <a:cubicBezTo>
                    <a:pt x="611768" y="56588"/>
                    <a:pt x="609153" y="58550"/>
                    <a:pt x="611332" y="65091"/>
                  </a:cubicBezTo>
                  <a:cubicBezTo>
                    <a:pt x="612422" y="68579"/>
                    <a:pt x="614601" y="69451"/>
                    <a:pt x="622227" y="69451"/>
                  </a:cubicBezTo>
                  <a:cubicBezTo>
                    <a:pt x="636174" y="69451"/>
                    <a:pt x="638571" y="67925"/>
                    <a:pt x="638571" y="59422"/>
                  </a:cubicBezTo>
                  <a:cubicBezTo>
                    <a:pt x="638571" y="53536"/>
                    <a:pt x="639442" y="52010"/>
                    <a:pt x="642929" y="52010"/>
                  </a:cubicBezTo>
                  <a:cubicBezTo>
                    <a:pt x="645761" y="52010"/>
                    <a:pt x="647287" y="50484"/>
                    <a:pt x="647287" y="47650"/>
                  </a:cubicBezTo>
                  <a:cubicBezTo>
                    <a:pt x="647287" y="42200"/>
                    <a:pt x="652734" y="39584"/>
                    <a:pt x="656875" y="43072"/>
                  </a:cubicBezTo>
                  <a:cubicBezTo>
                    <a:pt x="658400" y="44380"/>
                    <a:pt x="665155" y="45688"/>
                    <a:pt x="672128" y="45688"/>
                  </a:cubicBezTo>
                  <a:cubicBezTo>
                    <a:pt x="678883" y="45906"/>
                    <a:pt x="684331" y="46342"/>
                    <a:pt x="684331" y="46996"/>
                  </a:cubicBezTo>
                  <a:cubicBezTo>
                    <a:pt x="684331" y="47432"/>
                    <a:pt x="681934" y="48740"/>
                    <a:pt x="678883" y="49830"/>
                  </a:cubicBezTo>
                  <a:cubicBezTo>
                    <a:pt x="672128" y="52446"/>
                    <a:pt x="671692" y="58114"/>
                    <a:pt x="678448" y="58986"/>
                  </a:cubicBezTo>
                  <a:cubicBezTo>
                    <a:pt x="681498" y="59422"/>
                    <a:pt x="683459" y="61384"/>
                    <a:pt x="683895" y="64219"/>
                  </a:cubicBezTo>
                  <a:cubicBezTo>
                    <a:pt x="684331" y="67925"/>
                    <a:pt x="683242" y="69015"/>
                    <a:pt x="677794" y="69887"/>
                  </a:cubicBezTo>
                  <a:cubicBezTo>
                    <a:pt x="674089" y="70541"/>
                    <a:pt x="669295" y="69451"/>
                    <a:pt x="666898" y="67925"/>
                  </a:cubicBezTo>
                  <a:cubicBezTo>
                    <a:pt x="660797" y="63565"/>
                    <a:pt x="657528" y="66399"/>
                    <a:pt x="659054" y="74901"/>
                  </a:cubicBezTo>
                  <a:cubicBezTo>
                    <a:pt x="659925" y="79479"/>
                    <a:pt x="659490" y="82531"/>
                    <a:pt x="657964" y="82967"/>
                  </a:cubicBezTo>
                  <a:cubicBezTo>
                    <a:pt x="656221" y="83621"/>
                    <a:pt x="656221" y="86673"/>
                    <a:pt x="657528" y="93432"/>
                  </a:cubicBezTo>
                  <a:lnTo>
                    <a:pt x="659272" y="102806"/>
                  </a:lnTo>
                  <a:lnTo>
                    <a:pt x="670167" y="91688"/>
                  </a:lnTo>
                  <a:cubicBezTo>
                    <a:pt x="676704" y="84929"/>
                    <a:pt x="683024" y="80351"/>
                    <a:pt x="685856" y="80351"/>
                  </a:cubicBezTo>
                  <a:cubicBezTo>
                    <a:pt x="692394" y="80351"/>
                    <a:pt x="698713" y="89289"/>
                    <a:pt x="700456" y="101062"/>
                  </a:cubicBezTo>
                  <a:cubicBezTo>
                    <a:pt x="702199" y="111962"/>
                    <a:pt x="705686" y="115886"/>
                    <a:pt x="707647" y="108910"/>
                  </a:cubicBezTo>
                  <a:cubicBezTo>
                    <a:pt x="709390" y="102152"/>
                    <a:pt x="713095" y="106076"/>
                    <a:pt x="711569" y="113052"/>
                  </a:cubicBezTo>
                  <a:cubicBezTo>
                    <a:pt x="710916" y="116540"/>
                    <a:pt x="711352" y="121119"/>
                    <a:pt x="712659" y="123299"/>
                  </a:cubicBezTo>
                  <a:cubicBezTo>
                    <a:pt x="714402" y="126133"/>
                    <a:pt x="714620" y="128967"/>
                    <a:pt x="712877" y="133545"/>
                  </a:cubicBezTo>
                  <a:cubicBezTo>
                    <a:pt x="710480" y="139649"/>
                    <a:pt x="710262" y="139649"/>
                    <a:pt x="704814" y="135943"/>
                  </a:cubicBezTo>
                  <a:cubicBezTo>
                    <a:pt x="698713" y="132019"/>
                    <a:pt x="695444" y="133109"/>
                    <a:pt x="699149" y="137687"/>
                  </a:cubicBezTo>
                  <a:cubicBezTo>
                    <a:pt x="701110" y="139867"/>
                    <a:pt x="700892" y="141611"/>
                    <a:pt x="698495" y="144881"/>
                  </a:cubicBezTo>
                  <a:cubicBezTo>
                    <a:pt x="693701" y="151204"/>
                    <a:pt x="694573" y="153820"/>
                    <a:pt x="701982" y="156436"/>
                  </a:cubicBezTo>
                  <a:cubicBezTo>
                    <a:pt x="710916" y="159488"/>
                    <a:pt x="712877" y="157962"/>
                    <a:pt x="712223" y="148369"/>
                  </a:cubicBezTo>
                  <a:cubicBezTo>
                    <a:pt x="711787" y="142047"/>
                    <a:pt x="712441" y="140303"/>
                    <a:pt x="715710" y="139649"/>
                  </a:cubicBezTo>
                  <a:cubicBezTo>
                    <a:pt x="718760" y="138995"/>
                    <a:pt x="719414" y="139649"/>
                    <a:pt x="718543" y="142265"/>
                  </a:cubicBezTo>
                  <a:cubicBezTo>
                    <a:pt x="717671" y="144227"/>
                    <a:pt x="718107" y="147715"/>
                    <a:pt x="719632" y="149896"/>
                  </a:cubicBezTo>
                  <a:cubicBezTo>
                    <a:pt x="722683" y="154910"/>
                    <a:pt x="720504" y="161014"/>
                    <a:pt x="714838" y="162540"/>
                  </a:cubicBezTo>
                  <a:cubicBezTo>
                    <a:pt x="712441" y="163194"/>
                    <a:pt x="710480" y="165374"/>
                    <a:pt x="710480" y="167336"/>
                  </a:cubicBezTo>
                  <a:cubicBezTo>
                    <a:pt x="710480" y="173004"/>
                    <a:pt x="708301" y="174312"/>
                    <a:pt x="703289" y="171478"/>
                  </a:cubicBezTo>
                  <a:cubicBezTo>
                    <a:pt x="699802" y="169734"/>
                    <a:pt x="698277" y="169952"/>
                    <a:pt x="695880" y="173222"/>
                  </a:cubicBezTo>
                  <a:cubicBezTo>
                    <a:pt x="694355" y="175402"/>
                    <a:pt x="693265" y="178237"/>
                    <a:pt x="693701" y="179545"/>
                  </a:cubicBezTo>
                  <a:cubicBezTo>
                    <a:pt x="694791" y="181943"/>
                    <a:pt x="696316" y="181943"/>
                    <a:pt x="711352" y="179763"/>
                  </a:cubicBezTo>
                  <a:lnTo>
                    <a:pt x="721375" y="178237"/>
                  </a:lnTo>
                  <a:lnTo>
                    <a:pt x="720940" y="185431"/>
                  </a:lnTo>
                  <a:cubicBezTo>
                    <a:pt x="720286" y="191753"/>
                    <a:pt x="720940" y="192625"/>
                    <a:pt x="726169" y="193279"/>
                  </a:cubicBezTo>
                  <a:cubicBezTo>
                    <a:pt x="730963" y="193933"/>
                    <a:pt x="732707" y="192843"/>
                    <a:pt x="734450" y="188483"/>
                  </a:cubicBezTo>
                  <a:cubicBezTo>
                    <a:pt x="736629" y="182815"/>
                    <a:pt x="743820" y="180635"/>
                    <a:pt x="746435" y="184995"/>
                  </a:cubicBezTo>
                  <a:cubicBezTo>
                    <a:pt x="748832" y="188919"/>
                    <a:pt x="740333" y="200255"/>
                    <a:pt x="735103" y="200255"/>
                  </a:cubicBezTo>
                  <a:cubicBezTo>
                    <a:pt x="729874" y="200255"/>
                    <a:pt x="728348" y="203307"/>
                    <a:pt x="732271" y="205705"/>
                  </a:cubicBezTo>
                  <a:cubicBezTo>
                    <a:pt x="735757" y="207886"/>
                    <a:pt x="734886" y="215734"/>
                    <a:pt x="730745" y="220312"/>
                  </a:cubicBezTo>
                  <a:cubicBezTo>
                    <a:pt x="727259" y="224236"/>
                    <a:pt x="727259" y="224890"/>
                    <a:pt x="730963" y="230776"/>
                  </a:cubicBezTo>
                  <a:cubicBezTo>
                    <a:pt x="732924" y="234482"/>
                    <a:pt x="734014" y="238407"/>
                    <a:pt x="733360" y="239497"/>
                  </a:cubicBezTo>
                  <a:cubicBezTo>
                    <a:pt x="731399" y="242767"/>
                    <a:pt x="736411" y="248217"/>
                    <a:pt x="739897" y="246909"/>
                  </a:cubicBezTo>
                  <a:cubicBezTo>
                    <a:pt x="743820" y="245383"/>
                    <a:pt x="746435" y="233174"/>
                    <a:pt x="743384" y="230122"/>
                  </a:cubicBezTo>
                  <a:cubicBezTo>
                    <a:pt x="739897" y="226634"/>
                    <a:pt x="740333" y="219876"/>
                    <a:pt x="744038" y="219876"/>
                  </a:cubicBezTo>
                  <a:cubicBezTo>
                    <a:pt x="747524" y="219876"/>
                    <a:pt x="752972" y="208104"/>
                    <a:pt x="751011" y="204833"/>
                  </a:cubicBezTo>
                  <a:cubicBezTo>
                    <a:pt x="750139" y="203743"/>
                    <a:pt x="750575" y="202217"/>
                    <a:pt x="751882" y="201345"/>
                  </a:cubicBezTo>
                  <a:cubicBezTo>
                    <a:pt x="753190" y="200473"/>
                    <a:pt x="753626" y="195459"/>
                    <a:pt x="752754" y="188047"/>
                  </a:cubicBezTo>
                  <a:cubicBezTo>
                    <a:pt x="751882" y="180635"/>
                    <a:pt x="752100" y="176274"/>
                    <a:pt x="753408" y="176274"/>
                  </a:cubicBezTo>
                  <a:cubicBezTo>
                    <a:pt x="757984" y="176274"/>
                    <a:pt x="760599" y="182815"/>
                    <a:pt x="762778" y="199165"/>
                  </a:cubicBezTo>
                  <a:cubicBezTo>
                    <a:pt x="763867" y="208540"/>
                    <a:pt x="765393" y="216606"/>
                    <a:pt x="766046" y="217260"/>
                  </a:cubicBezTo>
                  <a:cubicBezTo>
                    <a:pt x="766482" y="217914"/>
                    <a:pt x="768443" y="217042"/>
                    <a:pt x="770404" y="215516"/>
                  </a:cubicBezTo>
                  <a:cubicBezTo>
                    <a:pt x="772584" y="213772"/>
                    <a:pt x="773673" y="208976"/>
                    <a:pt x="773673" y="201563"/>
                  </a:cubicBezTo>
                  <a:cubicBezTo>
                    <a:pt x="773673" y="195241"/>
                    <a:pt x="774763" y="189137"/>
                    <a:pt x="776070" y="187829"/>
                  </a:cubicBezTo>
                  <a:cubicBezTo>
                    <a:pt x="777595" y="186303"/>
                    <a:pt x="777160" y="184559"/>
                    <a:pt x="774545" y="181725"/>
                  </a:cubicBezTo>
                  <a:cubicBezTo>
                    <a:pt x="771276" y="178673"/>
                    <a:pt x="771058" y="176928"/>
                    <a:pt x="773237" y="171042"/>
                  </a:cubicBezTo>
                  <a:cubicBezTo>
                    <a:pt x="774763" y="167118"/>
                    <a:pt x="775852" y="160796"/>
                    <a:pt x="775852" y="156872"/>
                  </a:cubicBezTo>
                  <a:cubicBezTo>
                    <a:pt x="775852" y="151204"/>
                    <a:pt x="776506" y="149896"/>
                    <a:pt x="779339" y="150986"/>
                  </a:cubicBezTo>
                  <a:cubicBezTo>
                    <a:pt x="781300" y="151640"/>
                    <a:pt x="783915" y="152294"/>
                    <a:pt x="785440" y="152294"/>
                  </a:cubicBezTo>
                  <a:cubicBezTo>
                    <a:pt x="787183" y="152294"/>
                    <a:pt x="787837" y="154474"/>
                    <a:pt x="787183" y="158834"/>
                  </a:cubicBezTo>
                  <a:cubicBezTo>
                    <a:pt x="786312" y="164284"/>
                    <a:pt x="787183" y="165592"/>
                    <a:pt x="792195" y="167554"/>
                  </a:cubicBezTo>
                  <a:cubicBezTo>
                    <a:pt x="796335" y="169080"/>
                    <a:pt x="798950" y="169080"/>
                    <a:pt x="800912" y="167554"/>
                  </a:cubicBezTo>
                  <a:cubicBezTo>
                    <a:pt x="807231" y="162322"/>
                    <a:pt x="805705" y="169516"/>
                    <a:pt x="798950" y="177582"/>
                  </a:cubicBezTo>
                  <a:cubicBezTo>
                    <a:pt x="795028" y="182161"/>
                    <a:pt x="792195" y="187175"/>
                    <a:pt x="792631" y="188483"/>
                  </a:cubicBezTo>
                  <a:cubicBezTo>
                    <a:pt x="793067" y="189791"/>
                    <a:pt x="791759" y="192189"/>
                    <a:pt x="790016" y="193715"/>
                  </a:cubicBezTo>
                  <a:cubicBezTo>
                    <a:pt x="786965" y="196331"/>
                    <a:pt x="786094" y="196113"/>
                    <a:pt x="784568" y="193715"/>
                  </a:cubicBezTo>
                  <a:cubicBezTo>
                    <a:pt x="783479" y="191971"/>
                    <a:pt x="783479" y="189573"/>
                    <a:pt x="784568" y="188265"/>
                  </a:cubicBezTo>
                  <a:cubicBezTo>
                    <a:pt x="785658" y="186957"/>
                    <a:pt x="785658" y="184559"/>
                    <a:pt x="784786" y="183033"/>
                  </a:cubicBezTo>
                  <a:cubicBezTo>
                    <a:pt x="783261" y="180853"/>
                    <a:pt x="782607" y="181289"/>
                    <a:pt x="781300" y="184777"/>
                  </a:cubicBezTo>
                  <a:cubicBezTo>
                    <a:pt x="779339" y="191099"/>
                    <a:pt x="781518" y="199819"/>
                    <a:pt x="785004" y="199601"/>
                  </a:cubicBezTo>
                  <a:cubicBezTo>
                    <a:pt x="792195" y="199383"/>
                    <a:pt x="794592" y="200691"/>
                    <a:pt x="797207" y="206141"/>
                  </a:cubicBezTo>
                  <a:cubicBezTo>
                    <a:pt x="800912" y="214426"/>
                    <a:pt x="800476" y="217260"/>
                    <a:pt x="795464" y="218786"/>
                  </a:cubicBezTo>
                  <a:cubicBezTo>
                    <a:pt x="793067" y="219440"/>
                    <a:pt x="791106" y="221402"/>
                    <a:pt x="791106" y="223146"/>
                  </a:cubicBezTo>
                  <a:cubicBezTo>
                    <a:pt x="791106" y="226634"/>
                    <a:pt x="796989" y="232956"/>
                    <a:pt x="800040" y="232956"/>
                  </a:cubicBezTo>
                  <a:cubicBezTo>
                    <a:pt x="801129" y="232956"/>
                    <a:pt x="800476" y="235354"/>
                    <a:pt x="798515" y="238407"/>
                  </a:cubicBezTo>
                  <a:cubicBezTo>
                    <a:pt x="796335" y="241677"/>
                    <a:pt x="792849" y="243857"/>
                    <a:pt x="789798" y="243857"/>
                  </a:cubicBezTo>
                  <a:cubicBezTo>
                    <a:pt x="783915" y="243857"/>
                    <a:pt x="783261" y="246037"/>
                    <a:pt x="787183" y="249961"/>
                  </a:cubicBezTo>
                  <a:cubicBezTo>
                    <a:pt x="789362" y="252141"/>
                    <a:pt x="789362" y="253231"/>
                    <a:pt x="786748" y="254757"/>
                  </a:cubicBezTo>
                  <a:cubicBezTo>
                    <a:pt x="781736" y="258027"/>
                    <a:pt x="780428" y="257373"/>
                    <a:pt x="778903" y="251705"/>
                  </a:cubicBezTo>
                  <a:cubicBezTo>
                    <a:pt x="778249" y="248653"/>
                    <a:pt x="775852" y="244729"/>
                    <a:pt x="773455" y="242549"/>
                  </a:cubicBezTo>
                  <a:cubicBezTo>
                    <a:pt x="768443" y="237971"/>
                    <a:pt x="771494" y="230776"/>
                    <a:pt x="778249" y="230776"/>
                  </a:cubicBezTo>
                  <a:cubicBezTo>
                    <a:pt x="781300" y="230776"/>
                    <a:pt x="782389" y="229686"/>
                    <a:pt x="781736" y="227724"/>
                  </a:cubicBezTo>
                  <a:cubicBezTo>
                    <a:pt x="781082" y="226198"/>
                    <a:pt x="783043" y="221184"/>
                    <a:pt x="786094" y="216606"/>
                  </a:cubicBezTo>
                  <a:cubicBezTo>
                    <a:pt x="790016" y="210720"/>
                    <a:pt x="790888" y="207886"/>
                    <a:pt x="789145" y="206141"/>
                  </a:cubicBezTo>
                  <a:cubicBezTo>
                    <a:pt x="787401" y="204397"/>
                    <a:pt x="785222" y="205269"/>
                    <a:pt x="781300" y="208976"/>
                  </a:cubicBezTo>
                  <a:cubicBezTo>
                    <a:pt x="774327" y="215516"/>
                    <a:pt x="762778" y="233392"/>
                    <a:pt x="762778" y="237535"/>
                  </a:cubicBezTo>
                  <a:cubicBezTo>
                    <a:pt x="762778" y="239279"/>
                    <a:pt x="759727" y="241895"/>
                    <a:pt x="756241" y="243203"/>
                  </a:cubicBezTo>
                  <a:cubicBezTo>
                    <a:pt x="749050" y="245819"/>
                    <a:pt x="747524" y="252359"/>
                    <a:pt x="752972" y="256937"/>
                  </a:cubicBezTo>
                  <a:cubicBezTo>
                    <a:pt x="755587" y="259117"/>
                    <a:pt x="757548" y="259117"/>
                    <a:pt x="762560" y="256937"/>
                  </a:cubicBezTo>
                  <a:cubicBezTo>
                    <a:pt x="771712" y="253231"/>
                    <a:pt x="778467" y="255847"/>
                    <a:pt x="776724" y="262387"/>
                  </a:cubicBezTo>
                  <a:cubicBezTo>
                    <a:pt x="775634" y="266530"/>
                    <a:pt x="776506" y="267620"/>
                    <a:pt x="780646" y="268274"/>
                  </a:cubicBezTo>
                  <a:cubicBezTo>
                    <a:pt x="785004" y="268928"/>
                    <a:pt x="785658" y="270018"/>
                    <a:pt x="785658" y="279610"/>
                  </a:cubicBezTo>
                  <a:cubicBezTo>
                    <a:pt x="785876" y="288548"/>
                    <a:pt x="785004" y="290292"/>
                    <a:pt x="780864" y="292036"/>
                  </a:cubicBezTo>
                  <a:cubicBezTo>
                    <a:pt x="778031" y="293126"/>
                    <a:pt x="775852" y="295743"/>
                    <a:pt x="775852" y="297705"/>
                  </a:cubicBezTo>
                  <a:cubicBezTo>
                    <a:pt x="775852" y="302065"/>
                    <a:pt x="768008" y="307951"/>
                    <a:pt x="764957" y="305989"/>
                  </a:cubicBezTo>
                  <a:cubicBezTo>
                    <a:pt x="763867" y="305335"/>
                    <a:pt x="763431" y="301847"/>
                    <a:pt x="764303" y="298359"/>
                  </a:cubicBezTo>
                  <a:cubicBezTo>
                    <a:pt x="765828" y="289856"/>
                    <a:pt x="760599" y="287676"/>
                    <a:pt x="752754" y="293781"/>
                  </a:cubicBezTo>
                  <a:cubicBezTo>
                    <a:pt x="746870" y="298359"/>
                    <a:pt x="743166" y="298141"/>
                    <a:pt x="743166" y="292908"/>
                  </a:cubicBezTo>
                  <a:cubicBezTo>
                    <a:pt x="743166" y="287894"/>
                    <a:pt x="738808" y="286804"/>
                    <a:pt x="734232" y="290946"/>
                  </a:cubicBezTo>
                  <a:cubicBezTo>
                    <a:pt x="732053" y="292908"/>
                    <a:pt x="730092" y="296833"/>
                    <a:pt x="730092" y="299449"/>
                  </a:cubicBezTo>
                  <a:cubicBezTo>
                    <a:pt x="730092" y="304899"/>
                    <a:pt x="722247" y="308387"/>
                    <a:pt x="718107" y="304899"/>
                  </a:cubicBezTo>
                  <a:cubicBezTo>
                    <a:pt x="715056" y="302501"/>
                    <a:pt x="712659" y="304245"/>
                    <a:pt x="712659" y="308823"/>
                  </a:cubicBezTo>
                  <a:cubicBezTo>
                    <a:pt x="712659" y="310567"/>
                    <a:pt x="713966" y="311439"/>
                    <a:pt x="715492" y="310785"/>
                  </a:cubicBezTo>
                  <a:cubicBezTo>
                    <a:pt x="717235" y="310131"/>
                    <a:pt x="719850" y="310567"/>
                    <a:pt x="721375" y="311439"/>
                  </a:cubicBezTo>
                  <a:cubicBezTo>
                    <a:pt x="723990" y="312965"/>
                    <a:pt x="723990" y="314273"/>
                    <a:pt x="721375" y="319069"/>
                  </a:cubicBezTo>
                  <a:cubicBezTo>
                    <a:pt x="718760" y="323866"/>
                    <a:pt x="718978" y="325610"/>
                    <a:pt x="722029" y="332150"/>
                  </a:cubicBezTo>
                  <a:cubicBezTo>
                    <a:pt x="727695" y="344140"/>
                    <a:pt x="726169" y="345448"/>
                    <a:pt x="716363" y="336510"/>
                  </a:cubicBezTo>
                  <a:cubicBezTo>
                    <a:pt x="712005" y="332368"/>
                    <a:pt x="710698" y="329534"/>
                    <a:pt x="711787" y="325828"/>
                  </a:cubicBezTo>
                  <a:cubicBezTo>
                    <a:pt x="712441" y="322557"/>
                    <a:pt x="711569" y="319505"/>
                    <a:pt x="709173" y="317107"/>
                  </a:cubicBezTo>
                  <a:cubicBezTo>
                    <a:pt x="704379" y="312311"/>
                    <a:pt x="700892" y="315581"/>
                    <a:pt x="700674" y="324956"/>
                  </a:cubicBezTo>
                  <a:cubicBezTo>
                    <a:pt x="700674" y="328880"/>
                    <a:pt x="699149" y="332586"/>
                    <a:pt x="696970" y="334112"/>
                  </a:cubicBezTo>
                  <a:cubicBezTo>
                    <a:pt x="691740" y="337382"/>
                    <a:pt x="689561" y="334112"/>
                    <a:pt x="693047" y="327790"/>
                  </a:cubicBezTo>
                  <a:cubicBezTo>
                    <a:pt x="697188" y="319941"/>
                    <a:pt x="693265" y="316017"/>
                    <a:pt x="685421" y="320159"/>
                  </a:cubicBezTo>
                  <a:cubicBezTo>
                    <a:pt x="679101" y="323648"/>
                    <a:pt x="676051" y="321685"/>
                    <a:pt x="679973" y="316889"/>
                  </a:cubicBezTo>
                  <a:cubicBezTo>
                    <a:pt x="681716" y="314709"/>
                    <a:pt x="681934" y="313619"/>
                    <a:pt x="680191" y="313619"/>
                  </a:cubicBezTo>
                  <a:cubicBezTo>
                    <a:pt x="678883" y="313619"/>
                    <a:pt x="677794" y="314709"/>
                    <a:pt x="677794" y="315799"/>
                  </a:cubicBezTo>
                  <a:cubicBezTo>
                    <a:pt x="677794" y="317107"/>
                    <a:pt x="674307" y="317979"/>
                    <a:pt x="670167" y="317979"/>
                  </a:cubicBezTo>
                  <a:cubicBezTo>
                    <a:pt x="661233" y="317979"/>
                    <a:pt x="660361" y="321249"/>
                    <a:pt x="667116" y="329534"/>
                  </a:cubicBezTo>
                  <a:cubicBezTo>
                    <a:pt x="670603" y="334330"/>
                    <a:pt x="671039" y="336074"/>
                    <a:pt x="669078" y="339780"/>
                  </a:cubicBezTo>
                  <a:cubicBezTo>
                    <a:pt x="666027" y="345666"/>
                    <a:pt x="661669" y="344358"/>
                    <a:pt x="660797" y="337382"/>
                  </a:cubicBezTo>
                  <a:cubicBezTo>
                    <a:pt x="660361" y="334548"/>
                    <a:pt x="658618" y="330624"/>
                    <a:pt x="656875" y="328662"/>
                  </a:cubicBezTo>
                  <a:cubicBezTo>
                    <a:pt x="654914" y="326482"/>
                    <a:pt x="654696" y="324520"/>
                    <a:pt x="656221" y="322994"/>
                  </a:cubicBezTo>
                  <a:cubicBezTo>
                    <a:pt x="657528" y="321685"/>
                    <a:pt x="657528" y="319069"/>
                    <a:pt x="656221" y="315145"/>
                  </a:cubicBezTo>
                  <a:cubicBezTo>
                    <a:pt x="654260" y="310349"/>
                    <a:pt x="654696" y="309041"/>
                    <a:pt x="658182" y="307079"/>
                  </a:cubicBezTo>
                  <a:cubicBezTo>
                    <a:pt x="660361" y="305989"/>
                    <a:pt x="663848" y="304899"/>
                    <a:pt x="665591" y="304899"/>
                  </a:cubicBezTo>
                  <a:cubicBezTo>
                    <a:pt x="667988" y="304899"/>
                    <a:pt x="669078" y="302937"/>
                    <a:pt x="669078" y="298577"/>
                  </a:cubicBezTo>
                  <a:cubicBezTo>
                    <a:pt x="669078" y="295089"/>
                    <a:pt x="668424" y="291818"/>
                    <a:pt x="667552" y="291164"/>
                  </a:cubicBezTo>
                  <a:cubicBezTo>
                    <a:pt x="666463" y="290728"/>
                    <a:pt x="667116" y="290728"/>
                    <a:pt x="668642" y="290946"/>
                  </a:cubicBezTo>
                  <a:cubicBezTo>
                    <a:pt x="670167" y="291382"/>
                    <a:pt x="673436" y="289202"/>
                    <a:pt x="676051" y="286368"/>
                  </a:cubicBezTo>
                  <a:cubicBezTo>
                    <a:pt x="678883" y="283098"/>
                    <a:pt x="683024" y="280918"/>
                    <a:pt x="686510" y="280918"/>
                  </a:cubicBezTo>
                  <a:cubicBezTo>
                    <a:pt x="698931" y="280918"/>
                    <a:pt x="706558" y="263477"/>
                    <a:pt x="698931" y="251923"/>
                  </a:cubicBezTo>
                  <a:cubicBezTo>
                    <a:pt x="695662" y="246909"/>
                    <a:pt x="695662" y="246255"/>
                    <a:pt x="698713" y="243639"/>
                  </a:cubicBezTo>
                  <a:cubicBezTo>
                    <a:pt x="700674" y="242113"/>
                    <a:pt x="703071" y="238625"/>
                    <a:pt x="704161" y="235791"/>
                  </a:cubicBezTo>
                  <a:cubicBezTo>
                    <a:pt x="706122" y="230558"/>
                    <a:pt x="711352" y="229032"/>
                    <a:pt x="713749" y="232956"/>
                  </a:cubicBezTo>
                  <a:cubicBezTo>
                    <a:pt x="714402" y="234046"/>
                    <a:pt x="713966" y="237099"/>
                    <a:pt x="712659" y="239497"/>
                  </a:cubicBezTo>
                  <a:cubicBezTo>
                    <a:pt x="710916" y="242549"/>
                    <a:pt x="710916" y="245165"/>
                    <a:pt x="712877" y="248435"/>
                  </a:cubicBezTo>
                  <a:cubicBezTo>
                    <a:pt x="714620" y="251705"/>
                    <a:pt x="714620" y="253667"/>
                    <a:pt x="712877" y="255411"/>
                  </a:cubicBezTo>
                  <a:cubicBezTo>
                    <a:pt x="708519" y="259771"/>
                    <a:pt x="710262" y="263477"/>
                    <a:pt x="717017" y="263477"/>
                  </a:cubicBezTo>
                  <a:cubicBezTo>
                    <a:pt x="723990" y="263477"/>
                    <a:pt x="724862" y="264786"/>
                    <a:pt x="721375" y="270018"/>
                  </a:cubicBezTo>
                  <a:cubicBezTo>
                    <a:pt x="719632" y="272852"/>
                    <a:pt x="718543" y="272852"/>
                    <a:pt x="714620" y="270454"/>
                  </a:cubicBezTo>
                  <a:cubicBezTo>
                    <a:pt x="711787" y="268710"/>
                    <a:pt x="709173" y="268274"/>
                    <a:pt x="707865" y="269582"/>
                  </a:cubicBezTo>
                  <a:cubicBezTo>
                    <a:pt x="705250" y="272198"/>
                    <a:pt x="715056" y="290510"/>
                    <a:pt x="719850" y="291382"/>
                  </a:cubicBezTo>
                  <a:cubicBezTo>
                    <a:pt x="722901" y="292036"/>
                    <a:pt x="723554" y="290510"/>
                    <a:pt x="723554" y="283316"/>
                  </a:cubicBezTo>
                  <a:cubicBezTo>
                    <a:pt x="723554" y="275250"/>
                    <a:pt x="724208" y="274378"/>
                    <a:pt x="728784" y="274378"/>
                  </a:cubicBezTo>
                  <a:cubicBezTo>
                    <a:pt x="731617" y="274378"/>
                    <a:pt x="734668" y="275904"/>
                    <a:pt x="735321" y="277866"/>
                  </a:cubicBezTo>
                  <a:cubicBezTo>
                    <a:pt x="736411" y="280482"/>
                    <a:pt x="738372" y="281136"/>
                    <a:pt x="743166" y="280046"/>
                  </a:cubicBezTo>
                  <a:cubicBezTo>
                    <a:pt x="747960" y="279174"/>
                    <a:pt x="751011" y="280046"/>
                    <a:pt x="754061" y="283098"/>
                  </a:cubicBezTo>
                  <a:cubicBezTo>
                    <a:pt x="756458" y="285496"/>
                    <a:pt x="759727" y="286804"/>
                    <a:pt x="761688" y="286150"/>
                  </a:cubicBezTo>
                  <a:cubicBezTo>
                    <a:pt x="763431" y="285278"/>
                    <a:pt x="764957" y="285932"/>
                    <a:pt x="764957" y="287240"/>
                  </a:cubicBezTo>
                  <a:cubicBezTo>
                    <a:pt x="764957" y="288984"/>
                    <a:pt x="766264" y="288766"/>
                    <a:pt x="769315" y="287022"/>
                  </a:cubicBezTo>
                  <a:cubicBezTo>
                    <a:pt x="774981" y="283316"/>
                    <a:pt x="774763" y="281354"/>
                    <a:pt x="768225" y="278302"/>
                  </a:cubicBezTo>
                  <a:cubicBezTo>
                    <a:pt x="765175" y="276994"/>
                    <a:pt x="762778" y="274378"/>
                    <a:pt x="762778" y="272416"/>
                  </a:cubicBezTo>
                  <a:cubicBezTo>
                    <a:pt x="762778" y="264786"/>
                    <a:pt x="759509" y="263041"/>
                    <a:pt x="753626" y="267620"/>
                  </a:cubicBezTo>
                  <a:cubicBezTo>
                    <a:pt x="747960" y="272198"/>
                    <a:pt x="743166" y="270454"/>
                    <a:pt x="743166" y="264131"/>
                  </a:cubicBezTo>
                  <a:cubicBezTo>
                    <a:pt x="743166" y="262605"/>
                    <a:pt x="741859" y="261297"/>
                    <a:pt x="740115" y="261297"/>
                  </a:cubicBezTo>
                  <a:cubicBezTo>
                    <a:pt x="738590" y="261297"/>
                    <a:pt x="735975" y="259771"/>
                    <a:pt x="734450" y="258027"/>
                  </a:cubicBezTo>
                  <a:cubicBezTo>
                    <a:pt x="732924" y="256283"/>
                    <a:pt x="729656" y="254757"/>
                    <a:pt x="727041" y="254757"/>
                  </a:cubicBezTo>
                  <a:cubicBezTo>
                    <a:pt x="724426" y="254757"/>
                    <a:pt x="720504" y="253449"/>
                    <a:pt x="718325" y="251923"/>
                  </a:cubicBezTo>
                  <a:cubicBezTo>
                    <a:pt x="714838" y="249307"/>
                    <a:pt x="715056" y="248871"/>
                    <a:pt x="720068" y="244075"/>
                  </a:cubicBezTo>
                  <a:cubicBezTo>
                    <a:pt x="724426" y="239933"/>
                    <a:pt x="725080" y="237971"/>
                    <a:pt x="723336" y="233610"/>
                  </a:cubicBezTo>
                  <a:cubicBezTo>
                    <a:pt x="722247" y="230776"/>
                    <a:pt x="721375" y="223800"/>
                    <a:pt x="721375" y="218132"/>
                  </a:cubicBezTo>
                  <a:cubicBezTo>
                    <a:pt x="721375" y="212464"/>
                    <a:pt x="720286" y="206359"/>
                    <a:pt x="719196" y="204615"/>
                  </a:cubicBezTo>
                  <a:cubicBezTo>
                    <a:pt x="717453" y="201781"/>
                    <a:pt x="716799" y="201781"/>
                    <a:pt x="713313" y="205051"/>
                  </a:cubicBezTo>
                  <a:cubicBezTo>
                    <a:pt x="710480" y="208104"/>
                    <a:pt x="710044" y="209630"/>
                    <a:pt x="712223" y="211592"/>
                  </a:cubicBezTo>
                  <a:cubicBezTo>
                    <a:pt x="716363" y="215734"/>
                    <a:pt x="715492" y="220312"/>
                    <a:pt x="710698" y="218786"/>
                  </a:cubicBezTo>
                  <a:cubicBezTo>
                    <a:pt x="708519" y="218132"/>
                    <a:pt x="705468" y="219004"/>
                    <a:pt x="703943" y="220966"/>
                  </a:cubicBezTo>
                  <a:cubicBezTo>
                    <a:pt x="702417" y="222710"/>
                    <a:pt x="698931" y="224236"/>
                    <a:pt x="696098" y="224236"/>
                  </a:cubicBezTo>
                  <a:cubicBezTo>
                    <a:pt x="692829" y="224236"/>
                    <a:pt x="690868" y="225544"/>
                    <a:pt x="690868" y="227506"/>
                  </a:cubicBezTo>
                  <a:cubicBezTo>
                    <a:pt x="690868" y="229250"/>
                    <a:pt x="692829" y="230776"/>
                    <a:pt x="695226" y="230776"/>
                  </a:cubicBezTo>
                  <a:cubicBezTo>
                    <a:pt x="700456" y="230776"/>
                    <a:pt x="700892" y="234482"/>
                    <a:pt x="695880" y="239933"/>
                  </a:cubicBezTo>
                  <a:cubicBezTo>
                    <a:pt x="693701" y="242331"/>
                    <a:pt x="689343" y="243857"/>
                    <a:pt x="684113" y="243857"/>
                  </a:cubicBezTo>
                  <a:cubicBezTo>
                    <a:pt x="670385" y="243857"/>
                    <a:pt x="670603" y="252795"/>
                    <a:pt x="684331" y="255629"/>
                  </a:cubicBezTo>
                  <a:cubicBezTo>
                    <a:pt x="691958" y="257155"/>
                    <a:pt x="694791" y="261951"/>
                    <a:pt x="690650" y="266966"/>
                  </a:cubicBezTo>
                  <a:cubicBezTo>
                    <a:pt x="688689" y="269364"/>
                    <a:pt x="684985" y="270236"/>
                    <a:pt x="678012" y="269582"/>
                  </a:cubicBezTo>
                  <a:cubicBezTo>
                    <a:pt x="668424" y="268928"/>
                    <a:pt x="667988" y="269146"/>
                    <a:pt x="667988" y="274814"/>
                  </a:cubicBezTo>
                  <a:cubicBezTo>
                    <a:pt x="667988" y="281790"/>
                    <a:pt x="665373" y="285060"/>
                    <a:pt x="663412" y="280046"/>
                  </a:cubicBezTo>
                  <a:cubicBezTo>
                    <a:pt x="661015" y="273506"/>
                    <a:pt x="657746" y="276558"/>
                    <a:pt x="658618" y="284842"/>
                  </a:cubicBezTo>
                  <a:cubicBezTo>
                    <a:pt x="659272" y="291818"/>
                    <a:pt x="658618" y="292908"/>
                    <a:pt x="654478" y="292908"/>
                  </a:cubicBezTo>
                  <a:cubicBezTo>
                    <a:pt x="652081" y="292908"/>
                    <a:pt x="649030" y="293562"/>
                    <a:pt x="648158" y="294653"/>
                  </a:cubicBezTo>
                  <a:cubicBezTo>
                    <a:pt x="645544" y="297269"/>
                    <a:pt x="642929" y="296397"/>
                    <a:pt x="642929" y="292908"/>
                  </a:cubicBezTo>
                  <a:cubicBezTo>
                    <a:pt x="642929" y="291164"/>
                    <a:pt x="642057" y="289638"/>
                    <a:pt x="640967" y="289638"/>
                  </a:cubicBezTo>
                  <a:cubicBezTo>
                    <a:pt x="637917" y="289638"/>
                    <a:pt x="636174" y="295961"/>
                    <a:pt x="637699" y="301847"/>
                  </a:cubicBezTo>
                  <a:cubicBezTo>
                    <a:pt x="638788" y="305989"/>
                    <a:pt x="640096" y="306861"/>
                    <a:pt x="643147" y="305989"/>
                  </a:cubicBezTo>
                  <a:cubicBezTo>
                    <a:pt x="645544" y="305117"/>
                    <a:pt x="647287" y="305553"/>
                    <a:pt x="647287" y="306861"/>
                  </a:cubicBezTo>
                  <a:cubicBezTo>
                    <a:pt x="647287" y="308169"/>
                    <a:pt x="645979" y="309259"/>
                    <a:pt x="644236" y="309259"/>
                  </a:cubicBezTo>
                  <a:cubicBezTo>
                    <a:pt x="642493" y="309259"/>
                    <a:pt x="639878" y="312529"/>
                    <a:pt x="638353" y="316453"/>
                  </a:cubicBezTo>
                  <a:cubicBezTo>
                    <a:pt x="637045" y="320159"/>
                    <a:pt x="633123" y="325610"/>
                    <a:pt x="629854" y="328226"/>
                  </a:cubicBezTo>
                  <a:cubicBezTo>
                    <a:pt x="624407" y="332586"/>
                    <a:pt x="623535" y="332804"/>
                    <a:pt x="619177" y="329752"/>
                  </a:cubicBezTo>
                  <a:cubicBezTo>
                    <a:pt x="616126" y="327572"/>
                    <a:pt x="614819" y="324956"/>
                    <a:pt x="615690" y="322557"/>
                  </a:cubicBezTo>
                  <a:cubicBezTo>
                    <a:pt x="616344" y="320377"/>
                    <a:pt x="614819" y="316235"/>
                    <a:pt x="612422" y="312965"/>
                  </a:cubicBezTo>
                  <a:cubicBezTo>
                    <a:pt x="607410" y="306643"/>
                    <a:pt x="606756" y="302719"/>
                    <a:pt x="610896" y="302719"/>
                  </a:cubicBezTo>
                  <a:cubicBezTo>
                    <a:pt x="614383" y="302719"/>
                    <a:pt x="619830" y="308605"/>
                    <a:pt x="622010" y="314491"/>
                  </a:cubicBezTo>
                  <a:cubicBezTo>
                    <a:pt x="623317" y="318415"/>
                    <a:pt x="623753" y="318415"/>
                    <a:pt x="627239" y="315145"/>
                  </a:cubicBezTo>
                  <a:cubicBezTo>
                    <a:pt x="630508" y="311657"/>
                    <a:pt x="630508" y="311003"/>
                    <a:pt x="627021" y="305117"/>
                  </a:cubicBezTo>
                  <a:cubicBezTo>
                    <a:pt x="625060" y="301629"/>
                    <a:pt x="623317" y="298141"/>
                    <a:pt x="623317" y="297487"/>
                  </a:cubicBezTo>
                  <a:cubicBezTo>
                    <a:pt x="623317" y="294435"/>
                    <a:pt x="638135" y="283098"/>
                    <a:pt x="642493" y="283098"/>
                  </a:cubicBezTo>
                  <a:cubicBezTo>
                    <a:pt x="648376" y="283098"/>
                    <a:pt x="648812" y="277648"/>
                    <a:pt x="643582" y="271544"/>
                  </a:cubicBezTo>
                  <a:cubicBezTo>
                    <a:pt x="639660" y="267402"/>
                    <a:pt x="639878" y="267402"/>
                    <a:pt x="647505" y="268274"/>
                  </a:cubicBezTo>
                  <a:cubicBezTo>
                    <a:pt x="654914" y="268928"/>
                    <a:pt x="655349" y="268710"/>
                    <a:pt x="653824" y="263477"/>
                  </a:cubicBezTo>
                  <a:cubicBezTo>
                    <a:pt x="652952" y="259771"/>
                    <a:pt x="650773" y="257809"/>
                    <a:pt x="646851" y="257373"/>
                  </a:cubicBezTo>
                  <a:cubicBezTo>
                    <a:pt x="643582" y="256937"/>
                    <a:pt x="639878" y="255193"/>
                    <a:pt x="638571" y="253449"/>
                  </a:cubicBezTo>
                  <a:cubicBezTo>
                    <a:pt x="637045" y="251705"/>
                    <a:pt x="633994" y="250397"/>
                    <a:pt x="631597" y="250397"/>
                  </a:cubicBezTo>
                  <a:cubicBezTo>
                    <a:pt x="628111" y="250397"/>
                    <a:pt x="627457" y="251705"/>
                    <a:pt x="627893" y="257591"/>
                  </a:cubicBezTo>
                  <a:cubicBezTo>
                    <a:pt x="628547" y="262823"/>
                    <a:pt x="627893" y="264349"/>
                    <a:pt x="625496" y="263913"/>
                  </a:cubicBezTo>
                  <a:cubicBezTo>
                    <a:pt x="618305" y="262169"/>
                    <a:pt x="616562" y="258463"/>
                    <a:pt x="616998" y="245383"/>
                  </a:cubicBezTo>
                  <a:cubicBezTo>
                    <a:pt x="617651" y="231212"/>
                    <a:pt x="614165" y="226416"/>
                    <a:pt x="606320" y="230558"/>
                  </a:cubicBezTo>
                  <a:cubicBezTo>
                    <a:pt x="598040" y="234918"/>
                    <a:pt x="589106" y="228814"/>
                    <a:pt x="595207" y="222710"/>
                  </a:cubicBezTo>
                  <a:cubicBezTo>
                    <a:pt x="598911" y="219004"/>
                    <a:pt x="593246" y="191971"/>
                    <a:pt x="588234" y="189137"/>
                  </a:cubicBezTo>
                  <a:cubicBezTo>
                    <a:pt x="584747" y="187393"/>
                    <a:pt x="584312" y="185431"/>
                    <a:pt x="585183" y="179763"/>
                  </a:cubicBezTo>
                  <a:cubicBezTo>
                    <a:pt x="586491" y="173440"/>
                    <a:pt x="585837" y="171914"/>
                    <a:pt x="578646" y="166682"/>
                  </a:cubicBezTo>
                  <a:cubicBezTo>
                    <a:pt x="571237" y="161014"/>
                    <a:pt x="570583" y="160796"/>
                    <a:pt x="566661" y="164284"/>
                  </a:cubicBezTo>
                  <a:cubicBezTo>
                    <a:pt x="563828" y="166900"/>
                    <a:pt x="562521" y="167118"/>
                    <a:pt x="561867" y="165156"/>
                  </a:cubicBezTo>
                  <a:cubicBezTo>
                    <a:pt x="561431" y="163630"/>
                    <a:pt x="559470" y="162976"/>
                    <a:pt x="557073" y="163848"/>
                  </a:cubicBezTo>
                  <a:cubicBezTo>
                    <a:pt x="554240" y="164938"/>
                    <a:pt x="553587" y="166900"/>
                    <a:pt x="554894" y="173004"/>
                  </a:cubicBezTo>
                  <a:cubicBezTo>
                    <a:pt x="555984" y="179545"/>
                    <a:pt x="555766" y="180635"/>
                    <a:pt x="552061" y="180635"/>
                  </a:cubicBezTo>
                  <a:cubicBezTo>
                    <a:pt x="549882" y="180635"/>
                    <a:pt x="546831" y="179545"/>
                    <a:pt x="545306" y="178019"/>
                  </a:cubicBezTo>
                  <a:cubicBezTo>
                    <a:pt x="540948" y="173658"/>
                    <a:pt x="542255" y="179109"/>
                    <a:pt x="547703" y="186957"/>
                  </a:cubicBezTo>
                  <a:cubicBezTo>
                    <a:pt x="550318" y="191099"/>
                    <a:pt x="554022" y="196985"/>
                    <a:pt x="555984" y="200037"/>
                  </a:cubicBezTo>
                  <a:cubicBezTo>
                    <a:pt x="558163" y="203961"/>
                    <a:pt x="561649" y="205923"/>
                    <a:pt x="566225" y="206359"/>
                  </a:cubicBezTo>
                  <a:cubicBezTo>
                    <a:pt x="570801" y="206796"/>
                    <a:pt x="573198" y="208322"/>
                    <a:pt x="573198" y="210502"/>
                  </a:cubicBezTo>
                  <a:cubicBezTo>
                    <a:pt x="573198" y="212464"/>
                    <a:pt x="573634" y="213554"/>
                    <a:pt x="574288" y="213118"/>
                  </a:cubicBezTo>
                  <a:cubicBezTo>
                    <a:pt x="574724" y="212464"/>
                    <a:pt x="574724" y="208322"/>
                    <a:pt x="573852" y="203743"/>
                  </a:cubicBezTo>
                  <a:cubicBezTo>
                    <a:pt x="572980" y="198511"/>
                    <a:pt x="571673" y="196113"/>
                    <a:pt x="569712" y="196767"/>
                  </a:cubicBezTo>
                  <a:cubicBezTo>
                    <a:pt x="566225" y="198075"/>
                    <a:pt x="559470" y="187829"/>
                    <a:pt x="560995" y="183687"/>
                  </a:cubicBezTo>
                  <a:cubicBezTo>
                    <a:pt x="563175" y="178237"/>
                    <a:pt x="579736" y="181507"/>
                    <a:pt x="579736" y="187393"/>
                  </a:cubicBezTo>
                  <a:cubicBezTo>
                    <a:pt x="579736" y="188701"/>
                    <a:pt x="582132" y="191753"/>
                    <a:pt x="585401" y="194151"/>
                  </a:cubicBezTo>
                  <a:cubicBezTo>
                    <a:pt x="590413" y="198075"/>
                    <a:pt x="590631" y="198947"/>
                    <a:pt x="587580" y="202217"/>
                  </a:cubicBezTo>
                  <a:cubicBezTo>
                    <a:pt x="585183" y="204833"/>
                    <a:pt x="584312" y="210284"/>
                    <a:pt x="584312" y="219658"/>
                  </a:cubicBezTo>
                  <a:cubicBezTo>
                    <a:pt x="584529" y="229686"/>
                    <a:pt x="583658" y="234264"/>
                    <a:pt x="580607" y="237535"/>
                  </a:cubicBezTo>
                  <a:cubicBezTo>
                    <a:pt x="577774" y="240805"/>
                    <a:pt x="577339" y="242331"/>
                    <a:pt x="579300" y="244293"/>
                  </a:cubicBezTo>
                  <a:cubicBezTo>
                    <a:pt x="581043" y="246037"/>
                    <a:pt x="582132" y="246037"/>
                    <a:pt x="583004" y="243421"/>
                  </a:cubicBezTo>
                  <a:cubicBezTo>
                    <a:pt x="584312" y="240151"/>
                    <a:pt x="587362" y="240151"/>
                    <a:pt x="601308" y="242985"/>
                  </a:cubicBezTo>
                  <a:cubicBezTo>
                    <a:pt x="605231" y="243857"/>
                    <a:pt x="606102" y="245165"/>
                    <a:pt x="605013" y="248871"/>
                  </a:cubicBezTo>
                  <a:cubicBezTo>
                    <a:pt x="604359" y="251487"/>
                    <a:pt x="605231" y="254975"/>
                    <a:pt x="607192" y="257155"/>
                  </a:cubicBezTo>
                  <a:cubicBezTo>
                    <a:pt x="611114" y="261515"/>
                    <a:pt x="609153" y="268056"/>
                    <a:pt x="604359" y="266312"/>
                  </a:cubicBezTo>
                  <a:cubicBezTo>
                    <a:pt x="602398" y="265440"/>
                    <a:pt x="601526" y="263259"/>
                    <a:pt x="602180" y="259771"/>
                  </a:cubicBezTo>
                  <a:cubicBezTo>
                    <a:pt x="602834" y="255847"/>
                    <a:pt x="602180" y="254757"/>
                    <a:pt x="599565" y="255193"/>
                  </a:cubicBezTo>
                  <a:cubicBezTo>
                    <a:pt x="596732" y="255847"/>
                    <a:pt x="596296" y="258245"/>
                    <a:pt x="596732" y="267620"/>
                  </a:cubicBezTo>
                  <a:cubicBezTo>
                    <a:pt x="597386" y="279392"/>
                    <a:pt x="595425" y="282880"/>
                    <a:pt x="589106" y="283098"/>
                  </a:cubicBezTo>
                  <a:cubicBezTo>
                    <a:pt x="587144" y="283098"/>
                    <a:pt x="586709" y="280918"/>
                    <a:pt x="587580" y="276558"/>
                  </a:cubicBezTo>
                  <a:cubicBezTo>
                    <a:pt x="588452" y="272852"/>
                    <a:pt x="587798" y="268710"/>
                    <a:pt x="586491" y="266966"/>
                  </a:cubicBezTo>
                  <a:cubicBezTo>
                    <a:pt x="584747" y="264786"/>
                    <a:pt x="584529" y="263477"/>
                    <a:pt x="586273" y="262387"/>
                  </a:cubicBezTo>
                  <a:cubicBezTo>
                    <a:pt x="591067" y="259335"/>
                    <a:pt x="588234" y="256719"/>
                    <a:pt x="581697" y="258027"/>
                  </a:cubicBezTo>
                  <a:cubicBezTo>
                    <a:pt x="575159" y="259553"/>
                    <a:pt x="574942" y="259335"/>
                    <a:pt x="575595" y="251923"/>
                  </a:cubicBezTo>
                  <a:cubicBezTo>
                    <a:pt x="576031" y="247563"/>
                    <a:pt x="575595" y="243421"/>
                    <a:pt x="574724" y="242549"/>
                  </a:cubicBezTo>
                  <a:cubicBezTo>
                    <a:pt x="573852" y="241677"/>
                    <a:pt x="573198" y="239061"/>
                    <a:pt x="573198" y="236881"/>
                  </a:cubicBezTo>
                  <a:cubicBezTo>
                    <a:pt x="573198" y="234482"/>
                    <a:pt x="571673" y="232956"/>
                    <a:pt x="569058" y="232956"/>
                  </a:cubicBezTo>
                  <a:cubicBezTo>
                    <a:pt x="566661" y="232956"/>
                    <a:pt x="564046" y="231866"/>
                    <a:pt x="563175" y="230558"/>
                  </a:cubicBezTo>
                  <a:cubicBezTo>
                    <a:pt x="562521" y="229250"/>
                    <a:pt x="559470" y="228814"/>
                    <a:pt x="556637" y="229468"/>
                  </a:cubicBezTo>
                  <a:cubicBezTo>
                    <a:pt x="550972" y="230994"/>
                    <a:pt x="549446" y="227724"/>
                    <a:pt x="554894" y="225544"/>
                  </a:cubicBezTo>
                  <a:cubicBezTo>
                    <a:pt x="557945" y="224454"/>
                    <a:pt x="557945" y="223800"/>
                    <a:pt x="554894" y="219658"/>
                  </a:cubicBezTo>
                  <a:cubicBezTo>
                    <a:pt x="552933" y="216824"/>
                    <a:pt x="552061" y="212464"/>
                    <a:pt x="552715" y="208976"/>
                  </a:cubicBezTo>
                  <a:cubicBezTo>
                    <a:pt x="553805" y="204397"/>
                    <a:pt x="552715" y="201999"/>
                    <a:pt x="548139" y="198293"/>
                  </a:cubicBezTo>
                  <a:cubicBezTo>
                    <a:pt x="542038" y="193715"/>
                    <a:pt x="533103" y="192189"/>
                    <a:pt x="530924" y="195459"/>
                  </a:cubicBezTo>
                  <a:cubicBezTo>
                    <a:pt x="529181" y="198511"/>
                    <a:pt x="536154" y="206796"/>
                    <a:pt x="540294" y="206796"/>
                  </a:cubicBezTo>
                  <a:cubicBezTo>
                    <a:pt x="545088" y="206796"/>
                    <a:pt x="547485" y="211374"/>
                    <a:pt x="544652" y="215734"/>
                  </a:cubicBezTo>
                  <a:cubicBezTo>
                    <a:pt x="543563" y="217478"/>
                    <a:pt x="543345" y="220530"/>
                    <a:pt x="543999" y="222492"/>
                  </a:cubicBezTo>
                  <a:cubicBezTo>
                    <a:pt x="544652" y="224672"/>
                    <a:pt x="543345" y="227070"/>
                    <a:pt x="540730" y="228378"/>
                  </a:cubicBezTo>
                  <a:cubicBezTo>
                    <a:pt x="538333" y="229686"/>
                    <a:pt x="536154" y="232956"/>
                    <a:pt x="535718" y="235572"/>
                  </a:cubicBezTo>
                  <a:cubicBezTo>
                    <a:pt x="534847" y="242331"/>
                    <a:pt x="530053" y="242985"/>
                    <a:pt x="528309" y="236445"/>
                  </a:cubicBezTo>
                  <a:cubicBezTo>
                    <a:pt x="527438" y="232956"/>
                    <a:pt x="528309" y="227724"/>
                    <a:pt x="530488" y="223364"/>
                  </a:cubicBezTo>
                  <a:cubicBezTo>
                    <a:pt x="535064" y="213772"/>
                    <a:pt x="534847" y="207450"/>
                    <a:pt x="530271" y="206359"/>
                  </a:cubicBezTo>
                  <a:cubicBezTo>
                    <a:pt x="524823" y="204833"/>
                    <a:pt x="521118" y="206577"/>
                    <a:pt x="518504" y="211374"/>
                  </a:cubicBezTo>
                  <a:cubicBezTo>
                    <a:pt x="516760" y="214862"/>
                    <a:pt x="517196" y="216388"/>
                    <a:pt x="520900" y="219440"/>
                  </a:cubicBezTo>
                  <a:cubicBezTo>
                    <a:pt x="525041" y="222710"/>
                    <a:pt x="525259" y="224018"/>
                    <a:pt x="522862" y="230558"/>
                  </a:cubicBezTo>
                  <a:cubicBezTo>
                    <a:pt x="520683" y="236445"/>
                    <a:pt x="520900" y="239061"/>
                    <a:pt x="523951" y="245165"/>
                  </a:cubicBezTo>
                  <a:cubicBezTo>
                    <a:pt x="525912" y="249307"/>
                    <a:pt x="527438" y="253667"/>
                    <a:pt x="527438" y="254757"/>
                  </a:cubicBezTo>
                  <a:cubicBezTo>
                    <a:pt x="527438" y="257809"/>
                    <a:pt x="521554" y="257373"/>
                    <a:pt x="520029" y="254321"/>
                  </a:cubicBezTo>
                  <a:cubicBezTo>
                    <a:pt x="519375" y="252141"/>
                    <a:pt x="518286" y="252359"/>
                    <a:pt x="516107" y="254975"/>
                  </a:cubicBezTo>
                  <a:cubicBezTo>
                    <a:pt x="514581" y="256937"/>
                    <a:pt x="510659" y="258899"/>
                    <a:pt x="507172" y="259553"/>
                  </a:cubicBezTo>
                  <a:cubicBezTo>
                    <a:pt x="501507" y="260643"/>
                    <a:pt x="501289" y="260207"/>
                    <a:pt x="501289" y="252577"/>
                  </a:cubicBezTo>
                  <a:cubicBezTo>
                    <a:pt x="501289" y="247781"/>
                    <a:pt x="499546" y="242113"/>
                    <a:pt x="496931" y="238843"/>
                  </a:cubicBezTo>
                  <a:cubicBezTo>
                    <a:pt x="494534" y="235791"/>
                    <a:pt x="492573" y="232738"/>
                    <a:pt x="492573" y="232084"/>
                  </a:cubicBezTo>
                  <a:cubicBezTo>
                    <a:pt x="492573" y="229250"/>
                    <a:pt x="504557" y="230994"/>
                    <a:pt x="508262" y="234482"/>
                  </a:cubicBezTo>
                  <a:cubicBezTo>
                    <a:pt x="512838" y="238625"/>
                    <a:pt x="516107" y="236663"/>
                    <a:pt x="512402" y="232084"/>
                  </a:cubicBezTo>
                  <a:cubicBezTo>
                    <a:pt x="510659" y="230122"/>
                    <a:pt x="510223" y="226852"/>
                    <a:pt x="511313" y="223800"/>
                  </a:cubicBezTo>
                  <a:cubicBezTo>
                    <a:pt x="512620" y="219440"/>
                    <a:pt x="512402" y="219222"/>
                    <a:pt x="509351" y="221620"/>
                  </a:cubicBezTo>
                  <a:cubicBezTo>
                    <a:pt x="507390" y="223364"/>
                    <a:pt x="504775" y="224018"/>
                    <a:pt x="503468" y="223146"/>
                  </a:cubicBezTo>
                  <a:cubicBezTo>
                    <a:pt x="499763" y="220966"/>
                    <a:pt x="501071" y="215080"/>
                    <a:pt x="505429" y="213990"/>
                  </a:cubicBezTo>
                  <a:cubicBezTo>
                    <a:pt x="510223" y="212682"/>
                    <a:pt x="512620" y="206577"/>
                    <a:pt x="509787" y="202217"/>
                  </a:cubicBezTo>
                  <a:cubicBezTo>
                    <a:pt x="508480" y="199819"/>
                    <a:pt x="507390" y="200037"/>
                    <a:pt x="503904" y="203089"/>
                  </a:cubicBezTo>
                  <a:cubicBezTo>
                    <a:pt x="501725" y="205051"/>
                    <a:pt x="499110" y="206796"/>
                    <a:pt x="498238" y="206796"/>
                  </a:cubicBezTo>
                  <a:cubicBezTo>
                    <a:pt x="495841" y="206796"/>
                    <a:pt x="488432" y="215952"/>
                    <a:pt x="488214" y="219004"/>
                  </a:cubicBezTo>
                  <a:cubicBezTo>
                    <a:pt x="488214" y="220094"/>
                    <a:pt x="485382" y="224236"/>
                    <a:pt x="481677" y="227724"/>
                  </a:cubicBezTo>
                  <a:cubicBezTo>
                    <a:pt x="477101" y="232520"/>
                    <a:pt x="475794" y="235791"/>
                    <a:pt x="476665" y="239279"/>
                  </a:cubicBezTo>
                  <a:cubicBezTo>
                    <a:pt x="477755" y="243203"/>
                    <a:pt x="478844" y="243857"/>
                    <a:pt x="484074" y="242767"/>
                  </a:cubicBezTo>
                  <a:cubicBezTo>
                    <a:pt x="487561" y="241895"/>
                    <a:pt x="490393" y="242113"/>
                    <a:pt x="490393" y="243203"/>
                  </a:cubicBezTo>
                  <a:cubicBezTo>
                    <a:pt x="490393" y="244075"/>
                    <a:pt x="491047" y="247127"/>
                    <a:pt x="491701" y="249961"/>
                  </a:cubicBezTo>
                  <a:cubicBezTo>
                    <a:pt x="492790" y="254103"/>
                    <a:pt x="492137" y="254757"/>
                    <a:pt x="487343" y="254757"/>
                  </a:cubicBezTo>
                  <a:cubicBezTo>
                    <a:pt x="482985" y="254757"/>
                    <a:pt x="482113" y="255629"/>
                    <a:pt x="483203" y="258681"/>
                  </a:cubicBezTo>
                  <a:cubicBezTo>
                    <a:pt x="483856" y="260643"/>
                    <a:pt x="486907" y="264567"/>
                    <a:pt x="489522" y="266966"/>
                  </a:cubicBezTo>
                  <a:cubicBezTo>
                    <a:pt x="495841" y="272634"/>
                    <a:pt x="496277" y="280046"/>
                    <a:pt x="490393" y="281572"/>
                  </a:cubicBezTo>
                  <a:cubicBezTo>
                    <a:pt x="487779" y="282226"/>
                    <a:pt x="486035" y="284624"/>
                    <a:pt x="486035" y="287022"/>
                  </a:cubicBezTo>
                  <a:cubicBezTo>
                    <a:pt x="486035" y="297487"/>
                    <a:pt x="499328" y="295525"/>
                    <a:pt x="504775" y="284188"/>
                  </a:cubicBezTo>
                  <a:cubicBezTo>
                    <a:pt x="508262" y="276558"/>
                    <a:pt x="507608" y="268492"/>
                    <a:pt x="503468" y="271108"/>
                  </a:cubicBezTo>
                  <a:cubicBezTo>
                    <a:pt x="502378" y="271762"/>
                    <a:pt x="501289" y="271544"/>
                    <a:pt x="501289" y="270454"/>
                  </a:cubicBezTo>
                  <a:cubicBezTo>
                    <a:pt x="501289" y="267838"/>
                    <a:pt x="512402" y="267184"/>
                    <a:pt x="537026" y="268492"/>
                  </a:cubicBezTo>
                  <a:cubicBezTo>
                    <a:pt x="540512" y="268710"/>
                    <a:pt x="543781" y="267620"/>
                    <a:pt x="544217" y="266312"/>
                  </a:cubicBezTo>
                  <a:cubicBezTo>
                    <a:pt x="544870" y="264786"/>
                    <a:pt x="543999" y="263477"/>
                    <a:pt x="542473" y="263477"/>
                  </a:cubicBezTo>
                  <a:cubicBezTo>
                    <a:pt x="538115" y="263477"/>
                    <a:pt x="532014" y="256719"/>
                    <a:pt x="533321" y="253449"/>
                  </a:cubicBezTo>
                  <a:cubicBezTo>
                    <a:pt x="534847" y="249089"/>
                    <a:pt x="539205" y="249743"/>
                    <a:pt x="543563" y="254539"/>
                  </a:cubicBezTo>
                  <a:cubicBezTo>
                    <a:pt x="545742" y="256937"/>
                    <a:pt x="548793" y="258245"/>
                    <a:pt x="550318" y="257809"/>
                  </a:cubicBezTo>
                  <a:cubicBezTo>
                    <a:pt x="551843" y="257155"/>
                    <a:pt x="555112" y="258899"/>
                    <a:pt x="557727" y="261515"/>
                  </a:cubicBezTo>
                  <a:cubicBezTo>
                    <a:pt x="561867" y="265876"/>
                    <a:pt x="562739" y="266094"/>
                    <a:pt x="567751" y="263477"/>
                  </a:cubicBezTo>
                  <a:cubicBezTo>
                    <a:pt x="570801" y="261951"/>
                    <a:pt x="573852" y="261297"/>
                    <a:pt x="574724" y="261951"/>
                  </a:cubicBezTo>
                  <a:cubicBezTo>
                    <a:pt x="575813" y="263259"/>
                    <a:pt x="574942" y="265658"/>
                    <a:pt x="569276" y="276994"/>
                  </a:cubicBezTo>
                  <a:cubicBezTo>
                    <a:pt x="568840" y="277648"/>
                    <a:pt x="570801" y="278738"/>
                    <a:pt x="573634" y="279174"/>
                  </a:cubicBezTo>
                  <a:cubicBezTo>
                    <a:pt x="576467" y="279610"/>
                    <a:pt x="579736" y="282444"/>
                    <a:pt x="581479" y="285932"/>
                  </a:cubicBezTo>
                  <a:cubicBezTo>
                    <a:pt x="583658" y="290510"/>
                    <a:pt x="585183" y="291382"/>
                    <a:pt x="587144" y="289856"/>
                  </a:cubicBezTo>
                  <a:cubicBezTo>
                    <a:pt x="589106" y="288112"/>
                    <a:pt x="591067" y="288548"/>
                    <a:pt x="594117" y="290728"/>
                  </a:cubicBezTo>
                  <a:cubicBezTo>
                    <a:pt x="600001" y="295089"/>
                    <a:pt x="603705" y="294653"/>
                    <a:pt x="603705" y="289638"/>
                  </a:cubicBezTo>
                  <a:cubicBezTo>
                    <a:pt x="603705" y="282662"/>
                    <a:pt x="610678" y="270236"/>
                    <a:pt x="615472" y="268710"/>
                  </a:cubicBezTo>
                  <a:cubicBezTo>
                    <a:pt x="618305" y="267838"/>
                    <a:pt x="620702" y="268710"/>
                    <a:pt x="622663" y="271326"/>
                  </a:cubicBezTo>
                  <a:cubicBezTo>
                    <a:pt x="626804" y="276994"/>
                    <a:pt x="626150" y="280482"/>
                    <a:pt x="620702" y="282226"/>
                  </a:cubicBezTo>
                  <a:cubicBezTo>
                    <a:pt x="614601" y="283970"/>
                    <a:pt x="612422" y="287022"/>
                    <a:pt x="612422" y="293562"/>
                  </a:cubicBezTo>
                  <a:cubicBezTo>
                    <a:pt x="612422" y="296833"/>
                    <a:pt x="611114" y="298359"/>
                    <a:pt x="608499" y="298359"/>
                  </a:cubicBezTo>
                  <a:cubicBezTo>
                    <a:pt x="603487" y="298359"/>
                    <a:pt x="586273" y="311439"/>
                    <a:pt x="586273" y="315145"/>
                  </a:cubicBezTo>
                  <a:cubicBezTo>
                    <a:pt x="586273" y="317107"/>
                    <a:pt x="589541" y="317979"/>
                    <a:pt x="596079" y="317979"/>
                  </a:cubicBezTo>
                  <a:cubicBezTo>
                    <a:pt x="602398" y="317979"/>
                    <a:pt x="605884" y="319069"/>
                    <a:pt x="606102" y="320813"/>
                  </a:cubicBezTo>
                  <a:cubicBezTo>
                    <a:pt x="606538" y="325392"/>
                    <a:pt x="607192" y="327572"/>
                    <a:pt x="608935" y="331714"/>
                  </a:cubicBezTo>
                  <a:cubicBezTo>
                    <a:pt x="610025" y="333894"/>
                    <a:pt x="609589" y="336728"/>
                    <a:pt x="608063" y="338690"/>
                  </a:cubicBezTo>
                  <a:cubicBezTo>
                    <a:pt x="603923" y="343486"/>
                    <a:pt x="602180" y="342614"/>
                    <a:pt x="600655" y="334984"/>
                  </a:cubicBezTo>
                  <a:cubicBezTo>
                    <a:pt x="599347" y="328662"/>
                    <a:pt x="599129" y="328444"/>
                    <a:pt x="595425" y="331714"/>
                  </a:cubicBezTo>
                  <a:cubicBezTo>
                    <a:pt x="589759" y="336946"/>
                    <a:pt x="587144" y="336292"/>
                    <a:pt x="584094" y="328880"/>
                  </a:cubicBezTo>
                  <a:cubicBezTo>
                    <a:pt x="580171" y="319505"/>
                    <a:pt x="569712" y="312311"/>
                    <a:pt x="565354" y="315799"/>
                  </a:cubicBezTo>
                  <a:cubicBezTo>
                    <a:pt x="563610" y="317325"/>
                    <a:pt x="562521" y="321031"/>
                    <a:pt x="562739" y="324302"/>
                  </a:cubicBezTo>
                  <a:cubicBezTo>
                    <a:pt x="563175" y="328662"/>
                    <a:pt x="562521" y="329752"/>
                    <a:pt x="559688" y="329316"/>
                  </a:cubicBezTo>
                  <a:cubicBezTo>
                    <a:pt x="557509" y="329098"/>
                    <a:pt x="553587" y="330842"/>
                    <a:pt x="550972" y="333240"/>
                  </a:cubicBezTo>
                  <a:cubicBezTo>
                    <a:pt x="548139" y="335856"/>
                    <a:pt x="544435" y="339126"/>
                    <a:pt x="542691" y="340652"/>
                  </a:cubicBezTo>
                  <a:cubicBezTo>
                    <a:pt x="540948" y="342178"/>
                    <a:pt x="534193" y="344140"/>
                    <a:pt x="528091" y="344576"/>
                  </a:cubicBezTo>
                  <a:cubicBezTo>
                    <a:pt x="518721" y="345448"/>
                    <a:pt x="515889" y="344794"/>
                    <a:pt x="513056" y="341742"/>
                  </a:cubicBezTo>
                  <a:cubicBezTo>
                    <a:pt x="510877" y="339344"/>
                    <a:pt x="506737" y="337600"/>
                    <a:pt x="503468" y="337600"/>
                  </a:cubicBezTo>
                  <a:cubicBezTo>
                    <a:pt x="496277" y="337600"/>
                    <a:pt x="486471" y="328008"/>
                    <a:pt x="489740" y="324084"/>
                  </a:cubicBezTo>
                  <a:cubicBezTo>
                    <a:pt x="492790" y="320159"/>
                    <a:pt x="490611" y="304899"/>
                    <a:pt x="487125" y="304899"/>
                  </a:cubicBezTo>
                  <a:cubicBezTo>
                    <a:pt x="483203" y="304899"/>
                    <a:pt x="477319" y="314709"/>
                    <a:pt x="477319" y="321031"/>
                  </a:cubicBezTo>
                  <a:cubicBezTo>
                    <a:pt x="477319" y="324084"/>
                    <a:pt x="478844" y="327354"/>
                    <a:pt x="480806" y="328444"/>
                  </a:cubicBezTo>
                  <a:cubicBezTo>
                    <a:pt x="486253" y="331496"/>
                    <a:pt x="483856" y="340652"/>
                    <a:pt x="477319" y="341524"/>
                  </a:cubicBezTo>
                  <a:cubicBezTo>
                    <a:pt x="474268" y="341960"/>
                    <a:pt x="471000" y="343050"/>
                    <a:pt x="469910" y="344140"/>
                  </a:cubicBezTo>
                  <a:cubicBezTo>
                    <a:pt x="468821" y="345230"/>
                    <a:pt x="566879" y="491295"/>
                    <a:pt x="689997" y="672460"/>
                  </a:cubicBezTo>
                  <a:cubicBezTo>
                    <a:pt x="812243" y="851880"/>
                    <a:pt x="914441" y="1002741"/>
                    <a:pt x="917492" y="1007755"/>
                  </a:cubicBezTo>
                  <a:cubicBezTo>
                    <a:pt x="927080" y="1023888"/>
                    <a:pt x="1478168" y="1834222"/>
                    <a:pt x="1480565" y="1835748"/>
                  </a:cubicBezTo>
                  <a:cubicBezTo>
                    <a:pt x="1483833" y="1837928"/>
                    <a:pt x="1496472" y="1835748"/>
                    <a:pt x="1505842" y="1831169"/>
                  </a:cubicBezTo>
                  <a:close/>
                  <a:moveTo>
                    <a:pt x="530271" y="326264"/>
                  </a:moveTo>
                  <a:cubicBezTo>
                    <a:pt x="529835" y="319505"/>
                    <a:pt x="530488" y="318197"/>
                    <a:pt x="534629" y="317543"/>
                  </a:cubicBezTo>
                  <a:cubicBezTo>
                    <a:pt x="538769" y="316889"/>
                    <a:pt x="539423" y="315581"/>
                    <a:pt x="538987" y="308169"/>
                  </a:cubicBezTo>
                  <a:cubicBezTo>
                    <a:pt x="538333" y="295743"/>
                    <a:pt x="536154" y="287022"/>
                    <a:pt x="532232" y="282662"/>
                  </a:cubicBezTo>
                  <a:cubicBezTo>
                    <a:pt x="527002" y="276558"/>
                    <a:pt x="523080" y="277866"/>
                    <a:pt x="523080" y="285496"/>
                  </a:cubicBezTo>
                  <a:cubicBezTo>
                    <a:pt x="523080" y="290292"/>
                    <a:pt x="521772" y="292472"/>
                    <a:pt x="518939" y="293344"/>
                  </a:cubicBezTo>
                  <a:cubicBezTo>
                    <a:pt x="515235" y="294217"/>
                    <a:pt x="512184" y="302065"/>
                    <a:pt x="512184" y="311003"/>
                  </a:cubicBezTo>
                  <a:cubicBezTo>
                    <a:pt x="512184" y="313837"/>
                    <a:pt x="512838" y="313837"/>
                    <a:pt x="516324" y="310567"/>
                  </a:cubicBezTo>
                  <a:cubicBezTo>
                    <a:pt x="519811" y="307297"/>
                    <a:pt x="521118" y="307297"/>
                    <a:pt x="525041" y="309695"/>
                  </a:cubicBezTo>
                  <a:cubicBezTo>
                    <a:pt x="530271" y="312965"/>
                    <a:pt x="530924" y="315799"/>
                    <a:pt x="526566" y="315799"/>
                  </a:cubicBezTo>
                  <a:cubicBezTo>
                    <a:pt x="525041" y="315799"/>
                    <a:pt x="522426" y="318851"/>
                    <a:pt x="520900" y="322339"/>
                  </a:cubicBezTo>
                  <a:cubicBezTo>
                    <a:pt x="518721" y="327572"/>
                    <a:pt x="518721" y="329534"/>
                    <a:pt x="520900" y="332150"/>
                  </a:cubicBezTo>
                  <a:cubicBezTo>
                    <a:pt x="525912" y="338254"/>
                    <a:pt x="530706" y="334984"/>
                    <a:pt x="530271" y="326264"/>
                  </a:cubicBezTo>
                  <a:close/>
                  <a:moveTo>
                    <a:pt x="474268" y="326046"/>
                  </a:moveTo>
                  <a:cubicBezTo>
                    <a:pt x="474922" y="319287"/>
                    <a:pt x="471000" y="317979"/>
                    <a:pt x="469256" y="324520"/>
                  </a:cubicBezTo>
                  <a:cubicBezTo>
                    <a:pt x="468603" y="326918"/>
                    <a:pt x="466206" y="328880"/>
                    <a:pt x="464027" y="328880"/>
                  </a:cubicBezTo>
                  <a:cubicBezTo>
                    <a:pt x="461630" y="328880"/>
                    <a:pt x="459886" y="329752"/>
                    <a:pt x="459886" y="331060"/>
                  </a:cubicBezTo>
                  <a:cubicBezTo>
                    <a:pt x="459886" y="332150"/>
                    <a:pt x="462937" y="333022"/>
                    <a:pt x="466642" y="332586"/>
                  </a:cubicBezTo>
                  <a:cubicBezTo>
                    <a:pt x="472307" y="332150"/>
                    <a:pt x="473615" y="331060"/>
                    <a:pt x="474268" y="326046"/>
                  </a:cubicBezTo>
                  <a:close/>
                  <a:moveTo>
                    <a:pt x="210382" y="320159"/>
                  </a:moveTo>
                  <a:cubicBezTo>
                    <a:pt x="211036" y="319069"/>
                    <a:pt x="210600" y="317979"/>
                    <a:pt x="209511" y="317979"/>
                  </a:cubicBezTo>
                  <a:cubicBezTo>
                    <a:pt x="208203" y="317979"/>
                    <a:pt x="207114" y="319069"/>
                    <a:pt x="207114" y="320159"/>
                  </a:cubicBezTo>
                  <a:cubicBezTo>
                    <a:pt x="207114" y="321467"/>
                    <a:pt x="207550" y="322339"/>
                    <a:pt x="207985" y="322339"/>
                  </a:cubicBezTo>
                  <a:cubicBezTo>
                    <a:pt x="208639" y="322339"/>
                    <a:pt x="209729" y="321467"/>
                    <a:pt x="210382" y="320159"/>
                  </a:cubicBezTo>
                  <a:close/>
                  <a:moveTo>
                    <a:pt x="222149" y="314491"/>
                  </a:moveTo>
                  <a:cubicBezTo>
                    <a:pt x="222585" y="312311"/>
                    <a:pt x="224764" y="307733"/>
                    <a:pt x="226943" y="304463"/>
                  </a:cubicBezTo>
                  <a:cubicBezTo>
                    <a:pt x="229340" y="301411"/>
                    <a:pt x="231084" y="297705"/>
                    <a:pt x="231084" y="296397"/>
                  </a:cubicBezTo>
                  <a:cubicBezTo>
                    <a:pt x="231084" y="295089"/>
                    <a:pt x="232609" y="293999"/>
                    <a:pt x="234352" y="293999"/>
                  </a:cubicBezTo>
                  <a:cubicBezTo>
                    <a:pt x="238492" y="293999"/>
                    <a:pt x="238710" y="286586"/>
                    <a:pt x="234570" y="283316"/>
                  </a:cubicBezTo>
                  <a:cubicBezTo>
                    <a:pt x="231955" y="281136"/>
                    <a:pt x="230866" y="281572"/>
                    <a:pt x="228905" y="285278"/>
                  </a:cubicBezTo>
                  <a:cubicBezTo>
                    <a:pt x="227597" y="287894"/>
                    <a:pt x="226943" y="291382"/>
                    <a:pt x="227597" y="293126"/>
                  </a:cubicBezTo>
                  <a:cubicBezTo>
                    <a:pt x="229122" y="296833"/>
                    <a:pt x="224329" y="297051"/>
                    <a:pt x="220406" y="293562"/>
                  </a:cubicBezTo>
                  <a:cubicBezTo>
                    <a:pt x="218009" y="291164"/>
                    <a:pt x="217791" y="292036"/>
                    <a:pt x="219099" y="297923"/>
                  </a:cubicBezTo>
                  <a:cubicBezTo>
                    <a:pt x="220188" y="303373"/>
                    <a:pt x="219752" y="304899"/>
                    <a:pt x="217138" y="304899"/>
                  </a:cubicBezTo>
                  <a:cubicBezTo>
                    <a:pt x="212126" y="304899"/>
                    <a:pt x="210600" y="309041"/>
                    <a:pt x="213869" y="314927"/>
                  </a:cubicBezTo>
                  <a:cubicBezTo>
                    <a:pt x="216920" y="321031"/>
                    <a:pt x="220842" y="320813"/>
                    <a:pt x="222149" y="314491"/>
                  </a:cubicBezTo>
                  <a:close/>
                  <a:moveTo>
                    <a:pt x="500853" y="313837"/>
                  </a:moveTo>
                  <a:cubicBezTo>
                    <a:pt x="501725" y="307515"/>
                    <a:pt x="498020" y="302937"/>
                    <a:pt x="494534" y="306425"/>
                  </a:cubicBezTo>
                  <a:cubicBezTo>
                    <a:pt x="491701" y="309259"/>
                    <a:pt x="494316" y="320595"/>
                    <a:pt x="497802" y="319505"/>
                  </a:cubicBezTo>
                  <a:cubicBezTo>
                    <a:pt x="499110" y="319069"/>
                    <a:pt x="500635" y="316453"/>
                    <a:pt x="500853" y="313837"/>
                  </a:cubicBezTo>
                  <a:close/>
                  <a:moveTo>
                    <a:pt x="564046" y="310131"/>
                  </a:moveTo>
                  <a:cubicBezTo>
                    <a:pt x="566225" y="308823"/>
                    <a:pt x="561649" y="300539"/>
                    <a:pt x="558816" y="300539"/>
                  </a:cubicBezTo>
                  <a:cubicBezTo>
                    <a:pt x="555766" y="300539"/>
                    <a:pt x="551408" y="308823"/>
                    <a:pt x="551408" y="314927"/>
                  </a:cubicBezTo>
                  <a:cubicBezTo>
                    <a:pt x="551408" y="317979"/>
                    <a:pt x="553587" y="317107"/>
                    <a:pt x="564046" y="310131"/>
                  </a:cubicBezTo>
                  <a:close/>
                  <a:moveTo>
                    <a:pt x="701110" y="303373"/>
                  </a:moveTo>
                  <a:cubicBezTo>
                    <a:pt x="701764" y="301847"/>
                    <a:pt x="703507" y="300539"/>
                    <a:pt x="705032" y="300539"/>
                  </a:cubicBezTo>
                  <a:cubicBezTo>
                    <a:pt x="706558" y="300539"/>
                    <a:pt x="708955" y="299231"/>
                    <a:pt x="710262" y="297487"/>
                  </a:cubicBezTo>
                  <a:cubicBezTo>
                    <a:pt x="712223" y="295089"/>
                    <a:pt x="712005" y="293562"/>
                    <a:pt x="709390" y="290946"/>
                  </a:cubicBezTo>
                  <a:cubicBezTo>
                    <a:pt x="705250" y="287022"/>
                    <a:pt x="701764" y="286368"/>
                    <a:pt x="701764" y="289856"/>
                  </a:cubicBezTo>
                  <a:cubicBezTo>
                    <a:pt x="701764" y="291164"/>
                    <a:pt x="698713" y="295307"/>
                    <a:pt x="694791" y="299013"/>
                  </a:cubicBezTo>
                  <a:lnTo>
                    <a:pt x="688035" y="305989"/>
                  </a:lnTo>
                  <a:lnTo>
                    <a:pt x="689561" y="299885"/>
                  </a:lnTo>
                  <a:cubicBezTo>
                    <a:pt x="691522" y="291600"/>
                    <a:pt x="687818" y="286586"/>
                    <a:pt x="681934" y="289856"/>
                  </a:cubicBezTo>
                  <a:cubicBezTo>
                    <a:pt x="676268" y="292690"/>
                    <a:pt x="676704" y="302283"/>
                    <a:pt x="682370" y="308605"/>
                  </a:cubicBezTo>
                  <a:cubicBezTo>
                    <a:pt x="686946" y="313401"/>
                    <a:pt x="687382" y="313401"/>
                    <a:pt x="693701" y="309695"/>
                  </a:cubicBezTo>
                  <a:cubicBezTo>
                    <a:pt x="697188" y="307733"/>
                    <a:pt x="700456" y="304681"/>
                    <a:pt x="701110" y="303373"/>
                  </a:cubicBezTo>
                  <a:close/>
                  <a:moveTo>
                    <a:pt x="456618" y="299231"/>
                  </a:moveTo>
                  <a:cubicBezTo>
                    <a:pt x="456618" y="294435"/>
                    <a:pt x="455528" y="292908"/>
                    <a:pt x="452260" y="292908"/>
                  </a:cubicBezTo>
                  <a:cubicBezTo>
                    <a:pt x="448773" y="292908"/>
                    <a:pt x="448119" y="291600"/>
                    <a:pt x="448555" y="286804"/>
                  </a:cubicBezTo>
                  <a:cubicBezTo>
                    <a:pt x="448991" y="282226"/>
                    <a:pt x="448337" y="280918"/>
                    <a:pt x="444633" y="280918"/>
                  </a:cubicBezTo>
                  <a:cubicBezTo>
                    <a:pt x="439403" y="280918"/>
                    <a:pt x="438967" y="276122"/>
                    <a:pt x="443543" y="272198"/>
                  </a:cubicBezTo>
                  <a:cubicBezTo>
                    <a:pt x="448773" y="267838"/>
                    <a:pt x="447466" y="265004"/>
                    <a:pt x="440928" y="266748"/>
                  </a:cubicBezTo>
                  <a:cubicBezTo>
                    <a:pt x="431994" y="268928"/>
                    <a:pt x="430905" y="270890"/>
                    <a:pt x="435481" y="276776"/>
                  </a:cubicBezTo>
                  <a:cubicBezTo>
                    <a:pt x="438314" y="280264"/>
                    <a:pt x="439185" y="283316"/>
                    <a:pt x="438096" y="286368"/>
                  </a:cubicBezTo>
                  <a:cubicBezTo>
                    <a:pt x="436135" y="291164"/>
                    <a:pt x="437442" y="300103"/>
                    <a:pt x="440711" y="304027"/>
                  </a:cubicBezTo>
                  <a:cubicBezTo>
                    <a:pt x="441582" y="305553"/>
                    <a:pt x="445722" y="306207"/>
                    <a:pt x="449645" y="305989"/>
                  </a:cubicBezTo>
                  <a:cubicBezTo>
                    <a:pt x="455746" y="305553"/>
                    <a:pt x="456618" y="304681"/>
                    <a:pt x="456618" y="299231"/>
                  </a:cubicBezTo>
                  <a:close/>
                  <a:moveTo>
                    <a:pt x="582786" y="305771"/>
                  </a:moveTo>
                  <a:cubicBezTo>
                    <a:pt x="588452" y="303591"/>
                    <a:pt x="584312" y="298141"/>
                    <a:pt x="577992" y="299885"/>
                  </a:cubicBezTo>
                  <a:cubicBezTo>
                    <a:pt x="573198" y="300975"/>
                    <a:pt x="572762" y="300539"/>
                    <a:pt x="573852" y="296397"/>
                  </a:cubicBezTo>
                  <a:cubicBezTo>
                    <a:pt x="575377" y="290292"/>
                    <a:pt x="569930" y="287676"/>
                    <a:pt x="565136" y="292472"/>
                  </a:cubicBezTo>
                  <a:cubicBezTo>
                    <a:pt x="561213" y="296397"/>
                    <a:pt x="562957" y="300539"/>
                    <a:pt x="568622" y="300539"/>
                  </a:cubicBezTo>
                  <a:cubicBezTo>
                    <a:pt x="570801" y="300539"/>
                    <a:pt x="573852" y="302065"/>
                    <a:pt x="575377" y="303809"/>
                  </a:cubicBezTo>
                  <a:cubicBezTo>
                    <a:pt x="578428" y="307515"/>
                    <a:pt x="578210" y="307515"/>
                    <a:pt x="582786" y="305771"/>
                  </a:cubicBezTo>
                  <a:close/>
                  <a:moveTo>
                    <a:pt x="472961" y="302719"/>
                  </a:moveTo>
                  <a:cubicBezTo>
                    <a:pt x="472961" y="301629"/>
                    <a:pt x="471871" y="300539"/>
                    <a:pt x="470564" y="300539"/>
                  </a:cubicBezTo>
                  <a:cubicBezTo>
                    <a:pt x="469474" y="300539"/>
                    <a:pt x="469039" y="301629"/>
                    <a:pt x="469692" y="302719"/>
                  </a:cubicBezTo>
                  <a:cubicBezTo>
                    <a:pt x="470346" y="304027"/>
                    <a:pt x="471436" y="304899"/>
                    <a:pt x="472089" y="304899"/>
                  </a:cubicBezTo>
                  <a:cubicBezTo>
                    <a:pt x="472525" y="304899"/>
                    <a:pt x="472961" y="304027"/>
                    <a:pt x="472961" y="302719"/>
                  </a:cubicBezTo>
                  <a:close/>
                  <a:moveTo>
                    <a:pt x="1444392" y="295961"/>
                  </a:moveTo>
                  <a:lnTo>
                    <a:pt x="1446135" y="291600"/>
                  </a:lnTo>
                  <a:lnTo>
                    <a:pt x="1450058" y="295961"/>
                  </a:lnTo>
                  <a:cubicBezTo>
                    <a:pt x="1456595" y="303155"/>
                    <a:pt x="1457902" y="301411"/>
                    <a:pt x="1457902" y="287240"/>
                  </a:cubicBezTo>
                  <a:cubicBezTo>
                    <a:pt x="1457902" y="275904"/>
                    <a:pt x="1457467" y="274160"/>
                    <a:pt x="1454416" y="275250"/>
                  </a:cubicBezTo>
                  <a:cubicBezTo>
                    <a:pt x="1452455" y="276122"/>
                    <a:pt x="1449404" y="275468"/>
                    <a:pt x="1447879" y="274160"/>
                  </a:cubicBezTo>
                  <a:cubicBezTo>
                    <a:pt x="1445700" y="272416"/>
                    <a:pt x="1443738" y="273288"/>
                    <a:pt x="1439598" y="278084"/>
                  </a:cubicBezTo>
                  <a:cubicBezTo>
                    <a:pt x="1436330" y="281790"/>
                    <a:pt x="1435022" y="285060"/>
                    <a:pt x="1436330" y="286368"/>
                  </a:cubicBezTo>
                  <a:cubicBezTo>
                    <a:pt x="1437419" y="287458"/>
                    <a:pt x="1438291" y="291164"/>
                    <a:pt x="1438291" y="294435"/>
                  </a:cubicBezTo>
                  <a:cubicBezTo>
                    <a:pt x="1438291" y="301629"/>
                    <a:pt x="1441995" y="302501"/>
                    <a:pt x="1444392" y="295961"/>
                  </a:cubicBezTo>
                  <a:close/>
                  <a:moveTo>
                    <a:pt x="474704" y="288984"/>
                  </a:moveTo>
                  <a:cubicBezTo>
                    <a:pt x="475140" y="286804"/>
                    <a:pt x="474050" y="285278"/>
                    <a:pt x="472089" y="285278"/>
                  </a:cubicBezTo>
                  <a:cubicBezTo>
                    <a:pt x="469910" y="285278"/>
                    <a:pt x="468603" y="287240"/>
                    <a:pt x="468603" y="289856"/>
                  </a:cubicBezTo>
                  <a:cubicBezTo>
                    <a:pt x="468603" y="295089"/>
                    <a:pt x="473615" y="294435"/>
                    <a:pt x="474704" y="288984"/>
                  </a:cubicBezTo>
                  <a:close/>
                  <a:moveTo>
                    <a:pt x="560342" y="287022"/>
                  </a:moveTo>
                  <a:cubicBezTo>
                    <a:pt x="565572" y="280482"/>
                    <a:pt x="565572" y="278084"/>
                    <a:pt x="559906" y="279828"/>
                  </a:cubicBezTo>
                  <a:cubicBezTo>
                    <a:pt x="556855" y="280918"/>
                    <a:pt x="553805" y="279828"/>
                    <a:pt x="550100" y="276340"/>
                  </a:cubicBezTo>
                  <a:lnTo>
                    <a:pt x="544870" y="271544"/>
                  </a:lnTo>
                  <a:lnTo>
                    <a:pt x="544870" y="276776"/>
                  </a:lnTo>
                  <a:cubicBezTo>
                    <a:pt x="544870" y="282662"/>
                    <a:pt x="550318" y="291818"/>
                    <a:pt x="553805" y="291818"/>
                  </a:cubicBezTo>
                  <a:cubicBezTo>
                    <a:pt x="555112" y="291818"/>
                    <a:pt x="557945" y="289638"/>
                    <a:pt x="560342" y="287022"/>
                  </a:cubicBezTo>
                  <a:close/>
                  <a:moveTo>
                    <a:pt x="431776" y="265440"/>
                  </a:moveTo>
                  <a:lnTo>
                    <a:pt x="438096" y="259553"/>
                  </a:lnTo>
                  <a:lnTo>
                    <a:pt x="434391" y="251705"/>
                  </a:lnTo>
                  <a:cubicBezTo>
                    <a:pt x="430905" y="244293"/>
                    <a:pt x="427418" y="242113"/>
                    <a:pt x="424368" y="245165"/>
                  </a:cubicBezTo>
                  <a:cubicBezTo>
                    <a:pt x="423714" y="246037"/>
                    <a:pt x="423932" y="248435"/>
                    <a:pt x="425239" y="250615"/>
                  </a:cubicBezTo>
                  <a:cubicBezTo>
                    <a:pt x="426982" y="254103"/>
                    <a:pt x="426547" y="254757"/>
                    <a:pt x="423060" y="254757"/>
                  </a:cubicBezTo>
                  <a:cubicBezTo>
                    <a:pt x="416741" y="254757"/>
                    <a:pt x="415215" y="262605"/>
                    <a:pt x="419791" y="271544"/>
                  </a:cubicBezTo>
                  <a:cubicBezTo>
                    <a:pt x="423060" y="277212"/>
                    <a:pt x="424150" y="278084"/>
                    <a:pt x="424803" y="275250"/>
                  </a:cubicBezTo>
                  <a:cubicBezTo>
                    <a:pt x="425239" y="273070"/>
                    <a:pt x="428290" y="268710"/>
                    <a:pt x="431776" y="265440"/>
                  </a:cubicBezTo>
                  <a:close/>
                  <a:moveTo>
                    <a:pt x="173556" y="270672"/>
                  </a:moveTo>
                  <a:cubicBezTo>
                    <a:pt x="171377" y="268492"/>
                    <a:pt x="169416" y="271762"/>
                    <a:pt x="171377" y="274596"/>
                  </a:cubicBezTo>
                  <a:cubicBezTo>
                    <a:pt x="172684" y="276994"/>
                    <a:pt x="173120" y="276994"/>
                    <a:pt x="173992" y="274596"/>
                  </a:cubicBezTo>
                  <a:cubicBezTo>
                    <a:pt x="174428" y="273070"/>
                    <a:pt x="174210" y="271326"/>
                    <a:pt x="173556" y="270672"/>
                  </a:cubicBezTo>
                  <a:close/>
                  <a:moveTo>
                    <a:pt x="159392" y="262387"/>
                  </a:moveTo>
                  <a:cubicBezTo>
                    <a:pt x="153073" y="254975"/>
                    <a:pt x="150458" y="245383"/>
                    <a:pt x="154380" y="242985"/>
                  </a:cubicBezTo>
                  <a:cubicBezTo>
                    <a:pt x="157867" y="240805"/>
                    <a:pt x="165711" y="248435"/>
                    <a:pt x="165711" y="253667"/>
                  </a:cubicBezTo>
                  <a:cubicBezTo>
                    <a:pt x="165711" y="256501"/>
                    <a:pt x="166801" y="259553"/>
                    <a:pt x="168108" y="260425"/>
                  </a:cubicBezTo>
                  <a:cubicBezTo>
                    <a:pt x="175299" y="264786"/>
                    <a:pt x="177478" y="245601"/>
                    <a:pt x="170723" y="236227"/>
                  </a:cubicBezTo>
                  <a:cubicBezTo>
                    <a:pt x="167891" y="232302"/>
                    <a:pt x="165058" y="230994"/>
                    <a:pt x="160917" y="231212"/>
                  </a:cubicBezTo>
                  <a:cubicBezTo>
                    <a:pt x="155470" y="231648"/>
                    <a:pt x="146100" y="225762"/>
                    <a:pt x="146100" y="221620"/>
                  </a:cubicBezTo>
                  <a:cubicBezTo>
                    <a:pt x="146100" y="220748"/>
                    <a:pt x="149804" y="219876"/>
                    <a:pt x="154598" y="219876"/>
                  </a:cubicBezTo>
                  <a:cubicBezTo>
                    <a:pt x="159392" y="219876"/>
                    <a:pt x="164186" y="218568"/>
                    <a:pt x="165711" y="216606"/>
                  </a:cubicBezTo>
                  <a:cubicBezTo>
                    <a:pt x="170505" y="210720"/>
                    <a:pt x="174428" y="212682"/>
                    <a:pt x="174428" y="220966"/>
                  </a:cubicBezTo>
                  <a:cubicBezTo>
                    <a:pt x="174428" y="225762"/>
                    <a:pt x="176171" y="230558"/>
                    <a:pt x="178786" y="233392"/>
                  </a:cubicBezTo>
                  <a:cubicBezTo>
                    <a:pt x="181183" y="236009"/>
                    <a:pt x="183144" y="237753"/>
                    <a:pt x="183362" y="237099"/>
                  </a:cubicBezTo>
                  <a:cubicBezTo>
                    <a:pt x="183362" y="236663"/>
                    <a:pt x="183798" y="230994"/>
                    <a:pt x="184016" y="224672"/>
                  </a:cubicBezTo>
                  <a:cubicBezTo>
                    <a:pt x="184669" y="214208"/>
                    <a:pt x="184234" y="213118"/>
                    <a:pt x="179440" y="212028"/>
                  </a:cubicBezTo>
                  <a:cubicBezTo>
                    <a:pt x="175081" y="210938"/>
                    <a:pt x="174428" y="209412"/>
                    <a:pt x="174864" y="203961"/>
                  </a:cubicBezTo>
                  <a:cubicBezTo>
                    <a:pt x="175517" y="198293"/>
                    <a:pt x="174646" y="197203"/>
                    <a:pt x="168980" y="195677"/>
                  </a:cubicBezTo>
                  <a:cubicBezTo>
                    <a:pt x="164186" y="194369"/>
                    <a:pt x="162007" y="194587"/>
                    <a:pt x="160700" y="196985"/>
                  </a:cubicBezTo>
                  <a:cubicBezTo>
                    <a:pt x="158085" y="201999"/>
                    <a:pt x="151983" y="201127"/>
                    <a:pt x="153291" y="195895"/>
                  </a:cubicBezTo>
                  <a:cubicBezTo>
                    <a:pt x="153944" y="193715"/>
                    <a:pt x="153073" y="190009"/>
                    <a:pt x="151330" y="187829"/>
                  </a:cubicBezTo>
                  <a:cubicBezTo>
                    <a:pt x="147843" y="183251"/>
                    <a:pt x="147407" y="178455"/>
                    <a:pt x="150458" y="178455"/>
                  </a:cubicBezTo>
                  <a:cubicBezTo>
                    <a:pt x="151765" y="178455"/>
                    <a:pt x="152637" y="180199"/>
                    <a:pt x="152637" y="182379"/>
                  </a:cubicBezTo>
                  <a:cubicBezTo>
                    <a:pt x="152637" y="186303"/>
                    <a:pt x="160046" y="192189"/>
                    <a:pt x="162225" y="190009"/>
                  </a:cubicBezTo>
                  <a:cubicBezTo>
                    <a:pt x="165276" y="186739"/>
                    <a:pt x="163097" y="176492"/>
                    <a:pt x="158303" y="171696"/>
                  </a:cubicBezTo>
                  <a:cubicBezTo>
                    <a:pt x="155470" y="168862"/>
                    <a:pt x="151547" y="163194"/>
                    <a:pt x="149586" y="159488"/>
                  </a:cubicBezTo>
                  <a:cubicBezTo>
                    <a:pt x="145228" y="150768"/>
                    <a:pt x="143049" y="150332"/>
                    <a:pt x="144574" y="158180"/>
                  </a:cubicBezTo>
                  <a:cubicBezTo>
                    <a:pt x="145228" y="161450"/>
                    <a:pt x="144139" y="166246"/>
                    <a:pt x="142395" y="169080"/>
                  </a:cubicBezTo>
                  <a:cubicBezTo>
                    <a:pt x="139563" y="173222"/>
                    <a:pt x="139345" y="175402"/>
                    <a:pt x="141524" y="179763"/>
                  </a:cubicBezTo>
                  <a:cubicBezTo>
                    <a:pt x="142831" y="182815"/>
                    <a:pt x="143921" y="188047"/>
                    <a:pt x="143921" y="191317"/>
                  </a:cubicBezTo>
                  <a:cubicBezTo>
                    <a:pt x="143921" y="195241"/>
                    <a:pt x="145664" y="198729"/>
                    <a:pt x="148715" y="200691"/>
                  </a:cubicBezTo>
                  <a:cubicBezTo>
                    <a:pt x="151983" y="202871"/>
                    <a:pt x="152855" y="205051"/>
                    <a:pt x="151983" y="207668"/>
                  </a:cubicBezTo>
                  <a:cubicBezTo>
                    <a:pt x="150458" y="211374"/>
                    <a:pt x="150022" y="211374"/>
                    <a:pt x="145446" y="208322"/>
                  </a:cubicBezTo>
                  <a:cubicBezTo>
                    <a:pt x="141742" y="205923"/>
                    <a:pt x="139345" y="205705"/>
                    <a:pt x="136512" y="207232"/>
                  </a:cubicBezTo>
                  <a:cubicBezTo>
                    <a:pt x="133243" y="209194"/>
                    <a:pt x="132807" y="208758"/>
                    <a:pt x="133897" y="204833"/>
                  </a:cubicBezTo>
                  <a:cubicBezTo>
                    <a:pt x="134551" y="202217"/>
                    <a:pt x="135858" y="198293"/>
                    <a:pt x="136512" y="195895"/>
                  </a:cubicBezTo>
                  <a:cubicBezTo>
                    <a:pt x="137166" y="193497"/>
                    <a:pt x="136730" y="191535"/>
                    <a:pt x="135422" y="191535"/>
                  </a:cubicBezTo>
                  <a:cubicBezTo>
                    <a:pt x="134115" y="191535"/>
                    <a:pt x="133025" y="193061"/>
                    <a:pt x="133025" y="195023"/>
                  </a:cubicBezTo>
                  <a:cubicBezTo>
                    <a:pt x="133025" y="196767"/>
                    <a:pt x="130193" y="199165"/>
                    <a:pt x="126924" y="200473"/>
                  </a:cubicBezTo>
                  <a:cubicBezTo>
                    <a:pt x="123219" y="201781"/>
                    <a:pt x="119951" y="205051"/>
                    <a:pt x="118208" y="209412"/>
                  </a:cubicBezTo>
                  <a:cubicBezTo>
                    <a:pt x="115157" y="217696"/>
                    <a:pt x="116464" y="220312"/>
                    <a:pt x="122784" y="217914"/>
                  </a:cubicBezTo>
                  <a:cubicBezTo>
                    <a:pt x="127578" y="215952"/>
                    <a:pt x="141960" y="221838"/>
                    <a:pt x="141960" y="225762"/>
                  </a:cubicBezTo>
                  <a:cubicBezTo>
                    <a:pt x="141960" y="226634"/>
                    <a:pt x="143485" y="229250"/>
                    <a:pt x="145446" y="231212"/>
                  </a:cubicBezTo>
                  <a:cubicBezTo>
                    <a:pt x="148497" y="234482"/>
                    <a:pt x="148279" y="235572"/>
                    <a:pt x="144139" y="240805"/>
                  </a:cubicBezTo>
                  <a:cubicBezTo>
                    <a:pt x="140652" y="245165"/>
                    <a:pt x="139780" y="248435"/>
                    <a:pt x="140870" y="253885"/>
                  </a:cubicBezTo>
                  <a:cubicBezTo>
                    <a:pt x="141960" y="259553"/>
                    <a:pt x="141306" y="261515"/>
                    <a:pt x="137601" y="263913"/>
                  </a:cubicBezTo>
                  <a:cubicBezTo>
                    <a:pt x="132807" y="266748"/>
                    <a:pt x="131282" y="272198"/>
                    <a:pt x="135204" y="272198"/>
                  </a:cubicBezTo>
                  <a:cubicBezTo>
                    <a:pt x="136512" y="272198"/>
                    <a:pt x="137383" y="271326"/>
                    <a:pt x="137383" y="270236"/>
                  </a:cubicBezTo>
                  <a:cubicBezTo>
                    <a:pt x="137383" y="267184"/>
                    <a:pt x="153073" y="268056"/>
                    <a:pt x="157867" y="271326"/>
                  </a:cubicBezTo>
                  <a:cubicBezTo>
                    <a:pt x="165711" y="276776"/>
                    <a:pt x="166801" y="270890"/>
                    <a:pt x="159392" y="262387"/>
                  </a:cubicBezTo>
                  <a:close/>
                  <a:moveTo>
                    <a:pt x="1438073" y="268710"/>
                  </a:moveTo>
                  <a:cubicBezTo>
                    <a:pt x="1436765" y="266966"/>
                    <a:pt x="1434804" y="265658"/>
                    <a:pt x="1433715" y="265658"/>
                  </a:cubicBezTo>
                  <a:cubicBezTo>
                    <a:pt x="1430664" y="265658"/>
                    <a:pt x="1431318" y="271762"/>
                    <a:pt x="1434586" y="272852"/>
                  </a:cubicBezTo>
                  <a:cubicBezTo>
                    <a:pt x="1438944" y="274378"/>
                    <a:pt x="1440906" y="271980"/>
                    <a:pt x="1438073" y="268710"/>
                  </a:cubicBezTo>
                  <a:close/>
                  <a:moveTo>
                    <a:pt x="189899" y="263041"/>
                  </a:moveTo>
                  <a:cubicBezTo>
                    <a:pt x="191207" y="260207"/>
                    <a:pt x="194257" y="256283"/>
                    <a:pt x="196436" y="254103"/>
                  </a:cubicBezTo>
                  <a:cubicBezTo>
                    <a:pt x="201012" y="249743"/>
                    <a:pt x="202102" y="240805"/>
                    <a:pt x="197962" y="242113"/>
                  </a:cubicBezTo>
                  <a:cubicBezTo>
                    <a:pt x="196436" y="242767"/>
                    <a:pt x="194039" y="245383"/>
                    <a:pt x="192732" y="247999"/>
                  </a:cubicBezTo>
                  <a:cubicBezTo>
                    <a:pt x="191425" y="250615"/>
                    <a:pt x="188156" y="254321"/>
                    <a:pt x="185541" y="256065"/>
                  </a:cubicBezTo>
                  <a:cubicBezTo>
                    <a:pt x="180311" y="259771"/>
                    <a:pt x="179440" y="267838"/>
                    <a:pt x="184234" y="267838"/>
                  </a:cubicBezTo>
                  <a:cubicBezTo>
                    <a:pt x="185977" y="267838"/>
                    <a:pt x="188592" y="265658"/>
                    <a:pt x="189899" y="263041"/>
                  </a:cubicBezTo>
                  <a:close/>
                  <a:moveTo>
                    <a:pt x="553587" y="266966"/>
                  </a:moveTo>
                  <a:cubicBezTo>
                    <a:pt x="553587" y="266312"/>
                    <a:pt x="552715" y="265222"/>
                    <a:pt x="551408" y="264567"/>
                  </a:cubicBezTo>
                  <a:cubicBezTo>
                    <a:pt x="550318" y="263913"/>
                    <a:pt x="549228" y="264349"/>
                    <a:pt x="549228" y="265440"/>
                  </a:cubicBezTo>
                  <a:cubicBezTo>
                    <a:pt x="549228" y="266748"/>
                    <a:pt x="550318" y="267838"/>
                    <a:pt x="551408" y="267838"/>
                  </a:cubicBezTo>
                  <a:cubicBezTo>
                    <a:pt x="552715" y="267838"/>
                    <a:pt x="553587" y="267402"/>
                    <a:pt x="553587" y="266966"/>
                  </a:cubicBezTo>
                  <a:close/>
                  <a:moveTo>
                    <a:pt x="671257" y="258027"/>
                  </a:moveTo>
                  <a:cubicBezTo>
                    <a:pt x="671257" y="256283"/>
                    <a:pt x="670167" y="254757"/>
                    <a:pt x="668860" y="254757"/>
                  </a:cubicBezTo>
                  <a:cubicBezTo>
                    <a:pt x="667334" y="254757"/>
                    <a:pt x="666898" y="252577"/>
                    <a:pt x="667770" y="249307"/>
                  </a:cubicBezTo>
                  <a:cubicBezTo>
                    <a:pt x="669731" y="241895"/>
                    <a:pt x="664066" y="241895"/>
                    <a:pt x="660797" y="249307"/>
                  </a:cubicBezTo>
                  <a:cubicBezTo>
                    <a:pt x="656657" y="258463"/>
                    <a:pt x="657528" y="261297"/>
                    <a:pt x="664719" y="261297"/>
                  </a:cubicBezTo>
                  <a:cubicBezTo>
                    <a:pt x="669078" y="261297"/>
                    <a:pt x="671257" y="260207"/>
                    <a:pt x="671257" y="258027"/>
                  </a:cubicBezTo>
                  <a:close/>
                  <a:moveTo>
                    <a:pt x="512184" y="251269"/>
                  </a:moveTo>
                  <a:cubicBezTo>
                    <a:pt x="512184" y="249525"/>
                    <a:pt x="513274" y="248217"/>
                    <a:pt x="514363" y="248217"/>
                  </a:cubicBezTo>
                  <a:cubicBezTo>
                    <a:pt x="515671" y="248217"/>
                    <a:pt x="516542" y="246691"/>
                    <a:pt x="516542" y="244947"/>
                  </a:cubicBezTo>
                  <a:cubicBezTo>
                    <a:pt x="516542" y="243203"/>
                    <a:pt x="515889" y="241677"/>
                    <a:pt x="515017" y="241677"/>
                  </a:cubicBezTo>
                  <a:cubicBezTo>
                    <a:pt x="511966" y="241895"/>
                    <a:pt x="505429" y="252577"/>
                    <a:pt x="506737" y="254757"/>
                  </a:cubicBezTo>
                  <a:cubicBezTo>
                    <a:pt x="508480" y="257591"/>
                    <a:pt x="512184" y="255411"/>
                    <a:pt x="512184" y="251269"/>
                  </a:cubicBezTo>
                  <a:close/>
                  <a:moveTo>
                    <a:pt x="183580" y="243421"/>
                  </a:moveTo>
                  <a:cubicBezTo>
                    <a:pt x="182054" y="241895"/>
                    <a:pt x="180965" y="241677"/>
                    <a:pt x="180965" y="242985"/>
                  </a:cubicBezTo>
                  <a:cubicBezTo>
                    <a:pt x="180965" y="246037"/>
                    <a:pt x="183580" y="248653"/>
                    <a:pt x="185105" y="247127"/>
                  </a:cubicBezTo>
                  <a:cubicBezTo>
                    <a:pt x="185541" y="246473"/>
                    <a:pt x="184887" y="244729"/>
                    <a:pt x="183580" y="243421"/>
                  </a:cubicBezTo>
                  <a:close/>
                  <a:moveTo>
                    <a:pt x="404102" y="238625"/>
                  </a:moveTo>
                  <a:cubicBezTo>
                    <a:pt x="403231" y="232956"/>
                    <a:pt x="403666" y="230994"/>
                    <a:pt x="406499" y="229904"/>
                  </a:cubicBezTo>
                  <a:cubicBezTo>
                    <a:pt x="411293" y="228160"/>
                    <a:pt x="416305" y="232084"/>
                    <a:pt x="416305" y="237535"/>
                  </a:cubicBezTo>
                  <a:cubicBezTo>
                    <a:pt x="416305" y="239715"/>
                    <a:pt x="417394" y="242113"/>
                    <a:pt x="418484" y="242767"/>
                  </a:cubicBezTo>
                  <a:cubicBezTo>
                    <a:pt x="419791" y="243421"/>
                    <a:pt x="420663" y="242985"/>
                    <a:pt x="420663" y="241677"/>
                  </a:cubicBezTo>
                  <a:cubicBezTo>
                    <a:pt x="420663" y="240369"/>
                    <a:pt x="423060" y="236009"/>
                    <a:pt x="426111" y="232084"/>
                  </a:cubicBezTo>
                  <a:cubicBezTo>
                    <a:pt x="431776" y="224672"/>
                    <a:pt x="433084" y="219876"/>
                    <a:pt x="429379" y="219876"/>
                  </a:cubicBezTo>
                  <a:cubicBezTo>
                    <a:pt x="424803" y="219876"/>
                    <a:pt x="427418" y="214644"/>
                    <a:pt x="435263" y="207886"/>
                  </a:cubicBezTo>
                  <a:cubicBezTo>
                    <a:pt x="441146" y="202871"/>
                    <a:pt x="442890" y="200037"/>
                    <a:pt x="441800" y="197203"/>
                  </a:cubicBezTo>
                  <a:cubicBezTo>
                    <a:pt x="440493" y="194151"/>
                    <a:pt x="438749" y="193497"/>
                    <a:pt x="434173" y="194369"/>
                  </a:cubicBezTo>
                  <a:cubicBezTo>
                    <a:pt x="430687" y="195023"/>
                    <a:pt x="426547" y="194369"/>
                    <a:pt x="423932" y="192407"/>
                  </a:cubicBezTo>
                  <a:cubicBezTo>
                    <a:pt x="420009" y="189573"/>
                    <a:pt x="419356" y="189791"/>
                    <a:pt x="416087" y="193933"/>
                  </a:cubicBezTo>
                  <a:cubicBezTo>
                    <a:pt x="411511" y="200037"/>
                    <a:pt x="405410" y="198075"/>
                    <a:pt x="405410" y="190445"/>
                  </a:cubicBezTo>
                  <a:cubicBezTo>
                    <a:pt x="405410" y="186521"/>
                    <a:pt x="404320" y="184995"/>
                    <a:pt x="401269" y="184995"/>
                  </a:cubicBezTo>
                  <a:cubicBezTo>
                    <a:pt x="397565" y="184995"/>
                    <a:pt x="394514" y="181071"/>
                    <a:pt x="394514" y="176056"/>
                  </a:cubicBezTo>
                  <a:cubicBezTo>
                    <a:pt x="394514" y="174966"/>
                    <a:pt x="396257" y="174094"/>
                    <a:pt x="398437" y="174094"/>
                  </a:cubicBezTo>
                  <a:cubicBezTo>
                    <a:pt x="404538" y="173876"/>
                    <a:pt x="412818" y="166464"/>
                    <a:pt x="411293" y="162322"/>
                  </a:cubicBezTo>
                  <a:cubicBezTo>
                    <a:pt x="409114" y="157090"/>
                    <a:pt x="403231" y="158834"/>
                    <a:pt x="399090" y="165810"/>
                  </a:cubicBezTo>
                  <a:cubicBezTo>
                    <a:pt x="395822" y="171260"/>
                    <a:pt x="383401" y="182815"/>
                    <a:pt x="380568" y="182815"/>
                  </a:cubicBezTo>
                  <a:cubicBezTo>
                    <a:pt x="379914" y="182815"/>
                    <a:pt x="379261" y="179981"/>
                    <a:pt x="379261" y="176710"/>
                  </a:cubicBezTo>
                  <a:cubicBezTo>
                    <a:pt x="379261" y="171914"/>
                    <a:pt x="377735" y="169734"/>
                    <a:pt x="373377" y="167772"/>
                  </a:cubicBezTo>
                  <a:cubicBezTo>
                    <a:pt x="367930" y="165156"/>
                    <a:pt x="367058" y="165592"/>
                    <a:pt x="362482" y="171260"/>
                  </a:cubicBezTo>
                  <a:cubicBezTo>
                    <a:pt x="357252" y="177582"/>
                    <a:pt x="355945" y="182815"/>
                    <a:pt x="359431" y="182815"/>
                  </a:cubicBezTo>
                  <a:cubicBezTo>
                    <a:pt x="360739" y="182815"/>
                    <a:pt x="362264" y="181725"/>
                    <a:pt x="362918" y="180417"/>
                  </a:cubicBezTo>
                  <a:cubicBezTo>
                    <a:pt x="365968" y="175838"/>
                    <a:pt x="371634" y="179545"/>
                    <a:pt x="371634" y="186085"/>
                  </a:cubicBezTo>
                  <a:cubicBezTo>
                    <a:pt x="371634" y="191971"/>
                    <a:pt x="372288" y="192625"/>
                    <a:pt x="378389" y="192189"/>
                  </a:cubicBezTo>
                  <a:cubicBezTo>
                    <a:pt x="382965" y="191753"/>
                    <a:pt x="385798" y="192625"/>
                    <a:pt x="386670" y="195023"/>
                  </a:cubicBezTo>
                  <a:cubicBezTo>
                    <a:pt x="387541" y="197639"/>
                    <a:pt x="388849" y="197857"/>
                    <a:pt x="392335" y="195895"/>
                  </a:cubicBezTo>
                  <a:cubicBezTo>
                    <a:pt x="399308" y="192189"/>
                    <a:pt x="406063" y="197421"/>
                    <a:pt x="404538" y="205487"/>
                  </a:cubicBezTo>
                  <a:cubicBezTo>
                    <a:pt x="403666" y="208976"/>
                    <a:pt x="404102" y="212900"/>
                    <a:pt x="405410" y="214426"/>
                  </a:cubicBezTo>
                  <a:cubicBezTo>
                    <a:pt x="406935" y="216170"/>
                    <a:pt x="406281" y="218350"/>
                    <a:pt x="403013" y="221184"/>
                  </a:cubicBezTo>
                  <a:cubicBezTo>
                    <a:pt x="399308" y="224672"/>
                    <a:pt x="398219" y="224672"/>
                    <a:pt x="396693" y="222056"/>
                  </a:cubicBezTo>
                  <a:cubicBezTo>
                    <a:pt x="395386" y="220312"/>
                    <a:pt x="394514" y="215734"/>
                    <a:pt x="394514" y="212028"/>
                  </a:cubicBezTo>
                  <a:cubicBezTo>
                    <a:pt x="394514" y="208322"/>
                    <a:pt x="392771" y="203743"/>
                    <a:pt x="390592" y="201781"/>
                  </a:cubicBezTo>
                  <a:cubicBezTo>
                    <a:pt x="387105" y="198511"/>
                    <a:pt x="386234" y="198511"/>
                    <a:pt x="381876" y="201563"/>
                  </a:cubicBezTo>
                  <a:cubicBezTo>
                    <a:pt x="375556" y="205923"/>
                    <a:pt x="375774" y="208758"/>
                    <a:pt x="382747" y="208322"/>
                  </a:cubicBezTo>
                  <a:cubicBezTo>
                    <a:pt x="390374" y="207668"/>
                    <a:pt x="394950" y="214644"/>
                    <a:pt x="389720" y="218568"/>
                  </a:cubicBezTo>
                  <a:cubicBezTo>
                    <a:pt x="385362" y="221838"/>
                    <a:pt x="386670" y="224236"/>
                    <a:pt x="392771" y="224236"/>
                  </a:cubicBezTo>
                  <a:cubicBezTo>
                    <a:pt x="395386" y="224236"/>
                    <a:pt x="396693" y="225762"/>
                    <a:pt x="396693" y="229468"/>
                  </a:cubicBezTo>
                  <a:cubicBezTo>
                    <a:pt x="396693" y="236881"/>
                    <a:pt x="401051" y="248435"/>
                    <a:pt x="403448" y="246909"/>
                  </a:cubicBezTo>
                  <a:cubicBezTo>
                    <a:pt x="404538" y="246255"/>
                    <a:pt x="404974" y="242549"/>
                    <a:pt x="404102" y="238625"/>
                  </a:cubicBezTo>
                  <a:close/>
                  <a:moveTo>
                    <a:pt x="195347" y="224890"/>
                  </a:moveTo>
                  <a:cubicBezTo>
                    <a:pt x="193168" y="222710"/>
                    <a:pt x="191207" y="225980"/>
                    <a:pt x="193168" y="228814"/>
                  </a:cubicBezTo>
                  <a:cubicBezTo>
                    <a:pt x="194475" y="231212"/>
                    <a:pt x="194911" y="231212"/>
                    <a:pt x="195783" y="228814"/>
                  </a:cubicBezTo>
                  <a:cubicBezTo>
                    <a:pt x="196218" y="227288"/>
                    <a:pt x="196001" y="225544"/>
                    <a:pt x="195347" y="224890"/>
                  </a:cubicBezTo>
                  <a:close/>
                  <a:moveTo>
                    <a:pt x="757330" y="226416"/>
                  </a:moveTo>
                  <a:cubicBezTo>
                    <a:pt x="759291" y="220530"/>
                    <a:pt x="757112" y="217914"/>
                    <a:pt x="751882" y="219222"/>
                  </a:cubicBezTo>
                  <a:cubicBezTo>
                    <a:pt x="746870" y="220530"/>
                    <a:pt x="746653" y="220966"/>
                    <a:pt x="749703" y="226634"/>
                  </a:cubicBezTo>
                  <a:cubicBezTo>
                    <a:pt x="752754" y="232084"/>
                    <a:pt x="755587" y="231866"/>
                    <a:pt x="757330" y="226416"/>
                  </a:cubicBezTo>
                  <a:close/>
                  <a:moveTo>
                    <a:pt x="569712" y="215080"/>
                  </a:moveTo>
                  <a:cubicBezTo>
                    <a:pt x="567751" y="212028"/>
                    <a:pt x="564482" y="215516"/>
                    <a:pt x="564482" y="220530"/>
                  </a:cubicBezTo>
                  <a:cubicBezTo>
                    <a:pt x="564700" y="225108"/>
                    <a:pt x="564700" y="225108"/>
                    <a:pt x="567751" y="221184"/>
                  </a:cubicBezTo>
                  <a:cubicBezTo>
                    <a:pt x="569494" y="219004"/>
                    <a:pt x="570365" y="216170"/>
                    <a:pt x="569712" y="215080"/>
                  </a:cubicBezTo>
                  <a:close/>
                  <a:moveTo>
                    <a:pt x="1455723" y="205487"/>
                  </a:moveTo>
                  <a:cubicBezTo>
                    <a:pt x="1455723" y="201563"/>
                    <a:pt x="1452673" y="201563"/>
                    <a:pt x="1449186" y="205705"/>
                  </a:cubicBezTo>
                  <a:cubicBezTo>
                    <a:pt x="1445700" y="209848"/>
                    <a:pt x="1448532" y="214426"/>
                    <a:pt x="1452673" y="210938"/>
                  </a:cubicBezTo>
                  <a:cubicBezTo>
                    <a:pt x="1454416" y="209630"/>
                    <a:pt x="1455723" y="207014"/>
                    <a:pt x="1455723" y="205487"/>
                  </a:cubicBezTo>
                  <a:close/>
                  <a:moveTo>
                    <a:pt x="629418" y="196331"/>
                  </a:moveTo>
                  <a:cubicBezTo>
                    <a:pt x="629854" y="194805"/>
                    <a:pt x="628765" y="193715"/>
                    <a:pt x="626804" y="193715"/>
                  </a:cubicBezTo>
                  <a:cubicBezTo>
                    <a:pt x="624842" y="193715"/>
                    <a:pt x="623317" y="195241"/>
                    <a:pt x="623317" y="197203"/>
                  </a:cubicBezTo>
                  <a:cubicBezTo>
                    <a:pt x="623317" y="200909"/>
                    <a:pt x="628111" y="200255"/>
                    <a:pt x="629418" y="196331"/>
                  </a:cubicBezTo>
                  <a:close/>
                  <a:moveTo>
                    <a:pt x="1448314" y="197857"/>
                  </a:moveTo>
                  <a:cubicBezTo>
                    <a:pt x="1448968" y="196549"/>
                    <a:pt x="1448750" y="194587"/>
                    <a:pt x="1447879" y="193715"/>
                  </a:cubicBezTo>
                  <a:cubicBezTo>
                    <a:pt x="1445264" y="191099"/>
                    <a:pt x="1439598" y="194805"/>
                    <a:pt x="1441341" y="197857"/>
                  </a:cubicBezTo>
                  <a:cubicBezTo>
                    <a:pt x="1443303" y="200909"/>
                    <a:pt x="1446353" y="200909"/>
                    <a:pt x="1448314" y="197857"/>
                  </a:cubicBezTo>
                  <a:close/>
                  <a:moveTo>
                    <a:pt x="599347" y="184777"/>
                  </a:moveTo>
                  <a:cubicBezTo>
                    <a:pt x="599347" y="182379"/>
                    <a:pt x="598476" y="181071"/>
                    <a:pt x="597168" y="181725"/>
                  </a:cubicBezTo>
                  <a:cubicBezTo>
                    <a:pt x="596079" y="182379"/>
                    <a:pt x="594989" y="184559"/>
                    <a:pt x="594989" y="186303"/>
                  </a:cubicBezTo>
                  <a:cubicBezTo>
                    <a:pt x="594989" y="188047"/>
                    <a:pt x="596079" y="189355"/>
                    <a:pt x="597168" y="189355"/>
                  </a:cubicBezTo>
                  <a:cubicBezTo>
                    <a:pt x="598476" y="189355"/>
                    <a:pt x="599347" y="187393"/>
                    <a:pt x="599347" y="184777"/>
                  </a:cubicBezTo>
                  <a:close/>
                  <a:moveTo>
                    <a:pt x="1452237" y="188047"/>
                  </a:moveTo>
                  <a:cubicBezTo>
                    <a:pt x="1456595" y="186303"/>
                    <a:pt x="1454634" y="182815"/>
                    <a:pt x="1448968" y="182815"/>
                  </a:cubicBezTo>
                  <a:cubicBezTo>
                    <a:pt x="1446789" y="182815"/>
                    <a:pt x="1444828" y="184341"/>
                    <a:pt x="1444828" y="186085"/>
                  </a:cubicBezTo>
                  <a:cubicBezTo>
                    <a:pt x="1444828" y="189573"/>
                    <a:pt x="1446789" y="190227"/>
                    <a:pt x="1452237" y="188047"/>
                  </a:cubicBezTo>
                  <a:close/>
                  <a:moveTo>
                    <a:pt x="626368" y="183687"/>
                  </a:moveTo>
                  <a:cubicBezTo>
                    <a:pt x="627239" y="181725"/>
                    <a:pt x="627239" y="179545"/>
                    <a:pt x="626586" y="178891"/>
                  </a:cubicBezTo>
                  <a:cubicBezTo>
                    <a:pt x="625060" y="177146"/>
                    <a:pt x="618959" y="183033"/>
                    <a:pt x="620266" y="185213"/>
                  </a:cubicBezTo>
                  <a:cubicBezTo>
                    <a:pt x="622010" y="188265"/>
                    <a:pt x="624842" y="187611"/>
                    <a:pt x="626368" y="183687"/>
                  </a:cubicBezTo>
                  <a:close/>
                  <a:moveTo>
                    <a:pt x="651645" y="173876"/>
                  </a:moveTo>
                  <a:cubicBezTo>
                    <a:pt x="651645" y="171696"/>
                    <a:pt x="650555" y="169298"/>
                    <a:pt x="649466" y="168644"/>
                  </a:cubicBezTo>
                  <a:cubicBezTo>
                    <a:pt x="648158" y="167772"/>
                    <a:pt x="647941" y="166246"/>
                    <a:pt x="648594" y="164938"/>
                  </a:cubicBezTo>
                  <a:cubicBezTo>
                    <a:pt x="649684" y="163412"/>
                    <a:pt x="651209" y="164066"/>
                    <a:pt x="653170" y="166682"/>
                  </a:cubicBezTo>
                  <a:cubicBezTo>
                    <a:pt x="655785" y="170170"/>
                    <a:pt x="656439" y="170388"/>
                    <a:pt x="658400" y="167554"/>
                  </a:cubicBezTo>
                  <a:cubicBezTo>
                    <a:pt x="660361" y="164284"/>
                    <a:pt x="660143" y="160796"/>
                    <a:pt x="657093" y="150768"/>
                  </a:cubicBezTo>
                  <a:cubicBezTo>
                    <a:pt x="654914" y="144009"/>
                    <a:pt x="659054" y="144445"/>
                    <a:pt x="662105" y="151204"/>
                  </a:cubicBezTo>
                  <a:cubicBezTo>
                    <a:pt x="664937" y="157526"/>
                    <a:pt x="667334" y="157962"/>
                    <a:pt x="671257" y="153384"/>
                  </a:cubicBezTo>
                  <a:cubicBezTo>
                    <a:pt x="675397" y="148369"/>
                    <a:pt x="676704" y="149242"/>
                    <a:pt x="681280" y="159924"/>
                  </a:cubicBezTo>
                  <a:cubicBezTo>
                    <a:pt x="683895" y="166464"/>
                    <a:pt x="686510" y="169734"/>
                    <a:pt x="688689" y="169298"/>
                  </a:cubicBezTo>
                  <a:cubicBezTo>
                    <a:pt x="692394" y="168426"/>
                    <a:pt x="694137" y="162322"/>
                    <a:pt x="691740" y="157090"/>
                  </a:cubicBezTo>
                  <a:cubicBezTo>
                    <a:pt x="690868" y="155128"/>
                    <a:pt x="690432" y="151640"/>
                    <a:pt x="690650" y="149460"/>
                  </a:cubicBezTo>
                  <a:cubicBezTo>
                    <a:pt x="690868" y="147279"/>
                    <a:pt x="689997" y="144227"/>
                    <a:pt x="688689" y="142483"/>
                  </a:cubicBezTo>
                  <a:cubicBezTo>
                    <a:pt x="686728" y="140303"/>
                    <a:pt x="686946" y="138341"/>
                    <a:pt x="688689" y="134635"/>
                  </a:cubicBezTo>
                  <a:cubicBezTo>
                    <a:pt x="691958" y="128531"/>
                    <a:pt x="689997" y="116104"/>
                    <a:pt x="684985" y="110218"/>
                  </a:cubicBezTo>
                  <a:cubicBezTo>
                    <a:pt x="682806" y="107820"/>
                    <a:pt x="682152" y="106294"/>
                    <a:pt x="683459" y="107166"/>
                  </a:cubicBezTo>
                  <a:cubicBezTo>
                    <a:pt x="684767" y="107820"/>
                    <a:pt x="688035" y="106294"/>
                    <a:pt x="690650" y="103460"/>
                  </a:cubicBezTo>
                  <a:cubicBezTo>
                    <a:pt x="695226" y="98446"/>
                    <a:pt x="695226" y="98446"/>
                    <a:pt x="691086" y="94522"/>
                  </a:cubicBezTo>
                  <a:cubicBezTo>
                    <a:pt x="686510" y="90598"/>
                    <a:pt x="679973" y="91470"/>
                    <a:pt x="679973" y="96048"/>
                  </a:cubicBezTo>
                  <a:cubicBezTo>
                    <a:pt x="679973" y="97574"/>
                    <a:pt x="676486" y="101280"/>
                    <a:pt x="672346" y="104332"/>
                  </a:cubicBezTo>
                  <a:cubicBezTo>
                    <a:pt x="667770" y="107602"/>
                    <a:pt x="664719" y="111744"/>
                    <a:pt x="664719" y="114796"/>
                  </a:cubicBezTo>
                  <a:cubicBezTo>
                    <a:pt x="664719" y="118938"/>
                    <a:pt x="663630" y="119593"/>
                    <a:pt x="655785" y="119593"/>
                  </a:cubicBezTo>
                  <a:cubicBezTo>
                    <a:pt x="647069" y="119593"/>
                    <a:pt x="646851" y="119593"/>
                    <a:pt x="648376" y="112834"/>
                  </a:cubicBezTo>
                  <a:cubicBezTo>
                    <a:pt x="649902" y="106294"/>
                    <a:pt x="649684" y="105858"/>
                    <a:pt x="644890" y="107166"/>
                  </a:cubicBezTo>
                  <a:cubicBezTo>
                    <a:pt x="642057" y="108038"/>
                    <a:pt x="637917" y="108692"/>
                    <a:pt x="635956" y="108692"/>
                  </a:cubicBezTo>
                  <a:cubicBezTo>
                    <a:pt x="633777" y="108692"/>
                    <a:pt x="632033" y="109782"/>
                    <a:pt x="632033" y="110872"/>
                  </a:cubicBezTo>
                  <a:cubicBezTo>
                    <a:pt x="632033" y="112180"/>
                    <a:pt x="633994" y="113052"/>
                    <a:pt x="636391" y="113052"/>
                  </a:cubicBezTo>
                  <a:cubicBezTo>
                    <a:pt x="638788" y="113052"/>
                    <a:pt x="640750" y="113706"/>
                    <a:pt x="640750" y="114360"/>
                  </a:cubicBezTo>
                  <a:cubicBezTo>
                    <a:pt x="640750" y="115014"/>
                    <a:pt x="638788" y="118066"/>
                    <a:pt x="636391" y="121119"/>
                  </a:cubicBezTo>
                  <a:cubicBezTo>
                    <a:pt x="633994" y="124171"/>
                    <a:pt x="632033" y="129185"/>
                    <a:pt x="632033" y="132237"/>
                  </a:cubicBezTo>
                  <a:cubicBezTo>
                    <a:pt x="632033" y="137687"/>
                    <a:pt x="632033" y="137687"/>
                    <a:pt x="636609" y="133545"/>
                  </a:cubicBezTo>
                  <a:cubicBezTo>
                    <a:pt x="640750" y="129839"/>
                    <a:pt x="641185" y="129621"/>
                    <a:pt x="643147" y="133327"/>
                  </a:cubicBezTo>
                  <a:cubicBezTo>
                    <a:pt x="644454" y="135289"/>
                    <a:pt x="646851" y="137033"/>
                    <a:pt x="648594" y="137033"/>
                  </a:cubicBezTo>
                  <a:cubicBezTo>
                    <a:pt x="650991" y="137033"/>
                    <a:pt x="651427" y="138559"/>
                    <a:pt x="650338" y="142701"/>
                  </a:cubicBezTo>
                  <a:cubicBezTo>
                    <a:pt x="649466" y="146407"/>
                    <a:pt x="649902" y="149024"/>
                    <a:pt x="651863" y="150550"/>
                  </a:cubicBezTo>
                  <a:cubicBezTo>
                    <a:pt x="654260" y="152076"/>
                    <a:pt x="654260" y="152948"/>
                    <a:pt x="652299" y="153820"/>
                  </a:cubicBezTo>
                  <a:cubicBezTo>
                    <a:pt x="650773" y="154256"/>
                    <a:pt x="649466" y="156218"/>
                    <a:pt x="649466" y="157962"/>
                  </a:cubicBezTo>
                  <a:cubicBezTo>
                    <a:pt x="649466" y="159706"/>
                    <a:pt x="648158" y="161014"/>
                    <a:pt x="646633" y="161014"/>
                  </a:cubicBezTo>
                  <a:cubicBezTo>
                    <a:pt x="645108" y="161014"/>
                    <a:pt x="642057" y="162322"/>
                    <a:pt x="639878" y="163848"/>
                  </a:cubicBezTo>
                  <a:cubicBezTo>
                    <a:pt x="636174" y="166682"/>
                    <a:pt x="636609" y="169298"/>
                    <a:pt x="643582" y="180199"/>
                  </a:cubicBezTo>
                  <a:cubicBezTo>
                    <a:pt x="645979" y="183905"/>
                    <a:pt x="651645" y="179545"/>
                    <a:pt x="651645" y="173876"/>
                  </a:cubicBezTo>
                  <a:close/>
                  <a:moveTo>
                    <a:pt x="632033" y="171696"/>
                  </a:moveTo>
                  <a:cubicBezTo>
                    <a:pt x="632033" y="170388"/>
                    <a:pt x="631162" y="170170"/>
                    <a:pt x="629854" y="170824"/>
                  </a:cubicBezTo>
                  <a:cubicBezTo>
                    <a:pt x="628765" y="171478"/>
                    <a:pt x="627675" y="173222"/>
                    <a:pt x="627675" y="174312"/>
                  </a:cubicBezTo>
                  <a:cubicBezTo>
                    <a:pt x="627675" y="175620"/>
                    <a:pt x="628765" y="175838"/>
                    <a:pt x="629854" y="175184"/>
                  </a:cubicBezTo>
                  <a:cubicBezTo>
                    <a:pt x="631162" y="174530"/>
                    <a:pt x="632033" y="172786"/>
                    <a:pt x="632033" y="171696"/>
                  </a:cubicBezTo>
                  <a:close/>
                  <a:moveTo>
                    <a:pt x="786094" y="171478"/>
                  </a:moveTo>
                  <a:cubicBezTo>
                    <a:pt x="785440" y="169734"/>
                    <a:pt x="784786" y="170388"/>
                    <a:pt x="784786" y="172786"/>
                  </a:cubicBezTo>
                  <a:cubicBezTo>
                    <a:pt x="784568" y="175184"/>
                    <a:pt x="785222" y="176492"/>
                    <a:pt x="785876" y="175620"/>
                  </a:cubicBezTo>
                  <a:cubicBezTo>
                    <a:pt x="786530" y="174966"/>
                    <a:pt x="786748" y="173004"/>
                    <a:pt x="786094" y="171478"/>
                  </a:cubicBezTo>
                  <a:close/>
                  <a:moveTo>
                    <a:pt x="1456595" y="170606"/>
                  </a:moveTo>
                  <a:cubicBezTo>
                    <a:pt x="1458992" y="164284"/>
                    <a:pt x="1457902" y="162540"/>
                    <a:pt x="1453980" y="166028"/>
                  </a:cubicBezTo>
                  <a:cubicBezTo>
                    <a:pt x="1451801" y="168208"/>
                    <a:pt x="1448750" y="169734"/>
                    <a:pt x="1447443" y="169734"/>
                  </a:cubicBezTo>
                  <a:cubicBezTo>
                    <a:pt x="1445917" y="169734"/>
                    <a:pt x="1444828" y="170824"/>
                    <a:pt x="1444828" y="171914"/>
                  </a:cubicBezTo>
                  <a:cubicBezTo>
                    <a:pt x="1444828" y="175402"/>
                    <a:pt x="1455070" y="174312"/>
                    <a:pt x="1456595" y="170606"/>
                  </a:cubicBezTo>
                  <a:close/>
                  <a:moveTo>
                    <a:pt x="638788" y="156000"/>
                  </a:moveTo>
                  <a:cubicBezTo>
                    <a:pt x="641839" y="148588"/>
                    <a:pt x="639442" y="142919"/>
                    <a:pt x="632687" y="141829"/>
                  </a:cubicBezTo>
                  <a:cubicBezTo>
                    <a:pt x="627457" y="140957"/>
                    <a:pt x="625278" y="148806"/>
                    <a:pt x="627021" y="160142"/>
                  </a:cubicBezTo>
                  <a:cubicBezTo>
                    <a:pt x="628111" y="166464"/>
                    <a:pt x="628765" y="166900"/>
                    <a:pt x="632251" y="164720"/>
                  </a:cubicBezTo>
                  <a:cubicBezTo>
                    <a:pt x="634430" y="163412"/>
                    <a:pt x="637481" y="159488"/>
                    <a:pt x="638788" y="156000"/>
                  </a:cubicBezTo>
                  <a:close/>
                  <a:moveTo>
                    <a:pt x="1375098" y="141393"/>
                  </a:moveTo>
                  <a:cubicBezTo>
                    <a:pt x="1375098" y="140303"/>
                    <a:pt x="1374226" y="139213"/>
                    <a:pt x="1373136" y="139213"/>
                  </a:cubicBezTo>
                  <a:cubicBezTo>
                    <a:pt x="1371829" y="139213"/>
                    <a:pt x="1370304" y="140303"/>
                    <a:pt x="1369650" y="141393"/>
                  </a:cubicBezTo>
                  <a:cubicBezTo>
                    <a:pt x="1368996" y="142701"/>
                    <a:pt x="1369868" y="143573"/>
                    <a:pt x="1371611" y="143573"/>
                  </a:cubicBezTo>
                  <a:cubicBezTo>
                    <a:pt x="1373572" y="143573"/>
                    <a:pt x="1375098" y="142701"/>
                    <a:pt x="1375098" y="141393"/>
                  </a:cubicBezTo>
                  <a:close/>
                  <a:moveTo>
                    <a:pt x="1453544" y="124607"/>
                  </a:moveTo>
                  <a:cubicBezTo>
                    <a:pt x="1458120" y="116758"/>
                    <a:pt x="1458120" y="116322"/>
                    <a:pt x="1454198" y="113706"/>
                  </a:cubicBezTo>
                  <a:cubicBezTo>
                    <a:pt x="1450711" y="111090"/>
                    <a:pt x="1450276" y="111308"/>
                    <a:pt x="1448968" y="115886"/>
                  </a:cubicBezTo>
                  <a:cubicBezTo>
                    <a:pt x="1448314" y="118720"/>
                    <a:pt x="1446571" y="122863"/>
                    <a:pt x="1445264" y="125479"/>
                  </a:cubicBezTo>
                  <a:cubicBezTo>
                    <a:pt x="1442867" y="129621"/>
                    <a:pt x="1443738" y="132673"/>
                    <a:pt x="1447225" y="132673"/>
                  </a:cubicBezTo>
                  <a:cubicBezTo>
                    <a:pt x="1448097" y="132673"/>
                    <a:pt x="1450929" y="128967"/>
                    <a:pt x="1453544" y="124607"/>
                  </a:cubicBezTo>
                  <a:close/>
                  <a:moveTo>
                    <a:pt x="705032" y="121773"/>
                  </a:moveTo>
                  <a:cubicBezTo>
                    <a:pt x="705686" y="120683"/>
                    <a:pt x="705250" y="119593"/>
                    <a:pt x="704161" y="119593"/>
                  </a:cubicBezTo>
                  <a:cubicBezTo>
                    <a:pt x="702853" y="119593"/>
                    <a:pt x="701764" y="120683"/>
                    <a:pt x="701764" y="121773"/>
                  </a:cubicBezTo>
                  <a:cubicBezTo>
                    <a:pt x="701764" y="123081"/>
                    <a:pt x="702199" y="123953"/>
                    <a:pt x="702635" y="123953"/>
                  </a:cubicBezTo>
                  <a:cubicBezTo>
                    <a:pt x="703289" y="123953"/>
                    <a:pt x="704379" y="123081"/>
                    <a:pt x="705032" y="121773"/>
                  </a:cubicBezTo>
                  <a:close/>
                  <a:moveTo>
                    <a:pt x="1375098" y="116322"/>
                  </a:moveTo>
                  <a:cubicBezTo>
                    <a:pt x="1375098" y="114578"/>
                    <a:pt x="1374226" y="113052"/>
                    <a:pt x="1372918" y="113052"/>
                  </a:cubicBezTo>
                  <a:cubicBezTo>
                    <a:pt x="1371829" y="113052"/>
                    <a:pt x="1370739" y="114578"/>
                    <a:pt x="1370739" y="116322"/>
                  </a:cubicBezTo>
                  <a:cubicBezTo>
                    <a:pt x="1370739" y="118066"/>
                    <a:pt x="1371829" y="119593"/>
                    <a:pt x="1372918" y="119593"/>
                  </a:cubicBezTo>
                  <a:cubicBezTo>
                    <a:pt x="1374226" y="119593"/>
                    <a:pt x="1375098" y="118066"/>
                    <a:pt x="1375098" y="116322"/>
                  </a:cubicBezTo>
                  <a:close/>
                  <a:moveTo>
                    <a:pt x="315632" y="112616"/>
                  </a:moveTo>
                  <a:cubicBezTo>
                    <a:pt x="310838" y="105422"/>
                    <a:pt x="306698" y="104768"/>
                    <a:pt x="309748" y="111744"/>
                  </a:cubicBezTo>
                  <a:cubicBezTo>
                    <a:pt x="311274" y="114796"/>
                    <a:pt x="313888" y="117412"/>
                    <a:pt x="315632" y="117412"/>
                  </a:cubicBezTo>
                  <a:cubicBezTo>
                    <a:pt x="318465" y="117412"/>
                    <a:pt x="318465" y="116758"/>
                    <a:pt x="315632" y="112616"/>
                  </a:cubicBezTo>
                  <a:close/>
                  <a:moveTo>
                    <a:pt x="1452673" y="96484"/>
                  </a:moveTo>
                  <a:cubicBezTo>
                    <a:pt x="1451365" y="92996"/>
                    <a:pt x="1450929" y="92996"/>
                    <a:pt x="1446571" y="97138"/>
                  </a:cubicBezTo>
                  <a:cubicBezTo>
                    <a:pt x="1443738" y="100190"/>
                    <a:pt x="1442649" y="103242"/>
                    <a:pt x="1443520" y="105640"/>
                  </a:cubicBezTo>
                  <a:cubicBezTo>
                    <a:pt x="1444828" y="109128"/>
                    <a:pt x="1445264" y="109128"/>
                    <a:pt x="1449622" y="104986"/>
                  </a:cubicBezTo>
                  <a:cubicBezTo>
                    <a:pt x="1452455" y="101934"/>
                    <a:pt x="1453544" y="98882"/>
                    <a:pt x="1452673" y="96484"/>
                  </a:cubicBezTo>
                  <a:close/>
                  <a:moveTo>
                    <a:pt x="1291421" y="98882"/>
                  </a:moveTo>
                  <a:cubicBezTo>
                    <a:pt x="1292293" y="95176"/>
                    <a:pt x="1294036" y="93650"/>
                    <a:pt x="1297305" y="94086"/>
                  </a:cubicBezTo>
                  <a:cubicBezTo>
                    <a:pt x="1300137" y="94304"/>
                    <a:pt x="1302316" y="92996"/>
                    <a:pt x="1302752" y="90816"/>
                  </a:cubicBezTo>
                  <a:cubicBezTo>
                    <a:pt x="1303188" y="87981"/>
                    <a:pt x="1302099" y="86891"/>
                    <a:pt x="1299048" y="86891"/>
                  </a:cubicBezTo>
                  <a:cubicBezTo>
                    <a:pt x="1296433" y="86891"/>
                    <a:pt x="1294472" y="86019"/>
                    <a:pt x="1294472" y="84711"/>
                  </a:cubicBezTo>
                  <a:cubicBezTo>
                    <a:pt x="1294472" y="83621"/>
                    <a:pt x="1293600" y="82531"/>
                    <a:pt x="1292293" y="82531"/>
                  </a:cubicBezTo>
                  <a:cubicBezTo>
                    <a:pt x="1291203" y="82531"/>
                    <a:pt x="1290114" y="84057"/>
                    <a:pt x="1290114" y="85801"/>
                  </a:cubicBezTo>
                  <a:cubicBezTo>
                    <a:pt x="1290114" y="87545"/>
                    <a:pt x="1288806" y="89071"/>
                    <a:pt x="1287063" y="89071"/>
                  </a:cubicBezTo>
                  <a:cubicBezTo>
                    <a:pt x="1282487" y="89071"/>
                    <a:pt x="1280744" y="92778"/>
                    <a:pt x="1282269" y="99100"/>
                  </a:cubicBezTo>
                  <a:cubicBezTo>
                    <a:pt x="1284012" y="105858"/>
                    <a:pt x="1289678" y="105858"/>
                    <a:pt x="1291421" y="98882"/>
                  </a:cubicBezTo>
                  <a:close/>
                  <a:moveTo>
                    <a:pt x="638571" y="94522"/>
                  </a:moveTo>
                  <a:cubicBezTo>
                    <a:pt x="638571" y="91470"/>
                    <a:pt x="639660" y="89071"/>
                    <a:pt x="640750" y="89071"/>
                  </a:cubicBezTo>
                  <a:cubicBezTo>
                    <a:pt x="642057" y="89071"/>
                    <a:pt x="642929" y="91034"/>
                    <a:pt x="642929" y="93432"/>
                  </a:cubicBezTo>
                  <a:cubicBezTo>
                    <a:pt x="642929" y="95830"/>
                    <a:pt x="644018" y="97792"/>
                    <a:pt x="645108" y="97792"/>
                  </a:cubicBezTo>
                  <a:cubicBezTo>
                    <a:pt x="646415" y="97792"/>
                    <a:pt x="647287" y="93868"/>
                    <a:pt x="647287" y="89071"/>
                  </a:cubicBezTo>
                  <a:cubicBezTo>
                    <a:pt x="647287" y="80787"/>
                    <a:pt x="645544" y="78389"/>
                    <a:pt x="642057" y="81877"/>
                  </a:cubicBezTo>
                  <a:cubicBezTo>
                    <a:pt x="641185" y="82749"/>
                    <a:pt x="636609" y="83185"/>
                    <a:pt x="631815" y="82749"/>
                  </a:cubicBezTo>
                  <a:cubicBezTo>
                    <a:pt x="622227" y="82095"/>
                    <a:pt x="616780" y="85147"/>
                    <a:pt x="616780" y="91688"/>
                  </a:cubicBezTo>
                  <a:cubicBezTo>
                    <a:pt x="616780" y="94958"/>
                    <a:pt x="617869" y="95612"/>
                    <a:pt x="620920" y="94522"/>
                  </a:cubicBezTo>
                  <a:cubicBezTo>
                    <a:pt x="623317" y="93868"/>
                    <a:pt x="626368" y="94522"/>
                    <a:pt x="628111" y="96484"/>
                  </a:cubicBezTo>
                  <a:cubicBezTo>
                    <a:pt x="632687" y="101934"/>
                    <a:pt x="638571" y="100844"/>
                    <a:pt x="638571" y="94522"/>
                  </a:cubicBezTo>
                  <a:close/>
                  <a:moveTo>
                    <a:pt x="1244353" y="97138"/>
                  </a:moveTo>
                  <a:cubicBezTo>
                    <a:pt x="1246096" y="95612"/>
                    <a:pt x="1249365" y="91906"/>
                    <a:pt x="1251326" y="88635"/>
                  </a:cubicBezTo>
                  <a:cubicBezTo>
                    <a:pt x="1254595" y="83621"/>
                    <a:pt x="1256556" y="82967"/>
                    <a:pt x="1266362" y="82967"/>
                  </a:cubicBezTo>
                  <a:cubicBezTo>
                    <a:pt x="1274642" y="82749"/>
                    <a:pt x="1278782" y="81659"/>
                    <a:pt x="1282269" y="78389"/>
                  </a:cubicBezTo>
                  <a:cubicBezTo>
                    <a:pt x="1284884" y="75773"/>
                    <a:pt x="1288370" y="73811"/>
                    <a:pt x="1289896" y="73811"/>
                  </a:cubicBezTo>
                  <a:cubicBezTo>
                    <a:pt x="1291421" y="73811"/>
                    <a:pt x="1292293" y="72503"/>
                    <a:pt x="1291639" y="71195"/>
                  </a:cubicBezTo>
                  <a:cubicBezTo>
                    <a:pt x="1291203" y="69669"/>
                    <a:pt x="1288152" y="68361"/>
                    <a:pt x="1284666" y="68361"/>
                  </a:cubicBezTo>
                  <a:cubicBezTo>
                    <a:pt x="1281179" y="68361"/>
                    <a:pt x="1277693" y="66617"/>
                    <a:pt x="1276168" y="64437"/>
                  </a:cubicBezTo>
                  <a:cubicBezTo>
                    <a:pt x="1274206" y="61166"/>
                    <a:pt x="1274642" y="59640"/>
                    <a:pt x="1278782" y="56370"/>
                  </a:cubicBezTo>
                  <a:cubicBezTo>
                    <a:pt x="1287063" y="49612"/>
                    <a:pt x="1290985" y="53318"/>
                    <a:pt x="1297087" y="73811"/>
                  </a:cubicBezTo>
                  <a:cubicBezTo>
                    <a:pt x="1299702" y="82531"/>
                    <a:pt x="1300573" y="83621"/>
                    <a:pt x="1306021" y="82967"/>
                  </a:cubicBezTo>
                  <a:cubicBezTo>
                    <a:pt x="1311033" y="82531"/>
                    <a:pt x="1311904" y="83185"/>
                    <a:pt x="1311904" y="87981"/>
                  </a:cubicBezTo>
                  <a:cubicBezTo>
                    <a:pt x="1311904" y="94958"/>
                    <a:pt x="1314955" y="94958"/>
                    <a:pt x="1318224" y="87763"/>
                  </a:cubicBezTo>
                  <a:cubicBezTo>
                    <a:pt x="1320185" y="83403"/>
                    <a:pt x="1321928" y="82313"/>
                    <a:pt x="1326068" y="82967"/>
                  </a:cubicBezTo>
                  <a:cubicBezTo>
                    <a:pt x="1330644" y="84057"/>
                    <a:pt x="1331080" y="83403"/>
                    <a:pt x="1329991" y="78171"/>
                  </a:cubicBezTo>
                  <a:cubicBezTo>
                    <a:pt x="1329119" y="73375"/>
                    <a:pt x="1329773" y="71849"/>
                    <a:pt x="1333477" y="70541"/>
                  </a:cubicBezTo>
                  <a:cubicBezTo>
                    <a:pt x="1341104" y="68143"/>
                    <a:pt x="1343283" y="61603"/>
                    <a:pt x="1339143" y="52882"/>
                  </a:cubicBezTo>
                  <a:cubicBezTo>
                    <a:pt x="1337182" y="48740"/>
                    <a:pt x="1335003" y="45470"/>
                    <a:pt x="1333913" y="45470"/>
                  </a:cubicBezTo>
                  <a:cubicBezTo>
                    <a:pt x="1330427" y="45470"/>
                    <a:pt x="1329337" y="48522"/>
                    <a:pt x="1331952" y="51356"/>
                  </a:cubicBezTo>
                  <a:cubicBezTo>
                    <a:pt x="1333913" y="53754"/>
                    <a:pt x="1332824" y="55716"/>
                    <a:pt x="1327594" y="60948"/>
                  </a:cubicBezTo>
                  <a:cubicBezTo>
                    <a:pt x="1323671" y="64655"/>
                    <a:pt x="1321057" y="68361"/>
                    <a:pt x="1321492" y="69233"/>
                  </a:cubicBezTo>
                  <a:cubicBezTo>
                    <a:pt x="1323453" y="72285"/>
                    <a:pt x="1318877" y="76645"/>
                    <a:pt x="1315391" y="75337"/>
                  </a:cubicBezTo>
                  <a:cubicBezTo>
                    <a:pt x="1312558" y="74247"/>
                    <a:pt x="1311904" y="72285"/>
                    <a:pt x="1312994" y="66399"/>
                  </a:cubicBezTo>
                  <a:cubicBezTo>
                    <a:pt x="1314301" y="60076"/>
                    <a:pt x="1313866" y="58768"/>
                    <a:pt x="1309943" y="57460"/>
                  </a:cubicBezTo>
                  <a:cubicBezTo>
                    <a:pt x="1307328" y="56806"/>
                    <a:pt x="1303624" y="56588"/>
                    <a:pt x="1301445" y="57242"/>
                  </a:cubicBezTo>
                  <a:cubicBezTo>
                    <a:pt x="1298612" y="58114"/>
                    <a:pt x="1296433" y="56370"/>
                    <a:pt x="1293382" y="50920"/>
                  </a:cubicBezTo>
                  <a:lnTo>
                    <a:pt x="1289242" y="43072"/>
                  </a:lnTo>
                  <a:lnTo>
                    <a:pt x="1296215" y="36750"/>
                  </a:lnTo>
                  <a:cubicBezTo>
                    <a:pt x="1302970" y="30645"/>
                    <a:pt x="1306021" y="19309"/>
                    <a:pt x="1301009" y="19309"/>
                  </a:cubicBezTo>
                  <a:cubicBezTo>
                    <a:pt x="1299919" y="19309"/>
                    <a:pt x="1298830" y="17347"/>
                    <a:pt x="1298830" y="14949"/>
                  </a:cubicBezTo>
                  <a:cubicBezTo>
                    <a:pt x="1298830" y="12551"/>
                    <a:pt x="1297305" y="10589"/>
                    <a:pt x="1295561" y="10589"/>
                  </a:cubicBezTo>
                  <a:cubicBezTo>
                    <a:pt x="1291857" y="10589"/>
                    <a:pt x="1289024" y="19527"/>
                    <a:pt x="1290767" y="25849"/>
                  </a:cubicBezTo>
                  <a:cubicBezTo>
                    <a:pt x="1291421" y="28029"/>
                    <a:pt x="1290549" y="31735"/>
                    <a:pt x="1289242" y="33698"/>
                  </a:cubicBezTo>
                  <a:cubicBezTo>
                    <a:pt x="1287063" y="36532"/>
                    <a:pt x="1285538" y="36750"/>
                    <a:pt x="1281833" y="34788"/>
                  </a:cubicBezTo>
                  <a:cubicBezTo>
                    <a:pt x="1277475" y="32389"/>
                    <a:pt x="1277257" y="32608"/>
                    <a:pt x="1278347" y="38712"/>
                  </a:cubicBezTo>
                  <a:cubicBezTo>
                    <a:pt x="1279654" y="44816"/>
                    <a:pt x="1274424" y="56370"/>
                    <a:pt x="1270284" y="56370"/>
                  </a:cubicBezTo>
                  <a:cubicBezTo>
                    <a:pt x="1267451" y="56370"/>
                    <a:pt x="1267887" y="46124"/>
                    <a:pt x="1270720" y="40892"/>
                  </a:cubicBezTo>
                  <a:cubicBezTo>
                    <a:pt x="1272463" y="37404"/>
                    <a:pt x="1272245" y="35442"/>
                    <a:pt x="1269630" y="32608"/>
                  </a:cubicBezTo>
                  <a:cubicBezTo>
                    <a:pt x="1263965" y="26285"/>
                    <a:pt x="1265272" y="21925"/>
                    <a:pt x="1273335" y="21053"/>
                  </a:cubicBezTo>
                  <a:cubicBezTo>
                    <a:pt x="1279218" y="20617"/>
                    <a:pt x="1280308" y="19527"/>
                    <a:pt x="1280308" y="14949"/>
                  </a:cubicBezTo>
                  <a:cubicBezTo>
                    <a:pt x="1280308" y="9935"/>
                    <a:pt x="1279436" y="9499"/>
                    <a:pt x="1270066" y="8845"/>
                  </a:cubicBezTo>
                  <a:cubicBezTo>
                    <a:pt x="1258953" y="8191"/>
                    <a:pt x="1259607" y="7319"/>
                    <a:pt x="1259171" y="24759"/>
                  </a:cubicBezTo>
                  <a:cubicBezTo>
                    <a:pt x="1258953" y="29555"/>
                    <a:pt x="1259825" y="35878"/>
                    <a:pt x="1260696" y="38712"/>
                  </a:cubicBezTo>
                  <a:cubicBezTo>
                    <a:pt x="1262222" y="43508"/>
                    <a:pt x="1262004" y="43726"/>
                    <a:pt x="1255684" y="42418"/>
                  </a:cubicBezTo>
                  <a:cubicBezTo>
                    <a:pt x="1249583" y="40892"/>
                    <a:pt x="1248929" y="41328"/>
                    <a:pt x="1247622" y="47432"/>
                  </a:cubicBezTo>
                  <a:cubicBezTo>
                    <a:pt x="1245878" y="55280"/>
                    <a:pt x="1247840" y="59422"/>
                    <a:pt x="1252416" y="57678"/>
                  </a:cubicBezTo>
                  <a:cubicBezTo>
                    <a:pt x="1254377" y="56806"/>
                    <a:pt x="1257863" y="58550"/>
                    <a:pt x="1260914" y="61821"/>
                  </a:cubicBezTo>
                  <a:cubicBezTo>
                    <a:pt x="1267015" y="68361"/>
                    <a:pt x="1267233" y="69451"/>
                    <a:pt x="1262875" y="69451"/>
                  </a:cubicBezTo>
                  <a:cubicBezTo>
                    <a:pt x="1258081" y="69451"/>
                    <a:pt x="1237816" y="91034"/>
                    <a:pt x="1237816" y="95830"/>
                  </a:cubicBezTo>
                  <a:cubicBezTo>
                    <a:pt x="1237816" y="100626"/>
                    <a:pt x="1239777" y="100844"/>
                    <a:pt x="1244353" y="97138"/>
                  </a:cubicBezTo>
                  <a:close/>
                  <a:moveTo>
                    <a:pt x="316068" y="91252"/>
                  </a:moveTo>
                  <a:cubicBezTo>
                    <a:pt x="316068" y="88853"/>
                    <a:pt x="315196" y="86891"/>
                    <a:pt x="313888" y="86891"/>
                  </a:cubicBezTo>
                  <a:cubicBezTo>
                    <a:pt x="312799" y="86891"/>
                    <a:pt x="311709" y="88853"/>
                    <a:pt x="311709" y="91252"/>
                  </a:cubicBezTo>
                  <a:cubicBezTo>
                    <a:pt x="311709" y="93650"/>
                    <a:pt x="312799" y="95612"/>
                    <a:pt x="313888" y="95612"/>
                  </a:cubicBezTo>
                  <a:cubicBezTo>
                    <a:pt x="315196" y="95612"/>
                    <a:pt x="316068" y="93650"/>
                    <a:pt x="316068" y="91252"/>
                  </a:cubicBezTo>
                  <a:close/>
                  <a:moveTo>
                    <a:pt x="1408873" y="93650"/>
                  </a:moveTo>
                  <a:cubicBezTo>
                    <a:pt x="1409527" y="92560"/>
                    <a:pt x="1409091" y="91034"/>
                    <a:pt x="1407784" y="90161"/>
                  </a:cubicBezTo>
                  <a:cubicBezTo>
                    <a:pt x="1406694" y="89507"/>
                    <a:pt x="1405605" y="90379"/>
                    <a:pt x="1405605" y="92124"/>
                  </a:cubicBezTo>
                  <a:cubicBezTo>
                    <a:pt x="1405605" y="96048"/>
                    <a:pt x="1406912" y="96702"/>
                    <a:pt x="1408873" y="93650"/>
                  </a:cubicBezTo>
                  <a:close/>
                  <a:moveTo>
                    <a:pt x="1457902" y="82749"/>
                  </a:moveTo>
                  <a:cubicBezTo>
                    <a:pt x="1457902" y="77735"/>
                    <a:pt x="1452455" y="75337"/>
                    <a:pt x="1449404" y="79043"/>
                  </a:cubicBezTo>
                  <a:cubicBezTo>
                    <a:pt x="1448097" y="80351"/>
                    <a:pt x="1447661" y="83839"/>
                    <a:pt x="1448532" y="86455"/>
                  </a:cubicBezTo>
                  <a:cubicBezTo>
                    <a:pt x="1449404" y="90379"/>
                    <a:pt x="1450494" y="90816"/>
                    <a:pt x="1453762" y="88853"/>
                  </a:cubicBezTo>
                  <a:cubicBezTo>
                    <a:pt x="1455941" y="87763"/>
                    <a:pt x="1457902" y="84929"/>
                    <a:pt x="1457902" y="82749"/>
                  </a:cubicBezTo>
                  <a:close/>
                  <a:moveTo>
                    <a:pt x="616780" y="83839"/>
                  </a:moveTo>
                  <a:cubicBezTo>
                    <a:pt x="616780" y="83185"/>
                    <a:pt x="615908" y="82095"/>
                    <a:pt x="614601" y="81441"/>
                  </a:cubicBezTo>
                  <a:cubicBezTo>
                    <a:pt x="613511" y="80787"/>
                    <a:pt x="612422" y="81223"/>
                    <a:pt x="612422" y="82313"/>
                  </a:cubicBezTo>
                  <a:cubicBezTo>
                    <a:pt x="612422" y="83621"/>
                    <a:pt x="613511" y="84711"/>
                    <a:pt x="614601" y="84711"/>
                  </a:cubicBezTo>
                  <a:cubicBezTo>
                    <a:pt x="615908" y="84711"/>
                    <a:pt x="616780" y="84275"/>
                    <a:pt x="616780" y="83839"/>
                  </a:cubicBezTo>
                  <a:close/>
                  <a:moveTo>
                    <a:pt x="427200" y="66835"/>
                  </a:moveTo>
                  <a:cubicBezTo>
                    <a:pt x="427200" y="60730"/>
                    <a:pt x="427200" y="60730"/>
                    <a:pt x="432648" y="64219"/>
                  </a:cubicBezTo>
                  <a:cubicBezTo>
                    <a:pt x="437660" y="67489"/>
                    <a:pt x="438096" y="67489"/>
                    <a:pt x="439403" y="64001"/>
                  </a:cubicBezTo>
                  <a:cubicBezTo>
                    <a:pt x="440275" y="62039"/>
                    <a:pt x="439839" y="59422"/>
                    <a:pt x="438314" y="57896"/>
                  </a:cubicBezTo>
                  <a:cubicBezTo>
                    <a:pt x="437006" y="56588"/>
                    <a:pt x="435917" y="53536"/>
                    <a:pt x="435917" y="51138"/>
                  </a:cubicBezTo>
                  <a:cubicBezTo>
                    <a:pt x="435917" y="47650"/>
                    <a:pt x="434827" y="48304"/>
                    <a:pt x="430469" y="54626"/>
                  </a:cubicBezTo>
                  <a:cubicBezTo>
                    <a:pt x="427418" y="59204"/>
                    <a:pt x="423060" y="63783"/>
                    <a:pt x="420663" y="65091"/>
                  </a:cubicBezTo>
                  <a:cubicBezTo>
                    <a:pt x="416523" y="67271"/>
                    <a:pt x="414780" y="75773"/>
                    <a:pt x="417830" y="78825"/>
                  </a:cubicBezTo>
                  <a:cubicBezTo>
                    <a:pt x="420445" y="81659"/>
                    <a:pt x="427200" y="73157"/>
                    <a:pt x="427200" y="66835"/>
                  </a:cubicBezTo>
                  <a:close/>
                  <a:moveTo>
                    <a:pt x="1374226" y="71195"/>
                  </a:moveTo>
                  <a:cubicBezTo>
                    <a:pt x="1370957" y="60948"/>
                    <a:pt x="1371611" y="59858"/>
                    <a:pt x="1381199" y="58114"/>
                  </a:cubicBezTo>
                  <a:cubicBezTo>
                    <a:pt x="1386429" y="57242"/>
                    <a:pt x="1392966" y="57460"/>
                    <a:pt x="1396017" y="58768"/>
                  </a:cubicBezTo>
                  <a:cubicBezTo>
                    <a:pt x="1403426" y="61384"/>
                    <a:pt x="1405605" y="59640"/>
                    <a:pt x="1405605" y="50702"/>
                  </a:cubicBezTo>
                  <a:cubicBezTo>
                    <a:pt x="1405605" y="44816"/>
                    <a:pt x="1404515" y="42636"/>
                    <a:pt x="1400157" y="40674"/>
                  </a:cubicBezTo>
                  <a:cubicBezTo>
                    <a:pt x="1391659" y="36968"/>
                    <a:pt x="1394055" y="29555"/>
                    <a:pt x="1404297" y="27811"/>
                  </a:cubicBezTo>
                  <a:cubicBezTo>
                    <a:pt x="1412578" y="26067"/>
                    <a:pt x="1410181" y="21925"/>
                    <a:pt x="1399067" y="19309"/>
                  </a:cubicBezTo>
                  <a:cubicBezTo>
                    <a:pt x="1390351" y="17129"/>
                    <a:pt x="1387300" y="17129"/>
                    <a:pt x="1384685" y="19527"/>
                  </a:cubicBezTo>
                  <a:cubicBezTo>
                    <a:pt x="1382506" y="21271"/>
                    <a:pt x="1380763" y="21489"/>
                    <a:pt x="1379238" y="19963"/>
                  </a:cubicBezTo>
                  <a:cubicBezTo>
                    <a:pt x="1377930" y="18655"/>
                    <a:pt x="1372483" y="18219"/>
                    <a:pt x="1367253" y="18873"/>
                  </a:cubicBezTo>
                  <a:cubicBezTo>
                    <a:pt x="1359626" y="19745"/>
                    <a:pt x="1357665" y="19309"/>
                    <a:pt x="1358101" y="16911"/>
                  </a:cubicBezTo>
                  <a:cubicBezTo>
                    <a:pt x="1359408" y="10589"/>
                    <a:pt x="1334131" y="12769"/>
                    <a:pt x="1331952" y="19091"/>
                  </a:cubicBezTo>
                  <a:cubicBezTo>
                    <a:pt x="1331298" y="21271"/>
                    <a:pt x="1332388" y="21707"/>
                    <a:pt x="1336528" y="20617"/>
                  </a:cubicBezTo>
                  <a:cubicBezTo>
                    <a:pt x="1341322" y="19527"/>
                    <a:pt x="1343283" y="20835"/>
                    <a:pt x="1349820" y="28901"/>
                  </a:cubicBezTo>
                  <a:cubicBezTo>
                    <a:pt x="1357447" y="37840"/>
                    <a:pt x="1359844" y="45470"/>
                    <a:pt x="1355486" y="45470"/>
                  </a:cubicBezTo>
                  <a:cubicBezTo>
                    <a:pt x="1354396" y="45470"/>
                    <a:pt x="1352217" y="43944"/>
                    <a:pt x="1350692" y="42200"/>
                  </a:cubicBezTo>
                  <a:cubicBezTo>
                    <a:pt x="1343283" y="33262"/>
                    <a:pt x="1341758" y="32171"/>
                    <a:pt x="1339797" y="34134"/>
                  </a:cubicBezTo>
                  <a:cubicBezTo>
                    <a:pt x="1334567" y="39366"/>
                    <a:pt x="1350910" y="58550"/>
                    <a:pt x="1360498" y="58550"/>
                  </a:cubicBezTo>
                  <a:cubicBezTo>
                    <a:pt x="1365945" y="58550"/>
                    <a:pt x="1366599" y="59204"/>
                    <a:pt x="1366381" y="64655"/>
                  </a:cubicBezTo>
                  <a:cubicBezTo>
                    <a:pt x="1365728" y="74683"/>
                    <a:pt x="1366163" y="75991"/>
                    <a:pt x="1370957" y="75991"/>
                  </a:cubicBezTo>
                  <a:cubicBezTo>
                    <a:pt x="1374662" y="75991"/>
                    <a:pt x="1375315" y="75119"/>
                    <a:pt x="1374226" y="71195"/>
                  </a:cubicBezTo>
                  <a:close/>
                  <a:moveTo>
                    <a:pt x="1453326" y="69451"/>
                  </a:moveTo>
                  <a:cubicBezTo>
                    <a:pt x="1457249" y="69451"/>
                    <a:pt x="1458120" y="68361"/>
                    <a:pt x="1457467" y="63565"/>
                  </a:cubicBezTo>
                  <a:cubicBezTo>
                    <a:pt x="1456813" y="57896"/>
                    <a:pt x="1456159" y="57460"/>
                    <a:pt x="1448750" y="58114"/>
                  </a:cubicBezTo>
                  <a:cubicBezTo>
                    <a:pt x="1444174" y="58550"/>
                    <a:pt x="1440470" y="57896"/>
                    <a:pt x="1440470" y="56806"/>
                  </a:cubicBezTo>
                  <a:cubicBezTo>
                    <a:pt x="1440470" y="55498"/>
                    <a:pt x="1438073" y="53100"/>
                    <a:pt x="1435022" y="51138"/>
                  </a:cubicBezTo>
                  <a:cubicBezTo>
                    <a:pt x="1430010" y="47868"/>
                    <a:pt x="1429574" y="47868"/>
                    <a:pt x="1427395" y="52228"/>
                  </a:cubicBezTo>
                  <a:cubicBezTo>
                    <a:pt x="1424345" y="57678"/>
                    <a:pt x="1427395" y="62257"/>
                    <a:pt x="1434586" y="63347"/>
                  </a:cubicBezTo>
                  <a:cubicBezTo>
                    <a:pt x="1437201" y="63783"/>
                    <a:pt x="1439162" y="65527"/>
                    <a:pt x="1438727" y="67053"/>
                  </a:cubicBezTo>
                  <a:cubicBezTo>
                    <a:pt x="1438291" y="68797"/>
                    <a:pt x="1438727" y="71631"/>
                    <a:pt x="1439380" y="73375"/>
                  </a:cubicBezTo>
                  <a:cubicBezTo>
                    <a:pt x="1440470" y="76209"/>
                    <a:pt x="1441123" y="76209"/>
                    <a:pt x="1444392" y="72939"/>
                  </a:cubicBezTo>
                  <a:cubicBezTo>
                    <a:pt x="1446571" y="70977"/>
                    <a:pt x="1450711" y="69451"/>
                    <a:pt x="1453326" y="69451"/>
                  </a:cubicBezTo>
                  <a:close/>
                  <a:moveTo>
                    <a:pt x="649466" y="65963"/>
                  </a:moveTo>
                  <a:cubicBezTo>
                    <a:pt x="649466" y="64219"/>
                    <a:pt x="648594" y="63347"/>
                    <a:pt x="647287" y="64001"/>
                  </a:cubicBezTo>
                  <a:cubicBezTo>
                    <a:pt x="646197" y="64655"/>
                    <a:pt x="645108" y="66181"/>
                    <a:pt x="645108" y="67489"/>
                  </a:cubicBezTo>
                  <a:cubicBezTo>
                    <a:pt x="645108" y="68579"/>
                    <a:pt x="646197" y="69451"/>
                    <a:pt x="647287" y="69451"/>
                  </a:cubicBezTo>
                  <a:cubicBezTo>
                    <a:pt x="648594" y="69451"/>
                    <a:pt x="649466" y="67925"/>
                    <a:pt x="649466" y="65963"/>
                  </a:cubicBezTo>
                  <a:close/>
                  <a:moveTo>
                    <a:pt x="1250890" y="65963"/>
                  </a:moveTo>
                  <a:cubicBezTo>
                    <a:pt x="1250890" y="64219"/>
                    <a:pt x="1250019" y="63347"/>
                    <a:pt x="1248711" y="64001"/>
                  </a:cubicBezTo>
                  <a:cubicBezTo>
                    <a:pt x="1247622" y="64655"/>
                    <a:pt x="1246532" y="66181"/>
                    <a:pt x="1246532" y="67489"/>
                  </a:cubicBezTo>
                  <a:cubicBezTo>
                    <a:pt x="1246532" y="68579"/>
                    <a:pt x="1247622" y="69451"/>
                    <a:pt x="1248711" y="69451"/>
                  </a:cubicBezTo>
                  <a:cubicBezTo>
                    <a:pt x="1250019" y="69451"/>
                    <a:pt x="1250890" y="67925"/>
                    <a:pt x="1250890" y="65963"/>
                  </a:cubicBezTo>
                  <a:close/>
                  <a:moveTo>
                    <a:pt x="450298" y="54844"/>
                  </a:moveTo>
                  <a:cubicBezTo>
                    <a:pt x="452695" y="52228"/>
                    <a:pt x="453131" y="50920"/>
                    <a:pt x="451388" y="50266"/>
                  </a:cubicBezTo>
                  <a:cubicBezTo>
                    <a:pt x="447248" y="48958"/>
                    <a:pt x="442454" y="51574"/>
                    <a:pt x="442454" y="55280"/>
                  </a:cubicBezTo>
                  <a:cubicBezTo>
                    <a:pt x="442454" y="59640"/>
                    <a:pt x="445505" y="59422"/>
                    <a:pt x="450298" y="54844"/>
                  </a:cubicBezTo>
                  <a:close/>
                  <a:moveTo>
                    <a:pt x="662540" y="55280"/>
                  </a:moveTo>
                  <a:cubicBezTo>
                    <a:pt x="662540" y="53536"/>
                    <a:pt x="661233" y="52010"/>
                    <a:pt x="659490" y="52010"/>
                  </a:cubicBezTo>
                  <a:cubicBezTo>
                    <a:pt x="655131" y="52010"/>
                    <a:pt x="653170" y="55716"/>
                    <a:pt x="656439" y="57024"/>
                  </a:cubicBezTo>
                  <a:cubicBezTo>
                    <a:pt x="661233" y="58986"/>
                    <a:pt x="662540" y="58550"/>
                    <a:pt x="662540" y="55280"/>
                  </a:cubicBezTo>
                  <a:close/>
                  <a:moveTo>
                    <a:pt x="1327158" y="54844"/>
                  </a:moveTo>
                  <a:cubicBezTo>
                    <a:pt x="1327158" y="52882"/>
                    <a:pt x="1325197" y="48958"/>
                    <a:pt x="1322582" y="46342"/>
                  </a:cubicBezTo>
                  <a:cubicBezTo>
                    <a:pt x="1318877" y="42418"/>
                    <a:pt x="1318442" y="40674"/>
                    <a:pt x="1320403" y="36968"/>
                  </a:cubicBezTo>
                  <a:cubicBezTo>
                    <a:pt x="1321710" y="34570"/>
                    <a:pt x="1322364" y="29991"/>
                    <a:pt x="1321492" y="27157"/>
                  </a:cubicBezTo>
                  <a:cubicBezTo>
                    <a:pt x="1320621" y="23233"/>
                    <a:pt x="1321274" y="21271"/>
                    <a:pt x="1324761" y="19309"/>
                  </a:cubicBezTo>
                  <a:cubicBezTo>
                    <a:pt x="1327376" y="18001"/>
                    <a:pt x="1329337" y="15603"/>
                    <a:pt x="1329337" y="13859"/>
                  </a:cubicBezTo>
                  <a:cubicBezTo>
                    <a:pt x="1329337" y="10371"/>
                    <a:pt x="1323453" y="9499"/>
                    <a:pt x="1319313" y="12333"/>
                  </a:cubicBezTo>
                  <a:cubicBezTo>
                    <a:pt x="1314955" y="15385"/>
                    <a:pt x="1309725" y="24541"/>
                    <a:pt x="1309725" y="29337"/>
                  </a:cubicBezTo>
                  <a:cubicBezTo>
                    <a:pt x="1309725" y="31953"/>
                    <a:pt x="1307764" y="36532"/>
                    <a:pt x="1305367" y="39584"/>
                  </a:cubicBezTo>
                  <a:cubicBezTo>
                    <a:pt x="1300573" y="45688"/>
                    <a:pt x="1299702" y="50920"/>
                    <a:pt x="1303842" y="49176"/>
                  </a:cubicBezTo>
                  <a:cubicBezTo>
                    <a:pt x="1305149" y="48522"/>
                    <a:pt x="1308200" y="47432"/>
                    <a:pt x="1310161" y="46560"/>
                  </a:cubicBezTo>
                  <a:cubicBezTo>
                    <a:pt x="1312776" y="45470"/>
                    <a:pt x="1314519" y="46342"/>
                    <a:pt x="1315391" y="48958"/>
                  </a:cubicBezTo>
                  <a:cubicBezTo>
                    <a:pt x="1318877" y="58332"/>
                    <a:pt x="1327158" y="62475"/>
                    <a:pt x="1327158" y="54844"/>
                  </a:cubicBezTo>
                  <a:close/>
                  <a:moveTo>
                    <a:pt x="283381" y="50048"/>
                  </a:moveTo>
                  <a:cubicBezTo>
                    <a:pt x="283381" y="47432"/>
                    <a:pt x="279023" y="44598"/>
                    <a:pt x="277498" y="46124"/>
                  </a:cubicBezTo>
                  <a:cubicBezTo>
                    <a:pt x="275973" y="47650"/>
                    <a:pt x="278805" y="52010"/>
                    <a:pt x="281420" y="52010"/>
                  </a:cubicBezTo>
                  <a:cubicBezTo>
                    <a:pt x="282510" y="52010"/>
                    <a:pt x="283381" y="51138"/>
                    <a:pt x="283381" y="50048"/>
                  </a:cubicBezTo>
                  <a:close/>
                  <a:moveTo>
                    <a:pt x="1237380" y="46124"/>
                  </a:moveTo>
                  <a:cubicBezTo>
                    <a:pt x="1236508" y="38712"/>
                    <a:pt x="1226921" y="35660"/>
                    <a:pt x="1226921" y="42636"/>
                  </a:cubicBezTo>
                  <a:cubicBezTo>
                    <a:pt x="1226921" y="47432"/>
                    <a:pt x="1230843" y="52010"/>
                    <a:pt x="1235201" y="52010"/>
                  </a:cubicBezTo>
                  <a:cubicBezTo>
                    <a:pt x="1237162" y="52010"/>
                    <a:pt x="1237816" y="50048"/>
                    <a:pt x="1237380" y="46124"/>
                  </a:cubicBezTo>
                  <a:close/>
                  <a:moveTo>
                    <a:pt x="620048" y="47650"/>
                  </a:moveTo>
                  <a:cubicBezTo>
                    <a:pt x="620702" y="46560"/>
                    <a:pt x="619830" y="45470"/>
                    <a:pt x="618087" y="45470"/>
                  </a:cubicBezTo>
                  <a:cubicBezTo>
                    <a:pt x="616126" y="45470"/>
                    <a:pt x="614601" y="46560"/>
                    <a:pt x="614601" y="47650"/>
                  </a:cubicBezTo>
                  <a:cubicBezTo>
                    <a:pt x="614601" y="48958"/>
                    <a:pt x="615472" y="49830"/>
                    <a:pt x="616562" y="49830"/>
                  </a:cubicBezTo>
                  <a:cubicBezTo>
                    <a:pt x="617869" y="49830"/>
                    <a:pt x="619395" y="48958"/>
                    <a:pt x="620048" y="47650"/>
                  </a:cubicBezTo>
                  <a:close/>
                  <a:moveTo>
                    <a:pt x="1133220" y="48958"/>
                  </a:moveTo>
                  <a:cubicBezTo>
                    <a:pt x="1133220" y="48304"/>
                    <a:pt x="1132349" y="47214"/>
                    <a:pt x="1131041" y="46560"/>
                  </a:cubicBezTo>
                  <a:cubicBezTo>
                    <a:pt x="1129952" y="45906"/>
                    <a:pt x="1128862" y="46342"/>
                    <a:pt x="1128862" y="47432"/>
                  </a:cubicBezTo>
                  <a:cubicBezTo>
                    <a:pt x="1128862" y="48740"/>
                    <a:pt x="1129952" y="49830"/>
                    <a:pt x="1131041" y="49830"/>
                  </a:cubicBezTo>
                  <a:cubicBezTo>
                    <a:pt x="1132349" y="49830"/>
                    <a:pt x="1133220" y="49394"/>
                    <a:pt x="1133220" y="48958"/>
                  </a:cubicBezTo>
                  <a:close/>
                  <a:moveTo>
                    <a:pt x="1447879" y="46560"/>
                  </a:moveTo>
                  <a:cubicBezTo>
                    <a:pt x="1451365" y="43944"/>
                    <a:pt x="1451583" y="42854"/>
                    <a:pt x="1449186" y="40020"/>
                  </a:cubicBezTo>
                  <a:cubicBezTo>
                    <a:pt x="1447661" y="38276"/>
                    <a:pt x="1445264" y="36750"/>
                    <a:pt x="1443956" y="36750"/>
                  </a:cubicBezTo>
                  <a:cubicBezTo>
                    <a:pt x="1442649" y="36750"/>
                    <a:pt x="1439816" y="34788"/>
                    <a:pt x="1437637" y="32389"/>
                  </a:cubicBezTo>
                  <a:cubicBezTo>
                    <a:pt x="1430882" y="24323"/>
                    <a:pt x="1415410" y="27375"/>
                    <a:pt x="1413449" y="37186"/>
                  </a:cubicBezTo>
                  <a:cubicBezTo>
                    <a:pt x="1411706" y="45688"/>
                    <a:pt x="1413231" y="47214"/>
                    <a:pt x="1418243" y="42636"/>
                  </a:cubicBezTo>
                  <a:cubicBezTo>
                    <a:pt x="1422166" y="39148"/>
                    <a:pt x="1422819" y="39148"/>
                    <a:pt x="1431971" y="44162"/>
                  </a:cubicBezTo>
                  <a:cubicBezTo>
                    <a:pt x="1443520" y="50484"/>
                    <a:pt x="1442649" y="50484"/>
                    <a:pt x="1447879" y="46560"/>
                  </a:cubicBezTo>
                  <a:close/>
                  <a:moveTo>
                    <a:pt x="271179" y="42200"/>
                  </a:moveTo>
                  <a:cubicBezTo>
                    <a:pt x="272486" y="38494"/>
                    <a:pt x="268564" y="28029"/>
                    <a:pt x="265731" y="28029"/>
                  </a:cubicBezTo>
                  <a:cubicBezTo>
                    <a:pt x="264859" y="28029"/>
                    <a:pt x="263334" y="29119"/>
                    <a:pt x="262680" y="30209"/>
                  </a:cubicBezTo>
                  <a:cubicBezTo>
                    <a:pt x="262026" y="31517"/>
                    <a:pt x="258976" y="32389"/>
                    <a:pt x="255925" y="32389"/>
                  </a:cubicBezTo>
                  <a:cubicBezTo>
                    <a:pt x="249170" y="32389"/>
                    <a:pt x="249170" y="36314"/>
                    <a:pt x="255925" y="38930"/>
                  </a:cubicBezTo>
                  <a:cubicBezTo>
                    <a:pt x="258758" y="40020"/>
                    <a:pt x="261809" y="41982"/>
                    <a:pt x="262680" y="43072"/>
                  </a:cubicBezTo>
                  <a:cubicBezTo>
                    <a:pt x="264641" y="46560"/>
                    <a:pt x="269653" y="45906"/>
                    <a:pt x="271179" y="42200"/>
                  </a:cubicBezTo>
                  <a:close/>
                  <a:moveTo>
                    <a:pt x="453349" y="43290"/>
                  </a:moveTo>
                  <a:cubicBezTo>
                    <a:pt x="453349" y="42200"/>
                    <a:pt x="452478" y="41110"/>
                    <a:pt x="451170" y="41110"/>
                  </a:cubicBezTo>
                  <a:cubicBezTo>
                    <a:pt x="450081" y="41110"/>
                    <a:pt x="448991" y="42200"/>
                    <a:pt x="448991" y="43290"/>
                  </a:cubicBezTo>
                  <a:cubicBezTo>
                    <a:pt x="448991" y="44598"/>
                    <a:pt x="450081" y="45470"/>
                    <a:pt x="451170" y="45470"/>
                  </a:cubicBezTo>
                  <a:cubicBezTo>
                    <a:pt x="452478" y="45470"/>
                    <a:pt x="453349" y="44598"/>
                    <a:pt x="453349" y="43290"/>
                  </a:cubicBezTo>
                  <a:close/>
                  <a:moveTo>
                    <a:pt x="483856" y="35442"/>
                  </a:moveTo>
                  <a:cubicBezTo>
                    <a:pt x="483856" y="33698"/>
                    <a:pt x="482767" y="32826"/>
                    <a:pt x="481677" y="33480"/>
                  </a:cubicBezTo>
                  <a:cubicBezTo>
                    <a:pt x="480370" y="34352"/>
                    <a:pt x="479934" y="35878"/>
                    <a:pt x="480588" y="36968"/>
                  </a:cubicBezTo>
                  <a:cubicBezTo>
                    <a:pt x="482549" y="40020"/>
                    <a:pt x="483856" y="39366"/>
                    <a:pt x="483856" y="35442"/>
                  </a:cubicBezTo>
                  <a:close/>
                  <a:moveTo>
                    <a:pt x="1247404" y="33044"/>
                  </a:moveTo>
                  <a:cubicBezTo>
                    <a:pt x="1249147" y="28683"/>
                    <a:pt x="1247186" y="25849"/>
                    <a:pt x="1242174" y="25849"/>
                  </a:cubicBezTo>
                  <a:cubicBezTo>
                    <a:pt x="1239995" y="25849"/>
                    <a:pt x="1237598" y="24977"/>
                    <a:pt x="1236944" y="23887"/>
                  </a:cubicBezTo>
                  <a:cubicBezTo>
                    <a:pt x="1235419" y="21489"/>
                    <a:pt x="1240649" y="19309"/>
                    <a:pt x="1248058" y="19309"/>
                  </a:cubicBezTo>
                  <a:cubicBezTo>
                    <a:pt x="1252416" y="19309"/>
                    <a:pt x="1253287" y="18437"/>
                    <a:pt x="1252634" y="14513"/>
                  </a:cubicBezTo>
                  <a:cubicBezTo>
                    <a:pt x="1252198" y="10589"/>
                    <a:pt x="1250455" y="9281"/>
                    <a:pt x="1244135" y="8845"/>
                  </a:cubicBezTo>
                  <a:cubicBezTo>
                    <a:pt x="1237162" y="8191"/>
                    <a:pt x="1236073" y="8845"/>
                    <a:pt x="1234765" y="13641"/>
                  </a:cubicBezTo>
                  <a:cubicBezTo>
                    <a:pt x="1232804" y="21489"/>
                    <a:pt x="1226485" y="21271"/>
                    <a:pt x="1227356" y="13423"/>
                  </a:cubicBezTo>
                  <a:lnTo>
                    <a:pt x="1228010" y="7319"/>
                  </a:lnTo>
                  <a:lnTo>
                    <a:pt x="1188351" y="6883"/>
                  </a:lnTo>
                  <a:cubicBezTo>
                    <a:pt x="1166342" y="6665"/>
                    <a:pt x="1148474" y="6883"/>
                    <a:pt x="1148474" y="7537"/>
                  </a:cubicBezTo>
                  <a:cubicBezTo>
                    <a:pt x="1148474" y="7973"/>
                    <a:pt x="1149781" y="10371"/>
                    <a:pt x="1151089" y="12769"/>
                  </a:cubicBezTo>
                  <a:cubicBezTo>
                    <a:pt x="1153268" y="16039"/>
                    <a:pt x="1153268" y="18219"/>
                    <a:pt x="1151525" y="21053"/>
                  </a:cubicBezTo>
                  <a:cubicBezTo>
                    <a:pt x="1149345" y="24541"/>
                    <a:pt x="1150217" y="27157"/>
                    <a:pt x="1156319" y="36532"/>
                  </a:cubicBezTo>
                  <a:cubicBezTo>
                    <a:pt x="1157844" y="38712"/>
                    <a:pt x="1170265" y="27157"/>
                    <a:pt x="1170265" y="23669"/>
                  </a:cubicBezTo>
                  <a:cubicBezTo>
                    <a:pt x="1170265" y="17783"/>
                    <a:pt x="1180942" y="15167"/>
                    <a:pt x="1183775" y="20181"/>
                  </a:cubicBezTo>
                  <a:cubicBezTo>
                    <a:pt x="1185300" y="22797"/>
                    <a:pt x="1186826" y="23233"/>
                    <a:pt x="1189223" y="21707"/>
                  </a:cubicBezTo>
                  <a:cubicBezTo>
                    <a:pt x="1191620" y="20617"/>
                    <a:pt x="1194234" y="20617"/>
                    <a:pt x="1196631" y="22143"/>
                  </a:cubicBezTo>
                  <a:cubicBezTo>
                    <a:pt x="1199246" y="23887"/>
                    <a:pt x="1201643" y="23233"/>
                    <a:pt x="1206655" y="19745"/>
                  </a:cubicBezTo>
                  <a:cubicBezTo>
                    <a:pt x="1212974" y="15385"/>
                    <a:pt x="1213192" y="15385"/>
                    <a:pt x="1216461" y="19091"/>
                  </a:cubicBezTo>
                  <a:cubicBezTo>
                    <a:pt x="1218422" y="21489"/>
                    <a:pt x="1220601" y="25195"/>
                    <a:pt x="1221473" y="27811"/>
                  </a:cubicBezTo>
                  <a:cubicBezTo>
                    <a:pt x="1222998" y="32608"/>
                    <a:pt x="1227792" y="33916"/>
                    <a:pt x="1230189" y="30209"/>
                  </a:cubicBezTo>
                  <a:cubicBezTo>
                    <a:pt x="1232586" y="26503"/>
                    <a:pt x="1235637" y="27811"/>
                    <a:pt x="1237816" y="33480"/>
                  </a:cubicBezTo>
                  <a:cubicBezTo>
                    <a:pt x="1239995" y="39148"/>
                    <a:pt x="1245225" y="38930"/>
                    <a:pt x="1247404" y="33044"/>
                  </a:cubicBezTo>
                  <a:close/>
                  <a:moveTo>
                    <a:pt x="281202" y="24977"/>
                  </a:moveTo>
                  <a:cubicBezTo>
                    <a:pt x="280984" y="19091"/>
                    <a:pt x="276190" y="12769"/>
                    <a:pt x="271614" y="12769"/>
                  </a:cubicBezTo>
                  <a:cubicBezTo>
                    <a:pt x="267038" y="12769"/>
                    <a:pt x="266603" y="26939"/>
                    <a:pt x="271397" y="28901"/>
                  </a:cubicBezTo>
                  <a:cubicBezTo>
                    <a:pt x="273140" y="29555"/>
                    <a:pt x="274665" y="31735"/>
                    <a:pt x="274665" y="33916"/>
                  </a:cubicBezTo>
                  <a:cubicBezTo>
                    <a:pt x="274883" y="37622"/>
                    <a:pt x="275101" y="37404"/>
                    <a:pt x="277934" y="33698"/>
                  </a:cubicBezTo>
                  <a:cubicBezTo>
                    <a:pt x="279677" y="31299"/>
                    <a:pt x="281202" y="27375"/>
                    <a:pt x="281202" y="24977"/>
                  </a:cubicBezTo>
                  <a:close/>
                  <a:moveTo>
                    <a:pt x="626150" y="33698"/>
                  </a:moveTo>
                  <a:cubicBezTo>
                    <a:pt x="627893" y="29555"/>
                    <a:pt x="622881" y="25631"/>
                    <a:pt x="619177" y="28029"/>
                  </a:cubicBezTo>
                  <a:cubicBezTo>
                    <a:pt x="615472" y="30209"/>
                    <a:pt x="617651" y="36750"/>
                    <a:pt x="622010" y="36750"/>
                  </a:cubicBezTo>
                  <a:cubicBezTo>
                    <a:pt x="623535" y="36750"/>
                    <a:pt x="625496" y="35442"/>
                    <a:pt x="626150" y="33698"/>
                  </a:cubicBezTo>
                  <a:close/>
                  <a:moveTo>
                    <a:pt x="190771" y="32389"/>
                  </a:moveTo>
                  <a:cubicBezTo>
                    <a:pt x="191425" y="31299"/>
                    <a:pt x="193821" y="30209"/>
                    <a:pt x="196001" y="30209"/>
                  </a:cubicBezTo>
                  <a:cubicBezTo>
                    <a:pt x="198180" y="30209"/>
                    <a:pt x="201012" y="27593"/>
                    <a:pt x="202320" y="24541"/>
                  </a:cubicBezTo>
                  <a:cubicBezTo>
                    <a:pt x="204717" y="19527"/>
                    <a:pt x="205588" y="19091"/>
                    <a:pt x="215394" y="20399"/>
                  </a:cubicBezTo>
                  <a:cubicBezTo>
                    <a:pt x="221060" y="21271"/>
                    <a:pt x="226725" y="23233"/>
                    <a:pt x="228033" y="24977"/>
                  </a:cubicBezTo>
                  <a:cubicBezTo>
                    <a:pt x="230866" y="28465"/>
                    <a:pt x="236749" y="29119"/>
                    <a:pt x="238710" y="26067"/>
                  </a:cubicBezTo>
                  <a:cubicBezTo>
                    <a:pt x="239364" y="24977"/>
                    <a:pt x="238710" y="21489"/>
                    <a:pt x="237185" y="18219"/>
                  </a:cubicBezTo>
                  <a:cubicBezTo>
                    <a:pt x="234570" y="12551"/>
                    <a:pt x="234570" y="12551"/>
                    <a:pt x="217138" y="13859"/>
                  </a:cubicBezTo>
                  <a:cubicBezTo>
                    <a:pt x="194693" y="15603"/>
                    <a:pt x="194039" y="15821"/>
                    <a:pt x="194039" y="22579"/>
                  </a:cubicBezTo>
                  <a:cubicBezTo>
                    <a:pt x="194039" y="26503"/>
                    <a:pt x="192950" y="28029"/>
                    <a:pt x="189681" y="28029"/>
                  </a:cubicBezTo>
                  <a:cubicBezTo>
                    <a:pt x="187284" y="28029"/>
                    <a:pt x="185323" y="29555"/>
                    <a:pt x="185323" y="31299"/>
                  </a:cubicBezTo>
                  <a:cubicBezTo>
                    <a:pt x="185323" y="35006"/>
                    <a:pt x="188810" y="35660"/>
                    <a:pt x="190771" y="32389"/>
                  </a:cubicBezTo>
                  <a:close/>
                  <a:moveTo>
                    <a:pt x="642057" y="27593"/>
                  </a:moveTo>
                  <a:cubicBezTo>
                    <a:pt x="642929" y="24759"/>
                    <a:pt x="644672" y="23669"/>
                    <a:pt x="647505" y="24323"/>
                  </a:cubicBezTo>
                  <a:cubicBezTo>
                    <a:pt x="650120" y="24977"/>
                    <a:pt x="651645" y="24323"/>
                    <a:pt x="651645" y="22361"/>
                  </a:cubicBezTo>
                  <a:cubicBezTo>
                    <a:pt x="651645" y="20181"/>
                    <a:pt x="648812" y="19309"/>
                    <a:pt x="641839" y="19309"/>
                  </a:cubicBezTo>
                  <a:cubicBezTo>
                    <a:pt x="632469" y="19309"/>
                    <a:pt x="632033" y="19527"/>
                    <a:pt x="632033" y="25413"/>
                  </a:cubicBezTo>
                  <a:cubicBezTo>
                    <a:pt x="632033" y="28901"/>
                    <a:pt x="632687" y="32171"/>
                    <a:pt x="633341" y="33044"/>
                  </a:cubicBezTo>
                  <a:cubicBezTo>
                    <a:pt x="635520" y="35224"/>
                    <a:pt x="640532" y="32171"/>
                    <a:pt x="642057" y="27593"/>
                  </a:cubicBezTo>
                  <a:close/>
                  <a:moveTo>
                    <a:pt x="259412" y="24759"/>
                  </a:moveTo>
                  <a:cubicBezTo>
                    <a:pt x="259412" y="21925"/>
                    <a:pt x="252221" y="12769"/>
                    <a:pt x="249824" y="12769"/>
                  </a:cubicBezTo>
                  <a:cubicBezTo>
                    <a:pt x="247863" y="12769"/>
                    <a:pt x="246991" y="20835"/>
                    <a:pt x="248298" y="25413"/>
                  </a:cubicBezTo>
                  <a:cubicBezTo>
                    <a:pt x="248734" y="26503"/>
                    <a:pt x="259412" y="25849"/>
                    <a:pt x="259412" y="24759"/>
                  </a:cubicBezTo>
                  <a:close/>
                </a:path>
              </a:pathLst>
            </a:custGeom>
            <a:grpFill/>
            <a:ln w="218" cap="flat">
              <a:noFill/>
              <a:prstDash val="solid"/>
              <a:miter/>
            </a:ln>
          </p:spPr>
          <p:txBody>
            <a:bodyPr rtlCol="0" anchor="ctr"/>
            <a:lstStyle/>
            <a:p>
              <a:endParaRPr lang="en-GB" dirty="0"/>
            </a:p>
          </p:txBody>
        </p:sp>
        <p:sp>
          <p:nvSpPr>
            <p:cNvPr id="9" name="Freihandform: Form 8">
              <a:extLst>
                <a:ext uri="{FF2B5EF4-FFF2-40B4-BE49-F238E27FC236}">
                  <a16:creationId xmlns:a16="http://schemas.microsoft.com/office/drawing/2014/main" xmlns="" id="{F0CE7A8B-1162-4282-AC2C-929D19ECE473}"/>
                </a:ext>
              </a:extLst>
            </p:cNvPr>
            <p:cNvSpPr/>
            <p:nvPr/>
          </p:nvSpPr>
          <p:spPr>
            <a:xfrm flipV="1">
              <a:off x="4303918" y="4044983"/>
              <a:ext cx="41402" cy="68702"/>
            </a:xfrm>
            <a:custGeom>
              <a:avLst/>
              <a:gdLst>
                <a:gd name="connsiteX0" fmla="*/ 8529 w 41402"/>
                <a:gd name="connsiteY0" fmla="*/ 62072 h 68702"/>
                <a:gd name="connsiteX1" fmla="*/ -1495 w 41402"/>
                <a:gd name="connsiteY1" fmla="*/ 53788 h 68702"/>
                <a:gd name="connsiteX2" fmla="*/ 7222 w 41402"/>
                <a:gd name="connsiteY2" fmla="*/ 55314 h 68702"/>
                <a:gd name="connsiteX3" fmla="*/ 29884 w 41402"/>
                <a:gd name="connsiteY3" fmla="*/ 49210 h 68702"/>
                <a:gd name="connsiteX4" fmla="*/ 13323 w 41402"/>
                <a:gd name="connsiteY4" fmla="*/ 15636 h 68702"/>
                <a:gd name="connsiteX5" fmla="*/ -1931 w 41402"/>
                <a:gd name="connsiteY5" fmla="*/ -3548 h 68702"/>
                <a:gd name="connsiteX6" fmla="*/ 18771 w 41402"/>
                <a:gd name="connsiteY6" fmla="*/ -6164 h 68702"/>
                <a:gd name="connsiteX7" fmla="*/ 39472 w 41402"/>
                <a:gd name="connsiteY7" fmla="*/ -3984 h 68702"/>
                <a:gd name="connsiteX8" fmla="*/ 27051 w 41402"/>
                <a:gd name="connsiteY8" fmla="*/ -1804 h 68702"/>
                <a:gd name="connsiteX9" fmla="*/ 22693 w 41402"/>
                <a:gd name="connsiteY9" fmla="*/ 17380 h 68702"/>
                <a:gd name="connsiteX10" fmla="*/ 38600 w 41402"/>
                <a:gd name="connsiteY10" fmla="*/ 49428 h 68702"/>
                <a:gd name="connsiteX11" fmla="*/ 8529 w 41402"/>
                <a:gd name="connsiteY11" fmla="*/ 62072 h 68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402" h="68702">
                  <a:moveTo>
                    <a:pt x="8529" y="62072"/>
                  </a:moveTo>
                  <a:cubicBezTo>
                    <a:pt x="3081" y="61200"/>
                    <a:pt x="-3674" y="55750"/>
                    <a:pt x="-1495" y="53788"/>
                  </a:cubicBezTo>
                  <a:cubicBezTo>
                    <a:pt x="-1059" y="53352"/>
                    <a:pt x="2863" y="54006"/>
                    <a:pt x="7222" y="55314"/>
                  </a:cubicBezTo>
                  <a:cubicBezTo>
                    <a:pt x="17245" y="58366"/>
                    <a:pt x="25308" y="56186"/>
                    <a:pt x="29884" y="49210"/>
                  </a:cubicBezTo>
                  <a:cubicBezTo>
                    <a:pt x="34896" y="41797"/>
                    <a:pt x="32281" y="36783"/>
                    <a:pt x="13323" y="15636"/>
                  </a:cubicBezTo>
                  <a:cubicBezTo>
                    <a:pt x="4825" y="6480"/>
                    <a:pt x="-1931" y="-2240"/>
                    <a:pt x="-1931" y="-3548"/>
                  </a:cubicBezTo>
                  <a:cubicBezTo>
                    <a:pt x="-1931" y="-5292"/>
                    <a:pt x="4607" y="-6164"/>
                    <a:pt x="18771" y="-6164"/>
                  </a:cubicBezTo>
                  <a:cubicBezTo>
                    <a:pt x="31191" y="-6164"/>
                    <a:pt x="39472" y="-5292"/>
                    <a:pt x="39472" y="-3984"/>
                  </a:cubicBezTo>
                  <a:cubicBezTo>
                    <a:pt x="39472" y="-2676"/>
                    <a:pt x="33806" y="-1804"/>
                    <a:pt x="27051" y="-1804"/>
                  </a:cubicBezTo>
                  <a:cubicBezTo>
                    <a:pt x="6786" y="-1804"/>
                    <a:pt x="6350" y="-60"/>
                    <a:pt x="22693" y="17380"/>
                  </a:cubicBezTo>
                  <a:cubicBezTo>
                    <a:pt x="37511" y="33077"/>
                    <a:pt x="40997" y="40053"/>
                    <a:pt x="38600" y="49428"/>
                  </a:cubicBezTo>
                  <a:cubicBezTo>
                    <a:pt x="36203" y="58584"/>
                    <a:pt x="22693" y="64252"/>
                    <a:pt x="8529" y="62072"/>
                  </a:cubicBezTo>
                  <a:close/>
                </a:path>
              </a:pathLst>
            </a:custGeom>
            <a:grpFill/>
            <a:ln w="218" cap="flat">
              <a:noFill/>
              <a:prstDash val="solid"/>
              <a:miter/>
            </a:ln>
          </p:spPr>
          <p:txBody>
            <a:bodyPr rtlCol="0" anchor="ctr"/>
            <a:lstStyle/>
            <a:p>
              <a:endParaRPr lang="en-GB" dirty="0"/>
            </a:p>
          </p:txBody>
        </p:sp>
        <p:sp>
          <p:nvSpPr>
            <p:cNvPr id="10" name="Freihandform: Form 9">
              <a:extLst>
                <a:ext uri="{FF2B5EF4-FFF2-40B4-BE49-F238E27FC236}">
                  <a16:creationId xmlns:a16="http://schemas.microsoft.com/office/drawing/2014/main" xmlns="" id="{7FC71376-26A1-4F1C-BDB2-F58DCB4ECEA9}"/>
                </a:ext>
              </a:extLst>
            </p:cNvPr>
            <p:cNvSpPr/>
            <p:nvPr/>
          </p:nvSpPr>
          <p:spPr>
            <a:xfrm flipV="1">
              <a:off x="4427035" y="4044194"/>
              <a:ext cx="44671" cy="71549"/>
            </a:xfrm>
            <a:custGeom>
              <a:avLst/>
              <a:gdLst>
                <a:gd name="connsiteX0" fmla="*/ 11936 w 44671"/>
                <a:gd name="connsiteY0" fmla="*/ 62824 h 71549"/>
                <a:gd name="connsiteX1" fmla="*/ -2446 w 44671"/>
                <a:gd name="connsiteY1" fmla="*/ 31213 h 71549"/>
                <a:gd name="connsiteX2" fmla="*/ 9757 w 44671"/>
                <a:gd name="connsiteY2" fmla="*/ -3014 h 71549"/>
                <a:gd name="connsiteX3" fmla="*/ 42225 w 44671"/>
                <a:gd name="connsiteY3" fmla="*/ 29687 h 71549"/>
                <a:gd name="connsiteX4" fmla="*/ 28279 w 44671"/>
                <a:gd name="connsiteY4" fmla="*/ 62388 h 71549"/>
                <a:gd name="connsiteX5" fmla="*/ 11936 w 44671"/>
                <a:gd name="connsiteY5" fmla="*/ 62824 h 71549"/>
                <a:gd name="connsiteX6" fmla="*/ 26972 w 44671"/>
                <a:gd name="connsiteY6" fmla="*/ 56938 h 71549"/>
                <a:gd name="connsiteX7" fmla="*/ 31766 w 44671"/>
                <a:gd name="connsiteY7" fmla="*/ 8977 h 71549"/>
                <a:gd name="connsiteX8" fmla="*/ 14987 w 44671"/>
                <a:gd name="connsiteY8" fmla="*/ 1128 h 71549"/>
                <a:gd name="connsiteX9" fmla="*/ 4963 w 44671"/>
                <a:gd name="connsiteY9" fmla="*/ 39280 h 71549"/>
                <a:gd name="connsiteX10" fmla="*/ 26972 w 44671"/>
                <a:gd name="connsiteY10" fmla="*/ 56938 h 71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671" h="71549">
                  <a:moveTo>
                    <a:pt x="11936" y="62824"/>
                  </a:moveTo>
                  <a:cubicBezTo>
                    <a:pt x="1259" y="57374"/>
                    <a:pt x="-2446" y="49308"/>
                    <a:pt x="-2446" y="31213"/>
                  </a:cubicBezTo>
                  <a:cubicBezTo>
                    <a:pt x="-2446" y="11593"/>
                    <a:pt x="1259" y="1346"/>
                    <a:pt x="9757" y="-3014"/>
                  </a:cubicBezTo>
                  <a:cubicBezTo>
                    <a:pt x="28715" y="-12824"/>
                    <a:pt x="42225" y="910"/>
                    <a:pt x="42225" y="29687"/>
                  </a:cubicBezTo>
                  <a:cubicBezTo>
                    <a:pt x="42225" y="48654"/>
                    <a:pt x="38085" y="58464"/>
                    <a:pt x="28279" y="62388"/>
                  </a:cubicBezTo>
                  <a:cubicBezTo>
                    <a:pt x="19127" y="66313"/>
                    <a:pt x="18473" y="66313"/>
                    <a:pt x="11936" y="62824"/>
                  </a:cubicBezTo>
                  <a:close/>
                  <a:moveTo>
                    <a:pt x="26972" y="56938"/>
                  </a:moveTo>
                  <a:cubicBezTo>
                    <a:pt x="35688" y="52360"/>
                    <a:pt x="38739" y="22493"/>
                    <a:pt x="31766" y="8977"/>
                  </a:cubicBezTo>
                  <a:cubicBezTo>
                    <a:pt x="27843" y="1128"/>
                    <a:pt x="23485" y="-1052"/>
                    <a:pt x="14987" y="1128"/>
                  </a:cubicBezTo>
                  <a:cubicBezTo>
                    <a:pt x="6706" y="3308"/>
                    <a:pt x="2130" y="20967"/>
                    <a:pt x="4963" y="39280"/>
                  </a:cubicBezTo>
                  <a:cubicBezTo>
                    <a:pt x="7578" y="56284"/>
                    <a:pt x="15858" y="62824"/>
                    <a:pt x="26972" y="56938"/>
                  </a:cubicBezTo>
                  <a:close/>
                </a:path>
              </a:pathLst>
            </a:custGeom>
            <a:grpFill/>
            <a:ln w="218" cap="flat">
              <a:noFill/>
              <a:prstDash val="solid"/>
              <a:miter/>
            </a:ln>
          </p:spPr>
          <p:txBody>
            <a:bodyPr rtlCol="0" anchor="ctr"/>
            <a:lstStyle/>
            <a:p>
              <a:endParaRPr lang="en-GB" dirty="0"/>
            </a:p>
          </p:txBody>
        </p:sp>
        <p:sp>
          <p:nvSpPr>
            <p:cNvPr id="11" name="Freihandform: Form 10">
              <a:extLst>
                <a:ext uri="{FF2B5EF4-FFF2-40B4-BE49-F238E27FC236}">
                  <a16:creationId xmlns:a16="http://schemas.microsoft.com/office/drawing/2014/main" xmlns="" id="{18B5298C-66D8-41D9-977F-276DB7D4D7FE}"/>
                </a:ext>
              </a:extLst>
            </p:cNvPr>
            <p:cNvSpPr/>
            <p:nvPr/>
          </p:nvSpPr>
          <p:spPr>
            <a:xfrm flipV="1">
              <a:off x="4365665" y="4045886"/>
              <a:ext cx="42690" cy="69899"/>
            </a:xfrm>
            <a:custGeom>
              <a:avLst/>
              <a:gdLst>
                <a:gd name="connsiteX0" fmla="*/ 1437 w 42690"/>
                <a:gd name="connsiteY0" fmla="*/ 48264 h 69899"/>
                <a:gd name="connsiteX1" fmla="*/ 1437 w 42690"/>
                <a:gd name="connsiteY1" fmla="*/ 33003 h 69899"/>
                <a:gd name="connsiteX2" fmla="*/ 12332 w 42690"/>
                <a:gd name="connsiteY2" fmla="*/ 33003 h 69899"/>
                <a:gd name="connsiteX3" fmla="*/ 29111 w 42690"/>
                <a:gd name="connsiteY3" fmla="*/ 27335 h 69899"/>
                <a:gd name="connsiteX4" fmla="*/ 33251 w 42690"/>
                <a:gd name="connsiteY4" fmla="*/ 14909 h 69899"/>
                <a:gd name="connsiteX5" fmla="*/ 10589 w 42690"/>
                <a:gd name="connsiteY5" fmla="*/ 738 h 69899"/>
                <a:gd name="connsiteX6" fmla="*/ 2527 w 42690"/>
                <a:gd name="connsiteY6" fmla="*/ -4058 h 69899"/>
                <a:gd name="connsiteX7" fmla="*/ 37392 w 42690"/>
                <a:gd name="connsiteY7" fmla="*/ 4880 h 69899"/>
                <a:gd name="connsiteX8" fmla="*/ 38481 w 42690"/>
                <a:gd name="connsiteY8" fmla="*/ 28861 h 69899"/>
                <a:gd name="connsiteX9" fmla="*/ 15601 w 42690"/>
                <a:gd name="connsiteY9" fmla="*/ 39543 h 69899"/>
                <a:gd name="connsiteX10" fmla="*/ 7974 w 42690"/>
                <a:gd name="connsiteY10" fmla="*/ 48264 h 69899"/>
                <a:gd name="connsiteX11" fmla="*/ 7974 w 42690"/>
                <a:gd name="connsiteY11" fmla="*/ 56766 h 69899"/>
                <a:gd name="connsiteX12" fmla="*/ 21702 w 42690"/>
                <a:gd name="connsiteY12" fmla="*/ 57420 h 69899"/>
                <a:gd name="connsiteX13" fmla="*/ 18434 w 42690"/>
                <a:gd name="connsiteY13" fmla="*/ 63088 h 69899"/>
                <a:gd name="connsiteX14" fmla="*/ 1437 w 42690"/>
                <a:gd name="connsiteY14" fmla="*/ 63742 h 69899"/>
                <a:gd name="connsiteX15" fmla="*/ 1437 w 42690"/>
                <a:gd name="connsiteY15" fmla="*/ 48264 h 6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690" h="69899">
                  <a:moveTo>
                    <a:pt x="1437" y="48264"/>
                  </a:moveTo>
                  <a:lnTo>
                    <a:pt x="1437" y="33003"/>
                  </a:lnTo>
                  <a:lnTo>
                    <a:pt x="12332" y="33003"/>
                  </a:lnTo>
                  <a:cubicBezTo>
                    <a:pt x="21267" y="33003"/>
                    <a:pt x="24535" y="31913"/>
                    <a:pt x="29111" y="27335"/>
                  </a:cubicBezTo>
                  <a:cubicBezTo>
                    <a:pt x="33469" y="22975"/>
                    <a:pt x="34341" y="20577"/>
                    <a:pt x="33251" y="14909"/>
                  </a:cubicBezTo>
                  <a:cubicBezTo>
                    <a:pt x="31072" y="4008"/>
                    <a:pt x="24317" y="-352"/>
                    <a:pt x="10589" y="738"/>
                  </a:cubicBezTo>
                  <a:cubicBezTo>
                    <a:pt x="-2050" y="1828"/>
                    <a:pt x="-6408" y="-570"/>
                    <a:pt x="2527" y="-4058"/>
                  </a:cubicBezTo>
                  <a:cubicBezTo>
                    <a:pt x="15601" y="-9072"/>
                    <a:pt x="32598" y="-4712"/>
                    <a:pt x="37392" y="4880"/>
                  </a:cubicBezTo>
                  <a:cubicBezTo>
                    <a:pt x="41096" y="12075"/>
                    <a:pt x="41532" y="22757"/>
                    <a:pt x="38481" y="28861"/>
                  </a:cubicBezTo>
                  <a:cubicBezTo>
                    <a:pt x="35213" y="34529"/>
                    <a:pt x="24971" y="39543"/>
                    <a:pt x="15601" y="39543"/>
                  </a:cubicBezTo>
                  <a:cubicBezTo>
                    <a:pt x="8192" y="39543"/>
                    <a:pt x="7974" y="39761"/>
                    <a:pt x="7974" y="48264"/>
                  </a:cubicBezTo>
                  <a:lnTo>
                    <a:pt x="7974" y="56766"/>
                  </a:lnTo>
                  <a:lnTo>
                    <a:pt x="21702" y="57420"/>
                  </a:lnTo>
                  <a:cubicBezTo>
                    <a:pt x="40878" y="58292"/>
                    <a:pt x="38481" y="62216"/>
                    <a:pt x="18434" y="63088"/>
                  </a:cubicBezTo>
                  <a:lnTo>
                    <a:pt x="1437" y="63742"/>
                  </a:lnTo>
                  <a:lnTo>
                    <a:pt x="1437" y="48264"/>
                  </a:lnTo>
                  <a:close/>
                </a:path>
              </a:pathLst>
            </a:custGeom>
            <a:grpFill/>
            <a:ln w="218" cap="flat">
              <a:noFill/>
              <a:prstDash val="solid"/>
              <a:miter/>
            </a:ln>
          </p:spPr>
          <p:txBody>
            <a:bodyPr rtlCol="0" anchor="ctr"/>
            <a:lstStyle/>
            <a:p>
              <a:endParaRPr lang="en-GB" dirty="0"/>
            </a:p>
          </p:txBody>
        </p:sp>
        <p:sp>
          <p:nvSpPr>
            <p:cNvPr id="12" name="Freihandform: Form 11">
              <a:extLst>
                <a:ext uri="{FF2B5EF4-FFF2-40B4-BE49-F238E27FC236}">
                  <a16:creationId xmlns:a16="http://schemas.microsoft.com/office/drawing/2014/main" xmlns="" id="{B6F475D8-0174-4FF6-A3CA-AA1166B7EBA4}"/>
                </a:ext>
              </a:extLst>
            </p:cNvPr>
            <p:cNvSpPr/>
            <p:nvPr/>
          </p:nvSpPr>
          <p:spPr>
            <a:xfrm flipV="1">
              <a:off x="4303918" y="4336054"/>
              <a:ext cx="41402" cy="67582"/>
            </a:xfrm>
            <a:custGeom>
              <a:avLst/>
              <a:gdLst>
                <a:gd name="connsiteX0" fmla="*/ 1120 w 41402"/>
                <a:gd name="connsiteY0" fmla="*/ 59832 h 67582"/>
                <a:gd name="connsiteX1" fmla="*/ 7875 w 41402"/>
                <a:gd name="connsiteY1" fmla="*/ 56344 h 67582"/>
                <a:gd name="connsiteX2" fmla="*/ 29884 w 41402"/>
                <a:gd name="connsiteY2" fmla="*/ 50675 h 67582"/>
                <a:gd name="connsiteX3" fmla="*/ 30320 w 41402"/>
                <a:gd name="connsiteY3" fmla="*/ 38249 h 67582"/>
                <a:gd name="connsiteX4" fmla="*/ 12451 w 41402"/>
                <a:gd name="connsiteY4" fmla="*/ 15794 h 67582"/>
                <a:gd name="connsiteX5" fmla="*/ -1931 w 41402"/>
                <a:gd name="connsiteY5" fmla="*/ -2300 h 67582"/>
                <a:gd name="connsiteX6" fmla="*/ 18771 w 41402"/>
                <a:gd name="connsiteY6" fmla="*/ -4699 h 67582"/>
                <a:gd name="connsiteX7" fmla="*/ 39472 w 41402"/>
                <a:gd name="connsiteY7" fmla="*/ -2518 h 67582"/>
                <a:gd name="connsiteX8" fmla="*/ 25526 w 41402"/>
                <a:gd name="connsiteY8" fmla="*/ -338 h 67582"/>
                <a:gd name="connsiteX9" fmla="*/ 10272 w 41402"/>
                <a:gd name="connsiteY9" fmla="*/ 1406 h 67582"/>
                <a:gd name="connsiteX10" fmla="*/ 21821 w 41402"/>
                <a:gd name="connsiteY10" fmla="*/ 17320 h 67582"/>
                <a:gd name="connsiteX11" fmla="*/ 36857 w 41402"/>
                <a:gd name="connsiteY11" fmla="*/ 36069 h 67582"/>
                <a:gd name="connsiteX12" fmla="*/ 34024 w 41402"/>
                <a:gd name="connsiteY12" fmla="*/ 57434 h 67582"/>
                <a:gd name="connsiteX13" fmla="*/ 17027 w 41402"/>
                <a:gd name="connsiteY13" fmla="*/ 62884 h 67582"/>
                <a:gd name="connsiteX14" fmla="*/ 1120 w 41402"/>
                <a:gd name="connsiteY14" fmla="*/ 59832 h 67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402" h="67582">
                  <a:moveTo>
                    <a:pt x="1120" y="59832"/>
                  </a:moveTo>
                  <a:cubicBezTo>
                    <a:pt x="-4981" y="55254"/>
                    <a:pt x="-1277" y="53291"/>
                    <a:pt x="7875" y="56344"/>
                  </a:cubicBezTo>
                  <a:cubicBezTo>
                    <a:pt x="17899" y="59614"/>
                    <a:pt x="25308" y="57652"/>
                    <a:pt x="29884" y="50675"/>
                  </a:cubicBezTo>
                  <a:cubicBezTo>
                    <a:pt x="33371" y="45661"/>
                    <a:pt x="33371" y="44571"/>
                    <a:pt x="30320" y="38249"/>
                  </a:cubicBezTo>
                  <a:cubicBezTo>
                    <a:pt x="28359" y="34325"/>
                    <a:pt x="20514" y="24296"/>
                    <a:pt x="12451" y="15794"/>
                  </a:cubicBezTo>
                  <a:cubicBezTo>
                    <a:pt x="4607" y="7074"/>
                    <a:pt x="-1931" y="-992"/>
                    <a:pt x="-1931" y="-2300"/>
                  </a:cubicBezTo>
                  <a:cubicBezTo>
                    <a:pt x="-1931" y="-3826"/>
                    <a:pt x="5260" y="-4699"/>
                    <a:pt x="18771" y="-4699"/>
                  </a:cubicBezTo>
                  <a:cubicBezTo>
                    <a:pt x="31191" y="-4699"/>
                    <a:pt x="39472" y="-3826"/>
                    <a:pt x="39472" y="-2518"/>
                  </a:cubicBezTo>
                  <a:cubicBezTo>
                    <a:pt x="39472" y="-1210"/>
                    <a:pt x="33371" y="-338"/>
                    <a:pt x="25526" y="-338"/>
                  </a:cubicBezTo>
                  <a:cubicBezTo>
                    <a:pt x="17681" y="-338"/>
                    <a:pt x="10926" y="534"/>
                    <a:pt x="10272" y="1406"/>
                  </a:cubicBezTo>
                  <a:cubicBezTo>
                    <a:pt x="9619" y="2496"/>
                    <a:pt x="14848" y="9472"/>
                    <a:pt x="21821" y="17320"/>
                  </a:cubicBezTo>
                  <a:cubicBezTo>
                    <a:pt x="28794" y="24951"/>
                    <a:pt x="35550" y="33453"/>
                    <a:pt x="36857" y="36069"/>
                  </a:cubicBezTo>
                  <a:cubicBezTo>
                    <a:pt x="40997" y="43699"/>
                    <a:pt x="39908" y="51765"/>
                    <a:pt x="34024" y="57434"/>
                  </a:cubicBezTo>
                  <a:cubicBezTo>
                    <a:pt x="29884" y="61794"/>
                    <a:pt x="26615" y="62884"/>
                    <a:pt x="17027" y="62884"/>
                  </a:cubicBezTo>
                  <a:cubicBezTo>
                    <a:pt x="10490" y="62884"/>
                    <a:pt x="3517" y="61576"/>
                    <a:pt x="1120" y="59832"/>
                  </a:cubicBezTo>
                  <a:close/>
                </a:path>
              </a:pathLst>
            </a:custGeom>
            <a:grpFill/>
            <a:ln w="218" cap="flat">
              <a:noFill/>
              <a:prstDash val="solid"/>
              <a:miter/>
            </a:ln>
          </p:spPr>
          <p:txBody>
            <a:bodyPr rtlCol="0" anchor="ctr"/>
            <a:lstStyle/>
            <a:p>
              <a:endParaRPr lang="en-GB" dirty="0"/>
            </a:p>
          </p:txBody>
        </p:sp>
        <p:sp>
          <p:nvSpPr>
            <p:cNvPr id="13" name="Freihandform: Form 12">
              <a:extLst>
                <a:ext uri="{FF2B5EF4-FFF2-40B4-BE49-F238E27FC236}">
                  <a16:creationId xmlns:a16="http://schemas.microsoft.com/office/drawing/2014/main" xmlns="" id="{F1863A37-63DB-4992-85BC-80B99EA87990}"/>
                </a:ext>
              </a:extLst>
            </p:cNvPr>
            <p:cNvSpPr/>
            <p:nvPr/>
          </p:nvSpPr>
          <p:spPr>
            <a:xfrm flipV="1">
              <a:off x="4364932" y="4336054"/>
              <a:ext cx="45760" cy="69762"/>
            </a:xfrm>
            <a:custGeom>
              <a:avLst/>
              <a:gdLst>
                <a:gd name="connsiteX0" fmla="*/ 8268 w 45760"/>
                <a:gd name="connsiteY0" fmla="*/ 62017 h 69762"/>
                <a:gd name="connsiteX1" fmla="*/ -2192 w 45760"/>
                <a:gd name="connsiteY1" fmla="*/ 30188 h 69762"/>
                <a:gd name="connsiteX2" fmla="*/ 20907 w 45760"/>
                <a:gd name="connsiteY2" fmla="*/ -4693 h 69762"/>
                <a:gd name="connsiteX3" fmla="*/ 43569 w 45760"/>
                <a:gd name="connsiteY3" fmla="*/ 31714 h 69762"/>
                <a:gd name="connsiteX4" fmla="*/ 20907 w 45760"/>
                <a:gd name="connsiteY4" fmla="*/ 65069 h 69762"/>
                <a:gd name="connsiteX5" fmla="*/ 8268 w 45760"/>
                <a:gd name="connsiteY5" fmla="*/ 62017 h 69762"/>
                <a:gd name="connsiteX6" fmla="*/ 30059 w 45760"/>
                <a:gd name="connsiteY6" fmla="*/ 55259 h 69762"/>
                <a:gd name="connsiteX7" fmla="*/ 30713 w 45760"/>
                <a:gd name="connsiteY7" fmla="*/ 5771 h 69762"/>
                <a:gd name="connsiteX8" fmla="*/ 10665 w 45760"/>
                <a:gd name="connsiteY8" fmla="*/ 5989 h 69762"/>
                <a:gd name="connsiteX9" fmla="*/ 5217 w 45760"/>
                <a:gd name="connsiteY9" fmla="*/ 39781 h 69762"/>
                <a:gd name="connsiteX10" fmla="*/ 30059 w 45760"/>
                <a:gd name="connsiteY10" fmla="*/ 55259 h 69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760" h="69762">
                  <a:moveTo>
                    <a:pt x="8268" y="62017"/>
                  </a:moveTo>
                  <a:cubicBezTo>
                    <a:pt x="1949" y="57439"/>
                    <a:pt x="-2192" y="44359"/>
                    <a:pt x="-2192" y="30188"/>
                  </a:cubicBezTo>
                  <a:cubicBezTo>
                    <a:pt x="-2192" y="7951"/>
                    <a:pt x="6089" y="-4693"/>
                    <a:pt x="20907" y="-4693"/>
                  </a:cubicBezTo>
                  <a:cubicBezTo>
                    <a:pt x="35289" y="-4693"/>
                    <a:pt x="43569" y="8387"/>
                    <a:pt x="43569" y="31714"/>
                  </a:cubicBezTo>
                  <a:cubicBezTo>
                    <a:pt x="43569" y="53079"/>
                    <a:pt x="35289" y="65069"/>
                    <a:pt x="20907" y="65069"/>
                  </a:cubicBezTo>
                  <a:cubicBezTo>
                    <a:pt x="15895" y="65069"/>
                    <a:pt x="10229" y="63543"/>
                    <a:pt x="8268" y="62017"/>
                  </a:cubicBezTo>
                  <a:close/>
                  <a:moveTo>
                    <a:pt x="30059" y="55259"/>
                  </a:moveTo>
                  <a:cubicBezTo>
                    <a:pt x="38339" y="44795"/>
                    <a:pt x="38557" y="15800"/>
                    <a:pt x="30713" y="5771"/>
                  </a:cubicBezTo>
                  <a:cubicBezTo>
                    <a:pt x="25701" y="-115"/>
                    <a:pt x="15459" y="-115"/>
                    <a:pt x="10665" y="5989"/>
                  </a:cubicBezTo>
                  <a:cubicBezTo>
                    <a:pt x="5871" y="11876"/>
                    <a:pt x="3474" y="27136"/>
                    <a:pt x="5217" y="39781"/>
                  </a:cubicBezTo>
                  <a:cubicBezTo>
                    <a:pt x="8050" y="58529"/>
                    <a:pt x="21125" y="66595"/>
                    <a:pt x="30059" y="55259"/>
                  </a:cubicBezTo>
                  <a:close/>
                </a:path>
              </a:pathLst>
            </a:custGeom>
            <a:grpFill/>
            <a:ln w="218" cap="flat">
              <a:noFill/>
              <a:prstDash val="solid"/>
              <a:miter/>
            </a:ln>
          </p:spPr>
          <p:txBody>
            <a:bodyPr rtlCol="0" anchor="ctr"/>
            <a:lstStyle/>
            <a:p>
              <a:endParaRPr lang="en-GB" dirty="0"/>
            </a:p>
          </p:txBody>
        </p:sp>
        <p:sp>
          <p:nvSpPr>
            <p:cNvPr id="14" name="Freihandform: Form 13">
              <a:extLst>
                <a:ext uri="{FF2B5EF4-FFF2-40B4-BE49-F238E27FC236}">
                  <a16:creationId xmlns:a16="http://schemas.microsoft.com/office/drawing/2014/main" xmlns="" id="{11F5EE1E-D74A-4771-89EC-B813EFE2BF65}"/>
                </a:ext>
              </a:extLst>
            </p:cNvPr>
            <p:cNvSpPr/>
            <p:nvPr/>
          </p:nvSpPr>
          <p:spPr>
            <a:xfrm flipV="1">
              <a:off x="4425918" y="4336054"/>
              <a:ext cx="45788" cy="69762"/>
            </a:xfrm>
            <a:custGeom>
              <a:avLst/>
              <a:gdLst>
                <a:gd name="connsiteX0" fmla="*/ 6736 w 45788"/>
                <a:gd name="connsiteY0" fmla="*/ 60055 h 69762"/>
                <a:gd name="connsiteX1" fmla="*/ 1724 w 45788"/>
                <a:gd name="connsiteY1" fmla="*/ 9041 h 69762"/>
                <a:gd name="connsiteX2" fmla="*/ 20900 w 45788"/>
                <a:gd name="connsiteY2" fmla="*/ -4693 h 69762"/>
                <a:gd name="connsiteX3" fmla="*/ 43345 w 45788"/>
                <a:gd name="connsiteY3" fmla="*/ 29970 h 69762"/>
                <a:gd name="connsiteX4" fmla="*/ 20900 w 45788"/>
                <a:gd name="connsiteY4" fmla="*/ 65069 h 69762"/>
                <a:gd name="connsiteX5" fmla="*/ 6736 w 45788"/>
                <a:gd name="connsiteY5" fmla="*/ 60055 h 69762"/>
                <a:gd name="connsiteX6" fmla="*/ 28091 w 45788"/>
                <a:gd name="connsiteY6" fmla="*/ 58529 h 69762"/>
                <a:gd name="connsiteX7" fmla="*/ 33539 w 45788"/>
                <a:gd name="connsiteY7" fmla="*/ 11658 h 69762"/>
                <a:gd name="connsiteX8" fmla="*/ 16542 w 45788"/>
                <a:gd name="connsiteY8" fmla="*/ 1411 h 69762"/>
                <a:gd name="connsiteX9" fmla="*/ 6083 w 45788"/>
                <a:gd name="connsiteY9" fmla="*/ 41525 h 69762"/>
                <a:gd name="connsiteX10" fmla="*/ 28091 w 45788"/>
                <a:gd name="connsiteY10" fmla="*/ 58529 h 69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788" h="69762">
                  <a:moveTo>
                    <a:pt x="6736" y="60055"/>
                  </a:moveTo>
                  <a:cubicBezTo>
                    <a:pt x="-3070" y="49591"/>
                    <a:pt x="-5467" y="24956"/>
                    <a:pt x="1724" y="9041"/>
                  </a:cubicBezTo>
                  <a:cubicBezTo>
                    <a:pt x="6300" y="-987"/>
                    <a:pt x="11530" y="-4693"/>
                    <a:pt x="20900" y="-4693"/>
                  </a:cubicBezTo>
                  <a:cubicBezTo>
                    <a:pt x="35282" y="-4693"/>
                    <a:pt x="43345" y="7733"/>
                    <a:pt x="43345" y="29970"/>
                  </a:cubicBezTo>
                  <a:cubicBezTo>
                    <a:pt x="43345" y="55041"/>
                    <a:pt x="37025" y="65069"/>
                    <a:pt x="20900" y="65069"/>
                  </a:cubicBezTo>
                  <a:cubicBezTo>
                    <a:pt x="13709" y="65069"/>
                    <a:pt x="10223" y="63761"/>
                    <a:pt x="6736" y="60055"/>
                  </a:cubicBezTo>
                  <a:close/>
                  <a:moveTo>
                    <a:pt x="28091" y="58529"/>
                  </a:moveTo>
                  <a:cubicBezTo>
                    <a:pt x="36372" y="54169"/>
                    <a:pt x="39640" y="26046"/>
                    <a:pt x="33539" y="11658"/>
                  </a:cubicBezTo>
                  <a:cubicBezTo>
                    <a:pt x="30270" y="3591"/>
                    <a:pt x="23515" y="-333"/>
                    <a:pt x="16542" y="1411"/>
                  </a:cubicBezTo>
                  <a:cubicBezTo>
                    <a:pt x="8262" y="3591"/>
                    <a:pt x="3250" y="23212"/>
                    <a:pt x="6083" y="41525"/>
                  </a:cubicBezTo>
                  <a:cubicBezTo>
                    <a:pt x="8697" y="57875"/>
                    <a:pt x="17196" y="64415"/>
                    <a:pt x="28091" y="58529"/>
                  </a:cubicBezTo>
                  <a:close/>
                </a:path>
              </a:pathLst>
            </a:custGeom>
            <a:grpFill/>
            <a:ln w="218" cap="flat">
              <a:noFill/>
              <a:prstDash val="solid"/>
              <a:miter/>
            </a:ln>
          </p:spPr>
          <p:txBody>
            <a:bodyPr rtlCol="0" anchor="ctr"/>
            <a:lstStyle/>
            <a:p>
              <a:endParaRPr lang="en-GB" dirty="0"/>
            </a:p>
          </p:txBody>
        </p:sp>
        <p:sp>
          <p:nvSpPr>
            <p:cNvPr id="15" name="Freihandform: Form 14">
              <a:extLst>
                <a:ext uri="{FF2B5EF4-FFF2-40B4-BE49-F238E27FC236}">
                  <a16:creationId xmlns:a16="http://schemas.microsoft.com/office/drawing/2014/main" xmlns="" id="{C634BB76-9B6D-4E7F-887C-B8F05614AE1B}"/>
                </a:ext>
              </a:extLst>
            </p:cNvPr>
            <p:cNvSpPr/>
            <p:nvPr/>
          </p:nvSpPr>
          <p:spPr>
            <a:xfrm flipV="1">
              <a:off x="4421821" y="4624035"/>
              <a:ext cx="47581" cy="73088"/>
            </a:xfrm>
            <a:custGeom>
              <a:avLst/>
              <a:gdLst>
                <a:gd name="connsiteX0" fmla="*/ 8450 w 47581"/>
                <a:gd name="connsiteY0" fmla="*/ 64619 h 73088"/>
                <a:gd name="connsiteX1" fmla="*/ -2228 w 47581"/>
                <a:gd name="connsiteY1" fmla="*/ 28429 h 73088"/>
                <a:gd name="connsiteX2" fmla="*/ 28279 w 47581"/>
                <a:gd name="connsiteY2" fmla="*/ -2092 h 73088"/>
                <a:gd name="connsiteX3" fmla="*/ 41136 w 47581"/>
                <a:gd name="connsiteY3" fmla="*/ 9681 h 73088"/>
                <a:gd name="connsiteX4" fmla="*/ 41790 w 47581"/>
                <a:gd name="connsiteY4" fmla="*/ 54808 h 73088"/>
                <a:gd name="connsiteX5" fmla="*/ 8450 w 47581"/>
                <a:gd name="connsiteY5" fmla="*/ 64619 h 73088"/>
                <a:gd name="connsiteX6" fmla="*/ 31548 w 47581"/>
                <a:gd name="connsiteY6" fmla="*/ 55462 h 73088"/>
                <a:gd name="connsiteX7" fmla="*/ 35470 w 47581"/>
                <a:gd name="connsiteY7" fmla="*/ 33007 h 73088"/>
                <a:gd name="connsiteX8" fmla="*/ 21306 w 47581"/>
                <a:gd name="connsiteY8" fmla="*/ 4667 h 73088"/>
                <a:gd name="connsiteX9" fmla="*/ 7142 w 47581"/>
                <a:gd name="connsiteY9" fmla="*/ 33007 h 73088"/>
                <a:gd name="connsiteX10" fmla="*/ 21306 w 47581"/>
                <a:gd name="connsiteY10" fmla="*/ 61348 h 73088"/>
                <a:gd name="connsiteX11" fmla="*/ 31548 w 47581"/>
                <a:gd name="connsiteY11" fmla="*/ 55462 h 7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581" h="73088">
                  <a:moveTo>
                    <a:pt x="8450" y="64619"/>
                  </a:moveTo>
                  <a:cubicBezTo>
                    <a:pt x="-49" y="57206"/>
                    <a:pt x="-3317" y="46742"/>
                    <a:pt x="-2228" y="28429"/>
                  </a:cubicBezTo>
                  <a:cubicBezTo>
                    <a:pt x="-920" y="4667"/>
                    <a:pt x="11065" y="-7106"/>
                    <a:pt x="28279" y="-2092"/>
                  </a:cubicBezTo>
                  <a:cubicBezTo>
                    <a:pt x="35252" y="88"/>
                    <a:pt x="37649" y="2268"/>
                    <a:pt x="41136" y="9681"/>
                  </a:cubicBezTo>
                  <a:cubicBezTo>
                    <a:pt x="46148" y="21235"/>
                    <a:pt x="46584" y="42818"/>
                    <a:pt x="41790" y="54808"/>
                  </a:cubicBezTo>
                  <a:cubicBezTo>
                    <a:pt x="35688" y="70069"/>
                    <a:pt x="20217" y="74429"/>
                    <a:pt x="8450" y="64619"/>
                  </a:cubicBezTo>
                  <a:close/>
                  <a:moveTo>
                    <a:pt x="31548" y="55462"/>
                  </a:moveTo>
                  <a:cubicBezTo>
                    <a:pt x="34381" y="51102"/>
                    <a:pt x="35470" y="45216"/>
                    <a:pt x="35470" y="33007"/>
                  </a:cubicBezTo>
                  <a:cubicBezTo>
                    <a:pt x="35470" y="12951"/>
                    <a:pt x="31330" y="4667"/>
                    <a:pt x="21306" y="4667"/>
                  </a:cubicBezTo>
                  <a:cubicBezTo>
                    <a:pt x="11283" y="4667"/>
                    <a:pt x="7142" y="12733"/>
                    <a:pt x="7142" y="33007"/>
                  </a:cubicBezTo>
                  <a:cubicBezTo>
                    <a:pt x="7142" y="53282"/>
                    <a:pt x="11283" y="61348"/>
                    <a:pt x="21306" y="61348"/>
                  </a:cubicBezTo>
                  <a:cubicBezTo>
                    <a:pt x="25882" y="61348"/>
                    <a:pt x="28933" y="59604"/>
                    <a:pt x="31548" y="55462"/>
                  </a:cubicBezTo>
                  <a:close/>
                </a:path>
              </a:pathLst>
            </a:custGeom>
            <a:grpFill/>
            <a:ln w="218" cap="flat">
              <a:noFill/>
              <a:prstDash val="solid"/>
              <a:miter/>
            </a:ln>
          </p:spPr>
          <p:txBody>
            <a:bodyPr rtlCol="0" anchor="ctr"/>
            <a:lstStyle/>
            <a:p>
              <a:endParaRPr lang="en-GB" dirty="0"/>
            </a:p>
          </p:txBody>
        </p:sp>
        <p:sp>
          <p:nvSpPr>
            <p:cNvPr id="17" name="Freihandform: Form 16">
              <a:extLst>
                <a:ext uri="{FF2B5EF4-FFF2-40B4-BE49-F238E27FC236}">
                  <a16:creationId xmlns:a16="http://schemas.microsoft.com/office/drawing/2014/main" xmlns="" id="{9A1E547D-9102-40D8-8CFF-78010CD3B6D1}"/>
                </a:ext>
              </a:extLst>
            </p:cNvPr>
            <p:cNvSpPr/>
            <p:nvPr/>
          </p:nvSpPr>
          <p:spPr>
            <a:xfrm flipV="1">
              <a:off x="4302310" y="4626004"/>
              <a:ext cx="40499" cy="69762"/>
            </a:xfrm>
            <a:custGeom>
              <a:avLst/>
              <a:gdLst>
                <a:gd name="connsiteX0" fmla="*/ 2300 w 40499"/>
                <a:gd name="connsiteY0" fmla="*/ 64134 h 69762"/>
                <a:gd name="connsiteX1" fmla="*/ 6440 w 40499"/>
                <a:gd name="connsiteY1" fmla="*/ 56722 h 69762"/>
                <a:gd name="connsiteX2" fmla="*/ 13849 w 40499"/>
                <a:gd name="connsiteY2" fmla="*/ 56722 h 69762"/>
                <a:gd name="connsiteX3" fmla="*/ 14503 w 40499"/>
                <a:gd name="connsiteY3" fmla="*/ 31215 h 69762"/>
                <a:gd name="connsiteX4" fmla="*/ 15157 w 40499"/>
                <a:gd name="connsiteY4" fmla="*/ 5708 h 69762"/>
                <a:gd name="connsiteX5" fmla="*/ 7966 w 40499"/>
                <a:gd name="connsiteY5" fmla="*/ 5054 h 69762"/>
                <a:gd name="connsiteX6" fmla="*/ 121 w 40499"/>
                <a:gd name="connsiteY6" fmla="*/ 694 h 69762"/>
                <a:gd name="connsiteX7" fmla="*/ 19297 w 40499"/>
                <a:gd name="connsiteY7" fmla="*/ -3230 h 69762"/>
                <a:gd name="connsiteX8" fmla="*/ 38473 w 40499"/>
                <a:gd name="connsiteY8" fmla="*/ 476 h 69762"/>
                <a:gd name="connsiteX9" fmla="*/ 31282 w 40499"/>
                <a:gd name="connsiteY9" fmla="*/ 5490 h 69762"/>
                <a:gd name="connsiteX10" fmla="*/ 24745 w 40499"/>
                <a:gd name="connsiteY10" fmla="*/ 6580 h 69762"/>
                <a:gd name="connsiteX11" fmla="*/ 24091 w 40499"/>
                <a:gd name="connsiteY11" fmla="*/ 36665 h 69762"/>
                <a:gd name="connsiteX12" fmla="*/ 23437 w 40499"/>
                <a:gd name="connsiteY12" fmla="*/ 66532 h 69762"/>
                <a:gd name="connsiteX13" fmla="*/ 15375 w 40499"/>
                <a:gd name="connsiteY13" fmla="*/ 66314 h 69762"/>
                <a:gd name="connsiteX14" fmla="*/ 2300 w 40499"/>
                <a:gd name="connsiteY14" fmla="*/ 64134 h 69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499" h="69762">
                  <a:moveTo>
                    <a:pt x="2300" y="64134"/>
                  </a:moveTo>
                  <a:cubicBezTo>
                    <a:pt x="-4891" y="61300"/>
                    <a:pt x="-2494" y="56722"/>
                    <a:pt x="6440" y="56722"/>
                  </a:cubicBezTo>
                  <a:lnTo>
                    <a:pt x="13849" y="56722"/>
                  </a:lnTo>
                  <a:lnTo>
                    <a:pt x="14503" y="31215"/>
                  </a:lnTo>
                  <a:lnTo>
                    <a:pt x="15157" y="5708"/>
                  </a:lnTo>
                  <a:lnTo>
                    <a:pt x="7966" y="5054"/>
                  </a:lnTo>
                  <a:cubicBezTo>
                    <a:pt x="3172" y="4618"/>
                    <a:pt x="557" y="3092"/>
                    <a:pt x="121" y="694"/>
                  </a:cubicBezTo>
                  <a:cubicBezTo>
                    <a:pt x="-533" y="-2794"/>
                    <a:pt x="1429" y="-3230"/>
                    <a:pt x="19297" y="-3230"/>
                  </a:cubicBezTo>
                  <a:cubicBezTo>
                    <a:pt x="37165" y="-3230"/>
                    <a:pt x="39127" y="-2794"/>
                    <a:pt x="38473" y="476"/>
                  </a:cubicBezTo>
                  <a:cubicBezTo>
                    <a:pt x="38037" y="2874"/>
                    <a:pt x="35204" y="4836"/>
                    <a:pt x="31282" y="5490"/>
                  </a:cubicBezTo>
                  <a:lnTo>
                    <a:pt x="24745" y="6580"/>
                  </a:lnTo>
                  <a:lnTo>
                    <a:pt x="24091" y="36665"/>
                  </a:lnTo>
                  <a:lnTo>
                    <a:pt x="23437" y="66532"/>
                  </a:lnTo>
                  <a:lnTo>
                    <a:pt x="15375" y="66314"/>
                  </a:lnTo>
                  <a:cubicBezTo>
                    <a:pt x="11016" y="66314"/>
                    <a:pt x="4915" y="65442"/>
                    <a:pt x="2300" y="64134"/>
                  </a:cubicBezTo>
                  <a:close/>
                </a:path>
              </a:pathLst>
            </a:custGeom>
            <a:grpFill/>
            <a:ln w="218" cap="flat">
              <a:noFill/>
              <a:prstDash val="solid"/>
              <a:miter/>
            </a:ln>
          </p:spPr>
          <p:txBody>
            <a:bodyPr rtlCol="0" anchor="ctr"/>
            <a:lstStyle/>
            <a:p>
              <a:endParaRPr lang="en-GB" dirty="0"/>
            </a:p>
          </p:txBody>
        </p:sp>
        <p:sp>
          <p:nvSpPr>
            <p:cNvPr id="18" name="Freihandform: Form 17">
              <a:extLst>
                <a:ext uri="{FF2B5EF4-FFF2-40B4-BE49-F238E27FC236}">
                  <a16:creationId xmlns:a16="http://schemas.microsoft.com/office/drawing/2014/main" xmlns="" id="{096B5FB1-7278-4243-B6A0-C1F446309E30}"/>
                </a:ext>
              </a:extLst>
            </p:cNvPr>
            <p:cNvSpPr/>
            <p:nvPr/>
          </p:nvSpPr>
          <p:spPr>
            <a:xfrm flipV="1">
              <a:off x="4360872" y="4626294"/>
              <a:ext cx="45462" cy="71135"/>
            </a:xfrm>
            <a:custGeom>
              <a:avLst/>
              <a:gdLst>
                <a:gd name="connsiteX0" fmla="*/ 1014 w 45462"/>
                <a:gd name="connsiteY0" fmla="*/ 64931 h 71135"/>
                <a:gd name="connsiteX1" fmla="*/ 1450 w 45462"/>
                <a:gd name="connsiteY1" fmla="*/ 38334 h 71135"/>
                <a:gd name="connsiteX2" fmla="*/ 13653 w 45462"/>
                <a:gd name="connsiteY2" fmla="*/ 35936 h 71135"/>
                <a:gd name="connsiteX3" fmla="*/ 33047 w 45462"/>
                <a:gd name="connsiteY3" fmla="*/ 20021 h 71135"/>
                <a:gd name="connsiteX4" fmla="*/ 9949 w 45462"/>
                <a:gd name="connsiteY4" fmla="*/ 5851 h 71135"/>
                <a:gd name="connsiteX5" fmla="*/ -2036 w 45462"/>
                <a:gd name="connsiteY5" fmla="*/ 3453 h 71135"/>
                <a:gd name="connsiteX6" fmla="*/ 6898 w 45462"/>
                <a:gd name="connsiteY6" fmla="*/ -2215 h 71135"/>
                <a:gd name="connsiteX7" fmla="*/ 43288 w 45462"/>
                <a:gd name="connsiteY7" fmla="*/ 19149 h 71135"/>
                <a:gd name="connsiteX8" fmla="*/ 18011 w 45462"/>
                <a:gd name="connsiteY8" fmla="*/ 44220 h 71135"/>
                <a:gd name="connsiteX9" fmla="*/ 11038 w 45462"/>
                <a:gd name="connsiteY9" fmla="*/ 52505 h 71135"/>
                <a:gd name="connsiteX10" fmla="*/ 11692 w 45462"/>
                <a:gd name="connsiteY10" fmla="*/ 60571 h 71135"/>
                <a:gd name="connsiteX11" fmla="*/ 24331 w 45462"/>
                <a:gd name="connsiteY11" fmla="*/ 61661 h 71135"/>
                <a:gd name="connsiteX12" fmla="*/ 20190 w 45462"/>
                <a:gd name="connsiteY12" fmla="*/ 67765 h 71135"/>
                <a:gd name="connsiteX13" fmla="*/ 1014 w 45462"/>
                <a:gd name="connsiteY13" fmla="*/ 64931 h 71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462" h="71135">
                  <a:moveTo>
                    <a:pt x="1014" y="64931"/>
                  </a:moveTo>
                  <a:cubicBezTo>
                    <a:pt x="-947" y="59917"/>
                    <a:pt x="-511" y="41386"/>
                    <a:pt x="1450" y="38334"/>
                  </a:cubicBezTo>
                  <a:cubicBezTo>
                    <a:pt x="2540" y="36808"/>
                    <a:pt x="7552" y="35718"/>
                    <a:pt x="13653" y="35936"/>
                  </a:cubicBezTo>
                  <a:cubicBezTo>
                    <a:pt x="26292" y="36154"/>
                    <a:pt x="33047" y="30704"/>
                    <a:pt x="33047" y="20021"/>
                  </a:cubicBezTo>
                  <a:cubicBezTo>
                    <a:pt x="33047" y="8685"/>
                    <a:pt x="25638" y="4107"/>
                    <a:pt x="9949" y="5851"/>
                  </a:cubicBezTo>
                  <a:cubicBezTo>
                    <a:pt x="-1383" y="6941"/>
                    <a:pt x="-2690" y="6723"/>
                    <a:pt x="-2036" y="3453"/>
                  </a:cubicBezTo>
                  <a:cubicBezTo>
                    <a:pt x="-1600" y="1055"/>
                    <a:pt x="1886" y="-1125"/>
                    <a:pt x="6898" y="-2215"/>
                  </a:cubicBezTo>
                  <a:cubicBezTo>
                    <a:pt x="25638" y="-6575"/>
                    <a:pt x="43288" y="3671"/>
                    <a:pt x="43288" y="19149"/>
                  </a:cubicBezTo>
                  <a:cubicBezTo>
                    <a:pt x="43288" y="35064"/>
                    <a:pt x="33918" y="44220"/>
                    <a:pt x="18011" y="44220"/>
                  </a:cubicBezTo>
                  <a:cubicBezTo>
                    <a:pt x="10384" y="44220"/>
                    <a:pt x="10384" y="44438"/>
                    <a:pt x="11038" y="52505"/>
                  </a:cubicBezTo>
                  <a:lnTo>
                    <a:pt x="11692" y="60571"/>
                  </a:lnTo>
                  <a:lnTo>
                    <a:pt x="24331" y="61661"/>
                  </a:lnTo>
                  <a:cubicBezTo>
                    <a:pt x="43071" y="63405"/>
                    <a:pt x="40674" y="67111"/>
                    <a:pt x="20190" y="67765"/>
                  </a:cubicBezTo>
                  <a:cubicBezTo>
                    <a:pt x="5373" y="68201"/>
                    <a:pt x="2104" y="67765"/>
                    <a:pt x="1014" y="64931"/>
                  </a:cubicBezTo>
                  <a:close/>
                </a:path>
              </a:pathLst>
            </a:custGeom>
            <a:grpFill/>
            <a:ln w="218" cap="flat">
              <a:noFill/>
              <a:prstDash val="solid"/>
              <a:miter/>
            </a:ln>
          </p:spPr>
          <p:txBody>
            <a:bodyPr rtlCol="0" anchor="ctr"/>
            <a:lstStyle/>
            <a:p>
              <a:endParaRPr lang="en-GB" dirty="0"/>
            </a:p>
          </p:txBody>
        </p:sp>
        <p:sp>
          <p:nvSpPr>
            <p:cNvPr id="19" name="Freihandform: Form 18">
              <a:extLst>
                <a:ext uri="{FF2B5EF4-FFF2-40B4-BE49-F238E27FC236}">
                  <a16:creationId xmlns:a16="http://schemas.microsoft.com/office/drawing/2014/main" xmlns="" id="{DCE9CB12-8DB1-475D-9596-8B39BD26D27C}"/>
                </a:ext>
              </a:extLst>
            </p:cNvPr>
            <p:cNvSpPr/>
            <p:nvPr/>
          </p:nvSpPr>
          <p:spPr>
            <a:xfrm flipV="1">
              <a:off x="4090368" y="5203723"/>
              <a:ext cx="4358" cy="4360"/>
            </a:xfrm>
            <a:custGeom>
              <a:avLst/>
              <a:gdLst>
                <a:gd name="connsiteX0" fmla="*/ -972 w 4358"/>
                <a:gd name="connsiteY0" fmla="*/ 1700 h 4360"/>
                <a:gd name="connsiteX1" fmla="*/ 1207 w 4358"/>
                <a:gd name="connsiteY1" fmla="*/ -480 h 4360"/>
                <a:gd name="connsiteX2" fmla="*/ 3386 w 4358"/>
                <a:gd name="connsiteY2" fmla="*/ 1700 h 4360"/>
                <a:gd name="connsiteX3" fmla="*/ 1207 w 4358"/>
                <a:gd name="connsiteY3" fmla="*/ 3880 h 4360"/>
                <a:gd name="connsiteX4" fmla="*/ -972 w 4358"/>
                <a:gd name="connsiteY4" fmla="*/ 1700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972" y="1700"/>
                  </a:moveTo>
                  <a:cubicBezTo>
                    <a:pt x="-972" y="610"/>
                    <a:pt x="118" y="-480"/>
                    <a:pt x="1207" y="-480"/>
                  </a:cubicBezTo>
                  <a:cubicBezTo>
                    <a:pt x="2515" y="-480"/>
                    <a:pt x="3386" y="610"/>
                    <a:pt x="3386" y="1700"/>
                  </a:cubicBezTo>
                  <a:cubicBezTo>
                    <a:pt x="3386" y="3008"/>
                    <a:pt x="2515" y="3880"/>
                    <a:pt x="1207" y="3880"/>
                  </a:cubicBezTo>
                  <a:cubicBezTo>
                    <a:pt x="118" y="3880"/>
                    <a:pt x="-972" y="3008"/>
                    <a:pt x="-972" y="1700"/>
                  </a:cubicBezTo>
                  <a:close/>
                </a:path>
              </a:pathLst>
            </a:custGeom>
            <a:grpFill/>
            <a:ln w="218" cap="flat">
              <a:noFill/>
              <a:prstDash val="solid"/>
              <a:miter/>
            </a:ln>
          </p:spPr>
          <p:txBody>
            <a:bodyPr rtlCol="0" anchor="ctr"/>
            <a:lstStyle/>
            <a:p>
              <a:endParaRPr lang="en-GB" dirty="0"/>
            </a:p>
          </p:txBody>
        </p:sp>
        <p:sp>
          <p:nvSpPr>
            <p:cNvPr id="20" name="Freihandform: Form 19">
              <a:extLst>
                <a:ext uri="{FF2B5EF4-FFF2-40B4-BE49-F238E27FC236}">
                  <a16:creationId xmlns:a16="http://schemas.microsoft.com/office/drawing/2014/main" xmlns="" id="{CBCFBAB3-C2F6-4104-BC24-5C6504BC289F}"/>
                </a:ext>
              </a:extLst>
            </p:cNvPr>
            <p:cNvSpPr/>
            <p:nvPr/>
          </p:nvSpPr>
          <p:spPr>
            <a:xfrm flipV="1">
              <a:off x="3991343" y="5206023"/>
              <a:ext cx="16036" cy="22807"/>
            </a:xfrm>
            <a:custGeom>
              <a:avLst/>
              <a:gdLst>
                <a:gd name="connsiteX0" fmla="*/ 2559 w 16036"/>
                <a:gd name="connsiteY0" fmla="*/ 16837 h 22807"/>
                <a:gd name="connsiteX1" fmla="*/ 380 w 16036"/>
                <a:gd name="connsiteY1" fmla="*/ 7245 h 22807"/>
                <a:gd name="connsiteX2" fmla="*/ 1470 w 16036"/>
                <a:gd name="connsiteY2" fmla="*/ 705 h 22807"/>
                <a:gd name="connsiteX3" fmla="*/ 7135 w 16036"/>
                <a:gd name="connsiteY3" fmla="*/ 3321 h 22807"/>
                <a:gd name="connsiteX4" fmla="*/ 13237 w 16036"/>
                <a:gd name="connsiteY4" fmla="*/ 10951 h 22807"/>
                <a:gd name="connsiteX5" fmla="*/ 12583 w 16036"/>
                <a:gd name="connsiteY5" fmla="*/ 17928 h 22807"/>
                <a:gd name="connsiteX6" fmla="*/ 2559 w 16036"/>
                <a:gd name="connsiteY6" fmla="*/ 16837 h 2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36" h="22807">
                  <a:moveTo>
                    <a:pt x="2559" y="16837"/>
                  </a:moveTo>
                  <a:cubicBezTo>
                    <a:pt x="2559" y="13785"/>
                    <a:pt x="1688" y="9425"/>
                    <a:pt x="380" y="7245"/>
                  </a:cubicBezTo>
                  <a:cubicBezTo>
                    <a:pt x="-1145" y="4411"/>
                    <a:pt x="-927" y="2667"/>
                    <a:pt x="1470" y="705"/>
                  </a:cubicBezTo>
                  <a:cubicBezTo>
                    <a:pt x="3867" y="-1257"/>
                    <a:pt x="4956" y="-821"/>
                    <a:pt x="7135" y="3321"/>
                  </a:cubicBezTo>
                  <a:cubicBezTo>
                    <a:pt x="8661" y="6155"/>
                    <a:pt x="11275" y="9425"/>
                    <a:pt x="13237" y="10951"/>
                  </a:cubicBezTo>
                  <a:cubicBezTo>
                    <a:pt x="16287" y="13131"/>
                    <a:pt x="16287" y="13785"/>
                    <a:pt x="12583" y="17928"/>
                  </a:cubicBezTo>
                  <a:cubicBezTo>
                    <a:pt x="6917" y="24250"/>
                    <a:pt x="2559" y="23814"/>
                    <a:pt x="2559" y="16837"/>
                  </a:cubicBezTo>
                  <a:close/>
                </a:path>
              </a:pathLst>
            </a:custGeom>
            <a:grpFill/>
            <a:ln w="218" cap="flat">
              <a:noFill/>
              <a:prstDash val="solid"/>
              <a:miter/>
            </a:ln>
          </p:spPr>
          <p:txBody>
            <a:bodyPr rtlCol="0" anchor="ctr"/>
            <a:lstStyle/>
            <a:p>
              <a:endParaRPr lang="en-GB" dirty="0"/>
            </a:p>
          </p:txBody>
        </p:sp>
        <p:sp>
          <p:nvSpPr>
            <p:cNvPr id="21" name="Freihandform: Form 20">
              <a:extLst>
                <a:ext uri="{FF2B5EF4-FFF2-40B4-BE49-F238E27FC236}">
                  <a16:creationId xmlns:a16="http://schemas.microsoft.com/office/drawing/2014/main" xmlns="" id="{F3116B5D-13FC-48EC-907B-0CF6E904FCDB}"/>
                </a:ext>
              </a:extLst>
            </p:cNvPr>
            <p:cNvSpPr/>
            <p:nvPr/>
          </p:nvSpPr>
          <p:spPr>
            <a:xfrm flipV="1">
              <a:off x="4021201" y="5214686"/>
              <a:ext cx="27686" cy="46919"/>
            </a:xfrm>
            <a:custGeom>
              <a:avLst/>
              <a:gdLst>
                <a:gd name="connsiteX0" fmla="*/ 15699 w 27686"/>
                <a:gd name="connsiteY0" fmla="*/ 40779 h 46919"/>
                <a:gd name="connsiteX1" fmla="*/ 9380 w 27686"/>
                <a:gd name="connsiteY1" fmla="*/ 34020 h 46919"/>
                <a:gd name="connsiteX2" fmla="*/ 881 w 27686"/>
                <a:gd name="connsiteY2" fmla="*/ 27916 h 46919"/>
                <a:gd name="connsiteX3" fmla="*/ 5893 w 27686"/>
                <a:gd name="connsiteY3" fmla="*/ 15926 h 46919"/>
                <a:gd name="connsiteX4" fmla="*/ 13956 w 27686"/>
                <a:gd name="connsiteY4" fmla="*/ 5243 h 46919"/>
                <a:gd name="connsiteX5" fmla="*/ 26159 w 27686"/>
                <a:gd name="connsiteY5" fmla="*/ 11348 h 46919"/>
                <a:gd name="connsiteX6" fmla="*/ 21365 w 27686"/>
                <a:gd name="connsiteY6" fmla="*/ 17888 h 46919"/>
                <a:gd name="connsiteX7" fmla="*/ 20275 w 27686"/>
                <a:gd name="connsiteY7" fmla="*/ 29224 h 46919"/>
                <a:gd name="connsiteX8" fmla="*/ 24415 w 27686"/>
                <a:gd name="connsiteY8" fmla="*/ 44049 h 46919"/>
                <a:gd name="connsiteX9" fmla="*/ 15699 w 27686"/>
                <a:gd name="connsiteY9" fmla="*/ 40779 h 46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686" h="46919">
                  <a:moveTo>
                    <a:pt x="15699" y="40779"/>
                  </a:moveTo>
                  <a:cubicBezTo>
                    <a:pt x="15263" y="35982"/>
                    <a:pt x="13738" y="34456"/>
                    <a:pt x="9380" y="34020"/>
                  </a:cubicBezTo>
                  <a:cubicBezTo>
                    <a:pt x="5893" y="33584"/>
                    <a:pt x="2407" y="31186"/>
                    <a:pt x="881" y="27916"/>
                  </a:cubicBezTo>
                  <a:cubicBezTo>
                    <a:pt x="-1952" y="22902"/>
                    <a:pt x="-1516" y="22030"/>
                    <a:pt x="5893" y="15926"/>
                  </a:cubicBezTo>
                  <a:cubicBezTo>
                    <a:pt x="10251" y="12220"/>
                    <a:pt x="13956" y="7423"/>
                    <a:pt x="13956" y="5243"/>
                  </a:cubicBezTo>
                  <a:cubicBezTo>
                    <a:pt x="13956" y="-5003"/>
                    <a:pt x="23979" y="11"/>
                    <a:pt x="26159" y="11348"/>
                  </a:cubicBezTo>
                  <a:cubicBezTo>
                    <a:pt x="27684" y="18542"/>
                    <a:pt x="27466" y="18760"/>
                    <a:pt x="21365" y="17888"/>
                  </a:cubicBezTo>
                  <a:cubicBezTo>
                    <a:pt x="12430" y="17016"/>
                    <a:pt x="11995" y="23120"/>
                    <a:pt x="20275" y="29224"/>
                  </a:cubicBezTo>
                  <a:cubicBezTo>
                    <a:pt x="27248" y="34020"/>
                    <a:pt x="28773" y="39689"/>
                    <a:pt x="24415" y="44049"/>
                  </a:cubicBezTo>
                  <a:cubicBezTo>
                    <a:pt x="20057" y="48409"/>
                    <a:pt x="16571" y="47101"/>
                    <a:pt x="15699" y="40779"/>
                  </a:cubicBezTo>
                  <a:close/>
                </a:path>
              </a:pathLst>
            </a:custGeom>
            <a:grpFill/>
            <a:ln w="218" cap="flat">
              <a:noFill/>
              <a:prstDash val="solid"/>
              <a:miter/>
            </a:ln>
          </p:spPr>
          <p:txBody>
            <a:bodyPr rtlCol="0" anchor="ctr"/>
            <a:lstStyle/>
            <a:p>
              <a:endParaRPr lang="en-GB" dirty="0"/>
            </a:p>
          </p:txBody>
        </p:sp>
        <p:sp>
          <p:nvSpPr>
            <p:cNvPr id="23" name="Freihandform: Form 22">
              <a:extLst>
                <a:ext uri="{FF2B5EF4-FFF2-40B4-BE49-F238E27FC236}">
                  <a16:creationId xmlns:a16="http://schemas.microsoft.com/office/drawing/2014/main" xmlns="" id="{959AF4AD-4EC6-4B83-9689-FCE47FEAF106}"/>
                </a:ext>
              </a:extLst>
            </p:cNvPr>
            <p:cNvSpPr/>
            <p:nvPr/>
          </p:nvSpPr>
          <p:spPr>
            <a:xfrm flipV="1">
              <a:off x="3979236" y="5221164"/>
              <a:ext cx="8636" cy="8349"/>
            </a:xfrm>
            <a:custGeom>
              <a:avLst/>
              <a:gdLst>
                <a:gd name="connsiteX0" fmla="*/ -522 w 8636"/>
                <a:gd name="connsiteY0" fmla="*/ 6006 h 8349"/>
                <a:gd name="connsiteX1" fmla="*/ 7323 w 8636"/>
                <a:gd name="connsiteY1" fmla="*/ -99 h 8349"/>
                <a:gd name="connsiteX2" fmla="*/ 2747 w 8636"/>
                <a:gd name="connsiteY2" fmla="*/ 7968 h 8349"/>
                <a:gd name="connsiteX3" fmla="*/ -522 w 8636"/>
                <a:gd name="connsiteY3" fmla="*/ 6006 h 8349"/>
              </a:gdLst>
              <a:ahLst/>
              <a:cxnLst>
                <a:cxn ang="0">
                  <a:pos x="connsiteX0" y="connsiteY0"/>
                </a:cxn>
                <a:cxn ang="0">
                  <a:pos x="connsiteX1" y="connsiteY1"/>
                </a:cxn>
                <a:cxn ang="0">
                  <a:pos x="connsiteX2" y="connsiteY2"/>
                </a:cxn>
                <a:cxn ang="0">
                  <a:pos x="connsiteX3" y="connsiteY3"/>
                </a:cxn>
              </a:cxnLst>
              <a:rect l="l" t="t" r="r" b="b"/>
              <a:pathLst>
                <a:path w="8636" h="8349">
                  <a:moveTo>
                    <a:pt x="-522" y="6006"/>
                  </a:moveTo>
                  <a:cubicBezTo>
                    <a:pt x="-522" y="3389"/>
                    <a:pt x="5797" y="-1625"/>
                    <a:pt x="7323" y="-99"/>
                  </a:cubicBezTo>
                  <a:cubicBezTo>
                    <a:pt x="9720" y="2081"/>
                    <a:pt x="6233" y="7968"/>
                    <a:pt x="2747" y="7968"/>
                  </a:cubicBezTo>
                  <a:cubicBezTo>
                    <a:pt x="1004" y="7968"/>
                    <a:pt x="-522" y="7096"/>
                    <a:pt x="-522" y="6006"/>
                  </a:cubicBezTo>
                  <a:close/>
                </a:path>
              </a:pathLst>
            </a:custGeom>
            <a:grpFill/>
            <a:ln w="218" cap="flat">
              <a:noFill/>
              <a:prstDash val="solid"/>
              <a:miter/>
            </a:ln>
          </p:spPr>
          <p:txBody>
            <a:bodyPr rtlCol="0" anchor="ctr"/>
            <a:lstStyle/>
            <a:p>
              <a:endParaRPr lang="en-GB" dirty="0"/>
            </a:p>
          </p:txBody>
        </p:sp>
        <p:sp>
          <p:nvSpPr>
            <p:cNvPr id="25" name="Freihandform: Form 24">
              <a:extLst>
                <a:ext uri="{FF2B5EF4-FFF2-40B4-BE49-F238E27FC236}">
                  <a16:creationId xmlns:a16="http://schemas.microsoft.com/office/drawing/2014/main" xmlns="" id="{9D96C26E-AEA7-4899-9029-E801EAE70E38}"/>
                </a:ext>
              </a:extLst>
            </p:cNvPr>
            <p:cNvSpPr/>
            <p:nvPr/>
          </p:nvSpPr>
          <p:spPr>
            <a:xfrm flipV="1">
              <a:off x="3974877" y="5243263"/>
              <a:ext cx="10193" cy="23168"/>
            </a:xfrm>
            <a:custGeom>
              <a:avLst/>
              <a:gdLst>
                <a:gd name="connsiteX0" fmla="*/ -507 w 10193"/>
                <a:gd name="connsiteY0" fmla="*/ 15167 h 23168"/>
                <a:gd name="connsiteX1" fmla="*/ 8209 w 10193"/>
                <a:gd name="connsiteY1" fmla="*/ 778 h 23168"/>
                <a:gd name="connsiteX2" fmla="*/ 9081 w 10193"/>
                <a:gd name="connsiteY2" fmla="*/ 6010 h 23168"/>
                <a:gd name="connsiteX3" fmla="*/ 7338 w 10193"/>
                <a:gd name="connsiteY3" fmla="*/ 15385 h 23168"/>
                <a:gd name="connsiteX4" fmla="*/ 3415 w 10193"/>
                <a:gd name="connsiteY4" fmla="*/ 22797 h 23168"/>
                <a:gd name="connsiteX5" fmla="*/ -507 w 10193"/>
                <a:gd name="connsiteY5" fmla="*/ 15167 h 23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93" h="23168">
                  <a:moveTo>
                    <a:pt x="-507" y="15167"/>
                  </a:moveTo>
                  <a:cubicBezTo>
                    <a:pt x="-507" y="4920"/>
                    <a:pt x="4505" y="-3146"/>
                    <a:pt x="8209" y="778"/>
                  </a:cubicBezTo>
                  <a:cubicBezTo>
                    <a:pt x="9735" y="2086"/>
                    <a:pt x="10170" y="4484"/>
                    <a:pt x="9081" y="6010"/>
                  </a:cubicBezTo>
                  <a:cubicBezTo>
                    <a:pt x="8209" y="7536"/>
                    <a:pt x="7338" y="11897"/>
                    <a:pt x="7338" y="15385"/>
                  </a:cubicBezTo>
                  <a:cubicBezTo>
                    <a:pt x="7120" y="19963"/>
                    <a:pt x="5812" y="22361"/>
                    <a:pt x="3415" y="22797"/>
                  </a:cubicBezTo>
                  <a:cubicBezTo>
                    <a:pt x="147" y="23451"/>
                    <a:pt x="-507" y="21925"/>
                    <a:pt x="-507" y="15167"/>
                  </a:cubicBezTo>
                  <a:close/>
                </a:path>
              </a:pathLst>
            </a:custGeom>
            <a:grpFill/>
            <a:ln w="218" cap="flat">
              <a:noFill/>
              <a:prstDash val="solid"/>
              <a:miter/>
            </a:ln>
          </p:spPr>
          <p:txBody>
            <a:bodyPr rtlCol="0" anchor="ctr"/>
            <a:lstStyle/>
            <a:p>
              <a:endParaRPr lang="en-GB" dirty="0"/>
            </a:p>
          </p:txBody>
        </p:sp>
        <p:sp>
          <p:nvSpPr>
            <p:cNvPr id="26" name="Freihandform: Form 25">
              <a:extLst>
                <a:ext uri="{FF2B5EF4-FFF2-40B4-BE49-F238E27FC236}">
                  <a16:creationId xmlns:a16="http://schemas.microsoft.com/office/drawing/2014/main" xmlns="" id="{7B7F3307-A1B8-4075-A37C-3B182E8E8BDF}"/>
                </a:ext>
              </a:extLst>
            </p:cNvPr>
            <p:cNvSpPr/>
            <p:nvPr/>
          </p:nvSpPr>
          <p:spPr>
            <a:xfrm flipV="1">
              <a:off x="3974947" y="5434292"/>
              <a:ext cx="8346" cy="11044"/>
            </a:xfrm>
            <a:custGeom>
              <a:avLst/>
              <a:gdLst>
                <a:gd name="connsiteX0" fmla="*/ 3349 w 8346"/>
                <a:gd name="connsiteY0" fmla="*/ 11662 h 11044"/>
                <a:gd name="connsiteX1" fmla="*/ 1824 w 8346"/>
                <a:gd name="connsiteY1" fmla="*/ 1198 h 11044"/>
                <a:gd name="connsiteX2" fmla="*/ 7707 w 8346"/>
                <a:gd name="connsiteY2" fmla="*/ 8392 h 11044"/>
                <a:gd name="connsiteX3" fmla="*/ 3349 w 8346"/>
                <a:gd name="connsiteY3" fmla="*/ 11662 h 11044"/>
              </a:gdLst>
              <a:ahLst/>
              <a:cxnLst>
                <a:cxn ang="0">
                  <a:pos x="connsiteX0" y="connsiteY0"/>
                </a:cxn>
                <a:cxn ang="0">
                  <a:pos x="connsiteX1" y="connsiteY1"/>
                </a:cxn>
                <a:cxn ang="0">
                  <a:pos x="connsiteX2" y="connsiteY2"/>
                </a:cxn>
                <a:cxn ang="0">
                  <a:pos x="connsiteX3" y="connsiteY3"/>
                </a:cxn>
              </a:cxnLst>
              <a:rect l="l" t="t" r="r" b="b"/>
              <a:pathLst>
                <a:path w="8346" h="11044">
                  <a:moveTo>
                    <a:pt x="3349" y="11662"/>
                  </a:moveTo>
                  <a:cubicBezTo>
                    <a:pt x="-1009" y="10790"/>
                    <a:pt x="-1881" y="3596"/>
                    <a:pt x="1824" y="1198"/>
                  </a:cubicBezTo>
                  <a:cubicBezTo>
                    <a:pt x="5092" y="-764"/>
                    <a:pt x="8579" y="3378"/>
                    <a:pt x="7707" y="8392"/>
                  </a:cubicBezTo>
                  <a:cubicBezTo>
                    <a:pt x="7271" y="10790"/>
                    <a:pt x="5528" y="12098"/>
                    <a:pt x="3349" y="11662"/>
                  </a:cubicBezTo>
                  <a:close/>
                </a:path>
              </a:pathLst>
            </a:custGeom>
            <a:grpFill/>
            <a:ln w="218" cap="flat">
              <a:noFill/>
              <a:prstDash val="solid"/>
              <a:miter/>
            </a:ln>
          </p:spPr>
          <p:txBody>
            <a:bodyPr rtlCol="0" anchor="ctr"/>
            <a:lstStyle/>
            <a:p>
              <a:endParaRPr lang="en-GB" dirty="0"/>
            </a:p>
          </p:txBody>
        </p:sp>
        <p:sp>
          <p:nvSpPr>
            <p:cNvPr id="27" name="Freihandform: Form 26">
              <a:extLst>
                <a:ext uri="{FF2B5EF4-FFF2-40B4-BE49-F238E27FC236}">
                  <a16:creationId xmlns:a16="http://schemas.microsoft.com/office/drawing/2014/main" xmlns="" id="{6465FE10-F4F0-45D2-A183-04EE7900DFD0}"/>
                </a:ext>
              </a:extLst>
            </p:cNvPr>
            <p:cNvSpPr/>
            <p:nvPr/>
          </p:nvSpPr>
          <p:spPr>
            <a:xfrm flipV="1">
              <a:off x="4003205" y="5495853"/>
              <a:ext cx="6537" cy="6540"/>
            </a:xfrm>
            <a:custGeom>
              <a:avLst/>
              <a:gdLst>
                <a:gd name="connsiteX0" fmla="*/ -617 w 6537"/>
                <a:gd name="connsiteY0" fmla="*/ 4270 h 6540"/>
                <a:gd name="connsiteX1" fmla="*/ 2652 w 6537"/>
                <a:gd name="connsiteY1" fmla="*/ 1000 h 6540"/>
                <a:gd name="connsiteX2" fmla="*/ 5921 w 6537"/>
                <a:gd name="connsiteY2" fmla="*/ 4270 h 6540"/>
                <a:gd name="connsiteX3" fmla="*/ 2652 w 6537"/>
                <a:gd name="connsiteY3" fmla="*/ 7540 h 6540"/>
                <a:gd name="connsiteX4" fmla="*/ -617 w 6537"/>
                <a:gd name="connsiteY4" fmla="*/ 4270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7" h="6540">
                  <a:moveTo>
                    <a:pt x="-617" y="4270"/>
                  </a:moveTo>
                  <a:cubicBezTo>
                    <a:pt x="-617" y="2526"/>
                    <a:pt x="909" y="1000"/>
                    <a:pt x="2652" y="1000"/>
                  </a:cubicBezTo>
                  <a:cubicBezTo>
                    <a:pt x="4395" y="1000"/>
                    <a:pt x="5921" y="2526"/>
                    <a:pt x="5921" y="4270"/>
                  </a:cubicBezTo>
                  <a:cubicBezTo>
                    <a:pt x="5921" y="6014"/>
                    <a:pt x="4395" y="7540"/>
                    <a:pt x="2652" y="7540"/>
                  </a:cubicBezTo>
                  <a:cubicBezTo>
                    <a:pt x="909" y="7540"/>
                    <a:pt x="-617" y="6014"/>
                    <a:pt x="-617" y="4270"/>
                  </a:cubicBezTo>
                  <a:close/>
                </a:path>
              </a:pathLst>
            </a:custGeom>
            <a:grpFill/>
            <a:ln w="218" cap="flat">
              <a:noFill/>
              <a:prstDash val="solid"/>
              <a:miter/>
            </a:ln>
          </p:spPr>
          <p:txBody>
            <a:bodyPr rtlCol="0" anchor="ctr"/>
            <a:lstStyle/>
            <a:p>
              <a:endParaRPr lang="en-GB" dirty="0"/>
            </a:p>
          </p:txBody>
        </p:sp>
        <p:sp>
          <p:nvSpPr>
            <p:cNvPr id="28" name="Freihandform: Form 27">
              <a:extLst>
                <a:ext uri="{FF2B5EF4-FFF2-40B4-BE49-F238E27FC236}">
                  <a16:creationId xmlns:a16="http://schemas.microsoft.com/office/drawing/2014/main" xmlns="" id="{8955DF41-E77F-4653-8C4C-DA45DACF37AE}"/>
                </a:ext>
              </a:extLst>
            </p:cNvPr>
            <p:cNvSpPr/>
            <p:nvPr/>
          </p:nvSpPr>
          <p:spPr>
            <a:xfrm flipV="1">
              <a:off x="4007564" y="5511847"/>
              <a:ext cx="4358" cy="5074"/>
            </a:xfrm>
            <a:custGeom>
              <a:avLst/>
              <a:gdLst>
                <a:gd name="connsiteX0" fmla="*/ -630 w 4358"/>
                <a:gd name="connsiteY0" fmla="*/ 4922 h 5074"/>
                <a:gd name="connsiteX1" fmla="*/ 1549 w 4358"/>
                <a:gd name="connsiteY1" fmla="*/ 1434 h 5074"/>
                <a:gd name="connsiteX2" fmla="*/ 3728 w 4358"/>
                <a:gd name="connsiteY2" fmla="*/ 2306 h 5074"/>
                <a:gd name="connsiteX3" fmla="*/ 1549 w 4358"/>
                <a:gd name="connsiteY3" fmla="*/ 5794 h 5074"/>
                <a:gd name="connsiteX4" fmla="*/ -630 w 4358"/>
                <a:gd name="connsiteY4" fmla="*/ 4922 h 5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074">
                  <a:moveTo>
                    <a:pt x="-630" y="4922"/>
                  </a:moveTo>
                  <a:cubicBezTo>
                    <a:pt x="-630" y="3832"/>
                    <a:pt x="460" y="2088"/>
                    <a:pt x="1549" y="1434"/>
                  </a:cubicBezTo>
                  <a:cubicBezTo>
                    <a:pt x="2857" y="780"/>
                    <a:pt x="3728" y="998"/>
                    <a:pt x="3728" y="2306"/>
                  </a:cubicBezTo>
                  <a:cubicBezTo>
                    <a:pt x="3728" y="3396"/>
                    <a:pt x="2857" y="5140"/>
                    <a:pt x="1549" y="5794"/>
                  </a:cubicBezTo>
                  <a:cubicBezTo>
                    <a:pt x="460" y="6448"/>
                    <a:pt x="-630" y="6230"/>
                    <a:pt x="-630" y="4922"/>
                  </a:cubicBezTo>
                  <a:close/>
                </a:path>
              </a:pathLst>
            </a:custGeom>
            <a:grpFill/>
            <a:ln w="218" cap="flat">
              <a:noFill/>
              <a:prstDash val="solid"/>
              <a:miter/>
            </a:ln>
          </p:spPr>
          <p:txBody>
            <a:bodyPr rtlCol="0" anchor="ctr"/>
            <a:lstStyle/>
            <a:p>
              <a:endParaRPr lang="en-GB" dirty="0"/>
            </a:p>
          </p:txBody>
        </p:sp>
        <p:sp>
          <p:nvSpPr>
            <p:cNvPr id="29" name="Freihandform: Form 28">
              <a:extLst>
                <a:ext uri="{FF2B5EF4-FFF2-40B4-BE49-F238E27FC236}">
                  <a16:creationId xmlns:a16="http://schemas.microsoft.com/office/drawing/2014/main" xmlns="" id="{86EF57A5-4375-4D9D-8514-E519817415CB}"/>
                </a:ext>
              </a:extLst>
            </p:cNvPr>
            <p:cNvSpPr/>
            <p:nvPr/>
          </p:nvSpPr>
          <p:spPr>
            <a:xfrm flipV="1">
              <a:off x="5070509" y="5202712"/>
              <a:ext cx="218350" cy="101480"/>
            </a:xfrm>
            <a:custGeom>
              <a:avLst/>
              <a:gdLst>
                <a:gd name="connsiteX0" fmla="*/ 15246 w 218350"/>
                <a:gd name="connsiteY0" fmla="*/ 97830 h 101480"/>
                <a:gd name="connsiteX1" fmla="*/ 15246 w 218350"/>
                <a:gd name="connsiteY1" fmla="*/ 90200 h 101480"/>
                <a:gd name="connsiteX2" fmla="*/ 5440 w 218350"/>
                <a:gd name="connsiteY2" fmla="*/ 89764 h 101480"/>
                <a:gd name="connsiteX3" fmla="*/ -1097 w 218350"/>
                <a:gd name="connsiteY3" fmla="*/ 88456 h 101480"/>
                <a:gd name="connsiteX4" fmla="*/ -4148 w 218350"/>
                <a:gd name="connsiteY4" fmla="*/ 79300 h 101480"/>
                <a:gd name="connsiteX5" fmla="*/ 3915 w 218350"/>
                <a:gd name="connsiteY5" fmla="*/ 74940 h 101480"/>
                <a:gd name="connsiteX6" fmla="*/ 18950 w 218350"/>
                <a:gd name="connsiteY6" fmla="*/ 63603 h 101480"/>
                <a:gd name="connsiteX7" fmla="*/ 22437 w 218350"/>
                <a:gd name="connsiteY7" fmla="*/ 60987 h 101480"/>
                <a:gd name="connsiteX8" fmla="*/ 24398 w 218350"/>
                <a:gd name="connsiteY8" fmla="*/ 54447 h 101480"/>
                <a:gd name="connsiteX9" fmla="*/ 26577 w 218350"/>
                <a:gd name="connsiteY9" fmla="*/ 42020 h 101480"/>
                <a:gd name="connsiteX10" fmla="*/ 41177 w 218350"/>
                <a:gd name="connsiteY10" fmla="*/ 37442 h 101480"/>
                <a:gd name="connsiteX11" fmla="*/ 53162 w 218350"/>
                <a:gd name="connsiteY11" fmla="*/ 34608 h 101480"/>
                <a:gd name="connsiteX12" fmla="*/ 65365 w 218350"/>
                <a:gd name="connsiteY12" fmla="*/ 30248 h 101480"/>
                <a:gd name="connsiteX13" fmla="*/ 64275 w 218350"/>
                <a:gd name="connsiteY13" fmla="*/ 24362 h 101480"/>
                <a:gd name="connsiteX14" fmla="*/ 64493 w 218350"/>
                <a:gd name="connsiteY14" fmla="*/ 13679 h 101480"/>
                <a:gd name="connsiteX15" fmla="*/ 75170 w 218350"/>
                <a:gd name="connsiteY15" fmla="*/ 3869 h 101480"/>
                <a:gd name="connsiteX16" fmla="*/ 82797 w 218350"/>
                <a:gd name="connsiteY16" fmla="*/ 13025 h 101480"/>
                <a:gd name="connsiteX17" fmla="*/ 98922 w 218350"/>
                <a:gd name="connsiteY17" fmla="*/ 27196 h 101480"/>
                <a:gd name="connsiteX18" fmla="*/ 106549 w 218350"/>
                <a:gd name="connsiteY18" fmla="*/ 35916 h 101480"/>
                <a:gd name="connsiteX19" fmla="*/ 102845 w 218350"/>
                <a:gd name="connsiteY19" fmla="*/ 20002 h 101480"/>
                <a:gd name="connsiteX20" fmla="*/ 103498 w 218350"/>
                <a:gd name="connsiteY20" fmla="*/ 10845 h 101480"/>
                <a:gd name="connsiteX21" fmla="*/ 117880 w 218350"/>
                <a:gd name="connsiteY21" fmla="*/ 24362 h 101480"/>
                <a:gd name="connsiteX22" fmla="*/ 123110 w 218350"/>
                <a:gd name="connsiteY22" fmla="*/ 31556 h 101480"/>
                <a:gd name="connsiteX23" fmla="*/ 127904 w 218350"/>
                <a:gd name="connsiteY23" fmla="*/ 37442 h 101480"/>
                <a:gd name="connsiteX24" fmla="*/ 133352 w 218350"/>
                <a:gd name="connsiteY24" fmla="*/ 44855 h 101480"/>
                <a:gd name="connsiteX25" fmla="*/ 134005 w 218350"/>
                <a:gd name="connsiteY25" fmla="*/ 51831 h 101480"/>
                <a:gd name="connsiteX26" fmla="*/ 128340 w 218350"/>
                <a:gd name="connsiteY26" fmla="*/ 56191 h 101480"/>
                <a:gd name="connsiteX27" fmla="*/ 136620 w 218350"/>
                <a:gd name="connsiteY27" fmla="*/ 64039 h 101480"/>
                <a:gd name="connsiteX28" fmla="*/ 149913 w 218350"/>
                <a:gd name="connsiteY28" fmla="*/ 62077 h 101480"/>
                <a:gd name="connsiteX29" fmla="*/ 158629 w 218350"/>
                <a:gd name="connsiteY29" fmla="*/ 60769 h 101480"/>
                <a:gd name="connsiteX30" fmla="*/ 156450 w 218350"/>
                <a:gd name="connsiteY30" fmla="*/ 50087 h 101480"/>
                <a:gd name="connsiteX31" fmla="*/ 156232 w 218350"/>
                <a:gd name="connsiteY31" fmla="*/ 39186 h 101480"/>
                <a:gd name="connsiteX32" fmla="*/ 161680 w 218350"/>
                <a:gd name="connsiteY32" fmla="*/ 28286 h 101480"/>
                <a:gd name="connsiteX33" fmla="*/ 165166 w 218350"/>
                <a:gd name="connsiteY33" fmla="*/ 25016 h 101480"/>
                <a:gd name="connsiteX34" fmla="*/ 176933 w 218350"/>
                <a:gd name="connsiteY34" fmla="*/ 26978 h 101480"/>
                <a:gd name="connsiteX35" fmla="*/ 185867 w 218350"/>
                <a:gd name="connsiteY35" fmla="*/ 28722 h 101480"/>
                <a:gd name="connsiteX36" fmla="*/ 191097 w 218350"/>
                <a:gd name="connsiteY36" fmla="*/ 23708 h 101480"/>
                <a:gd name="connsiteX37" fmla="*/ 195237 w 218350"/>
                <a:gd name="connsiteY37" fmla="*/ 14988 h 101480"/>
                <a:gd name="connsiteX38" fmla="*/ 202646 w 218350"/>
                <a:gd name="connsiteY38" fmla="*/ 12589 h 101480"/>
                <a:gd name="connsiteX39" fmla="*/ 207222 w 218350"/>
                <a:gd name="connsiteY39" fmla="*/ 11499 h 101480"/>
                <a:gd name="connsiteX40" fmla="*/ 210709 w 218350"/>
                <a:gd name="connsiteY40" fmla="*/ 10845 h 101480"/>
                <a:gd name="connsiteX41" fmla="*/ 194366 w 218350"/>
                <a:gd name="connsiteY41" fmla="*/ 29158 h 101480"/>
                <a:gd name="connsiteX42" fmla="*/ 197634 w 218350"/>
                <a:gd name="connsiteY42" fmla="*/ 37660 h 101480"/>
                <a:gd name="connsiteX43" fmla="*/ 201339 w 218350"/>
                <a:gd name="connsiteY43" fmla="*/ 48779 h 101480"/>
                <a:gd name="connsiteX44" fmla="*/ 193712 w 218350"/>
                <a:gd name="connsiteY44" fmla="*/ 50305 h 101480"/>
                <a:gd name="connsiteX45" fmla="*/ 186303 w 218350"/>
                <a:gd name="connsiteY45" fmla="*/ 53793 h 101480"/>
                <a:gd name="connsiteX46" fmla="*/ 177369 w 218350"/>
                <a:gd name="connsiteY46" fmla="*/ 60551 h 101480"/>
                <a:gd name="connsiteX47" fmla="*/ 169089 w 218350"/>
                <a:gd name="connsiteY47" fmla="*/ 65565 h 101480"/>
                <a:gd name="connsiteX48" fmla="*/ 163205 w 218350"/>
                <a:gd name="connsiteY48" fmla="*/ 68835 h 101480"/>
                <a:gd name="connsiteX49" fmla="*/ 163641 w 218350"/>
                <a:gd name="connsiteY49" fmla="*/ 70797 h 101480"/>
                <a:gd name="connsiteX50" fmla="*/ 183470 w 218350"/>
                <a:gd name="connsiteY50" fmla="*/ 69053 h 101480"/>
                <a:gd name="connsiteX51" fmla="*/ 197199 w 218350"/>
                <a:gd name="connsiteY51" fmla="*/ 63603 h 101480"/>
                <a:gd name="connsiteX52" fmla="*/ 212888 w 218350"/>
                <a:gd name="connsiteY52" fmla="*/ 71233 h 101480"/>
                <a:gd name="connsiteX53" fmla="*/ 204825 w 218350"/>
                <a:gd name="connsiteY53" fmla="*/ 73414 h 101480"/>
                <a:gd name="connsiteX54" fmla="*/ 181291 w 218350"/>
                <a:gd name="connsiteY54" fmla="*/ 85404 h 101480"/>
                <a:gd name="connsiteX55" fmla="*/ 172793 w 218350"/>
                <a:gd name="connsiteY55" fmla="*/ 87802 h 101480"/>
                <a:gd name="connsiteX56" fmla="*/ 164077 w 218350"/>
                <a:gd name="connsiteY56" fmla="*/ 92380 h 101480"/>
                <a:gd name="connsiteX57" fmla="*/ 153399 w 218350"/>
                <a:gd name="connsiteY57" fmla="*/ 94124 h 101480"/>
                <a:gd name="connsiteX58" fmla="*/ 154707 w 218350"/>
                <a:gd name="connsiteY58" fmla="*/ 85622 h 101480"/>
                <a:gd name="connsiteX59" fmla="*/ 162551 w 218350"/>
                <a:gd name="connsiteY59" fmla="*/ 85186 h 101480"/>
                <a:gd name="connsiteX60" fmla="*/ 162333 w 218350"/>
                <a:gd name="connsiteY60" fmla="*/ 78210 h 101480"/>
                <a:gd name="connsiteX61" fmla="*/ 159283 w 218350"/>
                <a:gd name="connsiteY61" fmla="*/ 72323 h 101480"/>
                <a:gd name="connsiteX62" fmla="*/ 148387 w 218350"/>
                <a:gd name="connsiteY62" fmla="*/ 74068 h 101480"/>
                <a:gd name="connsiteX63" fmla="*/ 129647 w 218350"/>
                <a:gd name="connsiteY63" fmla="*/ 72759 h 101480"/>
                <a:gd name="connsiteX64" fmla="*/ 122456 w 218350"/>
                <a:gd name="connsiteY64" fmla="*/ 67527 h 101480"/>
                <a:gd name="connsiteX65" fmla="*/ 114830 w 218350"/>
                <a:gd name="connsiteY65" fmla="*/ 62077 h 101480"/>
                <a:gd name="connsiteX66" fmla="*/ 116137 w 218350"/>
                <a:gd name="connsiteY66" fmla="*/ 67745 h 101480"/>
                <a:gd name="connsiteX67" fmla="*/ 115919 w 218350"/>
                <a:gd name="connsiteY67" fmla="*/ 76248 h 101480"/>
                <a:gd name="connsiteX68" fmla="*/ 119188 w 218350"/>
                <a:gd name="connsiteY68" fmla="*/ 87148 h 101480"/>
                <a:gd name="connsiteX69" fmla="*/ 123546 w 218350"/>
                <a:gd name="connsiteY69" fmla="*/ 92598 h 101480"/>
                <a:gd name="connsiteX70" fmla="*/ 118534 w 218350"/>
                <a:gd name="connsiteY70" fmla="*/ 98048 h 101480"/>
                <a:gd name="connsiteX71" fmla="*/ 106985 w 218350"/>
                <a:gd name="connsiteY71" fmla="*/ 77774 h 101480"/>
                <a:gd name="connsiteX72" fmla="*/ 96743 w 218350"/>
                <a:gd name="connsiteY72" fmla="*/ 71451 h 101480"/>
                <a:gd name="connsiteX73" fmla="*/ 83233 w 218350"/>
                <a:gd name="connsiteY73" fmla="*/ 66873 h 101480"/>
                <a:gd name="connsiteX74" fmla="*/ 85848 w 218350"/>
                <a:gd name="connsiteY74" fmla="*/ 56191 h 101480"/>
                <a:gd name="connsiteX75" fmla="*/ 89770 w 218350"/>
                <a:gd name="connsiteY75" fmla="*/ 47907 h 101480"/>
                <a:gd name="connsiteX76" fmla="*/ 100230 w 218350"/>
                <a:gd name="connsiteY76" fmla="*/ 58589 h 101480"/>
                <a:gd name="connsiteX77" fmla="*/ 111561 w 218350"/>
                <a:gd name="connsiteY77" fmla="*/ 58807 h 101480"/>
                <a:gd name="connsiteX78" fmla="*/ 118098 w 218350"/>
                <a:gd name="connsiteY78" fmla="*/ 45727 h 101480"/>
                <a:gd name="connsiteX79" fmla="*/ 113740 w 218350"/>
                <a:gd name="connsiteY79" fmla="*/ 41802 h 101480"/>
                <a:gd name="connsiteX80" fmla="*/ 99576 w 218350"/>
                <a:gd name="connsiteY80" fmla="*/ 40276 h 101480"/>
                <a:gd name="connsiteX81" fmla="*/ 92385 w 218350"/>
                <a:gd name="connsiteY81" fmla="*/ 34608 h 101480"/>
                <a:gd name="connsiteX82" fmla="*/ 86066 w 218350"/>
                <a:gd name="connsiteY82" fmla="*/ 28940 h 101480"/>
                <a:gd name="connsiteX83" fmla="*/ 80836 w 218350"/>
                <a:gd name="connsiteY83" fmla="*/ 20002 h 101480"/>
                <a:gd name="connsiteX84" fmla="*/ 76260 w 218350"/>
                <a:gd name="connsiteY84" fmla="*/ 28286 h 101480"/>
                <a:gd name="connsiteX85" fmla="*/ 67762 w 218350"/>
                <a:gd name="connsiteY85" fmla="*/ 38968 h 101480"/>
                <a:gd name="connsiteX86" fmla="*/ 61224 w 218350"/>
                <a:gd name="connsiteY86" fmla="*/ 40276 h 101480"/>
                <a:gd name="connsiteX87" fmla="*/ 58174 w 218350"/>
                <a:gd name="connsiteY87" fmla="*/ 46163 h 101480"/>
                <a:gd name="connsiteX88" fmla="*/ 49675 w 218350"/>
                <a:gd name="connsiteY88" fmla="*/ 44201 h 101480"/>
                <a:gd name="connsiteX89" fmla="*/ 44663 w 218350"/>
                <a:gd name="connsiteY89" fmla="*/ 43110 h 101480"/>
                <a:gd name="connsiteX90" fmla="*/ 51636 w 218350"/>
                <a:gd name="connsiteY90" fmla="*/ 54447 h 101480"/>
                <a:gd name="connsiteX91" fmla="*/ 52290 w 218350"/>
                <a:gd name="connsiteY91" fmla="*/ 62731 h 101480"/>
                <a:gd name="connsiteX92" fmla="*/ 42920 w 218350"/>
                <a:gd name="connsiteY92" fmla="*/ 58153 h 101480"/>
                <a:gd name="connsiteX93" fmla="*/ 37037 w 218350"/>
                <a:gd name="connsiteY93" fmla="*/ 50741 h 101480"/>
                <a:gd name="connsiteX94" fmla="*/ 31371 w 218350"/>
                <a:gd name="connsiteY94" fmla="*/ 60769 h 101480"/>
                <a:gd name="connsiteX95" fmla="*/ 43574 w 218350"/>
                <a:gd name="connsiteY95" fmla="*/ 75812 h 101480"/>
                <a:gd name="connsiteX96" fmla="*/ 44663 w 218350"/>
                <a:gd name="connsiteY96" fmla="*/ 83006 h 101480"/>
                <a:gd name="connsiteX97" fmla="*/ 37473 w 218350"/>
                <a:gd name="connsiteY97" fmla="*/ 77556 h 101480"/>
                <a:gd name="connsiteX98" fmla="*/ 22437 w 218350"/>
                <a:gd name="connsiteY98" fmla="*/ 75376 h 101480"/>
                <a:gd name="connsiteX99" fmla="*/ 21347 w 218350"/>
                <a:gd name="connsiteY99" fmla="*/ 83006 h 101480"/>
                <a:gd name="connsiteX100" fmla="*/ 25488 w 218350"/>
                <a:gd name="connsiteY100" fmla="*/ 86058 h 101480"/>
                <a:gd name="connsiteX101" fmla="*/ 30717 w 218350"/>
                <a:gd name="connsiteY101" fmla="*/ 86276 h 101480"/>
                <a:gd name="connsiteX102" fmla="*/ 31589 w 218350"/>
                <a:gd name="connsiteY102" fmla="*/ 96740 h 101480"/>
                <a:gd name="connsiteX103" fmla="*/ 21347 w 218350"/>
                <a:gd name="connsiteY103" fmla="*/ 99792 h 101480"/>
                <a:gd name="connsiteX104" fmla="*/ 15246 w 218350"/>
                <a:gd name="connsiteY104" fmla="*/ 97830 h 101480"/>
                <a:gd name="connsiteX105" fmla="*/ 183253 w 218350"/>
                <a:gd name="connsiteY105" fmla="*/ 47471 h 101480"/>
                <a:gd name="connsiteX106" fmla="*/ 185650 w 218350"/>
                <a:gd name="connsiteY106" fmla="*/ 38096 h 101480"/>
                <a:gd name="connsiteX107" fmla="*/ 183035 w 218350"/>
                <a:gd name="connsiteY107" fmla="*/ 35262 h 101480"/>
                <a:gd name="connsiteX108" fmla="*/ 174100 w 218350"/>
                <a:gd name="connsiteY108" fmla="*/ 37660 h 101480"/>
                <a:gd name="connsiteX109" fmla="*/ 167999 w 218350"/>
                <a:gd name="connsiteY109" fmla="*/ 46817 h 101480"/>
                <a:gd name="connsiteX110" fmla="*/ 183253 w 218350"/>
                <a:gd name="connsiteY110" fmla="*/ 47471 h 101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18350" h="101480">
                  <a:moveTo>
                    <a:pt x="15246" y="97830"/>
                  </a:moveTo>
                  <a:cubicBezTo>
                    <a:pt x="15900" y="95214"/>
                    <a:pt x="15900" y="91944"/>
                    <a:pt x="15246" y="90200"/>
                  </a:cubicBezTo>
                  <a:cubicBezTo>
                    <a:pt x="13939" y="86494"/>
                    <a:pt x="6530" y="86058"/>
                    <a:pt x="5440" y="89764"/>
                  </a:cubicBezTo>
                  <a:cubicBezTo>
                    <a:pt x="4786" y="91290"/>
                    <a:pt x="2825" y="91072"/>
                    <a:pt x="-1097" y="88456"/>
                  </a:cubicBezTo>
                  <a:cubicBezTo>
                    <a:pt x="-6109" y="85186"/>
                    <a:pt x="-6327" y="84096"/>
                    <a:pt x="-4148" y="79300"/>
                  </a:cubicBezTo>
                  <a:cubicBezTo>
                    <a:pt x="-2187" y="74940"/>
                    <a:pt x="-661" y="74068"/>
                    <a:pt x="3915" y="74940"/>
                  </a:cubicBezTo>
                  <a:cubicBezTo>
                    <a:pt x="9798" y="76030"/>
                    <a:pt x="18950" y="69053"/>
                    <a:pt x="18950" y="63603"/>
                  </a:cubicBezTo>
                  <a:cubicBezTo>
                    <a:pt x="18950" y="62077"/>
                    <a:pt x="20476" y="60987"/>
                    <a:pt x="22437" y="60987"/>
                  </a:cubicBezTo>
                  <a:cubicBezTo>
                    <a:pt x="25052" y="60987"/>
                    <a:pt x="25488" y="59461"/>
                    <a:pt x="24398" y="54447"/>
                  </a:cubicBezTo>
                  <a:cubicBezTo>
                    <a:pt x="23309" y="49869"/>
                    <a:pt x="24180" y="45945"/>
                    <a:pt x="26577" y="42020"/>
                  </a:cubicBezTo>
                  <a:cubicBezTo>
                    <a:pt x="29846" y="37006"/>
                    <a:pt x="31371" y="36570"/>
                    <a:pt x="41177" y="37442"/>
                  </a:cubicBezTo>
                  <a:cubicBezTo>
                    <a:pt x="50547" y="38532"/>
                    <a:pt x="52290" y="38096"/>
                    <a:pt x="53162" y="34608"/>
                  </a:cubicBezTo>
                  <a:cubicBezTo>
                    <a:pt x="54251" y="31120"/>
                    <a:pt x="59263" y="29158"/>
                    <a:pt x="65365" y="30248"/>
                  </a:cubicBezTo>
                  <a:cubicBezTo>
                    <a:pt x="67762" y="30684"/>
                    <a:pt x="67108" y="27196"/>
                    <a:pt x="64275" y="24362"/>
                  </a:cubicBezTo>
                  <a:cubicBezTo>
                    <a:pt x="62314" y="22400"/>
                    <a:pt x="62314" y="20002"/>
                    <a:pt x="64493" y="13679"/>
                  </a:cubicBezTo>
                  <a:cubicBezTo>
                    <a:pt x="68633" y="2125"/>
                    <a:pt x="76696" y="-5287"/>
                    <a:pt x="75170" y="3869"/>
                  </a:cubicBezTo>
                  <a:cubicBezTo>
                    <a:pt x="74299" y="9319"/>
                    <a:pt x="77350" y="13025"/>
                    <a:pt x="82797" y="13025"/>
                  </a:cubicBezTo>
                  <a:cubicBezTo>
                    <a:pt x="89117" y="13243"/>
                    <a:pt x="93039" y="16732"/>
                    <a:pt x="98922" y="27196"/>
                  </a:cubicBezTo>
                  <a:cubicBezTo>
                    <a:pt x="101537" y="31992"/>
                    <a:pt x="105024" y="35916"/>
                    <a:pt x="106549" y="35916"/>
                  </a:cubicBezTo>
                  <a:cubicBezTo>
                    <a:pt x="111125" y="35916"/>
                    <a:pt x="108728" y="25452"/>
                    <a:pt x="102845" y="20002"/>
                  </a:cubicBezTo>
                  <a:cubicBezTo>
                    <a:pt x="95654" y="13461"/>
                    <a:pt x="95872" y="10845"/>
                    <a:pt x="103498" y="10845"/>
                  </a:cubicBezTo>
                  <a:cubicBezTo>
                    <a:pt x="110689" y="10845"/>
                    <a:pt x="117445" y="17168"/>
                    <a:pt x="117880" y="24362"/>
                  </a:cubicBezTo>
                  <a:cubicBezTo>
                    <a:pt x="118098" y="27414"/>
                    <a:pt x="120059" y="30248"/>
                    <a:pt x="123110" y="31556"/>
                  </a:cubicBezTo>
                  <a:cubicBezTo>
                    <a:pt x="125725" y="32646"/>
                    <a:pt x="127904" y="35480"/>
                    <a:pt x="127904" y="37442"/>
                  </a:cubicBezTo>
                  <a:cubicBezTo>
                    <a:pt x="127904" y="39622"/>
                    <a:pt x="130301" y="42892"/>
                    <a:pt x="133352" y="44855"/>
                  </a:cubicBezTo>
                  <a:cubicBezTo>
                    <a:pt x="140107" y="49215"/>
                    <a:pt x="140325" y="52703"/>
                    <a:pt x="134005" y="51831"/>
                  </a:cubicBezTo>
                  <a:cubicBezTo>
                    <a:pt x="130083" y="51395"/>
                    <a:pt x="128776" y="52485"/>
                    <a:pt x="128340" y="56191"/>
                  </a:cubicBezTo>
                  <a:cubicBezTo>
                    <a:pt x="127032" y="65783"/>
                    <a:pt x="128994" y="67745"/>
                    <a:pt x="136620" y="64039"/>
                  </a:cubicBezTo>
                  <a:cubicBezTo>
                    <a:pt x="140761" y="61859"/>
                    <a:pt x="145555" y="61205"/>
                    <a:pt x="149913" y="62077"/>
                  </a:cubicBezTo>
                  <a:cubicBezTo>
                    <a:pt x="154707" y="63167"/>
                    <a:pt x="157322" y="62731"/>
                    <a:pt x="158629" y="60769"/>
                  </a:cubicBezTo>
                  <a:cubicBezTo>
                    <a:pt x="161898" y="55319"/>
                    <a:pt x="160808" y="50087"/>
                    <a:pt x="156450" y="50087"/>
                  </a:cubicBezTo>
                  <a:cubicBezTo>
                    <a:pt x="148823" y="50087"/>
                    <a:pt x="148823" y="45291"/>
                    <a:pt x="156232" y="39186"/>
                  </a:cubicBezTo>
                  <a:cubicBezTo>
                    <a:pt x="161898" y="34608"/>
                    <a:pt x="162987" y="32428"/>
                    <a:pt x="161680" y="28286"/>
                  </a:cubicBezTo>
                  <a:cubicBezTo>
                    <a:pt x="160154" y="23708"/>
                    <a:pt x="160590" y="23490"/>
                    <a:pt x="165166" y="25016"/>
                  </a:cubicBezTo>
                  <a:cubicBezTo>
                    <a:pt x="167999" y="25888"/>
                    <a:pt x="173447" y="26760"/>
                    <a:pt x="176933" y="26978"/>
                  </a:cubicBezTo>
                  <a:cubicBezTo>
                    <a:pt x="180638" y="27196"/>
                    <a:pt x="184560" y="28068"/>
                    <a:pt x="185867" y="28722"/>
                  </a:cubicBezTo>
                  <a:cubicBezTo>
                    <a:pt x="188918" y="30684"/>
                    <a:pt x="191097" y="28722"/>
                    <a:pt x="191097" y="23708"/>
                  </a:cubicBezTo>
                  <a:cubicBezTo>
                    <a:pt x="191097" y="21746"/>
                    <a:pt x="192840" y="17822"/>
                    <a:pt x="195237" y="14988"/>
                  </a:cubicBezTo>
                  <a:cubicBezTo>
                    <a:pt x="198506" y="10845"/>
                    <a:pt x="199814" y="10409"/>
                    <a:pt x="202646" y="12589"/>
                  </a:cubicBezTo>
                  <a:cubicBezTo>
                    <a:pt x="205261" y="14769"/>
                    <a:pt x="206133" y="14551"/>
                    <a:pt x="207222" y="11499"/>
                  </a:cubicBezTo>
                  <a:cubicBezTo>
                    <a:pt x="208530" y="8447"/>
                    <a:pt x="209184" y="8229"/>
                    <a:pt x="210709" y="10845"/>
                  </a:cubicBezTo>
                  <a:cubicBezTo>
                    <a:pt x="212670" y="13897"/>
                    <a:pt x="205697" y="21746"/>
                    <a:pt x="194366" y="29158"/>
                  </a:cubicBezTo>
                  <a:cubicBezTo>
                    <a:pt x="187829" y="33518"/>
                    <a:pt x="188700" y="35916"/>
                    <a:pt x="197634" y="37660"/>
                  </a:cubicBezTo>
                  <a:cubicBezTo>
                    <a:pt x="204607" y="39186"/>
                    <a:pt x="205915" y="42674"/>
                    <a:pt x="201339" y="48779"/>
                  </a:cubicBezTo>
                  <a:cubicBezTo>
                    <a:pt x="198942" y="52049"/>
                    <a:pt x="197634" y="52267"/>
                    <a:pt x="193712" y="50305"/>
                  </a:cubicBezTo>
                  <a:cubicBezTo>
                    <a:pt x="189790" y="48125"/>
                    <a:pt x="188700" y="48561"/>
                    <a:pt x="186303" y="53793"/>
                  </a:cubicBezTo>
                  <a:cubicBezTo>
                    <a:pt x="184342" y="57935"/>
                    <a:pt x="181509" y="60115"/>
                    <a:pt x="177369" y="60551"/>
                  </a:cubicBezTo>
                  <a:cubicBezTo>
                    <a:pt x="174100" y="60987"/>
                    <a:pt x="170396" y="63167"/>
                    <a:pt x="169089" y="65565"/>
                  </a:cubicBezTo>
                  <a:cubicBezTo>
                    <a:pt x="167563" y="68399"/>
                    <a:pt x="165384" y="69489"/>
                    <a:pt x="163205" y="68835"/>
                  </a:cubicBezTo>
                  <a:cubicBezTo>
                    <a:pt x="160372" y="67745"/>
                    <a:pt x="160590" y="68399"/>
                    <a:pt x="163641" y="70797"/>
                  </a:cubicBezTo>
                  <a:cubicBezTo>
                    <a:pt x="170178" y="75812"/>
                    <a:pt x="179548" y="74940"/>
                    <a:pt x="183470" y="69053"/>
                  </a:cubicBezTo>
                  <a:cubicBezTo>
                    <a:pt x="186085" y="64911"/>
                    <a:pt x="188700" y="63821"/>
                    <a:pt x="197199" y="63603"/>
                  </a:cubicBezTo>
                  <a:cubicBezTo>
                    <a:pt x="207876" y="63603"/>
                    <a:pt x="212888" y="66001"/>
                    <a:pt x="212888" y="71233"/>
                  </a:cubicBezTo>
                  <a:cubicBezTo>
                    <a:pt x="212888" y="73850"/>
                    <a:pt x="210927" y="74286"/>
                    <a:pt x="204825" y="73414"/>
                  </a:cubicBezTo>
                  <a:cubicBezTo>
                    <a:pt x="195673" y="72323"/>
                    <a:pt x="183470" y="78646"/>
                    <a:pt x="181291" y="85404"/>
                  </a:cubicBezTo>
                  <a:cubicBezTo>
                    <a:pt x="180202" y="88238"/>
                    <a:pt x="178241" y="88674"/>
                    <a:pt x="172793" y="87802"/>
                  </a:cubicBezTo>
                  <a:cubicBezTo>
                    <a:pt x="166256" y="86712"/>
                    <a:pt x="165384" y="87366"/>
                    <a:pt x="164077" y="92380"/>
                  </a:cubicBezTo>
                  <a:cubicBezTo>
                    <a:pt x="162551" y="98920"/>
                    <a:pt x="158411" y="99574"/>
                    <a:pt x="153399" y="94124"/>
                  </a:cubicBezTo>
                  <a:cubicBezTo>
                    <a:pt x="147952" y="88238"/>
                    <a:pt x="148605" y="84314"/>
                    <a:pt x="154707" y="85622"/>
                  </a:cubicBezTo>
                  <a:cubicBezTo>
                    <a:pt x="157322" y="86494"/>
                    <a:pt x="160808" y="86058"/>
                    <a:pt x="162551" y="85186"/>
                  </a:cubicBezTo>
                  <a:cubicBezTo>
                    <a:pt x="164948" y="83660"/>
                    <a:pt x="164948" y="82570"/>
                    <a:pt x="162333" y="78210"/>
                  </a:cubicBezTo>
                  <a:cubicBezTo>
                    <a:pt x="160808" y="75376"/>
                    <a:pt x="159283" y="72759"/>
                    <a:pt x="159283" y="72323"/>
                  </a:cubicBezTo>
                  <a:cubicBezTo>
                    <a:pt x="159065" y="72105"/>
                    <a:pt x="154271" y="72759"/>
                    <a:pt x="148387" y="74068"/>
                  </a:cubicBezTo>
                  <a:cubicBezTo>
                    <a:pt x="139671" y="76030"/>
                    <a:pt x="136402" y="75812"/>
                    <a:pt x="129647" y="72759"/>
                  </a:cubicBezTo>
                  <a:cubicBezTo>
                    <a:pt x="125071" y="70797"/>
                    <a:pt x="122021" y="68399"/>
                    <a:pt x="122456" y="67527"/>
                  </a:cubicBezTo>
                  <a:cubicBezTo>
                    <a:pt x="123982" y="64911"/>
                    <a:pt x="117445" y="60333"/>
                    <a:pt x="114830" y="62077"/>
                  </a:cubicBezTo>
                  <a:cubicBezTo>
                    <a:pt x="113086" y="63167"/>
                    <a:pt x="113522" y="64911"/>
                    <a:pt x="116137" y="67745"/>
                  </a:cubicBezTo>
                  <a:cubicBezTo>
                    <a:pt x="119624" y="71669"/>
                    <a:pt x="119624" y="72105"/>
                    <a:pt x="115919" y="76248"/>
                  </a:cubicBezTo>
                  <a:cubicBezTo>
                    <a:pt x="111343" y="81262"/>
                    <a:pt x="113086" y="87148"/>
                    <a:pt x="119188" y="87148"/>
                  </a:cubicBezTo>
                  <a:cubicBezTo>
                    <a:pt x="122456" y="87148"/>
                    <a:pt x="123546" y="88674"/>
                    <a:pt x="123546" y="92598"/>
                  </a:cubicBezTo>
                  <a:cubicBezTo>
                    <a:pt x="123546" y="96740"/>
                    <a:pt x="122456" y="98048"/>
                    <a:pt x="118534" y="98048"/>
                  </a:cubicBezTo>
                  <a:cubicBezTo>
                    <a:pt x="113304" y="98048"/>
                    <a:pt x="109600" y="91726"/>
                    <a:pt x="106985" y="77774"/>
                  </a:cubicBezTo>
                  <a:cubicBezTo>
                    <a:pt x="105242" y="67527"/>
                    <a:pt x="102627" y="66001"/>
                    <a:pt x="96743" y="71451"/>
                  </a:cubicBezTo>
                  <a:cubicBezTo>
                    <a:pt x="90206" y="77338"/>
                    <a:pt x="80836" y="74286"/>
                    <a:pt x="83233" y="66873"/>
                  </a:cubicBezTo>
                  <a:cubicBezTo>
                    <a:pt x="84105" y="64257"/>
                    <a:pt x="85194" y="59461"/>
                    <a:pt x="85848" y="56191"/>
                  </a:cubicBezTo>
                  <a:cubicBezTo>
                    <a:pt x="86502" y="52921"/>
                    <a:pt x="88245" y="49215"/>
                    <a:pt x="89770" y="47907"/>
                  </a:cubicBezTo>
                  <a:cubicBezTo>
                    <a:pt x="93911" y="44419"/>
                    <a:pt x="101755" y="52485"/>
                    <a:pt x="100230" y="58589"/>
                  </a:cubicBezTo>
                  <a:cubicBezTo>
                    <a:pt x="98704" y="64475"/>
                    <a:pt x="102845" y="64475"/>
                    <a:pt x="111561" y="58807"/>
                  </a:cubicBezTo>
                  <a:cubicBezTo>
                    <a:pt x="116791" y="55319"/>
                    <a:pt x="117880" y="53139"/>
                    <a:pt x="118098" y="45727"/>
                  </a:cubicBezTo>
                  <a:cubicBezTo>
                    <a:pt x="118316" y="35916"/>
                    <a:pt x="117009" y="34608"/>
                    <a:pt x="113740" y="41802"/>
                  </a:cubicBezTo>
                  <a:cubicBezTo>
                    <a:pt x="110254" y="49651"/>
                    <a:pt x="105024" y="48997"/>
                    <a:pt x="99576" y="40276"/>
                  </a:cubicBezTo>
                  <a:cubicBezTo>
                    <a:pt x="96090" y="34608"/>
                    <a:pt x="93911" y="33082"/>
                    <a:pt x="92385" y="34608"/>
                  </a:cubicBezTo>
                  <a:cubicBezTo>
                    <a:pt x="88245" y="38750"/>
                    <a:pt x="86720" y="37224"/>
                    <a:pt x="86066" y="28940"/>
                  </a:cubicBezTo>
                  <a:cubicBezTo>
                    <a:pt x="85630" y="22400"/>
                    <a:pt x="84323" y="20438"/>
                    <a:pt x="80836" y="20002"/>
                  </a:cubicBezTo>
                  <a:cubicBezTo>
                    <a:pt x="76696" y="19348"/>
                    <a:pt x="76260" y="20438"/>
                    <a:pt x="76260" y="28286"/>
                  </a:cubicBezTo>
                  <a:cubicBezTo>
                    <a:pt x="76260" y="39186"/>
                    <a:pt x="72991" y="43328"/>
                    <a:pt x="67762" y="38968"/>
                  </a:cubicBezTo>
                  <a:cubicBezTo>
                    <a:pt x="64711" y="36570"/>
                    <a:pt x="63839" y="36570"/>
                    <a:pt x="61224" y="40276"/>
                  </a:cubicBezTo>
                  <a:cubicBezTo>
                    <a:pt x="59481" y="42456"/>
                    <a:pt x="58174" y="45073"/>
                    <a:pt x="58174" y="46163"/>
                  </a:cubicBezTo>
                  <a:cubicBezTo>
                    <a:pt x="58174" y="49433"/>
                    <a:pt x="51854" y="47907"/>
                    <a:pt x="49675" y="44201"/>
                  </a:cubicBezTo>
                  <a:cubicBezTo>
                    <a:pt x="47932" y="40930"/>
                    <a:pt x="47060" y="40712"/>
                    <a:pt x="44663" y="43110"/>
                  </a:cubicBezTo>
                  <a:cubicBezTo>
                    <a:pt x="40959" y="46817"/>
                    <a:pt x="44663" y="52921"/>
                    <a:pt x="51636" y="54447"/>
                  </a:cubicBezTo>
                  <a:cubicBezTo>
                    <a:pt x="59045" y="56191"/>
                    <a:pt x="59263" y="60333"/>
                    <a:pt x="52290" y="62731"/>
                  </a:cubicBezTo>
                  <a:cubicBezTo>
                    <a:pt x="46843" y="64475"/>
                    <a:pt x="45971" y="64039"/>
                    <a:pt x="42920" y="58153"/>
                  </a:cubicBezTo>
                  <a:cubicBezTo>
                    <a:pt x="41177" y="54447"/>
                    <a:pt x="38562" y="51177"/>
                    <a:pt x="37037" y="50741"/>
                  </a:cubicBezTo>
                  <a:cubicBezTo>
                    <a:pt x="33768" y="49651"/>
                    <a:pt x="28538" y="58807"/>
                    <a:pt x="31371" y="60769"/>
                  </a:cubicBezTo>
                  <a:cubicBezTo>
                    <a:pt x="40523" y="66873"/>
                    <a:pt x="42702" y="69707"/>
                    <a:pt x="43574" y="75812"/>
                  </a:cubicBezTo>
                  <a:lnTo>
                    <a:pt x="44663" y="83006"/>
                  </a:lnTo>
                  <a:lnTo>
                    <a:pt x="37473" y="77556"/>
                  </a:lnTo>
                  <a:cubicBezTo>
                    <a:pt x="28974" y="71015"/>
                    <a:pt x="27013" y="70579"/>
                    <a:pt x="22437" y="75376"/>
                  </a:cubicBezTo>
                  <a:cubicBezTo>
                    <a:pt x="19822" y="77992"/>
                    <a:pt x="19604" y="79736"/>
                    <a:pt x="21347" y="83006"/>
                  </a:cubicBezTo>
                  <a:cubicBezTo>
                    <a:pt x="22437" y="85404"/>
                    <a:pt x="24398" y="86712"/>
                    <a:pt x="25488" y="86058"/>
                  </a:cubicBezTo>
                  <a:cubicBezTo>
                    <a:pt x="26359" y="85404"/>
                    <a:pt x="28756" y="85622"/>
                    <a:pt x="30717" y="86276"/>
                  </a:cubicBezTo>
                  <a:cubicBezTo>
                    <a:pt x="34858" y="87802"/>
                    <a:pt x="35293" y="95650"/>
                    <a:pt x="31589" y="96740"/>
                  </a:cubicBezTo>
                  <a:cubicBezTo>
                    <a:pt x="30064" y="97176"/>
                    <a:pt x="25488" y="98484"/>
                    <a:pt x="21347" y="99792"/>
                  </a:cubicBezTo>
                  <a:cubicBezTo>
                    <a:pt x="14592" y="101973"/>
                    <a:pt x="14156" y="101973"/>
                    <a:pt x="15246" y="97830"/>
                  </a:cubicBezTo>
                  <a:close/>
                  <a:moveTo>
                    <a:pt x="183253" y="47471"/>
                  </a:moveTo>
                  <a:cubicBezTo>
                    <a:pt x="183906" y="45945"/>
                    <a:pt x="184778" y="41802"/>
                    <a:pt x="185650" y="38096"/>
                  </a:cubicBezTo>
                  <a:cubicBezTo>
                    <a:pt x="186957" y="31992"/>
                    <a:pt x="186957" y="31774"/>
                    <a:pt x="183035" y="35262"/>
                  </a:cubicBezTo>
                  <a:cubicBezTo>
                    <a:pt x="180420" y="37660"/>
                    <a:pt x="177151" y="38532"/>
                    <a:pt x="174100" y="37660"/>
                  </a:cubicBezTo>
                  <a:cubicBezTo>
                    <a:pt x="168871" y="36352"/>
                    <a:pt x="165602" y="41148"/>
                    <a:pt x="167999" y="46817"/>
                  </a:cubicBezTo>
                  <a:cubicBezTo>
                    <a:pt x="169524" y="50741"/>
                    <a:pt x="182163" y="51177"/>
                    <a:pt x="183253" y="47471"/>
                  </a:cubicBezTo>
                  <a:close/>
                </a:path>
              </a:pathLst>
            </a:custGeom>
            <a:grpFill/>
            <a:ln w="218" cap="flat">
              <a:noFill/>
              <a:prstDash val="solid"/>
              <a:miter/>
            </a:ln>
          </p:spPr>
          <p:txBody>
            <a:bodyPr rtlCol="0" anchor="ctr"/>
            <a:lstStyle/>
            <a:p>
              <a:endParaRPr lang="en-GB" dirty="0"/>
            </a:p>
          </p:txBody>
        </p:sp>
        <p:sp>
          <p:nvSpPr>
            <p:cNvPr id="30" name="Freihandform: Form 29">
              <a:extLst>
                <a:ext uri="{FF2B5EF4-FFF2-40B4-BE49-F238E27FC236}">
                  <a16:creationId xmlns:a16="http://schemas.microsoft.com/office/drawing/2014/main" xmlns="" id="{43C3C765-596A-45AD-865B-8BFBF32BDB55}"/>
                </a:ext>
              </a:extLst>
            </p:cNvPr>
            <p:cNvSpPr/>
            <p:nvPr/>
          </p:nvSpPr>
          <p:spPr>
            <a:xfrm flipV="1">
              <a:off x="5248368" y="5201543"/>
              <a:ext cx="6757" cy="7812"/>
            </a:xfrm>
            <a:custGeom>
              <a:avLst/>
              <a:gdLst>
                <a:gd name="connsiteX0" fmla="*/ -4274 w 6757"/>
                <a:gd name="connsiteY0" fmla="*/ 2752 h 7812"/>
                <a:gd name="connsiteX1" fmla="*/ -134 w 6757"/>
                <a:gd name="connsiteY1" fmla="*/ 1008 h 7812"/>
                <a:gd name="connsiteX2" fmla="*/ -3620 w 6757"/>
                <a:gd name="connsiteY2" fmla="*/ 7330 h 7812"/>
                <a:gd name="connsiteX3" fmla="*/ -4274 w 6757"/>
                <a:gd name="connsiteY3" fmla="*/ 2752 h 7812"/>
              </a:gdLst>
              <a:ahLst/>
              <a:cxnLst>
                <a:cxn ang="0">
                  <a:pos x="connsiteX0" y="connsiteY0"/>
                </a:cxn>
                <a:cxn ang="0">
                  <a:pos x="connsiteX1" y="connsiteY1"/>
                </a:cxn>
                <a:cxn ang="0">
                  <a:pos x="connsiteX2" y="connsiteY2"/>
                </a:cxn>
                <a:cxn ang="0">
                  <a:pos x="connsiteX3" y="connsiteY3"/>
                </a:cxn>
              </a:cxnLst>
              <a:rect l="l" t="t" r="r" b="b"/>
              <a:pathLst>
                <a:path w="6757" h="7812">
                  <a:moveTo>
                    <a:pt x="-4274" y="2752"/>
                  </a:moveTo>
                  <a:cubicBezTo>
                    <a:pt x="-2313" y="-954"/>
                    <a:pt x="-1441" y="-1390"/>
                    <a:pt x="-134" y="1008"/>
                  </a:cubicBezTo>
                  <a:cubicBezTo>
                    <a:pt x="2263" y="4496"/>
                    <a:pt x="738" y="7330"/>
                    <a:pt x="-3620" y="7330"/>
                  </a:cubicBezTo>
                  <a:cubicBezTo>
                    <a:pt x="-6235" y="7330"/>
                    <a:pt x="-6453" y="6458"/>
                    <a:pt x="-4274" y="2752"/>
                  </a:cubicBezTo>
                  <a:close/>
                </a:path>
              </a:pathLst>
            </a:custGeom>
            <a:grpFill/>
            <a:ln w="218" cap="flat">
              <a:noFill/>
              <a:prstDash val="solid"/>
              <a:miter/>
            </a:ln>
          </p:spPr>
          <p:txBody>
            <a:bodyPr rtlCol="0" anchor="ctr"/>
            <a:lstStyle/>
            <a:p>
              <a:endParaRPr lang="en-GB" dirty="0"/>
            </a:p>
          </p:txBody>
        </p:sp>
        <p:sp>
          <p:nvSpPr>
            <p:cNvPr id="31" name="Freihandform: Form 30">
              <a:extLst>
                <a:ext uri="{FF2B5EF4-FFF2-40B4-BE49-F238E27FC236}">
                  <a16:creationId xmlns:a16="http://schemas.microsoft.com/office/drawing/2014/main" xmlns="" id="{AF853678-016C-4193-A3D5-83457C7C6517}"/>
                </a:ext>
              </a:extLst>
            </p:cNvPr>
            <p:cNvSpPr/>
            <p:nvPr/>
          </p:nvSpPr>
          <p:spPr>
            <a:xfrm flipV="1">
              <a:off x="4429079" y="5205059"/>
              <a:ext cx="12120" cy="13925"/>
            </a:xfrm>
            <a:custGeom>
              <a:avLst/>
              <a:gdLst>
                <a:gd name="connsiteX0" fmla="*/ -2034 w 12120"/>
                <a:gd name="connsiteY0" fmla="*/ 12849 h 13925"/>
                <a:gd name="connsiteX1" fmla="*/ 1017 w 12120"/>
                <a:gd name="connsiteY1" fmla="*/ -449 h 13925"/>
                <a:gd name="connsiteX2" fmla="*/ 9733 w 12120"/>
                <a:gd name="connsiteY2" fmla="*/ 11105 h 13925"/>
                <a:gd name="connsiteX3" fmla="*/ -2034 w 12120"/>
                <a:gd name="connsiteY3" fmla="*/ 12849 h 13925"/>
              </a:gdLst>
              <a:ahLst/>
              <a:cxnLst>
                <a:cxn ang="0">
                  <a:pos x="connsiteX0" y="connsiteY0"/>
                </a:cxn>
                <a:cxn ang="0">
                  <a:pos x="connsiteX1" y="connsiteY1"/>
                </a:cxn>
                <a:cxn ang="0">
                  <a:pos x="connsiteX2" y="connsiteY2"/>
                </a:cxn>
                <a:cxn ang="0">
                  <a:pos x="connsiteX3" y="connsiteY3"/>
                </a:cxn>
              </a:cxnLst>
              <a:rect l="l" t="t" r="r" b="b"/>
              <a:pathLst>
                <a:path w="12120" h="13925">
                  <a:moveTo>
                    <a:pt x="-2034" y="12849"/>
                  </a:moveTo>
                  <a:cubicBezTo>
                    <a:pt x="-3341" y="10669"/>
                    <a:pt x="-726" y="-449"/>
                    <a:pt x="1017" y="-449"/>
                  </a:cubicBezTo>
                  <a:cubicBezTo>
                    <a:pt x="2542" y="-449"/>
                    <a:pt x="9733" y="9143"/>
                    <a:pt x="9733" y="11105"/>
                  </a:cubicBezTo>
                  <a:cubicBezTo>
                    <a:pt x="9733" y="12849"/>
                    <a:pt x="-1162" y="14375"/>
                    <a:pt x="-2034" y="12849"/>
                  </a:cubicBezTo>
                  <a:close/>
                </a:path>
              </a:pathLst>
            </a:custGeom>
            <a:grpFill/>
            <a:ln w="218" cap="flat">
              <a:noFill/>
              <a:prstDash val="solid"/>
              <a:miter/>
            </a:ln>
          </p:spPr>
          <p:txBody>
            <a:bodyPr rtlCol="0" anchor="ctr"/>
            <a:lstStyle/>
            <a:p>
              <a:endParaRPr lang="en-GB" dirty="0"/>
            </a:p>
          </p:txBody>
        </p:sp>
        <p:sp>
          <p:nvSpPr>
            <p:cNvPr id="32" name="Freihandform: Form 31">
              <a:extLst>
                <a:ext uri="{FF2B5EF4-FFF2-40B4-BE49-F238E27FC236}">
                  <a16:creationId xmlns:a16="http://schemas.microsoft.com/office/drawing/2014/main" xmlns="" id="{972AB709-0427-4FB9-BB10-53015677DFED}"/>
                </a:ext>
              </a:extLst>
            </p:cNvPr>
            <p:cNvSpPr/>
            <p:nvPr/>
          </p:nvSpPr>
          <p:spPr>
            <a:xfrm flipV="1">
              <a:off x="4498403" y="5204887"/>
              <a:ext cx="13340" cy="19173"/>
            </a:xfrm>
            <a:custGeom>
              <a:avLst/>
              <a:gdLst>
                <a:gd name="connsiteX0" fmla="*/ 263 w 13340"/>
                <a:gd name="connsiteY0" fmla="*/ 17067 h 19173"/>
                <a:gd name="connsiteX1" fmla="*/ -2134 w 13340"/>
                <a:gd name="connsiteY1" fmla="*/ 6602 h 19173"/>
                <a:gd name="connsiteX2" fmla="*/ 4403 w 13340"/>
                <a:gd name="connsiteY2" fmla="*/ -156 h 19173"/>
                <a:gd name="connsiteX3" fmla="*/ 7672 w 13340"/>
                <a:gd name="connsiteY3" fmla="*/ 16631 h 19173"/>
                <a:gd name="connsiteX4" fmla="*/ 263 w 13340"/>
                <a:gd name="connsiteY4" fmla="*/ 17067 h 19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40" h="19173">
                  <a:moveTo>
                    <a:pt x="263" y="17067"/>
                  </a:moveTo>
                  <a:cubicBezTo>
                    <a:pt x="-2788" y="14887"/>
                    <a:pt x="-3224" y="12488"/>
                    <a:pt x="-2134" y="6602"/>
                  </a:cubicBezTo>
                  <a:cubicBezTo>
                    <a:pt x="-827" y="-156"/>
                    <a:pt x="45" y="-1028"/>
                    <a:pt x="4403" y="-156"/>
                  </a:cubicBezTo>
                  <a:cubicBezTo>
                    <a:pt x="10940" y="934"/>
                    <a:pt x="12901" y="11834"/>
                    <a:pt x="7672" y="16631"/>
                  </a:cubicBezTo>
                  <a:cubicBezTo>
                    <a:pt x="4621" y="19247"/>
                    <a:pt x="3531" y="19465"/>
                    <a:pt x="263" y="17067"/>
                  </a:cubicBezTo>
                  <a:close/>
                </a:path>
              </a:pathLst>
            </a:custGeom>
            <a:grpFill/>
            <a:ln w="218" cap="flat">
              <a:noFill/>
              <a:prstDash val="solid"/>
              <a:miter/>
            </a:ln>
          </p:spPr>
          <p:txBody>
            <a:bodyPr rtlCol="0" anchor="ctr"/>
            <a:lstStyle/>
            <a:p>
              <a:endParaRPr lang="en-GB" dirty="0"/>
            </a:p>
          </p:txBody>
        </p:sp>
        <p:sp>
          <p:nvSpPr>
            <p:cNvPr id="33" name="Freihandform: Form 32">
              <a:extLst>
                <a:ext uri="{FF2B5EF4-FFF2-40B4-BE49-F238E27FC236}">
                  <a16:creationId xmlns:a16="http://schemas.microsoft.com/office/drawing/2014/main" xmlns="" id="{3332F21F-F3B0-4F8E-8295-4F9C36733D83}"/>
                </a:ext>
              </a:extLst>
            </p:cNvPr>
            <p:cNvSpPr/>
            <p:nvPr/>
          </p:nvSpPr>
          <p:spPr>
            <a:xfrm flipV="1">
              <a:off x="4606343" y="5205024"/>
              <a:ext cx="224626" cy="332251"/>
            </a:xfrm>
            <a:custGeom>
              <a:avLst/>
              <a:gdLst>
                <a:gd name="connsiteX0" fmla="*/ 82327 w 224626"/>
                <a:gd name="connsiteY0" fmla="*/ 329327 h 332251"/>
                <a:gd name="connsiteX1" fmla="*/ 84724 w 224626"/>
                <a:gd name="connsiteY1" fmla="*/ 311887 h 332251"/>
                <a:gd name="connsiteX2" fmla="*/ 89518 w 224626"/>
                <a:gd name="connsiteY2" fmla="*/ 305128 h 332251"/>
                <a:gd name="connsiteX3" fmla="*/ 83199 w 224626"/>
                <a:gd name="connsiteY3" fmla="*/ 299896 h 332251"/>
                <a:gd name="connsiteX4" fmla="*/ 74047 w 224626"/>
                <a:gd name="connsiteY4" fmla="*/ 297062 h 332251"/>
                <a:gd name="connsiteX5" fmla="*/ 68381 w 224626"/>
                <a:gd name="connsiteY5" fmla="*/ 298370 h 332251"/>
                <a:gd name="connsiteX6" fmla="*/ 72739 w 224626"/>
                <a:gd name="connsiteY6" fmla="*/ 291176 h 332251"/>
                <a:gd name="connsiteX7" fmla="*/ 74918 w 224626"/>
                <a:gd name="connsiteY7" fmla="*/ 277441 h 332251"/>
                <a:gd name="connsiteX8" fmla="*/ 58357 w 224626"/>
                <a:gd name="connsiteY8" fmla="*/ 301858 h 332251"/>
                <a:gd name="connsiteX9" fmla="*/ 49859 w 224626"/>
                <a:gd name="connsiteY9" fmla="*/ 309052 h 332251"/>
                <a:gd name="connsiteX10" fmla="*/ 47026 w 224626"/>
                <a:gd name="connsiteY10" fmla="*/ 315811 h 332251"/>
                <a:gd name="connsiteX11" fmla="*/ 50077 w 224626"/>
                <a:gd name="connsiteY11" fmla="*/ 317991 h 332251"/>
                <a:gd name="connsiteX12" fmla="*/ 54653 w 224626"/>
                <a:gd name="connsiteY12" fmla="*/ 316465 h 332251"/>
                <a:gd name="connsiteX13" fmla="*/ 42450 w 224626"/>
                <a:gd name="connsiteY13" fmla="*/ 327365 h 332251"/>
                <a:gd name="connsiteX14" fmla="*/ 36785 w 224626"/>
                <a:gd name="connsiteY14" fmla="*/ 323005 h 332251"/>
                <a:gd name="connsiteX15" fmla="*/ 25018 w 224626"/>
                <a:gd name="connsiteY15" fmla="*/ 319953 h 332251"/>
                <a:gd name="connsiteX16" fmla="*/ 14340 w 224626"/>
                <a:gd name="connsiteY16" fmla="*/ 317773 h 332251"/>
                <a:gd name="connsiteX17" fmla="*/ 18045 w 224626"/>
                <a:gd name="connsiteY17" fmla="*/ 314285 h 332251"/>
                <a:gd name="connsiteX18" fmla="*/ 26761 w 224626"/>
                <a:gd name="connsiteY18" fmla="*/ 308398 h 332251"/>
                <a:gd name="connsiteX19" fmla="*/ 31773 w 224626"/>
                <a:gd name="connsiteY19" fmla="*/ 302294 h 332251"/>
                <a:gd name="connsiteX20" fmla="*/ 35259 w 224626"/>
                <a:gd name="connsiteY20" fmla="*/ 307308 h 332251"/>
                <a:gd name="connsiteX21" fmla="*/ 45937 w 224626"/>
                <a:gd name="connsiteY21" fmla="*/ 308616 h 332251"/>
                <a:gd name="connsiteX22" fmla="*/ 48116 w 224626"/>
                <a:gd name="connsiteY22" fmla="*/ 300768 h 332251"/>
                <a:gd name="connsiteX23" fmla="*/ 49205 w 224626"/>
                <a:gd name="connsiteY23" fmla="*/ 293574 h 332251"/>
                <a:gd name="connsiteX24" fmla="*/ 45937 w 224626"/>
                <a:gd name="connsiteY24" fmla="*/ 283764 h 332251"/>
                <a:gd name="connsiteX25" fmla="*/ 44629 w 224626"/>
                <a:gd name="connsiteY25" fmla="*/ 276351 h 332251"/>
                <a:gd name="connsiteX26" fmla="*/ 44193 w 224626"/>
                <a:gd name="connsiteY26" fmla="*/ 253897 h 332251"/>
                <a:gd name="connsiteX27" fmla="*/ 43976 w 224626"/>
                <a:gd name="connsiteY27" fmla="*/ 248010 h 332251"/>
                <a:gd name="connsiteX28" fmla="*/ 54217 w 224626"/>
                <a:gd name="connsiteY28" fmla="*/ 243650 h 332251"/>
                <a:gd name="connsiteX29" fmla="*/ 57268 w 224626"/>
                <a:gd name="connsiteY29" fmla="*/ 255423 h 332251"/>
                <a:gd name="connsiteX30" fmla="*/ 57704 w 224626"/>
                <a:gd name="connsiteY30" fmla="*/ 274607 h 332251"/>
                <a:gd name="connsiteX31" fmla="*/ 64895 w 224626"/>
                <a:gd name="connsiteY31" fmla="*/ 275479 h 332251"/>
                <a:gd name="connsiteX32" fmla="*/ 71432 w 224626"/>
                <a:gd name="connsiteY32" fmla="*/ 265669 h 332251"/>
                <a:gd name="connsiteX33" fmla="*/ 70778 w 224626"/>
                <a:gd name="connsiteY33" fmla="*/ 259129 h 332251"/>
                <a:gd name="connsiteX34" fmla="*/ 67727 w 224626"/>
                <a:gd name="connsiteY34" fmla="*/ 245612 h 332251"/>
                <a:gd name="connsiteX35" fmla="*/ 65984 w 224626"/>
                <a:gd name="connsiteY35" fmla="*/ 232096 h 332251"/>
                <a:gd name="connsiteX36" fmla="*/ 73611 w 224626"/>
                <a:gd name="connsiteY36" fmla="*/ 219451 h 332251"/>
                <a:gd name="connsiteX37" fmla="*/ 77751 w 224626"/>
                <a:gd name="connsiteY37" fmla="*/ 210295 h 332251"/>
                <a:gd name="connsiteX38" fmla="*/ 78623 w 224626"/>
                <a:gd name="connsiteY38" fmla="*/ 196561 h 332251"/>
                <a:gd name="connsiteX39" fmla="*/ 81891 w 224626"/>
                <a:gd name="connsiteY39" fmla="*/ 187622 h 332251"/>
                <a:gd name="connsiteX40" fmla="*/ 74265 w 224626"/>
                <a:gd name="connsiteY40" fmla="*/ 184788 h 332251"/>
                <a:gd name="connsiteX41" fmla="*/ 75354 w 224626"/>
                <a:gd name="connsiteY41" fmla="*/ 174106 h 332251"/>
                <a:gd name="connsiteX42" fmla="*/ 78841 w 224626"/>
                <a:gd name="connsiteY42" fmla="*/ 159499 h 332251"/>
                <a:gd name="connsiteX43" fmla="*/ 71214 w 224626"/>
                <a:gd name="connsiteY43" fmla="*/ 165385 h 332251"/>
                <a:gd name="connsiteX44" fmla="*/ 66202 w 224626"/>
                <a:gd name="connsiteY44" fmla="*/ 164513 h 332251"/>
                <a:gd name="connsiteX45" fmla="*/ 67292 w 224626"/>
                <a:gd name="connsiteY45" fmla="*/ 153613 h 332251"/>
                <a:gd name="connsiteX46" fmla="*/ 72957 w 224626"/>
                <a:gd name="connsiteY46" fmla="*/ 142713 h 332251"/>
                <a:gd name="connsiteX47" fmla="*/ 75136 w 224626"/>
                <a:gd name="connsiteY47" fmla="*/ 128760 h 332251"/>
                <a:gd name="connsiteX48" fmla="*/ 67727 w 224626"/>
                <a:gd name="connsiteY48" fmla="*/ 128760 h 332251"/>
                <a:gd name="connsiteX49" fmla="*/ 65984 w 224626"/>
                <a:gd name="connsiteY49" fmla="*/ 137044 h 332251"/>
                <a:gd name="connsiteX50" fmla="*/ 60319 w 224626"/>
                <a:gd name="connsiteY50" fmla="*/ 143803 h 332251"/>
                <a:gd name="connsiteX51" fmla="*/ 47462 w 224626"/>
                <a:gd name="connsiteY51" fmla="*/ 145983 h 332251"/>
                <a:gd name="connsiteX52" fmla="*/ 47898 w 224626"/>
                <a:gd name="connsiteY52" fmla="*/ 132248 h 332251"/>
                <a:gd name="connsiteX53" fmla="*/ 54217 w 224626"/>
                <a:gd name="connsiteY53" fmla="*/ 130940 h 332251"/>
                <a:gd name="connsiteX54" fmla="*/ 62280 w 224626"/>
                <a:gd name="connsiteY54" fmla="*/ 128324 h 332251"/>
                <a:gd name="connsiteX55" fmla="*/ 48116 w 224626"/>
                <a:gd name="connsiteY55" fmla="*/ 121130 h 332251"/>
                <a:gd name="connsiteX56" fmla="*/ 38964 w 224626"/>
                <a:gd name="connsiteY56" fmla="*/ 126798 h 332251"/>
                <a:gd name="connsiteX57" fmla="*/ 28068 w 224626"/>
                <a:gd name="connsiteY57" fmla="*/ 134428 h 332251"/>
                <a:gd name="connsiteX58" fmla="*/ 20442 w 224626"/>
                <a:gd name="connsiteY58" fmla="*/ 140315 h 332251"/>
                <a:gd name="connsiteX59" fmla="*/ 13904 w 224626"/>
                <a:gd name="connsiteY59" fmla="*/ 144675 h 332251"/>
                <a:gd name="connsiteX60" fmla="*/ 14122 w 224626"/>
                <a:gd name="connsiteY60" fmla="*/ 139007 h 332251"/>
                <a:gd name="connsiteX61" fmla="*/ 13033 w 224626"/>
                <a:gd name="connsiteY61" fmla="*/ 133774 h 332251"/>
                <a:gd name="connsiteX62" fmla="*/ 21095 w 224626"/>
                <a:gd name="connsiteY62" fmla="*/ 122438 h 332251"/>
                <a:gd name="connsiteX63" fmla="*/ 29812 w 224626"/>
                <a:gd name="connsiteY63" fmla="*/ 115898 h 332251"/>
                <a:gd name="connsiteX64" fmla="*/ 40925 w 224626"/>
                <a:gd name="connsiteY64" fmla="*/ 113064 h 332251"/>
                <a:gd name="connsiteX65" fmla="*/ 47244 w 224626"/>
                <a:gd name="connsiteY65" fmla="*/ 114372 h 332251"/>
                <a:gd name="connsiteX66" fmla="*/ 40707 w 224626"/>
                <a:gd name="connsiteY66" fmla="*/ 99547 h 332251"/>
                <a:gd name="connsiteX67" fmla="*/ 48116 w 224626"/>
                <a:gd name="connsiteY67" fmla="*/ 95187 h 332251"/>
                <a:gd name="connsiteX68" fmla="*/ 59665 w 224626"/>
                <a:gd name="connsiteY68" fmla="*/ 88211 h 332251"/>
                <a:gd name="connsiteX69" fmla="*/ 48987 w 224626"/>
                <a:gd name="connsiteY69" fmla="*/ 82325 h 332251"/>
                <a:gd name="connsiteX70" fmla="*/ 44847 w 224626"/>
                <a:gd name="connsiteY70" fmla="*/ 80799 h 332251"/>
                <a:gd name="connsiteX71" fmla="*/ 39617 w 224626"/>
                <a:gd name="connsiteY71" fmla="*/ 80799 h 332251"/>
                <a:gd name="connsiteX72" fmla="*/ 36131 w 224626"/>
                <a:gd name="connsiteY72" fmla="*/ 86685 h 332251"/>
                <a:gd name="connsiteX73" fmla="*/ 30683 w 224626"/>
                <a:gd name="connsiteY73" fmla="*/ 87557 h 332251"/>
                <a:gd name="connsiteX74" fmla="*/ 22185 w 224626"/>
                <a:gd name="connsiteY74" fmla="*/ 85377 h 332251"/>
                <a:gd name="connsiteX75" fmla="*/ 11072 w 224626"/>
                <a:gd name="connsiteY75" fmla="*/ 79709 h 332251"/>
                <a:gd name="connsiteX76" fmla="*/ 3663 w 224626"/>
                <a:gd name="connsiteY76" fmla="*/ 77528 h 332251"/>
                <a:gd name="connsiteX77" fmla="*/ -2657 w 224626"/>
                <a:gd name="connsiteY77" fmla="*/ 75784 h 332251"/>
                <a:gd name="connsiteX78" fmla="*/ 7585 w 224626"/>
                <a:gd name="connsiteY78" fmla="*/ 61396 h 332251"/>
                <a:gd name="connsiteX79" fmla="*/ 18262 w 224626"/>
                <a:gd name="connsiteY79" fmla="*/ 54856 h 332251"/>
                <a:gd name="connsiteX80" fmla="*/ 29376 w 224626"/>
                <a:gd name="connsiteY80" fmla="*/ 50278 h 332251"/>
                <a:gd name="connsiteX81" fmla="*/ 16083 w 224626"/>
                <a:gd name="connsiteY81" fmla="*/ 65756 h 332251"/>
                <a:gd name="connsiteX82" fmla="*/ 8239 w 224626"/>
                <a:gd name="connsiteY82" fmla="*/ 69898 h 332251"/>
                <a:gd name="connsiteX83" fmla="*/ 9764 w 224626"/>
                <a:gd name="connsiteY83" fmla="*/ 71424 h 332251"/>
                <a:gd name="connsiteX84" fmla="*/ 14994 w 224626"/>
                <a:gd name="connsiteY84" fmla="*/ 71860 h 332251"/>
                <a:gd name="connsiteX85" fmla="*/ 47026 w 224626"/>
                <a:gd name="connsiteY85" fmla="*/ 70116 h 332251"/>
                <a:gd name="connsiteX86" fmla="*/ 40271 w 224626"/>
                <a:gd name="connsiteY86" fmla="*/ 53548 h 332251"/>
                <a:gd name="connsiteX87" fmla="*/ 33952 w 224626"/>
                <a:gd name="connsiteY87" fmla="*/ 44609 h 332251"/>
                <a:gd name="connsiteX88" fmla="*/ 39617 w 224626"/>
                <a:gd name="connsiteY88" fmla="*/ 43737 h 332251"/>
                <a:gd name="connsiteX89" fmla="*/ 53563 w 224626"/>
                <a:gd name="connsiteY89" fmla="*/ 46353 h 332251"/>
                <a:gd name="connsiteX90" fmla="*/ 70560 w 224626"/>
                <a:gd name="connsiteY90" fmla="*/ 51368 h 332251"/>
                <a:gd name="connsiteX91" fmla="*/ 78405 w 224626"/>
                <a:gd name="connsiteY91" fmla="*/ 52458 h 332251"/>
                <a:gd name="connsiteX92" fmla="*/ 80366 w 224626"/>
                <a:gd name="connsiteY92" fmla="*/ 42211 h 332251"/>
                <a:gd name="connsiteX93" fmla="*/ 74047 w 224626"/>
                <a:gd name="connsiteY93" fmla="*/ 35889 h 332251"/>
                <a:gd name="connsiteX94" fmla="*/ 75790 w 224626"/>
                <a:gd name="connsiteY94" fmla="*/ 26515 h 332251"/>
                <a:gd name="connsiteX95" fmla="*/ 96927 w 224626"/>
                <a:gd name="connsiteY95" fmla="*/ 21719 h 332251"/>
                <a:gd name="connsiteX96" fmla="*/ 113924 w 224626"/>
                <a:gd name="connsiteY96" fmla="*/ 24771 h 332251"/>
                <a:gd name="connsiteX97" fmla="*/ 120243 w 224626"/>
                <a:gd name="connsiteY97" fmla="*/ 23245 h 332251"/>
                <a:gd name="connsiteX98" fmla="*/ 117846 w 224626"/>
                <a:gd name="connsiteY98" fmla="*/ 9510 h 332251"/>
                <a:gd name="connsiteX99" fmla="*/ 119371 w 224626"/>
                <a:gd name="connsiteY99" fmla="*/ 354 h 332251"/>
                <a:gd name="connsiteX100" fmla="*/ 124819 w 224626"/>
                <a:gd name="connsiteY100" fmla="*/ 4714 h 332251"/>
                <a:gd name="connsiteX101" fmla="*/ 131138 w 224626"/>
                <a:gd name="connsiteY101" fmla="*/ 10382 h 332251"/>
                <a:gd name="connsiteX102" fmla="*/ 136368 w 224626"/>
                <a:gd name="connsiteY102" fmla="*/ 15614 h 332251"/>
                <a:gd name="connsiteX103" fmla="*/ 105425 w 224626"/>
                <a:gd name="connsiteY103" fmla="*/ 45481 h 332251"/>
                <a:gd name="connsiteX104" fmla="*/ 98888 w 224626"/>
                <a:gd name="connsiteY104" fmla="*/ 57036 h 332251"/>
                <a:gd name="connsiteX105" fmla="*/ 101503 w 224626"/>
                <a:gd name="connsiteY105" fmla="*/ 64666 h 332251"/>
                <a:gd name="connsiteX106" fmla="*/ 106951 w 224626"/>
                <a:gd name="connsiteY106" fmla="*/ 70552 h 332251"/>
                <a:gd name="connsiteX107" fmla="*/ 108912 w 224626"/>
                <a:gd name="connsiteY107" fmla="*/ 85595 h 332251"/>
                <a:gd name="connsiteX108" fmla="*/ 108040 w 224626"/>
                <a:gd name="connsiteY108" fmla="*/ 94097 h 332251"/>
                <a:gd name="connsiteX109" fmla="*/ 104554 w 224626"/>
                <a:gd name="connsiteY109" fmla="*/ 98457 h 332251"/>
                <a:gd name="connsiteX110" fmla="*/ 99324 w 224626"/>
                <a:gd name="connsiteY110" fmla="*/ 98239 h 332251"/>
                <a:gd name="connsiteX111" fmla="*/ 98670 w 224626"/>
                <a:gd name="connsiteY111" fmla="*/ 105215 h 332251"/>
                <a:gd name="connsiteX112" fmla="*/ 91479 w 224626"/>
                <a:gd name="connsiteY112" fmla="*/ 115898 h 332251"/>
                <a:gd name="connsiteX113" fmla="*/ 89954 w 224626"/>
                <a:gd name="connsiteY113" fmla="*/ 105869 h 332251"/>
                <a:gd name="connsiteX114" fmla="*/ 85160 w 224626"/>
                <a:gd name="connsiteY114" fmla="*/ 96713 h 332251"/>
                <a:gd name="connsiteX115" fmla="*/ 77097 w 224626"/>
                <a:gd name="connsiteY115" fmla="*/ 84505 h 332251"/>
                <a:gd name="connsiteX116" fmla="*/ 85160 w 224626"/>
                <a:gd name="connsiteY116" fmla="*/ 78836 h 332251"/>
                <a:gd name="connsiteX117" fmla="*/ 88429 w 224626"/>
                <a:gd name="connsiteY117" fmla="*/ 85377 h 332251"/>
                <a:gd name="connsiteX118" fmla="*/ 95184 w 224626"/>
                <a:gd name="connsiteY118" fmla="*/ 90391 h 332251"/>
                <a:gd name="connsiteX119" fmla="*/ 98017 w 224626"/>
                <a:gd name="connsiteY119" fmla="*/ 84505 h 332251"/>
                <a:gd name="connsiteX120" fmla="*/ 99106 w 224626"/>
                <a:gd name="connsiteY120" fmla="*/ 73822 h 332251"/>
                <a:gd name="connsiteX121" fmla="*/ 96055 w 224626"/>
                <a:gd name="connsiteY121" fmla="*/ 66628 h 332251"/>
                <a:gd name="connsiteX122" fmla="*/ 89736 w 224626"/>
                <a:gd name="connsiteY122" fmla="*/ 62486 h 332251"/>
                <a:gd name="connsiteX123" fmla="*/ 78405 w 224626"/>
                <a:gd name="connsiteY123" fmla="*/ 60088 h 332251"/>
                <a:gd name="connsiteX124" fmla="*/ 65113 w 224626"/>
                <a:gd name="connsiteY124" fmla="*/ 55510 h 332251"/>
                <a:gd name="connsiteX125" fmla="*/ 57922 w 224626"/>
                <a:gd name="connsiteY125" fmla="*/ 62486 h 332251"/>
                <a:gd name="connsiteX126" fmla="*/ 59665 w 224626"/>
                <a:gd name="connsiteY126" fmla="*/ 74476 h 332251"/>
                <a:gd name="connsiteX127" fmla="*/ 71868 w 224626"/>
                <a:gd name="connsiteY127" fmla="*/ 71206 h 332251"/>
                <a:gd name="connsiteX128" fmla="*/ 81456 w 224626"/>
                <a:gd name="connsiteY128" fmla="*/ 71206 h 332251"/>
                <a:gd name="connsiteX129" fmla="*/ 74265 w 224626"/>
                <a:gd name="connsiteY129" fmla="*/ 78836 h 332251"/>
                <a:gd name="connsiteX130" fmla="*/ 70778 w 224626"/>
                <a:gd name="connsiteY130" fmla="*/ 83197 h 332251"/>
                <a:gd name="connsiteX131" fmla="*/ 68817 w 224626"/>
                <a:gd name="connsiteY131" fmla="*/ 92789 h 332251"/>
                <a:gd name="connsiteX132" fmla="*/ 64023 w 224626"/>
                <a:gd name="connsiteY132" fmla="*/ 103253 h 332251"/>
                <a:gd name="connsiteX133" fmla="*/ 58357 w 224626"/>
                <a:gd name="connsiteY133" fmla="*/ 109794 h 332251"/>
                <a:gd name="connsiteX134" fmla="*/ 59883 w 224626"/>
                <a:gd name="connsiteY134" fmla="*/ 115898 h 332251"/>
                <a:gd name="connsiteX135" fmla="*/ 69253 w 224626"/>
                <a:gd name="connsiteY135" fmla="*/ 106959 h 332251"/>
                <a:gd name="connsiteX136" fmla="*/ 84506 w 224626"/>
                <a:gd name="connsiteY136" fmla="*/ 114372 h 332251"/>
                <a:gd name="connsiteX137" fmla="*/ 84070 w 224626"/>
                <a:gd name="connsiteY137" fmla="*/ 122438 h 332251"/>
                <a:gd name="connsiteX138" fmla="*/ 79712 w 224626"/>
                <a:gd name="connsiteY138" fmla="*/ 119822 h 332251"/>
                <a:gd name="connsiteX139" fmla="*/ 78405 w 224626"/>
                <a:gd name="connsiteY139" fmla="*/ 118732 h 332251"/>
                <a:gd name="connsiteX140" fmla="*/ 83417 w 224626"/>
                <a:gd name="connsiteY140" fmla="*/ 127888 h 332251"/>
                <a:gd name="connsiteX141" fmla="*/ 97581 w 224626"/>
                <a:gd name="connsiteY141" fmla="*/ 127452 h 332251"/>
                <a:gd name="connsiteX142" fmla="*/ 103464 w 224626"/>
                <a:gd name="connsiteY142" fmla="*/ 120258 h 332251"/>
                <a:gd name="connsiteX143" fmla="*/ 110219 w 224626"/>
                <a:gd name="connsiteY143" fmla="*/ 115026 h 332251"/>
                <a:gd name="connsiteX144" fmla="*/ 113706 w 224626"/>
                <a:gd name="connsiteY144" fmla="*/ 106959 h 332251"/>
                <a:gd name="connsiteX145" fmla="*/ 120243 w 224626"/>
                <a:gd name="connsiteY145" fmla="*/ 108267 h 332251"/>
                <a:gd name="connsiteX146" fmla="*/ 120025 w 224626"/>
                <a:gd name="connsiteY146" fmla="*/ 121566 h 332251"/>
                <a:gd name="connsiteX147" fmla="*/ 108040 w 224626"/>
                <a:gd name="connsiteY147" fmla="*/ 142277 h 332251"/>
                <a:gd name="connsiteX148" fmla="*/ 113052 w 224626"/>
                <a:gd name="connsiteY148" fmla="*/ 146201 h 332251"/>
                <a:gd name="connsiteX149" fmla="*/ 123294 w 224626"/>
                <a:gd name="connsiteY149" fmla="*/ 153177 h 332251"/>
                <a:gd name="connsiteX150" fmla="*/ 117846 w 224626"/>
                <a:gd name="connsiteY150" fmla="*/ 156011 h 332251"/>
                <a:gd name="connsiteX151" fmla="*/ 115885 w 224626"/>
                <a:gd name="connsiteY151" fmla="*/ 167566 h 332251"/>
                <a:gd name="connsiteX152" fmla="*/ 123512 w 224626"/>
                <a:gd name="connsiteY152" fmla="*/ 172580 h 332251"/>
                <a:gd name="connsiteX153" fmla="*/ 134189 w 224626"/>
                <a:gd name="connsiteY153" fmla="*/ 151651 h 332251"/>
                <a:gd name="connsiteX154" fmla="*/ 127652 w 224626"/>
                <a:gd name="connsiteY154" fmla="*/ 142495 h 332251"/>
                <a:gd name="connsiteX155" fmla="*/ 121115 w 224626"/>
                <a:gd name="connsiteY155" fmla="*/ 133774 h 332251"/>
                <a:gd name="connsiteX156" fmla="*/ 131574 w 224626"/>
                <a:gd name="connsiteY156" fmla="*/ 132248 h 332251"/>
                <a:gd name="connsiteX157" fmla="*/ 141816 w 224626"/>
                <a:gd name="connsiteY157" fmla="*/ 132248 h 332251"/>
                <a:gd name="connsiteX158" fmla="*/ 142905 w 224626"/>
                <a:gd name="connsiteY158" fmla="*/ 143149 h 332251"/>
                <a:gd name="connsiteX159" fmla="*/ 146392 w 224626"/>
                <a:gd name="connsiteY159" fmla="*/ 149907 h 332251"/>
                <a:gd name="connsiteX160" fmla="*/ 152711 w 224626"/>
                <a:gd name="connsiteY160" fmla="*/ 147291 h 332251"/>
                <a:gd name="connsiteX161" fmla="*/ 152929 w 224626"/>
                <a:gd name="connsiteY161" fmla="*/ 159717 h 332251"/>
                <a:gd name="connsiteX162" fmla="*/ 160556 w 224626"/>
                <a:gd name="connsiteY162" fmla="*/ 163423 h 332251"/>
                <a:gd name="connsiteX163" fmla="*/ 164043 w 224626"/>
                <a:gd name="connsiteY163" fmla="*/ 162551 h 332251"/>
                <a:gd name="connsiteX164" fmla="*/ 163171 w 224626"/>
                <a:gd name="connsiteY164" fmla="*/ 165385 h 332251"/>
                <a:gd name="connsiteX165" fmla="*/ 172105 w 224626"/>
                <a:gd name="connsiteY165" fmla="*/ 195471 h 332251"/>
                <a:gd name="connsiteX166" fmla="*/ 182565 w 224626"/>
                <a:gd name="connsiteY166" fmla="*/ 198959 h 332251"/>
                <a:gd name="connsiteX167" fmla="*/ 189102 w 224626"/>
                <a:gd name="connsiteY167" fmla="*/ 199613 h 332251"/>
                <a:gd name="connsiteX168" fmla="*/ 194332 w 224626"/>
                <a:gd name="connsiteY168" fmla="*/ 195034 h 332251"/>
                <a:gd name="connsiteX169" fmla="*/ 190627 w 224626"/>
                <a:gd name="connsiteY169" fmla="*/ 186750 h 332251"/>
                <a:gd name="connsiteX170" fmla="*/ 183436 w 224626"/>
                <a:gd name="connsiteY170" fmla="*/ 183698 h 332251"/>
                <a:gd name="connsiteX171" fmla="*/ 174720 w 224626"/>
                <a:gd name="connsiteY171" fmla="*/ 182172 h 332251"/>
                <a:gd name="connsiteX172" fmla="*/ 167965 w 224626"/>
                <a:gd name="connsiteY172" fmla="*/ 181082 h 332251"/>
                <a:gd name="connsiteX173" fmla="*/ 171233 w 224626"/>
                <a:gd name="connsiteY173" fmla="*/ 177594 h 332251"/>
                <a:gd name="connsiteX174" fmla="*/ 174938 w 224626"/>
                <a:gd name="connsiteY174" fmla="*/ 172362 h 332251"/>
                <a:gd name="connsiteX175" fmla="*/ 177771 w 224626"/>
                <a:gd name="connsiteY175" fmla="*/ 168220 h 332251"/>
                <a:gd name="connsiteX176" fmla="*/ 183218 w 224626"/>
                <a:gd name="connsiteY176" fmla="*/ 170400 h 332251"/>
                <a:gd name="connsiteX177" fmla="*/ 195639 w 224626"/>
                <a:gd name="connsiteY177" fmla="*/ 167784 h 332251"/>
                <a:gd name="connsiteX178" fmla="*/ 202394 w 224626"/>
                <a:gd name="connsiteY178" fmla="*/ 165603 h 332251"/>
                <a:gd name="connsiteX179" fmla="*/ 203266 w 224626"/>
                <a:gd name="connsiteY179" fmla="*/ 172798 h 332251"/>
                <a:gd name="connsiteX180" fmla="*/ 213507 w 224626"/>
                <a:gd name="connsiteY180" fmla="*/ 183916 h 332251"/>
                <a:gd name="connsiteX181" fmla="*/ 211764 w 224626"/>
                <a:gd name="connsiteY181" fmla="*/ 199831 h 332251"/>
                <a:gd name="connsiteX182" fmla="*/ 195639 w 224626"/>
                <a:gd name="connsiteY182" fmla="*/ 208333 h 332251"/>
                <a:gd name="connsiteX183" fmla="*/ 182783 w 224626"/>
                <a:gd name="connsiteY183" fmla="*/ 207025 h 332251"/>
                <a:gd name="connsiteX184" fmla="*/ 162517 w 224626"/>
                <a:gd name="connsiteY184" fmla="*/ 220977 h 332251"/>
                <a:gd name="connsiteX185" fmla="*/ 171451 w 224626"/>
                <a:gd name="connsiteY185" fmla="*/ 231660 h 332251"/>
                <a:gd name="connsiteX186" fmla="*/ 178860 w 224626"/>
                <a:gd name="connsiteY186" fmla="*/ 244086 h 332251"/>
                <a:gd name="connsiteX187" fmla="*/ 176245 w 224626"/>
                <a:gd name="connsiteY187" fmla="*/ 251716 h 332251"/>
                <a:gd name="connsiteX188" fmla="*/ 171233 w 224626"/>
                <a:gd name="connsiteY188" fmla="*/ 251280 h 332251"/>
                <a:gd name="connsiteX189" fmla="*/ 159031 w 224626"/>
                <a:gd name="connsiteY189" fmla="*/ 232968 h 332251"/>
                <a:gd name="connsiteX190" fmla="*/ 160338 w 224626"/>
                <a:gd name="connsiteY190" fmla="*/ 241906 h 332251"/>
                <a:gd name="connsiteX191" fmla="*/ 162517 w 224626"/>
                <a:gd name="connsiteY191" fmla="*/ 263925 h 332251"/>
                <a:gd name="connsiteX192" fmla="*/ 165132 w 224626"/>
                <a:gd name="connsiteY192" fmla="*/ 285290 h 332251"/>
                <a:gd name="connsiteX193" fmla="*/ 171669 w 224626"/>
                <a:gd name="connsiteY193" fmla="*/ 280493 h 332251"/>
                <a:gd name="connsiteX194" fmla="*/ 171016 w 224626"/>
                <a:gd name="connsiteY194" fmla="*/ 275043 h 332251"/>
                <a:gd name="connsiteX195" fmla="*/ 174284 w 224626"/>
                <a:gd name="connsiteY195" fmla="*/ 278313 h 332251"/>
                <a:gd name="connsiteX196" fmla="*/ 179950 w 224626"/>
                <a:gd name="connsiteY196" fmla="*/ 281583 h 332251"/>
                <a:gd name="connsiteX197" fmla="*/ 184308 w 224626"/>
                <a:gd name="connsiteY197" fmla="*/ 283764 h 332251"/>
                <a:gd name="connsiteX198" fmla="*/ 189756 w 224626"/>
                <a:gd name="connsiteY198" fmla="*/ 288124 h 332251"/>
                <a:gd name="connsiteX199" fmla="*/ 195203 w 224626"/>
                <a:gd name="connsiteY199" fmla="*/ 292266 h 332251"/>
                <a:gd name="connsiteX200" fmla="*/ 189102 w 224626"/>
                <a:gd name="connsiteY200" fmla="*/ 295100 h 332251"/>
                <a:gd name="connsiteX201" fmla="*/ 181911 w 224626"/>
                <a:gd name="connsiteY201" fmla="*/ 300114 h 332251"/>
                <a:gd name="connsiteX202" fmla="*/ 173413 w 224626"/>
                <a:gd name="connsiteY202" fmla="*/ 301422 h 332251"/>
                <a:gd name="connsiteX203" fmla="*/ 164043 w 224626"/>
                <a:gd name="connsiteY203" fmla="*/ 294446 h 332251"/>
                <a:gd name="connsiteX204" fmla="*/ 157941 w 224626"/>
                <a:gd name="connsiteY204" fmla="*/ 295318 h 332251"/>
                <a:gd name="connsiteX205" fmla="*/ 155980 w 224626"/>
                <a:gd name="connsiteY205" fmla="*/ 290304 h 332251"/>
                <a:gd name="connsiteX206" fmla="*/ 156198 w 224626"/>
                <a:gd name="connsiteY206" fmla="*/ 281583 h 332251"/>
                <a:gd name="connsiteX207" fmla="*/ 151622 w 224626"/>
                <a:gd name="connsiteY207" fmla="*/ 288124 h 332251"/>
                <a:gd name="connsiteX208" fmla="*/ 145738 w 224626"/>
                <a:gd name="connsiteY208" fmla="*/ 294664 h 332251"/>
                <a:gd name="connsiteX209" fmla="*/ 143777 w 224626"/>
                <a:gd name="connsiteY209" fmla="*/ 297934 h 332251"/>
                <a:gd name="connsiteX210" fmla="*/ 140726 w 224626"/>
                <a:gd name="connsiteY210" fmla="*/ 299024 h 332251"/>
                <a:gd name="connsiteX211" fmla="*/ 136368 w 224626"/>
                <a:gd name="connsiteY211" fmla="*/ 293574 h 332251"/>
                <a:gd name="connsiteX212" fmla="*/ 133318 w 224626"/>
                <a:gd name="connsiteY212" fmla="*/ 290304 h 332251"/>
                <a:gd name="connsiteX213" fmla="*/ 131138 w 224626"/>
                <a:gd name="connsiteY213" fmla="*/ 295536 h 332251"/>
                <a:gd name="connsiteX214" fmla="*/ 132446 w 224626"/>
                <a:gd name="connsiteY214" fmla="*/ 299678 h 332251"/>
                <a:gd name="connsiteX215" fmla="*/ 131356 w 224626"/>
                <a:gd name="connsiteY215" fmla="*/ 311450 h 332251"/>
                <a:gd name="connsiteX216" fmla="*/ 139419 w 224626"/>
                <a:gd name="connsiteY216" fmla="*/ 321261 h 332251"/>
                <a:gd name="connsiteX217" fmla="*/ 146828 w 224626"/>
                <a:gd name="connsiteY217" fmla="*/ 327147 h 332251"/>
                <a:gd name="connsiteX218" fmla="*/ 147699 w 224626"/>
                <a:gd name="connsiteY218" fmla="*/ 332379 h 332251"/>
                <a:gd name="connsiteX219" fmla="*/ 140291 w 224626"/>
                <a:gd name="connsiteY219" fmla="*/ 328019 h 332251"/>
                <a:gd name="connsiteX220" fmla="*/ 128742 w 224626"/>
                <a:gd name="connsiteY220" fmla="*/ 326493 h 332251"/>
                <a:gd name="connsiteX221" fmla="*/ 120025 w 224626"/>
                <a:gd name="connsiteY221" fmla="*/ 324749 h 332251"/>
                <a:gd name="connsiteX222" fmla="*/ 120243 w 224626"/>
                <a:gd name="connsiteY222" fmla="*/ 307308 h 332251"/>
                <a:gd name="connsiteX223" fmla="*/ 120679 w 224626"/>
                <a:gd name="connsiteY223" fmla="*/ 298370 h 332251"/>
                <a:gd name="connsiteX224" fmla="*/ 119807 w 224626"/>
                <a:gd name="connsiteY224" fmla="*/ 297062 h 332251"/>
                <a:gd name="connsiteX225" fmla="*/ 113924 w 224626"/>
                <a:gd name="connsiteY225" fmla="*/ 290304 h 332251"/>
                <a:gd name="connsiteX226" fmla="*/ 105861 w 224626"/>
                <a:gd name="connsiteY226" fmla="*/ 283764 h 332251"/>
                <a:gd name="connsiteX227" fmla="*/ 99324 w 224626"/>
                <a:gd name="connsiteY227" fmla="*/ 287252 h 332251"/>
                <a:gd name="connsiteX228" fmla="*/ 106079 w 224626"/>
                <a:gd name="connsiteY228" fmla="*/ 297934 h 332251"/>
                <a:gd name="connsiteX229" fmla="*/ 110001 w 224626"/>
                <a:gd name="connsiteY229" fmla="*/ 302512 h 332251"/>
                <a:gd name="connsiteX230" fmla="*/ 111309 w 224626"/>
                <a:gd name="connsiteY230" fmla="*/ 309924 h 332251"/>
                <a:gd name="connsiteX231" fmla="*/ 105425 w 224626"/>
                <a:gd name="connsiteY231" fmla="*/ 319299 h 332251"/>
                <a:gd name="connsiteX232" fmla="*/ 100631 w 224626"/>
                <a:gd name="connsiteY232" fmla="*/ 313195 h 332251"/>
                <a:gd name="connsiteX233" fmla="*/ 102593 w 224626"/>
                <a:gd name="connsiteY233" fmla="*/ 309924 h 332251"/>
                <a:gd name="connsiteX234" fmla="*/ 93005 w 224626"/>
                <a:gd name="connsiteY234" fmla="*/ 316465 h 332251"/>
                <a:gd name="connsiteX235" fmla="*/ 86903 w 224626"/>
                <a:gd name="connsiteY235" fmla="*/ 327365 h 332251"/>
                <a:gd name="connsiteX236" fmla="*/ 82327 w 224626"/>
                <a:gd name="connsiteY236" fmla="*/ 329327 h 332251"/>
                <a:gd name="connsiteX237" fmla="*/ 93441 w 224626"/>
                <a:gd name="connsiteY237" fmla="*/ 289432 h 332251"/>
                <a:gd name="connsiteX238" fmla="*/ 93876 w 224626"/>
                <a:gd name="connsiteY238" fmla="*/ 283764 h 332251"/>
                <a:gd name="connsiteX239" fmla="*/ 90608 w 224626"/>
                <a:gd name="connsiteY239" fmla="*/ 280493 h 332251"/>
                <a:gd name="connsiteX240" fmla="*/ 94966 w 224626"/>
                <a:gd name="connsiteY240" fmla="*/ 277223 h 332251"/>
                <a:gd name="connsiteX241" fmla="*/ 99324 w 224626"/>
                <a:gd name="connsiteY241" fmla="*/ 272645 h 332251"/>
                <a:gd name="connsiteX242" fmla="*/ 94966 w 224626"/>
                <a:gd name="connsiteY242" fmla="*/ 269593 h 332251"/>
                <a:gd name="connsiteX243" fmla="*/ 90608 w 224626"/>
                <a:gd name="connsiteY243" fmla="*/ 268285 h 332251"/>
                <a:gd name="connsiteX244" fmla="*/ 87121 w 224626"/>
                <a:gd name="connsiteY244" fmla="*/ 261745 h 332251"/>
                <a:gd name="connsiteX245" fmla="*/ 88429 w 224626"/>
                <a:gd name="connsiteY245" fmla="*/ 251062 h 332251"/>
                <a:gd name="connsiteX246" fmla="*/ 90608 w 224626"/>
                <a:gd name="connsiteY246" fmla="*/ 255205 h 332251"/>
                <a:gd name="connsiteX247" fmla="*/ 110437 w 224626"/>
                <a:gd name="connsiteY247" fmla="*/ 258475 h 332251"/>
                <a:gd name="connsiteX248" fmla="*/ 121768 w 224626"/>
                <a:gd name="connsiteY248" fmla="*/ 274825 h 332251"/>
                <a:gd name="connsiteX249" fmla="*/ 126127 w 224626"/>
                <a:gd name="connsiteY249" fmla="*/ 283764 h 332251"/>
                <a:gd name="connsiteX250" fmla="*/ 132664 w 224626"/>
                <a:gd name="connsiteY250" fmla="*/ 281147 h 332251"/>
                <a:gd name="connsiteX251" fmla="*/ 136804 w 224626"/>
                <a:gd name="connsiteY251" fmla="*/ 281147 h 332251"/>
                <a:gd name="connsiteX252" fmla="*/ 143995 w 224626"/>
                <a:gd name="connsiteY252" fmla="*/ 280275 h 332251"/>
                <a:gd name="connsiteX253" fmla="*/ 142905 w 224626"/>
                <a:gd name="connsiteY253" fmla="*/ 271991 h 332251"/>
                <a:gd name="connsiteX254" fmla="*/ 135061 w 224626"/>
                <a:gd name="connsiteY254" fmla="*/ 271555 h 332251"/>
                <a:gd name="connsiteX255" fmla="*/ 132010 w 224626"/>
                <a:gd name="connsiteY255" fmla="*/ 267413 h 332251"/>
                <a:gd name="connsiteX256" fmla="*/ 121768 w 224626"/>
                <a:gd name="connsiteY256" fmla="*/ 251062 h 332251"/>
                <a:gd name="connsiteX257" fmla="*/ 123730 w 224626"/>
                <a:gd name="connsiteY257" fmla="*/ 244304 h 332251"/>
                <a:gd name="connsiteX258" fmla="*/ 131356 w 224626"/>
                <a:gd name="connsiteY258" fmla="*/ 245830 h 332251"/>
                <a:gd name="connsiteX259" fmla="*/ 140073 w 224626"/>
                <a:gd name="connsiteY259" fmla="*/ 256077 h 332251"/>
                <a:gd name="connsiteX260" fmla="*/ 149661 w 224626"/>
                <a:gd name="connsiteY260" fmla="*/ 258475 h 332251"/>
                <a:gd name="connsiteX261" fmla="*/ 152929 w 224626"/>
                <a:gd name="connsiteY261" fmla="*/ 242342 h 332251"/>
                <a:gd name="connsiteX262" fmla="*/ 146174 w 224626"/>
                <a:gd name="connsiteY262" fmla="*/ 229262 h 332251"/>
                <a:gd name="connsiteX263" fmla="*/ 145520 w 224626"/>
                <a:gd name="connsiteY263" fmla="*/ 241906 h 332251"/>
                <a:gd name="connsiteX264" fmla="*/ 146392 w 224626"/>
                <a:gd name="connsiteY264" fmla="*/ 244522 h 332251"/>
                <a:gd name="connsiteX265" fmla="*/ 128088 w 224626"/>
                <a:gd name="connsiteY265" fmla="*/ 228826 h 332251"/>
                <a:gd name="connsiteX266" fmla="*/ 130267 w 224626"/>
                <a:gd name="connsiteY266" fmla="*/ 220541 h 332251"/>
                <a:gd name="connsiteX267" fmla="*/ 142252 w 224626"/>
                <a:gd name="connsiteY267" fmla="*/ 217489 h 332251"/>
                <a:gd name="connsiteX268" fmla="*/ 151404 w 224626"/>
                <a:gd name="connsiteY268" fmla="*/ 214437 h 332251"/>
                <a:gd name="connsiteX269" fmla="*/ 153801 w 224626"/>
                <a:gd name="connsiteY269" fmla="*/ 207025 h 332251"/>
                <a:gd name="connsiteX270" fmla="*/ 137022 w 224626"/>
                <a:gd name="connsiteY270" fmla="*/ 195907 h 332251"/>
                <a:gd name="connsiteX271" fmla="*/ 135061 w 224626"/>
                <a:gd name="connsiteY271" fmla="*/ 203319 h 332251"/>
                <a:gd name="connsiteX272" fmla="*/ 135279 w 224626"/>
                <a:gd name="connsiteY272" fmla="*/ 210949 h 332251"/>
                <a:gd name="connsiteX273" fmla="*/ 125473 w 224626"/>
                <a:gd name="connsiteY273" fmla="*/ 211821 h 332251"/>
                <a:gd name="connsiteX274" fmla="*/ 121115 w 224626"/>
                <a:gd name="connsiteY274" fmla="*/ 210949 h 332251"/>
                <a:gd name="connsiteX275" fmla="*/ 111309 w 224626"/>
                <a:gd name="connsiteY275" fmla="*/ 207461 h 332251"/>
                <a:gd name="connsiteX276" fmla="*/ 108040 w 224626"/>
                <a:gd name="connsiteY276" fmla="*/ 213783 h 332251"/>
                <a:gd name="connsiteX277" fmla="*/ 108258 w 224626"/>
                <a:gd name="connsiteY277" fmla="*/ 226646 h 332251"/>
                <a:gd name="connsiteX278" fmla="*/ 100849 w 224626"/>
                <a:gd name="connsiteY278" fmla="*/ 226864 h 332251"/>
                <a:gd name="connsiteX279" fmla="*/ 94966 w 224626"/>
                <a:gd name="connsiteY279" fmla="*/ 221849 h 332251"/>
                <a:gd name="connsiteX280" fmla="*/ 101503 w 224626"/>
                <a:gd name="connsiteY280" fmla="*/ 208987 h 332251"/>
                <a:gd name="connsiteX281" fmla="*/ 106297 w 224626"/>
                <a:gd name="connsiteY281" fmla="*/ 202883 h 332251"/>
                <a:gd name="connsiteX282" fmla="*/ 111963 w 224626"/>
                <a:gd name="connsiteY282" fmla="*/ 198087 h 332251"/>
                <a:gd name="connsiteX283" fmla="*/ 125909 w 224626"/>
                <a:gd name="connsiteY283" fmla="*/ 193072 h 332251"/>
                <a:gd name="connsiteX284" fmla="*/ 134843 w 224626"/>
                <a:gd name="connsiteY284" fmla="*/ 187404 h 332251"/>
                <a:gd name="connsiteX285" fmla="*/ 130267 w 224626"/>
                <a:gd name="connsiteY285" fmla="*/ 182826 h 332251"/>
                <a:gd name="connsiteX286" fmla="*/ 125473 w 224626"/>
                <a:gd name="connsiteY286" fmla="*/ 178248 h 332251"/>
                <a:gd name="connsiteX287" fmla="*/ 120461 w 224626"/>
                <a:gd name="connsiteY287" fmla="*/ 183044 h 332251"/>
                <a:gd name="connsiteX288" fmla="*/ 114142 w 224626"/>
                <a:gd name="connsiteY288" fmla="*/ 186750 h 332251"/>
                <a:gd name="connsiteX289" fmla="*/ 105643 w 224626"/>
                <a:gd name="connsiteY289" fmla="*/ 192200 h 332251"/>
                <a:gd name="connsiteX290" fmla="*/ 94312 w 224626"/>
                <a:gd name="connsiteY290" fmla="*/ 197869 h 332251"/>
                <a:gd name="connsiteX291" fmla="*/ 91479 w 224626"/>
                <a:gd name="connsiteY291" fmla="*/ 200267 h 332251"/>
                <a:gd name="connsiteX292" fmla="*/ 87993 w 224626"/>
                <a:gd name="connsiteY292" fmla="*/ 217489 h 332251"/>
                <a:gd name="connsiteX293" fmla="*/ 79277 w 224626"/>
                <a:gd name="connsiteY293" fmla="*/ 220977 h 332251"/>
                <a:gd name="connsiteX294" fmla="*/ 75354 w 224626"/>
                <a:gd name="connsiteY294" fmla="*/ 224902 h 332251"/>
                <a:gd name="connsiteX295" fmla="*/ 77969 w 224626"/>
                <a:gd name="connsiteY295" fmla="*/ 230570 h 332251"/>
                <a:gd name="connsiteX296" fmla="*/ 89082 w 224626"/>
                <a:gd name="connsiteY296" fmla="*/ 232532 h 332251"/>
                <a:gd name="connsiteX297" fmla="*/ 96055 w 224626"/>
                <a:gd name="connsiteY297" fmla="*/ 235802 h 332251"/>
                <a:gd name="connsiteX298" fmla="*/ 113924 w 224626"/>
                <a:gd name="connsiteY298" fmla="*/ 235366 h 332251"/>
                <a:gd name="connsiteX299" fmla="*/ 110219 w 224626"/>
                <a:gd name="connsiteY299" fmla="*/ 245612 h 332251"/>
                <a:gd name="connsiteX300" fmla="*/ 103682 w 224626"/>
                <a:gd name="connsiteY300" fmla="*/ 247792 h 332251"/>
                <a:gd name="connsiteX301" fmla="*/ 92787 w 224626"/>
                <a:gd name="connsiteY301" fmla="*/ 248882 h 332251"/>
                <a:gd name="connsiteX302" fmla="*/ 96055 w 224626"/>
                <a:gd name="connsiteY302" fmla="*/ 246702 h 332251"/>
                <a:gd name="connsiteX303" fmla="*/ 99324 w 224626"/>
                <a:gd name="connsiteY303" fmla="*/ 243432 h 332251"/>
                <a:gd name="connsiteX304" fmla="*/ 89736 w 224626"/>
                <a:gd name="connsiteY304" fmla="*/ 240162 h 332251"/>
                <a:gd name="connsiteX305" fmla="*/ 78841 w 224626"/>
                <a:gd name="connsiteY305" fmla="*/ 245394 h 332251"/>
                <a:gd name="connsiteX306" fmla="*/ 82109 w 224626"/>
                <a:gd name="connsiteY306" fmla="*/ 278531 h 332251"/>
                <a:gd name="connsiteX307" fmla="*/ 84070 w 224626"/>
                <a:gd name="connsiteY307" fmla="*/ 284636 h 332251"/>
                <a:gd name="connsiteX308" fmla="*/ 93441 w 224626"/>
                <a:gd name="connsiteY308" fmla="*/ 289432 h 332251"/>
                <a:gd name="connsiteX309" fmla="*/ 118936 w 224626"/>
                <a:gd name="connsiteY309" fmla="*/ 271773 h 332251"/>
                <a:gd name="connsiteX310" fmla="*/ 113706 w 224626"/>
                <a:gd name="connsiteY310" fmla="*/ 267413 h 332251"/>
                <a:gd name="connsiteX311" fmla="*/ 114360 w 224626"/>
                <a:gd name="connsiteY311" fmla="*/ 275043 h 332251"/>
                <a:gd name="connsiteX312" fmla="*/ 118936 w 224626"/>
                <a:gd name="connsiteY312" fmla="*/ 271773 h 332251"/>
                <a:gd name="connsiteX313" fmla="*/ 157069 w 224626"/>
                <a:gd name="connsiteY313" fmla="*/ 220541 h 332251"/>
                <a:gd name="connsiteX314" fmla="*/ 153365 w 224626"/>
                <a:gd name="connsiteY314" fmla="*/ 220105 h 332251"/>
                <a:gd name="connsiteX315" fmla="*/ 152711 w 224626"/>
                <a:gd name="connsiteY315" fmla="*/ 224902 h 332251"/>
                <a:gd name="connsiteX316" fmla="*/ 156416 w 224626"/>
                <a:gd name="connsiteY316" fmla="*/ 225338 h 332251"/>
                <a:gd name="connsiteX317" fmla="*/ 157069 w 224626"/>
                <a:gd name="connsiteY317" fmla="*/ 220541 h 332251"/>
                <a:gd name="connsiteX318" fmla="*/ 166875 w 224626"/>
                <a:gd name="connsiteY318" fmla="*/ 204191 h 332251"/>
                <a:gd name="connsiteX319" fmla="*/ 158159 w 224626"/>
                <a:gd name="connsiteY319" fmla="*/ 188930 h 332251"/>
                <a:gd name="connsiteX320" fmla="*/ 152929 w 224626"/>
                <a:gd name="connsiteY320" fmla="*/ 179338 h 332251"/>
                <a:gd name="connsiteX321" fmla="*/ 143559 w 224626"/>
                <a:gd name="connsiteY321" fmla="*/ 166912 h 332251"/>
                <a:gd name="connsiteX322" fmla="*/ 144867 w 224626"/>
                <a:gd name="connsiteY322" fmla="*/ 170182 h 332251"/>
                <a:gd name="connsiteX323" fmla="*/ 144213 w 224626"/>
                <a:gd name="connsiteY323" fmla="*/ 179338 h 332251"/>
                <a:gd name="connsiteX324" fmla="*/ 147264 w 224626"/>
                <a:gd name="connsiteY324" fmla="*/ 191764 h 332251"/>
                <a:gd name="connsiteX325" fmla="*/ 153801 w 224626"/>
                <a:gd name="connsiteY325" fmla="*/ 199395 h 332251"/>
                <a:gd name="connsiteX326" fmla="*/ 158813 w 224626"/>
                <a:gd name="connsiteY326" fmla="*/ 204409 h 332251"/>
                <a:gd name="connsiteX327" fmla="*/ 166875 w 224626"/>
                <a:gd name="connsiteY327" fmla="*/ 204191 h 332251"/>
                <a:gd name="connsiteX328" fmla="*/ 203920 w 224626"/>
                <a:gd name="connsiteY328" fmla="*/ 196561 h 332251"/>
                <a:gd name="connsiteX329" fmla="*/ 201740 w 224626"/>
                <a:gd name="connsiteY329" fmla="*/ 194380 h 332251"/>
                <a:gd name="connsiteX330" fmla="*/ 199561 w 224626"/>
                <a:gd name="connsiteY330" fmla="*/ 196561 h 332251"/>
                <a:gd name="connsiteX331" fmla="*/ 201740 w 224626"/>
                <a:gd name="connsiteY331" fmla="*/ 198741 h 332251"/>
                <a:gd name="connsiteX332" fmla="*/ 203920 w 224626"/>
                <a:gd name="connsiteY332" fmla="*/ 196561 h 332251"/>
                <a:gd name="connsiteX333" fmla="*/ 104772 w 224626"/>
                <a:gd name="connsiteY333" fmla="*/ 183044 h 332251"/>
                <a:gd name="connsiteX334" fmla="*/ 109130 w 224626"/>
                <a:gd name="connsiteY334" fmla="*/ 169746 h 332251"/>
                <a:gd name="connsiteX335" fmla="*/ 99324 w 224626"/>
                <a:gd name="connsiteY335" fmla="*/ 171708 h 332251"/>
                <a:gd name="connsiteX336" fmla="*/ 92787 w 224626"/>
                <a:gd name="connsiteY336" fmla="*/ 173452 h 332251"/>
                <a:gd name="connsiteX337" fmla="*/ 86250 w 224626"/>
                <a:gd name="connsiteY337" fmla="*/ 176940 h 332251"/>
                <a:gd name="connsiteX338" fmla="*/ 96055 w 224626"/>
                <a:gd name="connsiteY338" fmla="*/ 185660 h 332251"/>
                <a:gd name="connsiteX339" fmla="*/ 104772 w 224626"/>
                <a:gd name="connsiteY339" fmla="*/ 183044 h 332251"/>
                <a:gd name="connsiteX340" fmla="*/ 100196 w 224626"/>
                <a:gd name="connsiteY340" fmla="*/ 158845 h 332251"/>
                <a:gd name="connsiteX341" fmla="*/ 97145 w 224626"/>
                <a:gd name="connsiteY341" fmla="*/ 147291 h 332251"/>
                <a:gd name="connsiteX342" fmla="*/ 87993 w 224626"/>
                <a:gd name="connsiteY342" fmla="*/ 145329 h 332251"/>
                <a:gd name="connsiteX343" fmla="*/ 77969 w 224626"/>
                <a:gd name="connsiteY343" fmla="*/ 149253 h 332251"/>
                <a:gd name="connsiteX344" fmla="*/ 83853 w 224626"/>
                <a:gd name="connsiteY344" fmla="*/ 152523 h 332251"/>
                <a:gd name="connsiteX345" fmla="*/ 89954 w 224626"/>
                <a:gd name="connsiteY345" fmla="*/ 157537 h 332251"/>
                <a:gd name="connsiteX346" fmla="*/ 100196 w 224626"/>
                <a:gd name="connsiteY346" fmla="*/ 158845 h 332251"/>
                <a:gd name="connsiteX347" fmla="*/ 107822 w 224626"/>
                <a:gd name="connsiteY347" fmla="*/ 31747 h 332251"/>
                <a:gd name="connsiteX348" fmla="*/ 86903 w 224626"/>
                <a:gd name="connsiteY348" fmla="*/ 31529 h 332251"/>
                <a:gd name="connsiteX349" fmla="*/ 93876 w 224626"/>
                <a:gd name="connsiteY349" fmla="*/ 34363 h 332251"/>
                <a:gd name="connsiteX350" fmla="*/ 102157 w 224626"/>
                <a:gd name="connsiteY350" fmla="*/ 38505 h 332251"/>
                <a:gd name="connsiteX351" fmla="*/ 107169 w 224626"/>
                <a:gd name="connsiteY351" fmla="*/ 38505 h 332251"/>
                <a:gd name="connsiteX352" fmla="*/ 107822 w 224626"/>
                <a:gd name="connsiteY352" fmla="*/ 31747 h 332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Lst>
              <a:rect l="l" t="t" r="r" b="b"/>
              <a:pathLst>
                <a:path w="224626" h="332251">
                  <a:moveTo>
                    <a:pt x="82327" y="329327"/>
                  </a:moveTo>
                  <a:cubicBezTo>
                    <a:pt x="78623" y="323441"/>
                    <a:pt x="79059" y="319299"/>
                    <a:pt x="84724" y="311887"/>
                  </a:cubicBezTo>
                  <a:lnTo>
                    <a:pt x="89518" y="305128"/>
                  </a:lnTo>
                  <a:lnTo>
                    <a:pt x="83199" y="299896"/>
                  </a:lnTo>
                  <a:cubicBezTo>
                    <a:pt x="78405" y="295754"/>
                    <a:pt x="76444" y="295100"/>
                    <a:pt x="74047" y="297062"/>
                  </a:cubicBezTo>
                  <a:cubicBezTo>
                    <a:pt x="72521" y="298370"/>
                    <a:pt x="69907" y="299024"/>
                    <a:pt x="68381" y="298370"/>
                  </a:cubicBezTo>
                  <a:cubicBezTo>
                    <a:pt x="66638" y="297934"/>
                    <a:pt x="67945" y="295318"/>
                    <a:pt x="72739" y="291176"/>
                  </a:cubicBezTo>
                  <a:cubicBezTo>
                    <a:pt x="81020" y="283764"/>
                    <a:pt x="82109" y="277223"/>
                    <a:pt x="74918" y="277441"/>
                  </a:cubicBezTo>
                  <a:cubicBezTo>
                    <a:pt x="68163" y="277441"/>
                    <a:pt x="55307" y="296626"/>
                    <a:pt x="58357" y="301858"/>
                  </a:cubicBezTo>
                  <a:cubicBezTo>
                    <a:pt x="60319" y="305564"/>
                    <a:pt x="59883" y="306000"/>
                    <a:pt x="49859" y="309052"/>
                  </a:cubicBezTo>
                  <a:cubicBezTo>
                    <a:pt x="48334" y="309488"/>
                    <a:pt x="47026" y="312541"/>
                    <a:pt x="47026" y="315811"/>
                  </a:cubicBezTo>
                  <a:cubicBezTo>
                    <a:pt x="47244" y="321479"/>
                    <a:pt x="47462" y="321697"/>
                    <a:pt x="50077" y="317991"/>
                  </a:cubicBezTo>
                  <a:cubicBezTo>
                    <a:pt x="52256" y="315157"/>
                    <a:pt x="53563" y="314721"/>
                    <a:pt x="54653" y="316465"/>
                  </a:cubicBezTo>
                  <a:cubicBezTo>
                    <a:pt x="56832" y="319735"/>
                    <a:pt x="48334" y="327365"/>
                    <a:pt x="42450" y="327365"/>
                  </a:cubicBezTo>
                  <a:cubicBezTo>
                    <a:pt x="39617" y="327365"/>
                    <a:pt x="37438" y="325621"/>
                    <a:pt x="36785" y="323005"/>
                  </a:cubicBezTo>
                  <a:cubicBezTo>
                    <a:pt x="35695" y="319081"/>
                    <a:pt x="34388" y="318645"/>
                    <a:pt x="25018" y="319953"/>
                  </a:cubicBezTo>
                  <a:cubicBezTo>
                    <a:pt x="16083" y="321261"/>
                    <a:pt x="14340" y="320825"/>
                    <a:pt x="14340" y="317773"/>
                  </a:cubicBezTo>
                  <a:cubicBezTo>
                    <a:pt x="14340" y="315811"/>
                    <a:pt x="16083" y="314285"/>
                    <a:pt x="18045" y="314285"/>
                  </a:cubicBezTo>
                  <a:cubicBezTo>
                    <a:pt x="20224" y="314285"/>
                    <a:pt x="24146" y="311669"/>
                    <a:pt x="26761" y="308398"/>
                  </a:cubicBezTo>
                  <a:lnTo>
                    <a:pt x="31773" y="302294"/>
                  </a:lnTo>
                  <a:lnTo>
                    <a:pt x="35259" y="307308"/>
                  </a:lnTo>
                  <a:cubicBezTo>
                    <a:pt x="39399" y="312977"/>
                    <a:pt x="41143" y="313195"/>
                    <a:pt x="45937" y="308616"/>
                  </a:cubicBezTo>
                  <a:cubicBezTo>
                    <a:pt x="47898" y="306436"/>
                    <a:pt x="48769" y="303384"/>
                    <a:pt x="48116" y="300768"/>
                  </a:cubicBezTo>
                  <a:cubicBezTo>
                    <a:pt x="47244" y="298588"/>
                    <a:pt x="47898" y="295318"/>
                    <a:pt x="49205" y="293574"/>
                  </a:cubicBezTo>
                  <a:cubicBezTo>
                    <a:pt x="52474" y="289650"/>
                    <a:pt x="50513" y="283764"/>
                    <a:pt x="45937" y="283764"/>
                  </a:cubicBezTo>
                  <a:cubicBezTo>
                    <a:pt x="42450" y="283764"/>
                    <a:pt x="41361" y="278313"/>
                    <a:pt x="44629" y="276351"/>
                  </a:cubicBezTo>
                  <a:cubicBezTo>
                    <a:pt x="46808" y="274825"/>
                    <a:pt x="46590" y="257603"/>
                    <a:pt x="44193" y="253897"/>
                  </a:cubicBezTo>
                  <a:cubicBezTo>
                    <a:pt x="43322" y="252588"/>
                    <a:pt x="43322" y="249972"/>
                    <a:pt x="43976" y="248010"/>
                  </a:cubicBezTo>
                  <a:cubicBezTo>
                    <a:pt x="45283" y="244740"/>
                    <a:pt x="46373" y="244304"/>
                    <a:pt x="54217" y="243650"/>
                  </a:cubicBezTo>
                  <a:cubicBezTo>
                    <a:pt x="55960" y="243432"/>
                    <a:pt x="56832" y="247356"/>
                    <a:pt x="57268" y="255423"/>
                  </a:cubicBezTo>
                  <a:cubicBezTo>
                    <a:pt x="57268" y="261963"/>
                    <a:pt x="57486" y="270683"/>
                    <a:pt x="57704" y="274607"/>
                  </a:cubicBezTo>
                  <a:cubicBezTo>
                    <a:pt x="57922" y="283110"/>
                    <a:pt x="60101" y="283546"/>
                    <a:pt x="64895" y="275479"/>
                  </a:cubicBezTo>
                  <a:cubicBezTo>
                    <a:pt x="67074" y="272209"/>
                    <a:pt x="69907" y="267849"/>
                    <a:pt x="71432" y="265669"/>
                  </a:cubicBezTo>
                  <a:cubicBezTo>
                    <a:pt x="73829" y="262399"/>
                    <a:pt x="73611" y="261309"/>
                    <a:pt x="70778" y="259129"/>
                  </a:cubicBezTo>
                  <a:cubicBezTo>
                    <a:pt x="68599" y="257385"/>
                    <a:pt x="67510" y="253024"/>
                    <a:pt x="67727" y="245612"/>
                  </a:cubicBezTo>
                  <a:cubicBezTo>
                    <a:pt x="67727" y="239726"/>
                    <a:pt x="67074" y="233622"/>
                    <a:pt x="65984" y="232096"/>
                  </a:cubicBezTo>
                  <a:cubicBezTo>
                    <a:pt x="62716" y="227518"/>
                    <a:pt x="66420" y="221631"/>
                    <a:pt x="73611" y="219451"/>
                  </a:cubicBezTo>
                  <a:cubicBezTo>
                    <a:pt x="81891" y="216835"/>
                    <a:pt x="84070" y="212039"/>
                    <a:pt x="77751" y="210295"/>
                  </a:cubicBezTo>
                  <a:cubicBezTo>
                    <a:pt x="70996" y="208551"/>
                    <a:pt x="71650" y="199177"/>
                    <a:pt x="78623" y="196561"/>
                  </a:cubicBezTo>
                  <a:cubicBezTo>
                    <a:pt x="84724" y="194162"/>
                    <a:pt x="84942" y="193508"/>
                    <a:pt x="81891" y="187622"/>
                  </a:cubicBezTo>
                  <a:cubicBezTo>
                    <a:pt x="80148" y="184570"/>
                    <a:pt x="78187" y="183698"/>
                    <a:pt x="74265" y="184788"/>
                  </a:cubicBezTo>
                  <a:cubicBezTo>
                    <a:pt x="66420" y="186750"/>
                    <a:pt x="67074" y="180864"/>
                    <a:pt x="75354" y="174106"/>
                  </a:cubicBezTo>
                  <a:cubicBezTo>
                    <a:pt x="82109" y="168220"/>
                    <a:pt x="84288" y="159499"/>
                    <a:pt x="78841" y="159499"/>
                  </a:cubicBezTo>
                  <a:cubicBezTo>
                    <a:pt x="77097" y="159499"/>
                    <a:pt x="73611" y="162115"/>
                    <a:pt x="71214" y="165385"/>
                  </a:cubicBezTo>
                  <a:cubicBezTo>
                    <a:pt x="66202" y="171490"/>
                    <a:pt x="62716" y="171054"/>
                    <a:pt x="66202" y="164513"/>
                  </a:cubicBezTo>
                  <a:cubicBezTo>
                    <a:pt x="67292" y="162333"/>
                    <a:pt x="67727" y="157319"/>
                    <a:pt x="67292" y="153613"/>
                  </a:cubicBezTo>
                  <a:cubicBezTo>
                    <a:pt x="66202" y="147509"/>
                    <a:pt x="67074" y="145983"/>
                    <a:pt x="72957" y="142713"/>
                  </a:cubicBezTo>
                  <a:cubicBezTo>
                    <a:pt x="81020" y="138135"/>
                    <a:pt x="81020" y="137044"/>
                    <a:pt x="75136" y="128760"/>
                  </a:cubicBezTo>
                  <a:cubicBezTo>
                    <a:pt x="69471" y="120476"/>
                    <a:pt x="65984" y="120694"/>
                    <a:pt x="67727" y="128760"/>
                  </a:cubicBezTo>
                  <a:cubicBezTo>
                    <a:pt x="68599" y="133120"/>
                    <a:pt x="68163" y="135736"/>
                    <a:pt x="65984" y="137044"/>
                  </a:cubicBezTo>
                  <a:cubicBezTo>
                    <a:pt x="64241" y="137917"/>
                    <a:pt x="61844" y="140969"/>
                    <a:pt x="60319" y="143803"/>
                  </a:cubicBezTo>
                  <a:cubicBezTo>
                    <a:pt x="57486" y="149035"/>
                    <a:pt x="51602" y="150125"/>
                    <a:pt x="47462" y="145983"/>
                  </a:cubicBezTo>
                  <a:cubicBezTo>
                    <a:pt x="43976" y="142495"/>
                    <a:pt x="44193" y="137262"/>
                    <a:pt x="47898" y="132248"/>
                  </a:cubicBezTo>
                  <a:cubicBezTo>
                    <a:pt x="50513" y="128760"/>
                    <a:pt x="51384" y="128542"/>
                    <a:pt x="54217" y="130940"/>
                  </a:cubicBezTo>
                  <a:cubicBezTo>
                    <a:pt x="57922" y="133992"/>
                    <a:pt x="62280" y="132466"/>
                    <a:pt x="62280" y="128324"/>
                  </a:cubicBezTo>
                  <a:cubicBezTo>
                    <a:pt x="62280" y="124400"/>
                    <a:pt x="55525" y="120912"/>
                    <a:pt x="48116" y="121130"/>
                  </a:cubicBezTo>
                  <a:cubicBezTo>
                    <a:pt x="43540" y="121348"/>
                    <a:pt x="40925" y="122874"/>
                    <a:pt x="38964" y="126798"/>
                  </a:cubicBezTo>
                  <a:cubicBezTo>
                    <a:pt x="37438" y="130068"/>
                    <a:pt x="33298" y="132902"/>
                    <a:pt x="28068" y="134428"/>
                  </a:cubicBezTo>
                  <a:cubicBezTo>
                    <a:pt x="22403" y="136172"/>
                    <a:pt x="20006" y="137917"/>
                    <a:pt x="20442" y="140315"/>
                  </a:cubicBezTo>
                  <a:cubicBezTo>
                    <a:pt x="21095" y="144893"/>
                    <a:pt x="16955" y="147727"/>
                    <a:pt x="13904" y="144675"/>
                  </a:cubicBezTo>
                  <a:cubicBezTo>
                    <a:pt x="12161" y="142931"/>
                    <a:pt x="12161" y="141405"/>
                    <a:pt x="14122" y="139007"/>
                  </a:cubicBezTo>
                  <a:cubicBezTo>
                    <a:pt x="16301" y="136608"/>
                    <a:pt x="16083" y="135518"/>
                    <a:pt x="13033" y="133774"/>
                  </a:cubicBezTo>
                  <a:cubicBezTo>
                    <a:pt x="7149" y="130504"/>
                    <a:pt x="12815" y="122438"/>
                    <a:pt x="21095" y="122438"/>
                  </a:cubicBezTo>
                  <a:cubicBezTo>
                    <a:pt x="26325" y="122438"/>
                    <a:pt x="28068" y="121130"/>
                    <a:pt x="29812" y="115898"/>
                  </a:cubicBezTo>
                  <a:cubicBezTo>
                    <a:pt x="32426" y="108486"/>
                    <a:pt x="35041" y="107831"/>
                    <a:pt x="40925" y="113064"/>
                  </a:cubicBezTo>
                  <a:cubicBezTo>
                    <a:pt x="43758" y="115680"/>
                    <a:pt x="45719" y="115898"/>
                    <a:pt x="47244" y="114372"/>
                  </a:cubicBezTo>
                  <a:cubicBezTo>
                    <a:pt x="50077" y="111538"/>
                    <a:pt x="46155" y="102817"/>
                    <a:pt x="40707" y="99547"/>
                  </a:cubicBezTo>
                  <a:cubicBezTo>
                    <a:pt x="38092" y="98021"/>
                    <a:pt x="39617" y="96931"/>
                    <a:pt x="48116" y="95187"/>
                  </a:cubicBezTo>
                  <a:cubicBezTo>
                    <a:pt x="56614" y="93225"/>
                    <a:pt x="59229" y="91699"/>
                    <a:pt x="59665" y="88211"/>
                  </a:cubicBezTo>
                  <a:cubicBezTo>
                    <a:pt x="60319" y="83197"/>
                    <a:pt x="53563" y="79491"/>
                    <a:pt x="48987" y="82325"/>
                  </a:cubicBezTo>
                  <a:cubicBezTo>
                    <a:pt x="47680" y="82979"/>
                    <a:pt x="45719" y="82543"/>
                    <a:pt x="44847" y="80799"/>
                  </a:cubicBezTo>
                  <a:cubicBezTo>
                    <a:pt x="43322" y="78618"/>
                    <a:pt x="42450" y="78618"/>
                    <a:pt x="39617" y="80799"/>
                  </a:cubicBezTo>
                  <a:cubicBezTo>
                    <a:pt x="37656" y="82543"/>
                    <a:pt x="36131" y="85159"/>
                    <a:pt x="36131" y="86685"/>
                  </a:cubicBezTo>
                  <a:cubicBezTo>
                    <a:pt x="36131" y="90173"/>
                    <a:pt x="32644" y="90827"/>
                    <a:pt x="30683" y="87557"/>
                  </a:cubicBezTo>
                  <a:cubicBezTo>
                    <a:pt x="30029" y="86467"/>
                    <a:pt x="26107" y="85377"/>
                    <a:pt x="22185" y="85377"/>
                  </a:cubicBezTo>
                  <a:cubicBezTo>
                    <a:pt x="16737" y="85377"/>
                    <a:pt x="13904" y="83851"/>
                    <a:pt x="11072" y="79709"/>
                  </a:cubicBezTo>
                  <a:cubicBezTo>
                    <a:pt x="7803" y="74476"/>
                    <a:pt x="7149" y="74476"/>
                    <a:pt x="3663" y="77528"/>
                  </a:cubicBezTo>
                  <a:cubicBezTo>
                    <a:pt x="176" y="80799"/>
                    <a:pt x="-478" y="80581"/>
                    <a:pt x="-2657" y="75784"/>
                  </a:cubicBezTo>
                  <a:cubicBezTo>
                    <a:pt x="-5707" y="68808"/>
                    <a:pt x="-695" y="61396"/>
                    <a:pt x="7585" y="61396"/>
                  </a:cubicBezTo>
                  <a:cubicBezTo>
                    <a:pt x="11725" y="61396"/>
                    <a:pt x="14994" y="59434"/>
                    <a:pt x="18262" y="54856"/>
                  </a:cubicBezTo>
                  <a:cubicBezTo>
                    <a:pt x="23492" y="47879"/>
                    <a:pt x="24800" y="47443"/>
                    <a:pt x="29376" y="50278"/>
                  </a:cubicBezTo>
                  <a:cubicBezTo>
                    <a:pt x="34170" y="53330"/>
                    <a:pt x="24364" y="64448"/>
                    <a:pt x="16083" y="65756"/>
                  </a:cubicBezTo>
                  <a:cubicBezTo>
                    <a:pt x="12379" y="66410"/>
                    <a:pt x="8892" y="68154"/>
                    <a:pt x="8239" y="69898"/>
                  </a:cubicBezTo>
                  <a:cubicBezTo>
                    <a:pt x="7585" y="71860"/>
                    <a:pt x="8239" y="72296"/>
                    <a:pt x="9764" y="71424"/>
                  </a:cubicBezTo>
                  <a:cubicBezTo>
                    <a:pt x="11289" y="70552"/>
                    <a:pt x="13468" y="70770"/>
                    <a:pt x="14994" y="71860"/>
                  </a:cubicBezTo>
                  <a:cubicBezTo>
                    <a:pt x="18698" y="74912"/>
                    <a:pt x="44847" y="73604"/>
                    <a:pt x="47026" y="70116"/>
                  </a:cubicBezTo>
                  <a:cubicBezTo>
                    <a:pt x="49641" y="65974"/>
                    <a:pt x="47244" y="60306"/>
                    <a:pt x="40271" y="53548"/>
                  </a:cubicBezTo>
                  <a:cubicBezTo>
                    <a:pt x="36785" y="50278"/>
                    <a:pt x="33952" y="46135"/>
                    <a:pt x="33952" y="44609"/>
                  </a:cubicBezTo>
                  <a:cubicBezTo>
                    <a:pt x="33952" y="41339"/>
                    <a:pt x="36567" y="40903"/>
                    <a:pt x="39617" y="43737"/>
                  </a:cubicBezTo>
                  <a:cubicBezTo>
                    <a:pt x="40707" y="45045"/>
                    <a:pt x="47026" y="46135"/>
                    <a:pt x="53563" y="46353"/>
                  </a:cubicBezTo>
                  <a:cubicBezTo>
                    <a:pt x="61844" y="46789"/>
                    <a:pt x="67074" y="48315"/>
                    <a:pt x="70560" y="51368"/>
                  </a:cubicBezTo>
                  <a:cubicBezTo>
                    <a:pt x="74700" y="55074"/>
                    <a:pt x="75790" y="55292"/>
                    <a:pt x="78405" y="52458"/>
                  </a:cubicBezTo>
                  <a:cubicBezTo>
                    <a:pt x="80366" y="50496"/>
                    <a:pt x="81020" y="46789"/>
                    <a:pt x="80366" y="42211"/>
                  </a:cubicBezTo>
                  <a:cubicBezTo>
                    <a:pt x="79277" y="35889"/>
                    <a:pt x="78405" y="35017"/>
                    <a:pt x="74047" y="35889"/>
                  </a:cubicBezTo>
                  <a:cubicBezTo>
                    <a:pt x="66638" y="37197"/>
                    <a:pt x="67510" y="32619"/>
                    <a:pt x="75790" y="26515"/>
                  </a:cubicBezTo>
                  <a:cubicBezTo>
                    <a:pt x="81891" y="22155"/>
                    <a:pt x="85160" y="21283"/>
                    <a:pt x="96927" y="21719"/>
                  </a:cubicBezTo>
                  <a:cubicBezTo>
                    <a:pt x="104554" y="21937"/>
                    <a:pt x="112181" y="23245"/>
                    <a:pt x="113924" y="24771"/>
                  </a:cubicBezTo>
                  <a:cubicBezTo>
                    <a:pt x="116539" y="26951"/>
                    <a:pt x="117846" y="26733"/>
                    <a:pt x="120243" y="23245"/>
                  </a:cubicBezTo>
                  <a:cubicBezTo>
                    <a:pt x="124601" y="17358"/>
                    <a:pt x="124165" y="14960"/>
                    <a:pt x="117846" y="9510"/>
                  </a:cubicBezTo>
                  <a:cubicBezTo>
                    <a:pt x="111745" y="4060"/>
                    <a:pt x="112398" y="354"/>
                    <a:pt x="119371" y="354"/>
                  </a:cubicBezTo>
                  <a:cubicBezTo>
                    <a:pt x="121768" y="354"/>
                    <a:pt x="124165" y="2098"/>
                    <a:pt x="124819" y="4714"/>
                  </a:cubicBezTo>
                  <a:cubicBezTo>
                    <a:pt x="125473" y="7112"/>
                    <a:pt x="128306" y="9728"/>
                    <a:pt x="131138" y="10382"/>
                  </a:cubicBezTo>
                  <a:cubicBezTo>
                    <a:pt x="134189" y="11254"/>
                    <a:pt x="136368" y="13434"/>
                    <a:pt x="136368" y="15614"/>
                  </a:cubicBezTo>
                  <a:cubicBezTo>
                    <a:pt x="136368" y="21283"/>
                    <a:pt x="110655" y="46135"/>
                    <a:pt x="105425" y="45481"/>
                  </a:cubicBezTo>
                  <a:cubicBezTo>
                    <a:pt x="99106" y="44827"/>
                    <a:pt x="95402" y="51368"/>
                    <a:pt x="98888" y="57036"/>
                  </a:cubicBezTo>
                  <a:cubicBezTo>
                    <a:pt x="100196" y="59434"/>
                    <a:pt x="101503" y="62922"/>
                    <a:pt x="101503" y="64666"/>
                  </a:cubicBezTo>
                  <a:cubicBezTo>
                    <a:pt x="101503" y="66628"/>
                    <a:pt x="103900" y="69244"/>
                    <a:pt x="106951" y="70552"/>
                  </a:cubicBezTo>
                  <a:cubicBezTo>
                    <a:pt x="113270" y="73386"/>
                    <a:pt x="114142" y="79927"/>
                    <a:pt x="108912" y="85595"/>
                  </a:cubicBezTo>
                  <a:cubicBezTo>
                    <a:pt x="106297" y="88647"/>
                    <a:pt x="106079" y="90391"/>
                    <a:pt x="108040" y="94097"/>
                  </a:cubicBezTo>
                  <a:cubicBezTo>
                    <a:pt x="111091" y="99983"/>
                    <a:pt x="109348" y="102163"/>
                    <a:pt x="104554" y="98457"/>
                  </a:cubicBezTo>
                  <a:cubicBezTo>
                    <a:pt x="101721" y="96059"/>
                    <a:pt x="100849" y="96059"/>
                    <a:pt x="99324" y="98239"/>
                  </a:cubicBezTo>
                  <a:cubicBezTo>
                    <a:pt x="98452" y="99765"/>
                    <a:pt x="98234" y="103035"/>
                    <a:pt x="98670" y="105215"/>
                  </a:cubicBezTo>
                  <a:cubicBezTo>
                    <a:pt x="99978" y="110012"/>
                    <a:pt x="95837" y="115898"/>
                    <a:pt x="91479" y="115898"/>
                  </a:cubicBezTo>
                  <a:cubicBezTo>
                    <a:pt x="89300" y="115898"/>
                    <a:pt x="88864" y="113500"/>
                    <a:pt x="89954" y="105869"/>
                  </a:cubicBezTo>
                  <a:cubicBezTo>
                    <a:pt x="91261" y="96059"/>
                    <a:pt x="91261" y="96059"/>
                    <a:pt x="85160" y="96713"/>
                  </a:cubicBezTo>
                  <a:cubicBezTo>
                    <a:pt x="77097" y="97585"/>
                    <a:pt x="73611" y="92135"/>
                    <a:pt x="77097" y="84505"/>
                  </a:cubicBezTo>
                  <a:cubicBezTo>
                    <a:pt x="78841" y="80581"/>
                    <a:pt x="81238" y="78836"/>
                    <a:pt x="85160" y="78836"/>
                  </a:cubicBezTo>
                  <a:cubicBezTo>
                    <a:pt x="91044" y="78836"/>
                    <a:pt x="91697" y="80145"/>
                    <a:pt x="88429" y="85377"/>
                  </a:cubicBezTo>
                  <a:cubicBezTo>
                    <a:pt x="86032" y="89301"/>
                    <a:pt x="89518" y="91917"/>
                    <a:pt x="95184" y="90391"/>
                  </a:cubicBezTo>
                  <a:cubicBezTo>
                    <a:pt x="98234" y="89519"/>
                    <a:pt x="98888" y="87993"/>
                    <a:pt x="98017" y="84505"/>
                  </a:cubicBezTo>
                  <a:cubicBezTo>
                    <a:pt x="97363" y="81889"/>
                    <a:pt x="98017" y="77092"/>
                    <a:pt x="99106" y="73822"/>
                  </a:cubicBezTo>
                  <a:cubicBezTo>
                    <a:pt x="101067" y="68590"/>
                    <a:pt x="100849" y="67936"/>
                    <a:pt x="96055" y="66628"/>
                  </a:cubicBezTo>
                  <a:cubicBezTo>
                    <a:pt x="93223" y="65974"/>
                    <a:pt x="90390" y="64012"/>
                    <a:pt x="89736" y="62486"/>
                  </a:cubicBezTo>
                  <a:cubicBezTo>
                    <a:pt x="89082" y="60742"/>
                    <a:pt x="85160" y="59870"/>
                    <a:pt x="78405" y="60088"/>
                  </a:cubicBezTo>
                  <a:cubicBezTo>
                    <a:pt x="70124" y="60306"/>
                    <a:pt x="67727" y="59434"/>
                    <a:pt x="65113" y="55510"/>
                  </a:cubicBezTo>
                  <a:cubicBezTo>
                    <a:pt x="59883" y="47661"/>
                    <a:pt x="57922" y="49623"/>
                    <a:pt x="57922" y="62486"/>
                  </a:cubicBezTo>
                  <a:cubicBezTo>
                    <a:pt x="57922" y="69026"/>
                    <a:pt x="58575" y="74476"/>
                    <a:pt x="59665" y="74476"/>
                  </a:cubicBezTo>
                  <a:cubicBezTo>
                    <a:pt x="60536" y="74476"/>
                    <a:pt x="65984" y="72950"/>
                    <a:pt x="71868" y="71206"/>
                  </a:cubicBezTo>
                  <a:cubicBezTo>
                    <a:pt x="85378" y="67064"/>
                    <a:pt x="89082" y="67064"/>
                    <a:pt x="81456" y="71206"/>
                  </a:cubicBezTo>
                  <a:cubicBezTo>
                    <a:pt x="78187" y="72950"/>
                    <a:pt x="75136" y="76438"/>
                    <a:pt x="74265" y="78836"/>
                  </a:cubicBezTo>
                  <a:cubicBezTo>
                    <a:pt x="73611" y="81235"/>
                    <a:pt x="71868" y="83197"/>
                    <a:pt x="70778" y="83197"/>
                  </a:cubicBezTo>
                  <a:cubicBezTo>
                    <a:pt x="69689" y="83197"/>
                    <a:pt x="68817" y="87557"/>
                    <a:pt x="68817" y="92789"/>
                  </a:cubicBezTo>
                  <a:cubicBezTo>
                    <a:pt x="68817" y="101291"/>
                    <a:pt x="68163" y="102599"/>
                    <a:pt x="64023" y="103253"/>
                  </a:cubicBezTo>
                  <a:cubicBezTo>
                    <a:pt x="60319" y="103689"/>
                    <a:pt x="58793" y="105651"/>
                    <a:pt x="58357" y="109794"/>
                  </a:cubicBezTo>
                  <a:cubicBezTo>
                    <a:pt x="57922" y="113282"/>
                    <a:pt x="58575" y="115898"/>
                    <a:pt x="59883" y="115898"/>
                  </a:cubicBezTo>
                  <a:cubicBezTo>
                    <a:pt x="62280" y="115898"/>
                    <a:pt x="68163" y="110448"/>
                    <a:pt x="69253" y="106959"/>
                  </a:cubicBezTo>
                  <a:cubicBezTo>
                    <a:pt x="70124" y="104125"/>
                    <a:pt x="77533" y="107613"/>
                    <a:pt x="84506" y="114372"/>
                  </a:cubicBezTo>
                  <a:cubicBezTo>
                    <a:pt x="89736" y="119168"/>
                    <a:pt x="89518" y="122438"/>
                    <a:pt x="84070" y="122438"/>
                  </a:cubicBezTo>
                  <a:cubicBezTo>
                    <a:pt x="81674" y="122438"/>
                    <a:pt x="79712" y="121348"/>
                    <a:pt x="79712" y="119822"/>
                  </a:cubicBezTo>
                  <a:cubicBezTo>
                    <a:pt x="79712" y="118514"/>
                    <a:pt x="79059" y="117860"/>
                    <a:pt x="78405" y="118732"/>
                  </a:cubicBezTo>
                  <a:cubicBezTo>
                    <a:pt x="77751" y="119386"/>
                    <a:pt x="79930" y="123528"/>
                    <a:pt x="83417" y="127888"/>
                  </a:cubicBezTo>
                  <a:cubicBezTo>
                    <a:pt x="91479" y="137917"/>
                    <a:pt x="98670" y="137699"/>
                    <a:pt x="97581" y="127452"/>
                  </a:cubicBezTo>
                  <a:cubicBezTo>
                    <a:pt x="96927" y="120694"/>
                    <a:pt x="97363" y="120258"/>
                    <a:pt x="103464" y="120258"/>
                  </a:cubicBezTo>
                  <a:cubicBezTo>
                    <a:pt x="109130" y="120258"/>
                    <a:pt x="110219" y="119386"/>
                    <a:pt x="110219" y="115026"/>
                  </a:cubicBezTo>
                  <a:cubicBezTo>
                    <a:pt x="110219" y="112192"/>
                    <a:pt x="111745" y="108486"/>
                    <a:pt x="113706" y="106959"/>
                  </a:cubicBezTo>
                  <a:cubicBezTo>
                    <a:pt x="116757" y="104561"/>
                    <a:pt x="117628" y="104779"/>
                    <a:pt x="120243" y="108267"/>
                  </a:cubicBezTo>
                  <a:cubicBezTo>
                    <a:pt x="124165" y="113718"/>
                    <a:pt x="124165" y="120040"/>
                    <a:pt x="120025" y="121566"/>
                  </a:cubicBezTo>
                  <a:cubicBezTo>
                    <a:pt x="115885" y="123310"/>
                    <a:pt x="108040" y="136826"/>
                    <a:pt x="108040" y="142277"/>
                  </a:cubicBezTo>
                  <a:cubicBezTo>
                    <a:pt x="108040" y="145547"/>
                    <a:pt x="109348" y="146637"/>
                    <a:pt x="113052" y="146201"/>
                  </a:cubicBezTo>
                  <a:cubicBezTo>
                    <a:pt x="119371" y="145329"/>
                    <a:pt x="123294" y="147945"/>
                    <a:pt x="123294" y="153177"/>
                  </a:cubicBezTo>
                  <a:cubicBezTo>
                    <a:pt x="123294" y="156665"/>
                    <a:pt x="122204" y="157101"/>
                    <a:pt x="117846" y="156011"/>
                  </a:cubicBezTo>
                  <a:cubicBezTo>
                    <a:pt x="109130" y="153831"/>
                    <a:pt x="107822" y="161025"/>
                    <a:pt x="115885" y="167566"/>
                  </a:cubicBezTo>
                  <a:cubicBezTo>
                    <a:pt x="119371" y="170182"/>
                    <a:pt x="122858" y="172580"/>
                    <a:pt x="123512" y="172580"/>
                  </a:cubicBezTo>
                  <a:cubicBezTo>
                    <a:pt x="125037" y="172580"/>
                    <a:pt x="134189" y="154485"/>
                    <a:pt x="134189" y="151651"/>
                  </a:cubicBezTo>
                  <a:cubicBezTo>
                    <a:pt x="134189" y="150561"/>
                    <a:pt x="131356" y="146419"/>
                    <a:pt x="127652" y="142495"/>
                  </a:cubicBezTo>
                  <a:cubicBezTo>
                    <a:pt x="124165" y="138571"/>
                    <a:pt x="121115" y="134646"/>
                    <a:pt x="121115" y="133774"/>
                  </a:cubicBezTo>
                  <a:cubicBezTo>
                    <a:pt x="121115" y="132902"/>
                    <a:pt x="125691" y="132248"/>
                    <a:pt x="131574" y="132248"/>
                  </a:cubicBezTo>
                  <a:lnTo>
                    <a:pt x="141816" y="132248"/>
                  </a:lnTo>
                  <a:lnTo>
                    <a:pt x="142905" y="143149"/>
                  </a:lnTo>
                  <a:cubicBezTo>
                    <a:pt x="143777" y="152523"/>
                    <a:pt x="144431" y="153395"/>
                    <a:pt x="146392" y="149907"/>
                  </a:cubicBezTo>
                  <a:cubicBezTo>
                    <a:pt x="148135" y="147073"/>
                    <a:pt x="150096" y="146201"/>
                    <a:pt x="152711" y="147291"/>
                  </a:cubicBezTo>
                  <a:cubicBezTo>
                    <a:pt x="156416" y="148599"/>
                    <a:pt x="156416" y="151215"/>
                    <a:pt x="152929" y="159717"/>
                  </a:cubicBezTo>
                  <a:cubicBezTo>
                    <a:pt x="150968" y="164077"/>
                    <a:pt x="158159" y="167566"/>
                    <a:pt x="160556" y="163423"/>
                  </a:cubicBezTo>
                  <a:cubicBezTo>
                    <a:pt x="161428" y="161897"/>
                    <a:pt x="163171" y="161461"/>
                    <a:pt x="164043" y="162551"/>
                  </a:cubicBezTo>
                  <a:cubicBezTo>
                    <a:pt x="164914" y="163641"/>
                    <a:pt x="164478" y="164949"/>
                    <a:pt x="163171" y="165385"/>
                  </a:cubicBezTo>
                  <a:cubicBezTo>
                    <a:pt x="157069" y="167566"/>
                    <a:pt x="162081" y="184788"/>
                    <a:pt x="172105" y="195471"/>
                  </a:cubicBezTo>
                  <a:cubicBezTo>
                    <a:pt x="177335" y="201139"/>
                    <a:pt x="178424" y="201575"/>
                    <a:pt x="182565" y="198959"/>
                  </a:cubicBezTo>
                  <a:cubicBezTo>
                    <a:pt x="186487" y="196561"/>
                    <a:pt x="187359" y="196561"/>
                    <a:pt x="189102" y="199613"/>
                  </a:cubicBezTo>
                  <a:cubicBezTo>
                    <a:pt x="192370" y="205499"/>
                    <a:pt x="194550" y="203537"/>
                    <a:pt x="194332" y="195034"/>
                  </a:cubicBezTo>
                  <a:cubicBezTo>
                    <a:pt x="194114" y="188930"/>
                    <a:pt x="193242" y="186750"/>
                    <a:pt x="190627" y="186750"/>
                  </a:cubicBezTo>
                  <a:cubicBezTo>
                    <a:pt x="188666" y="186750"/>
                    <a:pt x="185397" y="185442"/>
                    <a:pt x="183436" y="183698"/>
                  </a:cubicBezTo>
                  <a:cubicBezTo>
                    <a:pt x="181475" y="181954"/>
                    <a:pt x="177771" y="181300"/>
                    <a:pt x="174720" y="182172"/>
                  </a:cubicBezTo>
                  <a:cubicBezTo>
                    <a:pt x="171669" y="182826"/>
                    <a:pt x="168619" y="182390"/>
                    <a:pt x="167965" y="181082"/>
                  </a:cubicBezTo>
                  <a:cubicBezTo>
                    <a:pt x="167093" y="179774"/>
                    <a:pt x="168619" y="178248"/>
                    <a:pt x="171233" y="177594"/>
                  </a:cubicBezTo>
                  <a:cubicBezTo>
                    <a:pt x="174502" y="176722"/>
                    <a:pt x="175592" y="175196"/>
                    <a:pt x="174938" y="172362"/>
                  </a:cubicBezTo>
                  <a:cubicBezTo>
                    <a:pt x="174066" y="169310"/>
                    <a:pt x="174938" y="168220"/>
                    <a:pt x="177771" y="168220"/>
                  </a:cubicBezTo>
                  <a:cubicBezTo>
                    <a:pt x="180168" y="168220"/>
                    <a:pt x="182565" y="169310"/>
                    <a:pt x="183218" y="170400"/>
                  </a:cubicBezTo>
                  <a:cubicBezTo>
                    <a:pt x="185615" y="174324"/>
                    <a:pt x="192370" y="172798"/>
                    <a:pt x="195639" y="167784"/>
                  </a:cubicBezTo>
                  <a:cubicBezTo>
                    <a:pt x="198472" y="163641"/>
                    <a:pt x="199561" y="163205"/>
                    <a:pt x="202394" y="165603"/>
                  </a:cubicBezTo>
                  <a:cubicBezTo>
                    <a:pt x="205227" y="168002"/>
                    <a:pt x="205445" y="169310"/>
                    <a:pt x="203266" y="172798"/>
                  </a:cubicBezTo>
                  <a:cubicBezTo>
                    <a:pt x="199126" y="179556"/>
                    <a:pt x="203920" y="184788"/>
                    <a:pt x="213507" y="183916"/>
                  </a:cubicBezTo>
                  <a:cubicBezTo>
                    <a:pt x="223967" y="183044"/>
                    <a:pt x="223749" y="186532"/>
                    <a:pt x="211764" y="199831"/>
                  </a:cubicBezTo>
                  <a:cubicBezTo>
                    <a:pt x="202612" y="210295"/>
                    <a:pt x="201958" y="210731"/>
                    <a:pt x="195639" y="208333"/>
                  </a:cubicBezTo>
                  <a:cubicBezTo>
                    <a:pt x="191935" y="207025"/>
                    <a:pt x="186269" y="206371"/>
                    <a:pt x="182783" y="207025"/>
                  </a:cubicBezTo>
                  <a:cubicBezTo>
                    <a:pt x="176245" y="208115"/>
                    <a:pt x="162517" y="217489"/>
                    <a:pt x="162517" y="220977"/>
                  </a:cubicBezTo>
                  <a:cubicBezTo>
                    <a:pt x="162517" y="222067"/>
                    <a:pt x="166439" y="226864"/>
                    <a:pt x="171451" y="231660"/>
                  </a:cubicBezTo>
                  <a:cubicBezTo>
                    <a:pt x="177771" y="237764"/>
                    <a:pt x="179950" y="241470"/>
                    <a:pt x="178860" y="244086"/>
                  </a:cubicBezTo>
                  <a:cubicBezTo>
                    <a:pt x="177989" y="246048"/>
                    <a:pt x="176681" y="249536"/>
                    <a:pt x="176245" y="251716"/>
                  </a:cubicBezTo>
                  <a:cubicBezTo>
                    <a:pt x="174720" y="256731"/>
                    <a:pt x="171233" y="256513"/>
                    <a:pt x="171233" y="251280"/>
                  </a:cubicBezTo>
                  <a:cubicBezTo>
                    <a:pt x="171233" y="244522"/>
                    <a:pt x="162735" y="231442"/>
                    <a:pt x="159031" y="232968"/>
                  </a:cubicBezTo>
                  <a:cubicBezTo>
                    <a:pt x="155108" y="234494"/>
                    <a:pt x="155108" y="234930"/>
                    <a:pt x="160338" y="241906"/>
                  </a:cubicBezTo>
                  <a:cubicBezTo>
                    <a:pt x="164478" y="247356"/>
                    <a:pt x="164696" y="249318"/>
                    <a:pt x="162517" y="263925"/>
                  </a:cubicBezTo>
                  <a:cubicBezTo>
                    <a:pt x="160338" y="279185"/>
                    <a:pt x="160556" y="280493"/>
                    <a:pt x="165132" y="285290"/>
                  </a:cubicBezTo>
                  <a:cubicBezTo>
                    <a:pt x="171233" y="291612"/>
                    <a:pt x="175374" y="288778"/>
                    <a:pt x="171669" y="280493"/>
                  </a:cubicBezTo>
                  <a:cubicBezTo>
                    <a:pt x="170362" y="277441"/>
                    <a:pt x="169926" y="275043"/>
                    <a:pt x="171016" y="275043"/>
                  </a:cubicBezTo>
                  <a:cubicBezTo>
                    <a:pt x="172105" y="275043"/>
                    <a:pt x="173413" y="276569"/>
                    <a:pt x="174284" y="278313"/>
                  </a:cubicBezTo>
                  <a:cubicBezTo>
                    <a:pt x="174938" y="280057"/>
                    <a:pt x="177553" y="281583"/>
                    <a:pt x="179950" y="281583"/>
                  </a:cubicBezTo>
                  <a:cubicBezTo>
                    <a:pt x="182347" y="281583"/>
                    <a:pt x="184308" y="282674"/>
                    <a:pt x="184308" y="283764"/>
                  </a:cubicBezTo>
                  <a:cubicBezTo>
                    <a:pt x="184308" y="285072"/>
                    <a:pt x="186705" y="287034"/>
                    <a:pt x="189756" y="288124"/>
                  </a:cubicBezTo>
                  <a:cubicBezTo>
                    <a:pt x="192806" y="289214"/>
                    <a:pt x="195203" y="291176"/>
                    <a:pt x="195203" y="292266"/>
                  </a:cubicBezTo>
                  <a:cubicBezTo>
                    <a:pt x="195203" y="295536"/>
                    <a:pt x="190191" y="297934"/>
                    <a:pt x="189102" y="295100"/>
                  </a:cubicBezTo>
                  <a:cubicBezTo>
                    <a:pt x="187577" y="290304"/>
                    <a:pt x="184526" y="292484"/>
                    <a:pt x="181911" y="300114"/>
                  </a:cubicBezTo>
                  <a:cubicBezTo>
                    <a:pt x="178424" y="309488"/>
                    <a:pt x="173413" y="310142"/>
                    <a:pt x="173413" y="301422"/>
                  </a:cubicBezTo>
                  <a:cubicBezTo>
                    <a:pt x="173413" y="294882"/>
                    <a:pt x="167965" y="290522"/>
                    <a:pt x="164043" y="294446"/>
                  </a:cubicBezTo>
                  <a:cubicBezTo>
                    <a:pt x="162953" y="295536"/>
                    <a:pt x="160338" y="295754"/>
                    <a:pt x="157941" y="295318"/>
                  </a:cubicBezTo>
                  <a:cubicBezTo>
                    <a:pt x="154890" y="294446"/>
                    <a:pt x="154455" y="293356"/>
                    <a:pt x="155980" y="290304"/>
                  </a:cubicBezTo>
                  <a:cubicBezTo>
                    <a:pt x="158595" y="285290"/>
                    <a:pt x="158813" y="281583"/>
                    <a:pt x="156198" y="281583"/>
                  </a:cubicBezTo>
                  <a:cubicBezTo>
                    <a:pt x="155108" y="281583"/>
                    <a:pt x="153147" y="284636"/>
                    <a:pt x="151622" y="288124"/>
                  </a:cubicBezTo>
                  <a:cubicBezTo>
                    <a:pt x="150096" y="291830"/>
                    <a:pt x="147482" y="294664"/>
                    <a:pt x="145738" y="294664"/>
                  </a:cubicBezTo>
                  <a:cubicBezTo>
                    <a:pt x="143777" y="294664"/>
                    <a:pt x="142905" y="295972"/>
                    <a:pt x="143777" y="297934"/>
                  </a:cubicBezTo>
                  <a:cubicBezTo>
                    <a:pt x="144649" y="300768"/>
                    <a:pt x="144213" y="300986"/>
                    <a:pt x="140726" y="299024"/>
                  </a:cubicBezTo>
                  <a:cubicBezTo>
                    <a:pt x="138329" y="297716"/>
                    <a:pt x="136368" y="295318"/>
                    <a:pt x="136368" y="293574"/>
                  </a:cubicBezTo>
                  <a:cubicBezTo>
                    <a:pt x="136368" y="291830"/>
                    <a:pt x="135061" y="290304"/>
                    <a:pt x="133318" y="290304"/>
                  </a:cubicBezTo>
                  <a:cubicBezTo>
                    <a:pt x="128524" y="290304"/>
                    <a:pt x="127216" y="294010"/>
                    <a:pt x="131138" y="295536"/>
                  </a:cubicBezTo>
                  <a:cubicBezTo>
                    <a:pt x="133753" y="296626"/>
                    <a:pt x="133971" y="297716"/>
                    <a:pt x="132446" y="299678"/>
                  </a:cubicBezTo>
                  <a:cubicBezTo>
                    <a:pt x="131138" y="301204"/>
                    <a:pt x="130703" y="306436"/>
                    <a:pt x="131356" y="311450"/>
                  </a:cubicBezTo>
                  <a:cubicBezTo>
                    <a:pt x="132446" y="319735"/>
                    <a:pt x="133100" y="320607"/>
                    <a:pt x="139419" y="321261"/>
                  </a:cubicBezTo>
                  <a:cubicBezTo>
                    <a:pt x="144649" y="321697"/>
                    <a:pt x="146392" y="323005"/>
                    <a:pt x="146828" y="327147"/>
                  </a:cubicBezTo>
                  <a:lnTo>
                    <a:pt x="147699" y="332379"/>
                  </a:lnTo>
                  <a:lnTo>
                    <a:pt x="140291" y="328019"/>
                  </a:lnTo>
                  <a:cubicBezTo>
                    <a:pt x="133753" y="324095"/>
                    <a:pt x="132228" y="324095"/>
                    <a:pt x="128742" y="326493"/>
                  </a:cubicBezTo>
                  <a:cubicBezTo>
                    <a:pt x="122204" y="331289"/>
                    <a:pt x="118064" y="330417"/>
                    <a:pt x="120025" y="324749"/>
                  </a:cubicBezTo>
                  <a:cubicBezTo>
                    <a:pt x="123730" y="312105"/>
                    <a:pt x="123948" y="309270"/>
                    <a:pt x="120243" y="307308"/>
                  </a:cubicBezTo>
                  <a:cubicBezTo>
                    <a:pt x="115667" y="304692"/>
                    <a:pt x="115667" y="299678"/>
                    <a:pt x="120679" y="298370"/>
                  </a:cubicBezTo>
                  <a:cubicBezTo>
                    <a:pt x="123512" y="297498"/>
                    <a:pt x="123512" y="297280"/>
                    <a:pt x="119807" y="297062"/>
                  </a:cubicBezTo>
                  <a:cubicBezTo>
                    <a:pt x="116539" y="296844"/>
                    <a:pt x="114795" y="294882"/>
                    <a:pt x="113924" y="290304"/>
                  </a:cubicBezTo>
                  <a:cubicBezTo>
                    <a:pt x="112616" y="284854"/>
                    <a:pt x="111527" y="283764"/>
                    <a:pt x="105861" y="283764"/>
                  </a:cubicBezTo>
                  <a:cubicBezTo>
                    <a:pt x="101285" y="283764"/>
                    <a:pt x="99324" y="284854"/>
                    <a:pt x="99324" y="287252"/>
                  </a:cubicBezTo>
                  <a:cubicBezTo>
                    <a:pt x="99324" y="292266"/>
                    <a:pt x="103682" y="299242"/>
                    <a:pt x="106079" y="297934"/>
                  </a:cubicBezTo>
                  <a:cubicBezTo>
                    <a:pt x="109784" y="295536"/>
                    <a:pt x="112834" y="299242"/>
                    <a:pt x="110001" y="302512"/>
                  </a:cubicBezTo>
                  <a:cubicBezTo>
                    <a:pt x="108040" y="304910"/>
                    <a:pt x="108258" y="306654"/>
                    <a:pt x="111309" y="309924"/>
                  </a:cubicBezTo>
                  <a:cubicBezTo>
                    <a:pt x="116975" y="316247"/>
                    <a:pt x="114142" y="321043"/>
                    <a:pt x="105425" y="319299"/>
                  </a:cubicBezTo>
                  <a:cubicBezTo>
                    <a:pt x="96055" y="317555"/>
                    <a:pt x="95620" y="317119"/>
                    <a:pt x="100631" y="313195"/>
                  </a:cubicBezTo>
                  <a:cubicBezTo>
                    <a:pt x="102811" y="311450"/>
                    <a:pt x="103682" y="309924"/>
                    <a:pt x="102593" y="309924"/>
                  </a:cubicBezTo>
                  <a:cubicBezTo>
                    <a:pt x="101285" y="309924"/>
                    <a:pt x="96927" y="312977"/>
                    <a:pt x="93005" y="316465"/>
                  </a:cubicBezTo>
                  <a:cubicBezTo>
                    <a:pt x="87993" y="321043"/>
                    <a:pt x="86032" y="324531"/>
                    <a:pt x="86903" y="327365"/>
                  </a:cubicBezTo>
                  <a:cubicBezTo>
                    <a:pt x="88429" y="333251"/>
                    <a:pt x="85596" y="334559"/>
                    <a:pt x="82327" y="329327"/>
                  </a:cubicBezTo>
                  <a:close/>
                  <a:moveTo>
                    <a:pt x="93441" y="289432"/>
                  </a:moveTo>
                  <a:cubicBezTo>
                    <a:pt x="98017" y="285944"/>
                    <a:pt x="98234" y="283764"/>
                    <a:pt x="93876" y="283764"/>
                  </a:cubicBezTo>
                  <a:cubicBezTo>
                    <a:pt x="92133" y="283764"/>
                    <a:pt x="90608" y="282237"/>
                    <a:pt x="90608" y="280493"/>
                  </a:cubicBezTo>
                  <a:cubicBezTo>
                    <a:pt x="90608" y="278749"/>
                    <a:pt x="92569" y="277223"/>
                    <a:pt x="94966" y="277223"/>
                  </a:cubicBezTo>
                  <a:cubicBezTo>
                    <a:pt x="98017" y="277223"/>
                    <a:pt x="99324" y="275697"/>
                    <a:pt x="99324" y="272645"/>
                  </a:cubicBezTo>
                  <a:cubicBezTo>
                    <a:pt x="99324" y="269157"/>
                    <a:pt x="98452" y="268503"/>
                    <a:pt x="94966" y="269593"/>
                  </a:cubicBezTo>
                  <a:cubicBezTo>
                    <a:pt x="92133" y="270465"/>
                    <a:pt x="90608" y="270029"/>
                    <a:pt x="90608" y="268285"/>
                  </a:cubicBezTo>
                  <a:cubicBezTo>
                    <a:pt x="90608" y="266759"/>
                    <a:pt x="89082" y="263925"/>
                    <a:pt x="87121" y="261745"/>
                  </a:cubicBezTo>
                  <a:cubicBezTo>
                    <a:pt x="83417" y="257603"/>
                    <a:pt x="84288" y="251062"/>
                    <a:pt x="88429" y="251062"/>
                  </a:cubicBezTo>
                  <a:cubicBezTo>
                    <a:pt x="89518" y="251062"/>
                    <a:pt x="90608" y="253024"/>
                    <a:pt x="90608" y="255205"/>
                  </a:cubicBezTo>
                  <a:cubicBezTo>
                    <a:pt x="90608" y="260437"/>
                    <a:pt x="105208" y="262835"/>
                    <a:pt x="110437" y="258475"/>
                  </a:cubicBezTo>
                  <a:cubicBezTo>
                    <a:pt x="118500" y="251498"/>
                    <a:pt x="123730" y="259347"/>
                    <a:pt x="121768" y="274825"/>
                  </a:cubicBezTo>
                  <a:cubicBezTo>
                    <a:pt x="120679" y="283328"/>
                    <a:pt x="120897" y="283764"/>
                    <a:pt x="126127" y="283764"/>
                  </a:cubicBezTo>
                  <a:cubicBezTo>
                    <a:pt x="129177" y="283764"/>
                    <a:pt x="132010" y="282456"/>
                    <a:pt x="132664" y="281147"/>
                  </a:cubicBezTo>
                  <a:cubicBezTo>
                    <a:pt x="133318" y="278967"/>
                    <a:pt x="134189" y="278967"/>
                    <a:pt x="136804" y="281147"/>
                  </a:cubicBezTo>
                  <a:cubicBezTo>
                    <a:pt x="139637" y="283328"/>
                    <a:pt x="140944" y="283328"/>
                    <a:pt x="143995" y="280275"/>
                  </a:cubicBezTo>
                  <a:cubicBezTo>
                    <a:pt x="147264" y="276787"/>
                    <a:pt x="147264" y="276351"/>
                    <a:pt x="142905" y="271991"/>
                  </a:cubicBezTo>
                  <a:cubicBezTo>
                    <a:pt x="138329" y="267413"/>
                    <a:pt x="138329" y="267413"/>
                    <a:pt x="135061" y="271555"/>
                  </a:cubicBezTo>
                  <a:cubicBezTo>
                    <a:pt x="132228" y="275479"/>
                    <a:pt x="132010" y="275261"/>
                    <a:pt x="132010" y="267413"/>
                  </a:cubicBezTo>
                  <a:cubicBezTo>
                    <a:pt x="132010" y="258911"/>
                    <a:pt x="127216" y="251062"/>
                    <a:pt x="121768" y="251062"/>
                  </a:cubicBezTo>
                  <a:cubicBezTo>
                    <a:pt x="117410" y="251062"/>
                    <a:pt x="118500" y="247138"/>
                    <a:pt x="123730" y="244304"/>
                  </a:cubicBezTo>
                  <a:cubicBezTo>
                    <a:pt x="127652" y="242124"/>
                    <a:pt x="128959" y="242560"/>
                    <a:pt x="131356" y="245830"/>
                  </a:cubicBezTo>
                  <a:cubicBezTo>
                    <a:pt x="132882" y="248228"/>
                    <a:pt x="136804" y="252588"/>
                    <a:pt x="140073" y="256077"/>
                  </a:cubicBezTo>
                  <a:cubicBezTo>
                    <a:pt x="145302" y="261527"/>
                    <a:pt x="146174" y="261745"/>
                    <a:pt x="149661" y="258475"/>
                  </a:cubicBezTo>
                  <a:cubicBezTo>
                    <a:pt x="152493" y="255859"/>
                    <a:pt x="153365" y="252152"/>
                    <a:pt x="152929" y="242342"/>
                  </a:cubicBezTo>
                  <a:cubicBezTo>
                    <a:pt x="152493" y="227954"/>
                    <a:pt x="150968" y="225120"/>
                    <a:pt x="146174" y="229262"/>
                  </a:cubicBezTo>
                  <a:cubicBezTo>
                    <a:pt x="142252" y="232532"/>
                    <a:pt x="141816" y="238200"/>
                    <a:pt x="145520" y="241906"/>
                  </a:cubicBezTo>
                  <a:cubicBezTo>
                    <a:pt x="147046" y="243432"/>
                    <a:pt x="147264" y="244522"/>
                    <a:pt x="146392" y="244522"/>
                  </a:cubicBezTo>
                  <a:cubicBezTo>
                    <a:pt x="143995" y="244522"/>
                    <a:pt x="131574" y="234058"/>
                    <a:pt x="128088" y="228826"/>
                  </a:cubicBezTo>
                  <a:cubicBezTo>
                    <a:pt x="125473" y="225338"/>
                    <a:pt x="125691" y="224247"/>
                    <a:pt x="130267" y="220541"/>
                  </a:cubicBezTo>
                  <a:cubicBezTo>
                    <a:pt x="133753" y="217489"/>
                    <a:pt x="137240" y="216617"/>
                    <a:pt x="142252" y="217489"/>
                  </a:cubicBezTo>
                  <a:cubicBezTo>
                    <a:pt x="147699" y="218579"/>
                    <a:pt x="149661" y="217925"/>
                    <a:pt x="151404" y="214437"/>
                  </a:cubicBezTo>
                  <a:cubicBezTo>
                    <a:pt x="152711" y="211821"/>
                    <a:pt x="153801" y="208551"/>
                    <a:pt x="153801" y="207025"/>
                  </a:cubicBezTo>
                  <a:cubicBezTo>
                    <a:pt x="153583" y="202883"/>
                    <a:pt x="143777" y="196343"/>
                    <a:pt x="137022" y="195907"/>
                  </a:cubicBezTo>
                  <a:cubicBezTo>
                    <a:pt x="129395" y="195252"/>
                    <a:pt x="128088" y="200267"/>
                    <a:pt x="135061" y="203319"/>
                  </a:cubicBezTo>
                  <a:cubicBezTo>
                    <a:pt x="142688" y="206807"/>
                    <a:pt x="142688" y="212693"/>
                    <a:pt x="135279" y="210949"/>
                  </a:cubicBezTo>
                  <a:cubicBezTo>
                    <a:pt x="132228" y="210077"/>
                    <a:pt x="127870" y="210513"/>
                    <a:pt x="125473" y="211821"/>
                  </a:cubicBezTo>
                  <a:cubicBezTo>
                    <a:pt x="121986" y="213565"/>
                    <a:pt x="121115" y="213565"/>
                    <a:pt x="121115" y="210949"/>
                  </a:cubicBezTo>
                  <a:cubicBezTo>
                    <a:pt x="121115" y="206153"/>
                    <a:pt x="117846" y="205063"/>
                    <a:pt x="111309" y="207461"/>
                  </a:cubicBezTo>
                  <a:cubicBezTo>
                    <a:pt x="106515" y="209205"/>
                    <a:pt x="106079" y="210295"/>
                    <a:pt x="108040" y="213783"/>
                  </a:cubicBezTo>
                  <a:cubicBezTo>
                    <a:pt x="110655" y="218797"/>
                    <a:pt x="110873" y="222721"/>
                    <a:pt x="108258" y="226646"/>
                  </a:cubicBezTo>
                  <a:cubicBezTo>
                    <a:pt x="106951" y="228826"/>
                    <a:pt x="105425" y="229044"/>
                    <a:pt x="100849" y="226864"/>
                  </a:cubicBezTo>
                  <a:cubicBezTo>
                    <a:pt x="97581" y="225338"/>
                    <a:pt x="94966" y="223157"/>
                    <a:pt x="94966" y="221849"/>
                  </a:cubicBezTo>
                  <a:cubicBezTo>
                    <a:pt x="94966" y="215527"/>
                    <a:pt x="98017" y="209859"/>
                    <a:pt x="101503" y="208987"/>
                  </a:cubicBezTo>
                  <a:cubicBezTo>
                    <a:pt x="103682" y="208333"/>
                    <a:pt x="105861" y="205717"/>
                    <a:pt x="106297" y="202883"/>
                  </a:cubicBezTo>
                  <a:cubicBezTo>
                    <a:pt x="106733" y="198959"/>
                    <a:pt x="108258" y="197869"/>
                    <a:pt x="111963" y="198087"/>
                  </a:cubicBezTo>
                  <a:cubicBezTo>
                    <a:pt x="114578" y="198523"/>
                    <a:pt x="120897" y="196125"/>
                    <a:pt x="125909" y="193072"/>
                  </a:cubicBezTo>
                  <a:lnTo>
                    <a:pt x="134843" y="187404"/>
                  </a:lnTo>
                  <a:lnTo>
                    <a:pt x="130267" y="182826"/>
                  </a:lnTo>
                  <a:lnTo>
                    <a:pt x="125473" y="178248"/>
                  </a:lnTo>
                  <a:lnTo>
                    <a:pt x="120461" y="183044"/>
                  </a:lnTo>
                  <a:cubicBezTo>
                    <a:pt x="117628" y="185660"/>
                    <a:pt x="114795" y="187404"/>
                    <a:pt x="114142" y="186750"/>
                  </a:cubicBezTo>
                  <a:cubicBezTo>
                    <a:pt x="113488" y="186096"/>
                    <a:pt x="109566" y="188494"/>
                    <a:pt x="105643" y="192200"/>
                  </a:cubicBezTo>
                  <a:cubicBezTo>
                    <a:pt x="101067" y="196343"/>
                    <a:pt x="96709" y="198523"/>
                    <a:pt x="94312" y="197869"/>
                  </a:cubicBezTo>
                  <a:cubicBezTo>
                    <a:pt x="91261" y="197215"/>
                    <a:pt x="90608" y="197869"/>
                    <a:pt x="91479" y="200267"/>
                  </a:cubicBezTo>
                  <a:cubicBezTo>
                    <a:pt x="95837" y="211603"/>
                    <a:pt x="95402" y="213565"/>
                    <a:pt x="87993" y="217489"/>
                  </a:cubicBezTo>
                  <a:cubicBezTo>
                    <a:pt x="84070" y="219669"/>
                    <a:pt x="80148" y="221195"/>
                    <a:pt x="79277" y="220977"/>
                  </a:cubicBezTo>
                  <a:cubicBezTo>
                    <a:pt x="78405" y="220759"/>
                    <a:pt x="76662" y="222503"/>
                    <a:pt x="75354" y="224902"/>
                  </a:cubicBezTo>
                  <a:cubicBezTo>
                    <a:pt x="72521" y="230352"/>
                    <a:pt x="74918" y="235802"/>
                    <a:pt x="77969" y="230570"/>
                  </a:cubicBezTo>
                  <a:cubicBezTo>
                    <a:pt x="80584" y="225774"/>
                    <a:pt x="82545" y="226210"/>
                    <a:pt x="89082" y="232532"/>
                  </a:cubicBezTo>
                  <a:cubicBezTo>
                    <a:pt x="92351" y="236020"/>
                    <a:pt x="95184" y="237328"/>
                    <a:pt x="96055" y="235802"/>
                  </a:cubicBezTo>
                  <a:cubicBezTo>
                    <a:pt x="97581" y="233186"/>
                    <a:pt x="110001" y="232968"/>
                    <a:pt x="113924" y="235366"/>
                  </a:cubicBezTo>
                  <a:cubicBezTo>
                    <a:pt x="118064" y="237982"/>
                    <a:pt x="114795" y="247138"/>
                    <a:pt x="110219" y="245612"/>
                  </a:cubicBezTo>
                  <a:cubicBezTo>
                    <a:pt x="108258" y="244958"/>
                    <a:pt x="105208" y="245830"/>
                    <a:pt x="103682" y="247792"/>
                  </a:cubicBezTo>
                  <a:cubicBezTo>
                    <a:pt x="100631" y="251498"/>
                    <a:pt x="92787" y="252370"/>
                    <a:pt x="92787" y="248882"/>
                  </a:cubicBezTo>
                  <a:cubicBezTo>
                    <a:pt x="92787" y="247792"/>
                    <a:pt x="94312" y="246702"/>
                    <a:pt x="96055" y="246702"/>
                  </a:cubicBezTo>
                  <a:cubicBezTo>
                    <a:pt x="97799" y="246702"/>
                    <a:pt x="99324" y="245176"/>
                    <a:pt x="99324" y="243432"/>
                  </a:cubicBezTo>
                  <a:cubicBezTo>
                    <a:pt x="99324" y="241034"/>
                    <a:pt x="96709" y="240162"/>
                    <a:pt x="89736" y="240162"/>
                  </a:cubicBezTo>
                  <a:cubicBezTo>
                    <a:pt x="81456" y="240162"/>
                    <a:pt x="79930" y="240816"/>
                    <a:pt x="78841" y="245394"/>
                  </a:cubicBezTo>
                  <a:cubicBezTo>
                    <a:pt x="77315" y="251934"/>
                    <a:pt x="79712" y="277005"/>
                    <a:pt x="82109" y="278531"/>
                  </a:cubicBezTo>
                  <a:cubicBezTo>
                    <a:pt x="83199" y="279185"/>
                    <a:pt x="84070" y="281801"/>
                    <a:pt x="84070" y="284636"/>
                  </a:cubicBezTo>
                  <a:cubicBezTo>
                    <a:pt x="84070" y="292702"/>
                    <a:pt x="86903" y="294228"/>
                    <a:pt x="93441" y="289432"/>
                  </a:cubicBezTo>
                  <a:close/>
                  <a:moveTo>
                    <a:pt x="118936" y="271773"/>
                  </a:moveTo>
                  <a:cubicBezTo>
                    <a:pt x="123294" y="266541"/>
                    <a:pt x="118500" y="262835"/>
                    <a:pt x="113706" y="267413"/>
                  </a:cubicBezTo>
                  <a:cubicBezTo>
                    <a:pt x="110219" y="270901"/>
                    <a:pt x="110655" y="275043"/>
                    <a:pt x="114360" y="275043"/>
                  </a:cubicBezTo>
                  <a:cubicBezTo>
                    <a:pt x="115449" y="275043"/>
                    <a:pt x="117410" y="273517"/>
                    <a:pt x="118936" y="271773"/>
                  </a:cubicBezTo>
                  <a:close/>
                  <a:moveTo>
                    <a:pt x="157069" y="220541"/>
                  </a:moveTo>
                  <a:cubicBezTo>
                    <a:pt x="155980" y="218797"/>
                    <a:pt x="154672" y="218797"/>
                    <a:pt x="153365" y="220105"/>
                  </a:cubicBezTo>
                  <a:cubicBezTo>
                    <a:pt x="152058" y="221413"/>
                    <a:pt x="151840" y="223593"/>
                    <a:pt x="152711" y="224902"/>
                  </a:cubicBezTo>
                  <a:cubicBezTo>
                    <a:pt x="153801" y="226646"/>
                    <a:pt x="155108" y="226646"/>
                    <a:pt x="156416" y="225338"/>
                  </a:cubicBezTo>
                  <a:cubicBezTo>
                    <a:pt x="157723" y="224029"/>
                    <a:pt x="157941" y="221849"/>
                    <a:pt x="157069" y="220541"/>
                  </a:cubicBezTo>
                  <a:close/>
                  <a:moveTo>
                    <a:pt x="166875" y="204191"/>
                  </a:moveTo>
                  <a:cubicBezTo>
                    <a:pt x="166875" y="198741"/>
                    <a:pt x="162081" y="190238"/>
                    <a:pt x="158159" y="188930"/>
                  </a:cubicBezTo>
                  <a:cubicBezTo>
                    <a:pt x="155762" y="188276"/>
                    <a:pt x="153801" y="184570"/>
                    <a:pt x="152929" y="179338"/>
                  </a:cubicBezTo>
                  <a:cubicBezTo>
                    <a:pt x="151622" y="171054"/>
                    <a:pt x="146392" y="164077"/>
                    <a:pt x="143559" y="166912"/>
                  </a:cubicBezTo>
                  <a:cubicBezTo>
                    <a:pt x="142688" y="167784"/>
                    <a:pt x="143341" y="169310"/>
                    <a:pt x="144867" y="170182"/>
                  </a:cubicBezTo>
                  <a:cubicBezTo>
                    <a:pt x="147264" y="171708"/>
                    <a:pt x="147264" y="173452"/>
                    <a:pt x="144213" y="179338"/>
                  </a:cubicBezTo>
                  <a:cubicBezTo>
                    <a:pt x="140726" y="186532"/>
                    <a:pt x="140726" y="186532"/>
                    <a:pt x="147264" y="191764"/>
                  </a:cubicBezTo>
                  <a:cubicBezTo>
                    <a:pt x="150750" y="194598"/>
                    <a:pt x="153801" y="198087"/>
                    <a:pt x="153801" y="199395"/>
                  </a:cubicBezTo>
                  <a:cubicBezTo>
                    <a:pt x="153801" y="200921"/>
                    <a:pt x="155980" y="203101"/>
                    <a:pt x="158813" y="204409"/>
                  </a:cubicBezTo>
                  <a:cubicBezTo>
                    <a:pt x="165568" y="207897"/>
                    <a:pt x="166875" y="207897"/>
                    <a:pt x="166875" y="204191"/>
                  </a:cubicBezTo>
                  <a:close/>
                  <a:moveTo>
                    <a:pt x="203920" y="196561"/>
                  </a:moveTo>
                  <a:cubicBezTo>
                    <a:pt x="203920" y="195471"/>
                    <a:pt x="203048" y="194380"/>
                    <a:pt x="201740" y="194380"/>
                  </a:cubicBezTo>
                  <a:cubicBezTo>
                    <a:pt x="200651" y="194380"/>
                    <a:pt x="199561" y="195471"/>
                    <a:pt x="199561" y="196561"/>
                  </a:cubicBezTo>
                  <a:cubicBezTo>
                    <a:pt x="199561" y="197869"/>
                    <a:pt x="200651" y="198741"/>
                    <a:pt x="201740" y="198741"/>
                  </a:cubicBezTo>
                  <a:cubicBezTo>
                    <a:pt x="203048" y="198741"/>
                    <a:pt x="203920" y="197869"/>
                    <a:pt x="203920" y="196561"/>
                  </a:cubicBezTo>
                  <a:close/>
                  <a:moveTo>
                    <a:pt x="104772" y="183044"/>
                  </a:moveTo>
                  <a:cubicBezTo>
                    <a:pt x="112398" y="182172"/>
                    <a:pt x="114795" y="175196"/>
                    <a:pt x="109130" y="169746"/>
                  </a:cubicBezTo>
                  <a:cubicBezTo>
                    <a:pt x="105425" y="165821"/>
                    <a:pt x="99324" y="167130"/>
                    <a:pt x="99324" y="171708"/>
                  </a:cubicBezTo>
                  <a:cubicBezTo>
                    <a:pt x="99324" y="173888"/>
                    <a:pt x="97581" y="174324"/>
                    <a:pt x="92787" y="173452"/>
                  </a:cubicBezTo>
                  <a:cubicBezTo>
                    <a:pt x="87121" y="172144"/>
                    <a:pt x="86250" y="172580"/>
                    <a:pt x="86250" y="176940"/>
                  </a:cubicBezTo>
                  <a:cubicBezTo>
                    <a:pt x="86250" y="182608"/>
                    <a:pt x="92787" y="188494"/>
                    <a:pt x="96055" y="185660"/>
                  </a:cubicBezTo>
                  <a:cubicBezTo>
                    <a:pt x="97145" y="184570"/>
                    <a:pt x="101285" y="183480"/>
                    <a:pt x="104772" y="183044"/>
                  </a:cubicBezTo>
                  <a:close/>
                  <a:moveTo>
                    <a:pt x="100196" y="158845"/>
                  </a:moveTo>
                  <a:cubicBezTo>
                    <a:pt x="105861" y="154703"/>
                    <a:pt x="103900" y="147509"/>
                    <a:pt x="97145" y="147291"/>
                  </a:cubicBezTo>
                  <a:cubicBezTo>
                    <a:pt x="94094" y="147073"/>
                    <a:pt x="89954" y="146201"/>
                    <a:pt x="87993" y="145329"/>
                  </a:cubicBezTo>
                  <a:cubicBezTo>
                    <a:pt x="82981" y="143367"/>
                    <a:pt x="76880" y="145547"/>
                    <a:pt x="77969" y="149253"/>
                  </a:cubicBezTo>
                  <a:cubicBezTo>
                    <a:pt x="78623" y="150561"/>
                    <a:pt x="81238" y="152305"/>
                    <a:pt x="83853" y="152523"/>
                  </a:cubicBezTo>
                  <a:cubicBezTo>
                    <a:pt x="86685" y="152959"/>
                    <a:pt x="89518" y="155139"/>
                    <a:pt x="89954" y="157537"/>
                  </a:cubicBezTo>
                  <a:cubicBezTo>
                    <a:pt x="91261" y="162333"/>
                    <a:pt x="94748" y="162769"/>
                    <a:pt x="100196" y="158845"/>
                  </a:cubicBezTo>
                  <a:close/>
                  <a:moveTo>
                    <a:pt x="107822" y="31747"/>
                  </a:moveTo>
                  <a:cubicBezTo>
                    <a:pt x="104990" y="28259"/>
                    <a:pt x="85596" y="28041"/>
                    <a:pt x="86903" y="31529"/>
                  </a:cubicBezTo>
                  <a:cubicBezTo>
                    <a:pt x="87339" y="33055"/>
                    <a:pt x="90390" y="34145"/>
                    <a:pt x="93876" y="34363"/>
                  </a:cubicBezTo>
                  <a:cubicBezTo>
                    <a:pt x="97145" y="34581"/>
                    <a:pt x="100849" y="36325"/>
                    <a:pt x="102157" y="38505"/>
                  </a:cubicBezTo>
                  <a:cubicBezTo>
                    <a:pt x="104118" y="42429"/>
                    <a:pt x="104336" y="42429"/>
                    <a:pt x="107169" y="38505"/>
                  </a:cubicBezTo>
                  <a:cubicBezTo>
                    <a:pt x="109348" y="35671"/>
                    <a:pt x="109566" y="33709"/>
                    <a:pt x="107822" y="31747"/>
                  </a:cubicBezTo>
                  <a:close/>
                </a:path>
              </a:pathLst>
            </a:custGeom>
            <a:grpFill/>
            <a:ln w="218" cap="flat">
              <a:noFill/>
              <a:prstDash val="solid"/>
              <a:miter/>
            </a:ln>
          </p:spPr>
          <p:txBody>
            <a:bodyPr rtlCol="0" anchor="ctr"/>
            <a:lstStyle/>
            <a:p>
              <a:endParaRPr lang="en-GB" dirty="0"/>
            </a:p>
          </p:txBody>
        </p:sp>
        <p:sp>
          <p:nvSpPr>
            <p:cNvPr id="34" name="Freihandform: Form 33">
              <a:extLst>
                <a:ext uri="{FF2B5EF4-FFF2-40B4-BE49-F238E27FC236}">
                  <a16:creationId xmlns:a16="http://schemas.microsoft.com/office/drawing/2014/main" xmlns="" id="{F33D21EA-4ECB-4CE3-9C18-63CD19DE8CE7}"/>
                </a:ext>
              </a:extLst>
            </p:cNvPr>
            <p:cNvSpPr/>
            <p:nvPr/>
          </p:nvSpPr>
          <p:spPr>
            <a:xfrm flipV="1">
              <a:off x="4726658" y="5304007"/>
              <a:ext cx="4358" cy="5667"/>
            </a:xfrm>
            <a:custGeom>
              <a:avLst/>
              <a:gdLst>
                <a:gd name="connsiteX0" fmla="*/ -3600 w 4358"/>
                <a:gd name="connsiteY0" fmla="*/ 3735 h 5667"/>
                <a:gd name="connsiteX1" fmla="*/ -1421 w 4358"/>
                <a:gd name="connsiteY1" fmla="*/ 246 h 5667"/>
                <a:gd name="connsiteX2" fmla="*/ 758 w 4358"/>
                <a:gd name="connsiteY2" fmla="*/ 2209 h 5667"/>
                <a:gd name="connsiteX3" fmla="*/ -1421 w 4358"/>
                <a:gd name="connsiteY3" fmla="*/ 5697 h 5667"/>
                <a:gd name="connsiteX4" fmla="*/ -3600 w 4358"/>
                <a:gd name="connsiteY4" fmla="*/ 3735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3600" y="3735"/>
                  </a:moveTo>
                  <a:cubicBezTo>
                    <a:pt x="-3600" y="2427"/>
                    <a:pt x="-2510" y="900"/>
                    <a:pt x="-1421" y="246"/>
                  </a:cubicBezTo>
                  <a:cubicBezTo>
                    <a:pt x="-113" y="-408"/>
                    <a:pt x="758" y="464"/>
                    <a:pt x="758" y="2209"/>
                  </a:cubicBezTo>
                  <a:cubicBezTo>
                    <a:pt x="758" y="4171"/>
                    <a:pt x="-113" y="5697"/>
                    <a:pt x="-1421" y="5697"/>
                  </a:cubicBezTo>
                  <a:cubicBezTo>
                    <a:pt x="-2510" y="5697"/>
                    <a:pt x="-3600" y="4825"/>
                    <a:pt x="-3600" y="3735"/>
                  </a:cubicBezTo>
                  <a:close/>
                </a:path>
              </a:pathLst>
            </a:custGeom>
            <a:grpFill/>
            <a:ln w="218" cap="flat">
              <a:noFill/>
              <a:prstDash val="solid"/>
              <a:miter/>
            </a:ln>
          </p:spPr>
          <p:txBody>
            <a:bodyPr rtlCol="0" anchor="ctr"/>
            <a:lstStyle/>
            <a:p>
              <a:endParaRPr lang="en-GB" dirty="0"/>
            </a:p>
          </p:txBody>
        </p:sp>
        <p:sp>
          <p:nvSpPr>
            <p:cNvPr id="35" name="Freihandform: Form 34">
              <a:extLst>
                <a:ext uri="{FF2B5EF4-FFF2-40B4-BE49-F238E27FC236}">
                  <a16:creationId xmlns:a16="http://schemas.microsoft.com/office/drawing/2014/main" xmlns="" id="{FC19D967-0F0A-4C33-B461-6F12FC86A98F}"/>
                </a:ext>
              </a:extLst>
            </p:cNvPr>
            <p:cNvSpPr/>
            <p:nvPr/>
          </p:nvSpPr>
          <p:spPr>
            <a:xfrm flipV="1">
              <a:off x="4711678" y="5203775"/>
              <a:ext cx="6263" cy="6264"/>
            </a:xfrm>
            <a:custGeom>
              <a:avLst/>
              <a:gdLst>
                <a:gd name="connsiteX0" fmla="*/ -2726 w 6263"/>
                <a:gd name="connsiteY0" fmla="*/ 3442 h 6264"/>
                <a:gd name="connsiteX1" fmla="*/ -3162 w 6263"/>
                <a:gd name="connsiteY1" fmla="*/ -46 h 6264"/>
                <a:gd name="connsiteX2" fmla="*/ 2722 w 6263"/>
                <a:gd name="connsiteY2" fmla="*/ 3879 h 6264"/>
                <a:gd name="connsiteX3" fmla="*/ -2726 w 6263"/>
                <a:gd name="connsiteY3" fmla="*/ 3442 h 6264"/>
              </a:gdLst>
              <a:ahLst/>
              <a:cxnLst>
                <a:cxn ang="0">
                  <a:pos x="connsiteX0" y="connsiteY0"/>
                </a:cxn>
                <a:cxn ang="0">
                  <a:pos x="connsiteX1" y="connsiteY1"/>
                </a:cxn>
                <a:cxn ang="0">
                  <a:pos x="connsiteX2" y="connsiteY2"/>
                </a:cxn>
                <a:cxn ang="0">
                  <a:pos x="connsiteX3" y="connsiteY3"/>
                </a:cxn>
              </a:cxnLst>
              <a:rect l="l" t="t" r="r" b="b"/>
              <a:pathLst>
                <a:path w="6263" h="6264">
                  <a:moveTo>
                    <a:pt x="-2726" y="3442"/>
                  </a:moveTo>
                  <a:cubicBezTo>
                    <a:pt x="-3598" y="2134"/>
                    <a:pt x="-3816" y="608"/>
                    <a:pt x="-3162" y="-46"/>
                  </a:cubicBezTo>
                  <a:cubicBezTo>
                    <a:pt x="-1637" y="-1572"/>
                    <a:pt x="2722" y="1262"/>
                    <a:pt x="2722" y="3879"/>
                  </a:cubicBezTo>
                  <a:cubicBezTo>
                    <a:pt x="2722" y="6495"/>
                    <a:pt x="-983" y="6495"/>
                    <a:pt x="-2726" y="3442"/>
                  </a:cubicBezTo>
                  <a:close/>
                </a:path>
              </a:pathLst>
            </a:custGeom>
            <a:grpFill/>
            <a:ln w="218" cap="flat">
              <a:noFill/>
              <a:prstDash val="solid"/>
              <a:miter/>
            </a:ln>
          </p:spPr>
          <p:txBody>
            <a:bodyPr rtlCol="0" anchor="ctr"/>
            <a:lstStyle/>
            <a:p>
              <a:endParaRPr lang="en-GB" dirty="0"/>
            </a:p>
          </p:txBody>
        </p:sp>
        <p:sp>
          <p:nvSpPr>
            <p:cNvPr id="36" name="Freihandform: Form 35">
              <a:extLst>
                <a:ext uri="{FF2B5EF4-FFF2-40B4-BE49-F238E27FC236}">
                  <a16:creationId xmlns:a16="http://schemas.microsoft.com/office/drawing/2014/main" xmlns="" id="{CFBB12F7-C472-4929-BAEF-5FF040391C45}"/>
                </a:ext>
              </a:extLst>
            </p:cNvPr>
            <p:cNvSpPr/>
            <p:nvPr/>
          </p:nvSpPr>
          <p:spPr>
            <a:xfrm flipV="1">
              <a:off x="4787672" y="5204028"/>
              <a:ext cx="87001" cy="49837"/>
            </a:xfrm>
            <a:custGeom>
              <a:avLst/>
              <a:gdLst>
                <a:gd name="connsiteX0" fmla="*/ 67233 w 87001"/>
                <a:gd name="connsiteY0" fmla="*/ 40840 h 49837"/>
                <a:gd name="connsiteX1" fmla="*/ 55902 w 87001"/>
                <a:gd name="connsiteY1" fmla="*/ 23617 h 49837"/>
                <a:gd name="connsiteX2" fmla="*/ 54812 w 87001"/>
                <a:gd name="connsiteY2" fmla="*/ 30157 h 49837"/>
                <a:gd name="connsiteX3" fmla="*/ 44135 w 87001"/>
                <a:gd name="connsiteY3" fmla="*/ 35826 h 49837"/>
                <a:gd name="connsiteX4" fmla="*/ 38905 w 87001"/>
                <a:gd name="connsiteY4" fmla="*/ 34953 h 49837"/>
                <a:gd name="connsiteX5" fmla="*/ 34329 w 87001"/>
                <a:gd name="connsiteY5" fmla="*/ 33645 h 49837"/>
                <a:gd name="connsiteX6" fmla="*/ 25395 w 87001"/>
                <a:gd name="connsiteY6" fmla="*/ 34517 h 49837"/>
                <a:gd name="connsiteX7" fmla="*/ 19947 w 87001"/>
                <a:gd name="connsiteY7" fmla="*/ 43020 h 49837"/>
                <a:gd name="connsiteX8" fmla="*/ 9705 w 87001"/>
                <a:gd name="connsiteY8" fmla="*/ 46508 h 49837"/>
                <a:gd name="connsiteX9" fmla="*/ -4023 w 87001"/>
                <a:gd name="connsiteY9" fmla="*/ 38442 h 49837"/>
                <a:gd name="connsiteX10" fmla="*/ 3386 w 87001"/>
                <a:gd name="connsiteY10" fmla="*/ 37788 h 49837"/>
                <a:gd name="connsiteX11" fmla="*/ 7962 w 87001"/>
                <a:gd name="connsiteY11" fmla="*/ 41058 h 49837"/>
                <a:gd name="connsiteX12" fmla="*/ 5129 w 87001"/>
                <a:gd name="connsiteY12" fmla="*/ 29067 h 49837"/>
                <a:gd name="connsiteX13" fmla="*/ 5347 w 87001"/>
                <a:gd name="connsiteY13" fmla="*/ 20565 h 49837"/>
                <a:gd name="connsiteX14" fmla="*/ 11013 w 87001"/>
                <a:gd name="connsiteY14" fmla="*/ 21219 h 49837"/>
                <a:gd name="connsiteX15" fmla="*/ 27356 w 87001"/>
                <a:gd name="connsiteY15" fmla="*/ 24271 h 49837"/>
                <a:gd name="connsiteX16" fmla="*/ 42174 w 87001"/>
                <a:gd name="connsiteY16" fmla="*/ 18821 h 49837"/>
                <a:gd name="connsiteX17" fmla="*/ 43917 w 87001"/>
                <a:gd name="connsiteY17" fmla="*/ 10537 h 49837"/>
                <a:gd name="connsiteX18" fmla="*/ 55902 w 87001"/>
                <a:gd name="connsiteY18" fmla="*/ 11845 h 49837"/>
                <a:gd name="connsiteX19" fmla="*/ 63964 w 87001"/>
                <a:gd name="connsiteY19" fmla="*/ 7485 h 49837"/>
                <a:gd name="connsiteX20" fmla="*/ 69194 w 87001"/>
                <a:gd name="connsiteY20" fmla="*/ -364 h 49837"/>
                <a:gd name="connsiteX21" fmla="*/ 76821 w 87001"/>
                <a:gd name="connsiteY21" fmla="*/ 16641 h 49837"/>
                <a:gd name="connsiteX22" fmla="*/ 79654 w 87001"/>
                <a:gd name="connsiteY22" fmla="*/ 23617 h 49837"/>
                <a:gd name="connsiteX23" fmla="*/ 80090 w 87001"/>
                <a:gd name="connsiteY23" fmla="*/ 31901 h 49837"/>
                <a:gd name="connsiteX24" fmla="*/ 74642 w 87001"/>
                <a:gd name="connsiteY24" fmla="*/ 43892 h 49837"/>
                <a:gd name="connsiteX25" fmla="*/ 67233 w 87001"/>
                <a:gd name="connsiteY25" fmla="*/ 40840 h 49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7001" h="49837">
                  <a:moveTo>
                    <a:pt x="67233" y="40840"/>
                  </a:moveTo>
                  <a:cubicBezTo>
                    <a:pt x="66144" y="33209"/>
                    <a:pt x="60042" y="23617"/>
                    <a:pt x="55902" y="23617"/>
                  </a:cubicBezTo>
                  <a:cubicBezTo>
                    <a:pt x="55248" y="23617"/>
                    <a:pt x="54812" y="26669"/>
                    <a:pt x="54812" y="30157"/>
                  </a:cubicBezTo>
                  <a:cubicBezTo>
                    <a:pt x="54812" y="38224"/>
                    <a:pt x="49800" y="40840"/>
                    <a:pt x="44135" y="35826"/>
                  </a:cubicBezTo>
                  <a:cubicBezTo>
                    <a:pt x="40866" y="32773"/>
                    <a:pt x="39777" y="32773"/>
                    <a:pt x="38905" y="34953"/>
                  </a:cubicBezTo>
                  <a:cubicBezTo>
                    <a:pt x="38033" y="37134"/>
                    <a:pt x="36726" y="36698"/>
                    <a:pt x="34329" y="33645"/>
                  </a:cubicBezTo>
                  <a:cubicBezTo>
                    <a:pt x="30843" y="29503"/>
                    <a:pt x="30843" y="29503"/>
                    <a:pt x="25395" y="34517"/>
                  </a:cubicBezTo>
                  <a:cubicBezTo>
                    <a:pt x="22344" y="37352"/>
                    <a:pt x="19947" y="41276"/>
                    <a:pt x="19947" y="43020"/>
                  </a:cubicBezTo>
                  <a:cubicBezTo>
                    <a:pt x="19947" y="45636"/>
                    <a:pt x="17550" y="46508"/>
                    <a:pt x="9705" y="46508"/>
                  </a:cubicBezTo>
                  <a:cubicBezTo>
                    <a:pt x="-972" y="46726"/>
                    <a:pt x="-4023" y="44982"/>
                    <a:pt x="-4023" y="38442"/>
                  </a:cubicBezTo>
                  <a:cubicBezTo>
                    <a:pt x="-4023" y="33645"/>
                    <a:pt x="1643" y="33209"/>
                    <a:pt x="3386" y="37788"/>
                  </a:cubicBezTo>
                  <a:cubicBezTo>
                    <a:pt x="4040" y="39532"/>
                    <a:pt x="6219" y="41058"/>
                    <a:pt x="7962" y="41058"/>
                  </a:cubicBezTo>
                  <a:cubicBezTo>
                    <a:pt x="13410" y="41058"/>
                    <a:pt x="11013" y="31683"/>
                    <a:pt x="5129" y="29067"/>
                  </a:cubicBezTo>
                  <a:cubicBezTo>
                    <a:pt x="-318" y="26669"/>
                    <a:pt x="-100" y="24053"/>
                    <a:pt x="5347" y="20565"/>
                  </a:cubicBezTo>
                  <a:cubicBezTo>
                    <a:pt x="8180" y="18821"/>
                    <a:pt x="9705" y="18821"/>
                    <a:pt x="11013" y="21219"/>
                  </a:cubicBezTo>
                  <a:cubicBezTo>
                    <a:pt x="12320" y="23181"/>
                    <a:pt x="17550" y="24271"/>
                    <a:pt x="27356" y="24271"/>
                  </a:cubicBezTo>
                  <a:cubicBezTo>
                    <a:pt x="42392" y="24489"/>
                    <a:pt x="46314" y="22963"/>
                    <a:pt x="42174" y="18821"/>
                  </a:cubicBezTo>
                  <a:cubicBezTo>
                    <a:pt x="38469" y="15115"/>
                    <a:pt x="38905" y="13153"/>
                    <a:pt x="43917" y="10537"/>
                  </a:cubicBezTo>
                  <a:cubicBezTo>
                    <a:pt x="47186" y="8793"/>
                    <a:pt x="50236" y="9011"/>
                    <a:pt x="55902" y="11845"/>
                  </a:cubicBezTo>
                  <a:cubicBezTo>
                    <a:pt x="65054" y="15987"/>
                    <a:pt x="67451" y="14897"/>
                    <a:pt x="63964" y="7485"/>
                  </a:cubicBezTo>
                  <a:cubicBezTo>
                    <a:pt x="61350" y="1380"/>
                    <a:pt x="62439" y="-364"/>
                    <a:pt x="69194" y="-364"/>
                  </a:cubicBezTo>
                  <a:cubicBezTo>
                    <a:pt x="74860" y="-364"/>
                    <a:pt x="77693" y="5740"/>
                    <a:pt x="76821" y="16641"/>
                  </a:cubicBezTo>
                  <a:cubicBezTo>
                    <a:pt x="76385" y="21655"/>
                    <a:pt x="77257" y="23617"/>
                    <a:pt x="79654" y="23617"/>
                  </a:cubicBezTo>
                  <a:cubicBezTo>
                    <a:pt x="84012" y="23617"/>
                    <a:pt x="84012" y="24707"/>
                    <a:pt x="80090" y="31901"/>
                  </a:cubicBezTo>
                  <a:cubicBezTo>
                    <a:pt x="78346" y="35171"/>
                    <a:pt x="75949" y="40404"/>
                    <a:pt x="74642" y="43892"/>
                  </a:cubicBezTo>
                  <a:cubicBezTo>
                    <a:pt x="71373" y="52176"/>
                    <a:pt x="68758" y="51304"/>
                    <a:pt x="67233" y="40840"/>
                  </a:cubicBezTo>
                  <a:close/>
                </a:path>
              </a:pathLst>
            </a:custGeom>
            <a:grpFill/>
            <a:ln w="218" cap="flat">
              <a:noFill/>
              <a:prstDash val="solid"/>
              <a:miter/>
            </a:ln>
          </p:spPr>
          <p:txBody>
            <a:bodyPr rtlCol="0" anchor="ctr"/>
            <a:lstStyle/>
            <a:p>
              <a:endParaRPr lang="en-GB" dirty="0"/>
            </a:p>
          </p:txBody>
        </p:sp>
        <p:sp>
          <p:nvSpPr>
            <p:cNvPr id="37" name="Freihandform: Form 36">
              <a:extLst>
                <a:ext uri="{FF2B5EF4-FFF2-40B4-BE49-F238E27FC236}">
                  <a16:creationId xmlns:a16="http://schemas.microsoft.com/office/drawing/2014/main" xmlns="" id="{1EBF0164-AE66-4998-B35C-448E2E908319}"/>
                </a:ext>
              </a:extLst>
            </p:cNvPr>
            <p:cNvSpPr/>
            <p:nvPr/>
          </p:nvSpPr>
          <p:spPr>
            <a:xfrm flipV="1">
              <a:off x="4876917" y="5203914"/>
              <a:ext cx="28424" cy="24880"/>
            </a:xfrm>
            <a:custGeom>
              <a:avLst/>
              <a:gdLst>
                <a:gd name="connsiteX0" fmla="*/ -2866 w 28424"/>
                <a:gd name="connsiteY0" fmla="*/ 21155 h 24880"/>
                <a:gd name="connsiteX1" fmla="*/ -33 w 28424"/>
                <a:gd name="connsiteY1" fmla="*/ 12653 h 24880"/>
                <a:gd name="connsiteX2" fmla="*/ 8465 w 28424"/>
                <a:gd name="connsiteY2" fmla="*/ 3715 h 24880"/>
                <a:gd name="connsiteX3" fmla="*/ 9990 w 28424"/>
                <a:gd name="connsiteY3" fmla="*/ -427 h 24880"/>
                <a:gd name="connsiteX4" fmla="*/ 11516 w 28424"/>
                <a:gd name="connsiteY4" fmla="*/ 2407 h 24880"/>
                <a:gd name="connsiteX5" fmla="*/ 17399 w 28424"/>
                <a:gd name="connsiteY5" fmla="*/ 12871 h 24880"/>
                <a:gd name="connsiteX6" fmla="*/ 24154 w 28424"/>
                <a:gd name="connsiteY6" fmla="*/ 23118 h 24880"/>
                <a:gd name="connsiteX7" fmla="*/ 21757 w 28424"/>
                <a:gd name="connsiteY7" fmla="*/ 22028 h 24880"/>
                <a:gd name="connsiteX8" fmla="*/ 7593 w 28424"/>
                <a:gd name="connsiteY8" fmla="*/ 21373 h 24880"/>
                <a:gd name="connsiteX9" fmla="*/ -2866 w 28424"/>
                <a:gd name="connsiteY9" fmla="*/ 21155 h 24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424" h="24880">
                  <a:moveTo>
                    <a:pt x="-2866" y="21155"/>
                  </a:moveTo>
                  <a:cubicBezTo>
                    <a:pt x="-5481" y="14615"/>
                    <a:pt x="-4392" y="11127"/>
                    <a:pt x="-33" y="12653"/>
                  </a:cubicBezTo>
                  <a:cubicBezTo>
                    <a:pt x="4761" y="14179"/>
                    <a:pt x="9119" y="9383"/>
                    <a:pt x="8465" y="3715"/>
                  </a:cubicBezTo>
                  <a:cubicBezTo>
                    <a:pt x="8029" y="1317"/>
                    <a:pt x="8683" y="-427"/>
                    <a:pt x="9990" y="-427"/>
                  </a:cubicBezTo>
                  <a:cubicBezTo>
                    <a:pt x="11080" y="-427"/>
                    <a:pt x="11952" y="881"/>
                    <a:pt x="11516" y="2407"/>
                  </a:cubicBezTo>
                  <a:cubicBezTo>
                    <a:pt x="11080" y="3933"/>
                    <a:pt x="13913" y="8729"/>
                    <a:pt x="17399" y="12871"/>
                  </a:cubicBezTo>
                  <a:cubicBezTo>
                    <a:pt x="21104" y="17013"/>
                    <a:pt x="24154" y="21591"/>
                    <a:pt x="24154" y="23118"/>
                  </a:cubicBezTo>
                  <a:cubicBezTo>
                    <a:pt x="24154" y="24644"/>
                    <a:pt x="23065" y="23990"/>
                    <a:pt x="21757" y="22028"/>
                  </a:cubicBezTo>
                  <a:cubicBezTo>
                    <a:pt x="19142" y="17231"/>
                    <a:pt x="13259" y="17013"/>
                    <a:pt x="7593" y="21373"/>
                  </a:cubicBezTo>
                  <a:cubicBezTo>
                    <a:pt x="2146" y="25516"/>
                    <a:pt x="-1123" y="25516"/>
                    <a:pt x="-2866" y="21155"/>
                  </a:cubicBezTo>
                  <a:close/>
                </a:path>
              </a:pathLst>
            </a:custGeom>
            <a:grpFill/>
            <a:ln w="218" cap="flat">
              <a:noFill/>
              <a:prstDash val="solid"/>
              <a:miter/>
            </a:ln>
          </p:spPr>
          <p:txBody>
            <a:bodyPr rtlCol="0" anchor="ctr"/>
            <a:lstStyle/>
            <a:p>
              <a:endParaRPr lang="en-GB" dirty="0"/>
            </a:p>
          </p:txBody>
        </p:sp>
        <p:sp>
          <p:nvSpPr>
            <p:cNvPr id="38" name="Freihandform: Form 37">
              <a:extLst>
                <a:ext uri="{FF2B5EF4-FFF2-40B4-BE49-F238E27FC236}">
                  <a16:creationId xmlns:a16="http://schemas.microsoft.com/office/drawing/2014/main" xmlns="" id="{70C0ADBB-BBEF-4815-9BB5-29AD414E3D33}"/>
                </a:ext>
              </a:extLst>
            </p:cNvPr>
            <p:cNvSpPr/>
            <p:nvPr/>
          </p:nvSpPr>
          <p:spPr>
            <a:xfrm flipV="1">
              <a:off x="4730454" y="5203444"/>
              <a:ext cx="305112" cy="335285"/>
            </a:xfrm>
            <a:custGeom>
              <a:avLst/>
              <a:gdLst>
                <a:gd name="connsiteX0" fmla="*/ 197889 w 305112"/>
                <a:gd name="connsiteY0" fmla="*/ 332961 h 335285"/>
                <a:gd name="connsiteX1" fmla="*/ 193531 w 305112"/>
                <a:gd name="connsiteY1" fmla="*/ 331871 h 335285"/>
                <a:gd name="connsiteX2" fmla="*/ 189391 w 305112"/>
                <a:gd name="connsiteY2" fmla="*/ 331435 h 335285"/>
                <a:gd name="connsiteX3" fmla="*/ 195057 w 305112"/>
                <a:gd name="connsiteY3" fmla="*/ 327947 h 335285"/>
                <a:gd name="connsiteX4" fmla="*/ 201812 w 305112"/>
                <a:gd name="connsiteY4" fmla="*/ 323587 h 335285"/>
                <a:gd name="connsiteX5" fmla="*/ 181982 w 305112"/>
                <a:gd name="connsiteY5" fmla="*/ 323151 h 335285"/>
                <a:gd name="connsiteX6" fmla="*/ 174355 w 305112"/>
                <a:gd name="connsiteY6" fmla="*/ 321189 h 335285"/>
                <a:gd name="connsiteX7" fmla="*/ 165857 w 305112"/>
                <a:gd name="connsiteY7" fmla="*/ 310724 h 335285"/>
                <a:gd name="connsiteX8" fmla="*/ 159756 w 305112"/>
                <a:gd name="connsiteY8" fmla="*/ 302876 h 335285"/>
                <a:gd name="connsiteX9" fmla="*/ 155397 w 305112"/>
                <a:gd name="connsiteY9" fmla="*/ 297208 h 335285"/>
                <a:gd name="connsiteX10" fmla="*/ 152347 w 305112"/>
                <a:gd name="connsiteY10" fmla="*/ 289142 h 335285"/>
                <a:gd name="connsiteX11" fmla="*/ 150168 w 305112"/>
                <a:gd name="connsiteY11" fmla="*/ 285218 h 335285"/>
                <a:gd name="connsiteX12" fmla="*/ 146681 w 305112"/>
                <a:gd name="connsiteY12" fmla="*/ 289578 h 335285"/>
                <a:gd name="connsiteX13" fmla="*/ 144938 w 305112"/>
                <a:gd name="connsiteY13" fmla="*/ 293938 h 335285"/>
                <a:gd name="connsiteX14" fmla="*/ 142759 w 305112"/>
                <a:gd name="connsiteY14" fmla="*/ 281511 h 335285"/>
                <a:gd name="connsiteX15" fmla="*/ 137965 w 305112"/>
                <a:gd name="connsiteY15" fmla="*/ 265815 h 335285"/>
                <a:gd name="connsiteX16" fmla="*/ 136875 w 305112"/>
                <a:gd name="connsiteY16" fmla="*/ 254696 h 335285"/>
                <a:gd name="connsiteX17" fmla="*/ 142759 w 305112"/>
                <a:gd name="connsiteY17" fmla="*/ 259057 h 335285"/>
                <a:gd name="connsiteX18" fmla="*/ 154526 w 305112"/>
                <a:gd name="connsiteY18" fmla="*/ 250990 h 335285"/>
                <a:gd name="connsiteX19" fmla="*/ 147771 w 305112"/>
                <a:gd name="connsiteY19" fmla="*/ 231152 h 335285"/>
                <a:gd name="connsiteX20" fmla="*/ 145374 w 305112"/>
                <a:gd name="connsiteY20" fmla="*/ 238128 h 335285"/>
                <a:gd name="connsiteX21" fmla="*/ 139708 w 305112"/>
                <a:gd name="connsiteY21" fmla="*/ 246412 h 335285"/>
                <a:gd name="connsiteX22" fmla="*/ 127723 w 305112"/>
                <a:gd name="connsiteY22" fmla="*/ 246194 h 335285"/>
                <a:gd name="connsiteX23" fmla="*/ 122711 w 305112"/>
                <a:gd name="connsiteY23" fmla="*/ 253388 h 335285"/>
                <a:gd name="connsiteX24" fmla="*/ 117264 w 305112"/>
                <a:gd name="connsiteY24" fmla="*/ 264725 h 335285"/>
                <a:gd name="connsiteX25" fmla="*/ 111816 w 305112"/>
                <a:gd name="connsiteY25" fmla="*/ 272355 h 335285"/>
                <a:gd name="connsiteX26" fmla="*/ 105279 w 305112"/>
                <a:gd name="connsiteY26" fmla="*/ 274317 h 335285"/>
                <a:gd name="connsiteX27" fmla="*/ 99831 w 305112"/>
                <a:gd name="connsiteY27" fmla="*/ 281075 h 335285"/>
                <a:gd name="connsiteX28" fmla="*/ 97870 w 305112"/>
                <a:gd name="connsiteY28" fmla="*/ 289578 h 335285"/>
                <a:gd name="connsiteX29" fmla="*/ 90897 w 305112"/>
                <a:gd name="connsiteY29" fmla="*/ 295028 h 335285"/>
                <a:gd name="connsiteX30" fmla="*/ 79130 w 305112"/>
                <a:gd name="connsiteY30" fmla="*/ 299170 h 335285"/>
                <a:gd name="connsiteX31" fmla="*/ 88064 w 305112"/>
                <a:gd name="connsiteY31" fmla="*/ 290668 h 335285"/>
                <a:gd name="connsiteX32" fmla="*/ 90243 w 305112"/>
                <a:gd name="connsiteY32" fmla="*/ 283255 h 335285"/>
                <a:gd name="connsiteX33" fmla="*/ 90461 w 305112"/>
                <a:gd name="connsiteY33" fmla="*/ 272791 h 335285"/>
                <a:gd name="connsiteX34" fmla="*/ 84795 w 305112"/>
                <a:gd name="connsiteY34" fmla="*/ 260365 h 335285"/>
                <a:gd name="connsiteX35" fmla="*/ 80655 w 305112"/>
                <a:gd name="connsiteY35" fmla="*/ 258185 h 335285"/>
                <a:gd name="connsiteX36" fmla="*/ 74772 w 305112"/>
                <a:gd name="connsiteY36" fmla="*/ 254696 h 335285"/>
                <a:gd name="connsiteX37" fmla="*/ 70414 w 305112"/>
                <a:gd name="connsiteY37" fmla="*/ 251644 h 335285"/>
                <a:gd name="connsiteX38" fmla="*/ 66491 w 305112"/>
                <a:gd name="connsiteY38" fmla="*/ 249682 h 335285"/>
                <a:gd name="connsiteX39" fmla="*/ 59300 w 305112"/>
                <a:gd name="connsiteY39" fmla="*/ 240744 h 335285"/>
                <a:gd name="connsiteX40" fmla="*/ 58647 w 305112"/>
                <a:gd name="connsiteY40" fmla="*/ 231588 h 335285"/>
                <a:gd name="connsiteX41" fmla="*/ 57775 w 305112"/>
                <a:gd name="connsiteY41" fmla="*/ 222649 h 335285"/>
                <a:gd name="connsiteX42" fmla="*/ 77822 w 305112"/>
                <a:gd name="connsiteY42" fmla="*/ 223303 h 335285"/>
                <a:gd name="connsiteX43" fmla="*/ 78912 w 305112"/>
                <a:gd name="connsiteY43" fmla="*/ 242706 h 335285"/>
                <a:gd name="connsiteX44" fmla="*/ 80219 w 305112"/>
                <a:gd name="connsiteY44" fmla="*/ 248156 h 335285"/>
                <a:gd name="connsiteX45" fmla="*/ 96344 w 305112"/>
                <a:gd name="connsiteY45" fmla="*/ 244450 h 335285"/>
                <a:gd name="connsiteX46" fmla="*/ 93512 w 305112"/>
                <a:gd name="connsiteY46" fmla="*/ 240962 h 335285"/>
                <a:gd name="connsiteX47" fmla="*/ 91986 w 305112"/>
                <a:gd name="connsiteY47" fmla="*/ 233332 h 335285"/>
                <a:gd name="connsiteX48" fmla="*/ 101792 w 305112"/>
                <a:gd name="connsiteY48" fmla="*/ 235512 h 335285"/>
                <a:gd name="connsiteX49" fmla="*/ 106150 w 305112"/>
                <a:gd name="connsiteY49" fmla="*/ 237256 h 335285"/>
                <a:gd name="connsiteX50" fmla="*/ 109637 w 305112"/>
                <a:gd name="connsiteY50" fmla="*/ 231588 h 335285"/>
                <a:gd name="connsiteX51" fmla="*/ 115956 w 305112"/>
                <a:gd name="connsiteY51" fmla="*/ 231588 h 335285"/>
                <a:gd name="connsiteX52" fmla="*/ 132953 w 305112"/>
                <a:gd name="connsiteY52" fmla="*/ 234640 h 335285"/>
                <a:gd name="connsiteX53" fmla="*/ 138183 w 305112"/>
                <a:gd name="connsiteY53" fmla="*/ 227010 h 335285"/>
                <a:gd name="connsiteX54" fmla="*/ 144938 w 305112"/>
                <a:gd name="connsiteY54" fmla="*/ 223085 h 335285"/>
                <a:gd name="connsiteX55" fmla="*/ 154090 w 305112"/>
                <a:gd name="connsiteY55" fmla="*/ 221341 h 335285"/>
                <a:gd name="connsiteX56" fmla="*/ 155615 w 305112"/>
                <a:gd name="connsiteY56" fmla="*/ 213711 h 335285"/>
                <a:gd name="connsiteX57" fmla="*/ 149514 w 305112"/>
                <a:gd name="connsiteY57" fmla="*/ 208915 h 335285"/>
                <a:gd name="connsiteX58" fmla="*/ 143412 w 305112"/>
                <a:gd name="connsiteY58" fmla="*/ 205427 h 335285"/>
                <a:gd name="connsiteX59" fmla="*/ 137747 w 305112"/>
                <a:gd name="connsiteY59" fmla="*/ 204991 h 335285"/>
                <a:gd name="connsiteX60" fmla="*/ 128595 w 305112"/>
                <a:gd name="connsiteY60" fmla="*/ 209787 h 335285"/>
                <a:gd name="connsiteX61" fmla="*/ 126852 w 305112"/>
                <a:gd name="connsiteY61" fmla="*/ 215455 h 335285"/>
                <a:gd name="connsiteX62" fmla="*/ 131863 w 305112"/>
                <a:gd name="connsiteY62" fmla="*/ 222431 h 335285"/>
                <a:gd name="connsiteX63" fmla="*/ 123147 w 305112"/>
                <a:gd name="connsiteY63" fmla="*/ 222431 h 335285"/>
                <a:gd name="connsiteX64" fmla="*/ 114649 w 305112"/>
                <a:gd name="connsiteY64" fmla="*/ 222213 h 335285"/>
                <a:gd name="connsiteX65" fmla="*/ 112252 w 305112"/>
                <a:gd name="connsiteY65" fmla="*/ 215237 h 335285"/>
                <a:gd name="connsiteX66" fmla="*/ 105279 w 305112"/>
                <a:gd name="connsiteY66" fmla="*/ 203901 h 335285"/>
                <a:gd name="connsiteX67" fmla="*/ 102882 w 305112"/>
                <a:gd name="connsiteY67" fmla="*/ 212403 h 335285"/>
                <a:gd name="connsiteX68" fmla="*/ 106368 w 305112"/>
                <a:gd name="connsiteY68" fmla="*/ 219379 h 335285"/>
                <a:gd name="connsiteX69" fmla="*/ 102664 w 305112"/>
                <a:gd name="connsiteY69" fmla="*/ 222213 h 335285"/>
                <a:gd name="connsiteX70" fmla="*/ 91768 w 305112"/>
                <a:gd name="connsiteY70" fmla="*/ 221341 h 335285"/>
                <a:gd name="connsiteX71" fmla="*/ 87192 w 305112"/>
                <a:gd name="connsiteY71" fmla="*/ 216763 h 335285"/>
                <a:gd name="connsiteX72" fmla="*/ 92422 w 305112"/>
                <a:gd name="connsiteY72" fmla="*/ 208697 h 335285"/>
                <a:gd name="connsiteX73" fmla="*/ 96562 w 305112"/>
                <a:gd name="connsiteY73" fmla="*/ 203465 h 335285"/>
                <a:gd name="connsiteX74" fmla="*/ 101792 w 305112"/>
                <a:gd name="connsiteY74" fmla="*/ 196706 h 335285"/>
                <a:gd name="connsiteX75" fmla="*/ 107240 w 305112"/>
                <a:gd name="connsiteY75" fmla="*/ 193218 h 335285"/>
                <a:gd name="connsiteX76" fmla="*/ 102664 w 305112"/>
                <a:gd name="connsiteY76" fmla="*/ 184716 h 335285"/>
                <a:gd name="connsiteX77" fmla="*/ 95691 w 305112"/>
                <a:gd name="connsiteY77" fmla="*/ 176214 h 335285"/>
                <a:gd name="connsiteX78" fmla="*/ 86539 w 305112"/>
                <a:gd name="connsiteY78" fmla="*/ 164005 h 335285"/>
                <a:gd name="connsiteX79" fmla="*/ 94383 w 305112"/>
                <a:gd name="connsiteY79" fmla="*/ 161825 h 335285"/>
                <a:gd name="connsiteX80" fmla="*/ 100921 w 305112"/>
                <a:gd name="connsiteY80" fmla="*/ 160953 h 335285"/>
                <a:gd name="connsiteX81" fmla="*/ 106804 w 305112"/>
                <a:gd name="connsiteY81" fmla="*/ 153323 h 335285"/>
                <a:gd name="connsiteX82" fmla="*/ 111816 w 305112"/>
                <a:gd name="connsiteY82" fmla="*/ 147655 h 335285"/>
                <a:gd name="connsiteX83" fmla="*/ 89589 w 305112"/>
                <a:gd name="connsiteY83" fmla="*/ 151143 h 335285"/>
                <a:gd name="connsiteX84" fmla="*/ 82398 w 305112"/>
                <a:gd name="connsiteY84" fmla="*/ 159645 h 335285"/>
                <a:gd name="connsiteX85" fmla="*/ 72810 w 305112"/>
                <a:gd name="connsiteY85" fmla="*/ 153977 h 335285"/>
                <a:gd name="connsiteX86" fmla="*/ 72593 w 305112"/>
                <a:gd name="connsiteY86" fmla="*/ 144603 h 335285"/>
                <a:gd name="connsiteX87" fmla="*/ 83488 w 305112"/>
                <a:gd name="connsiteY87" fmla="*/ 143513 h 335285"/>
                <a:gd name="connsiteX88" fmla="*/ 81309 w 305112"/>
                <a:gd name="connsiteY88" fmla="*/ 136754 h 335285"/>
                <a:gd name="connsiteX89" fmla="*/ 86974 w 305112"/>
                <a:gd name="connsiteY89" fmla="*/ 132830 h 335285"/>
                <a:gd name="connsiteX90" fmla="*/ 98306 w 305112"/>
                <a:gd name="connsiteY90" fmla="*/ 135664 h 335285"/>
                <a:gd name="connsiteX91" fmla="*/ 113559 w 305112"/>
                <a:gd name="connsiteY91" fmla="*/ 137190 h 335285"/>
                <a:gd name="connsiteX92" fmla="*/ 122711 w 305112"/>
                <a:gd name="connsiteY92" fmla="*/ 139152 h 335285"/>
                <a:gd name="connsiteX93" fmla="*/ 120532 w 305112"/>
                <a:gd name="connsiteY93" fmla="*/ 136972 h 335285"/>
                <a:gd name="connsiteX94" fmla="*/ 118353 w 305112"/>
                <a:gd name="connsiteY94" fmla="*/ 132612 h 335285"/>
                <a:gd name="connsiteX95" fmla="*/ 122711 w 305112"/>
                <a:gd name="connsiteY95" fmla="*/ 128252 h 335285"/>
                <a:gd name="connsiteX96" fmla="*/ 127069 w 305112"/>
                <a:gd name="connsiteY96" fmla="*/ 126072 h 335285"/>
                <a:gd name="connsiteX97" fmla="*/ 131210 w 305112"/>
                <a:gd name="connsiteY97" fmla="*/ 123892 h 335285"/>
                <a:gd name="connsiteX98" fmla="*/ 132299 w 305112"/>
                <a:gd name="connsiteY98" fmla="*/ 106887 h 335285"/>
                <a:gd name="connsiteX99" fmla="*/ 127505 w 305112"/>
                <a:gd name="connsiteY99" fmla="*/ 108849 h 335285"/>
                <a:gd name="connsiteX100" fmla="*/ 120096 w 305112"/>
                <a:gd name="connsiteY100" fmla="*/ 109067 h 335285"/>
                <a:gd name="connsiteX101" fmla="*/ 114867 w 305112"/>
                <a:gd name="connsiteY101" fmla="*/ 108413 h 335285"/>
                <a:gd name="connsiteX102" fmla="*/ 104843 w 305112"/>
                <a:gd name="connsiteY102" fmla="*/ 111466 h 335285"/>
                <a:gd name="connsiteX103" fmla="*/ 95691 w 305112"/>
                <a:gd name="connsiteY103" fmla="*/ 105143 h 335285"/>
                <a:gd name="connsiteX104" fmla="*/ 90025 w 305112"/>
                <a:gd name="connsiteY104" fmla="*/ 97731 h 335285"/>
                <a:gd name="connsiteX105" fmla="*/ 84577 w 305112"/>
                <a:gd name="connsiteY105" fmla="*/ 93371 h 335285"/>
                <a:gd name="connsiteX106" fmla="*/ 71503 w 305112"/>
                <a:gd name="connsiteY106" fmla="*/ 85959 h 335285"/>
                <a:gd name="connsiteX107" fmla="*/ 61261 w 305112"/>
                <a:gd name="connsiteY107" fmla="*/ 86613 h 335285"/>
                <a:gd name="connsiteX108" fmla="*/ 55160 w 305112"/>
                <a:gd name="connsiteY108" fmla="*/ 90101 h 335285"/>
                <a:gd name="connsiteX109" fmla="*/ 60826 w 305112"/>
                <a:gd name="connsiteY109" fmla="*/ 91191 h 335285"/>
                <a:gd name="connsiteX110" fmla="*/ 68888 w 305112"/>
                <a:gd name="connsiteY110" fmla="*/ 90973 h 335285"/>
                <a:gd name="connsiteX111" fmla="*/ 71067 w 305112"/>
                <a:gd name="connsiteY111" fmla="*/ 98603 h 335285"/>
                <a:gd name="connsiteX112" fmla="*/ 69978 w 305112"/>
                <a:gd name="connsiteY112" fmla="*/ 102527 h 335285"/>
                <a:gd name="connsiteX113" fmla="*/ 76515 w 305112"/>
                <a:gd name="connsiteY113" fmla="*/ 101437 h 335285"/>
                <a:gd name="connsiteX114" fmla="*/ 89589 w 305112"/>
                <a:gd name="connsiteY114" fmla="*/ 107759 h 335285"/>
                <a:gd name="connsiteX115" fmla="*/ 92204 w 305112"/>
                <a:gd name="connsiteY115" fmla="*/ 121712 h 335285"/>
                <a:gd name="connsiteX116" fmla="*/ 84795 w 305112"/>
                <a:gd name="connsiteY116" fmla="*/ 124110 h 335285"/>
                <a:gd name="connsiteX117" fmla="*/ 79130 w 305112"/>
                <a:gd name="connsiteY117" fmla="*/ 123238 h 335285"/>
                <a:gd name="connsiteX118" fmla="*/ 78040 w 305112"/>
                <a:gd name="connsiteY118" fmla="*/ 116480 h 335285"/>
                <a:gd name="connsiteX119" fmla="*/ 74990 w 305112"/>
                <a:gd name="connsiteY119" fmla="*/ 110812 h 335285"/>
                <a:gd name="connsiteX120" fmla="*/ 63005 w 305112"/>
                <a:gd name="connsiteY120" fmla="*/ 103399 h 335285"/>
                <a:gd name="connsiteX121" fmla="*/ 39471 w 305112"/>
                <a:gd name="connsiteY121" fmla="*/ 97513 h 335285"/>
                <a:gd name="connsiteX122" fmla="*/ 37727 w 305112"/>
                <a:gd name="connsiteY122" fmla="*/ 103835 h 335285"/>
                <a:gd name="connsiteX123" fmla="*/ 33369 w 305112"/>
                <a:gd name="connsiteY123" fmla="*/ 114082 h 335285"/>
                <a:gd name="connsiteX124" fmla="*/ 34023 w 305112"/>
                <a:gd name="connsiteY124" fmla="*/ 123892 h 335285"/>
                <a:gd name="connsiteX125" fmla="*/ 48187 w 305112"/>
                <a:gd name="connsiteY125" fmla="*/ 111248 h 335285"/>
                <a:gd name="connsiteX126" fmla="*/ 53199 w 305112"/>
                <a:gd name="connsiteY126" fmla="*/ 104707 h 335285"/>
                <a:gd name="connsiteX127" fmla="*/ 60608 w 305112"/>
                <a:gd name="connsiteY127" fmla="*/ 111248 h 335285"/>
                <a:gd name="connsiteX128" fmla="*/ 55160 w 305112"/>
                <a:gd name="connsiteY128" fmla="*/ 122802 h 335285"/>
                <a:gd name="connsiteX129" fmla="*/ 45572 w 305112"/>
                <a:gd name="connsiteY129" fmla="*/ 129342 h 335285"/>
                <a:gd name="connsiteX130" fmla="*/ 37727 w 305112"/>
                <a:gd name="connsiteY130" fmla="*/ 133702 h 335285"/>
                <a:gd name="connsiteX131" fmla="*/ 29011 w 305112"/>
                <a:gd name="connsiteY131" fmla="*/ 131958 h 335285"/>
                <a:gd name="connsiteX132" fmla="*/ 21602 w 305112"/>
                <a:gd name="connsiteY132" fmla="*/ 129342 h 335285"/>
                <a:gd name="connsiteX133" fmla="*/ 23563 w 305112"/>
                <a:gd name="connsiteY133" fmla="*/ 117352 h 335285"/>
                <a:gd name="connsiteX134" fmla="*/ 29011 w 305112"/>
                <a:gd name="connsiteY134" fmla="*/ 114082 h 335285"/>
                <a:gd name="connsiteX135" fmla="*/ 15719 w 305112"/>
                <a:gd name="connsiteY135" fmla="*/ 111684 h 335285"/>
                <a:gd name="connsiteX136" fmla="*/ 6785 w 305112"/>
                <a:gd name="connsiteY136" fmla="*/ 112556 h 335285"/>
                <a:gd name="connsiteX137" fmla="*/ 7438 w 305112"/>
                <a:gd name="connsiteY137" fmla="*/ 96205 h 335285"/>
                <a:gd name="connsiteX138" fmla="*/ 6349 w 305112"/>
                <a:gd name="connsiteY138" fmla="*/ 87703 h 335285"/>
                <a:gd name="connsiteX139" fmla="*/ 1991 w 305112"/>
                <a:gd name="connsiteY139" fmla="*/ 91191 h 335285"/>
                <a:gd name="connsiteX140" fmla="*/ -1496 w 305112"/>
                <a:gd name="connsiteY140" fmla="*/ 96641 h 335285"/>
                <a:gd name="connsiteX141" fmla="*/ -4111 w 305112"/>
                <a:gd name="connsiteY141" fmla="*/ 89011 h 335285"/>
                <a:gd name="connsiteX142" fmla="*/ -1496 w 305112"/>
                <a:gd name="connsiteY142" fmla="*/ 80726 h 335285"/>
                <a:gd name="connsiteX143" fmla="*/ 683 w 305112"/>
                <a:gd name="connsiteY143" fmla="*/ 75712 h 335285"/>
                <a:gd name="connsiteX144" fmla="*/ 3952 w 305112"/>
                <a:gd name="connsiteY144" fmla="*/ 71570 h 335285"/>
                <a:gd name="connsiteX145" fmla="*/ 7220 w 305112"/>
                <a:gd name="connsiteY145" fmla="*/ 66992 h 335285"/>
                <a:gd name="connsiteX146" fmla="*/ 13540 w 305112"/>
                <a:gd name="connsiteY146" fmla="*/ 54130 h 335285"/>
                <a:gd name="connsiteX147" fmla="*/ 18769 w 305112"/>
                <a:gd name="connsiteY147" fmla="*/ 70044 h 335285"/>
                <a:gd name="connsiteX148" fmla="*/ 15283 w 305112"/>
                <a:gd name="connsiteY148" fmla="*/ 83997 h 335285"/>
                <a:gd name="connsiteX149" fmla="*/ 17898 w 305112"/>
                <a:gd name="connsiteY149" fmla="*/ 97513 h 335285"/>
                <a:gd name="connsiteX150" fmla="*/ 33587 w 305112"/>
                <a:gd name="connsiteY150" fmla="*/ 92063 h 335285"/>
                <a:gd name="connsiteX151" fmla="*/ 40996 w 305112"/>
                <a:gd name="connsiteY151" fmla="*/ 86831 h 335285"/>
                <a:gd name="connsiteX152" fmla="*/ 44265 w 305112"/>
                <a:gd name="connsiteY152" fmla="*/ 79200 h 335285"/>
                <a:gd name="connsiteX153" fmla="*/ 61915 w 305112"/>
                <a:gd name="connsiteY153" fmla="*/ 73750 h 335285"/>
                <a:gd name="connsiteX154" fmla="*/ 70414 w 305112"/>
                <a:gd name="connsiteY154" fmla="*/ 72660 h 335285"/>
                <a:gd name="connsiteX155" fmla="*/ 75207 w 305112"/>
                <a:gd name="connsiteY155" fmla="*/ 73750 h 335285"/>
                <a:gd name="connsiteX156" fmla="*/ 78040 w 305112"/>
                <a:gd name="connsiteY156" fmla="*/ 77674 h 335285"/>
                <a:gd name="connsiteX157" fmla="*/ 76515 w 305112"/>
                <a:gd name="connsiteY157" fmla="*/ 59144 h 335285"/>
                <a:gd name="connsiteX158" fmla="*/ 78040 w 305112"/>
                <a:gd name="connsiteY158" fmla="*/ 49769 h 335285"/>
                <a:gd name="connsiteX159" fmla="*/ 86103 w 305112"/>
                <a:gd name="connsiteY159" fmla="*/ 44101 h 335285"/>
                <a:gd name="connsiteX160" fmla="*/ 89807 w 305112"/>
                <a:gd name="connsiteY160" fmla="*/ 29277 h 335285"/>
                <a:gd name="connsiteX161" fmla="*/ 96562 w 305112"/>
                <a:gd name="connsiteY161" fmla="*/ 12054 h 335285"/>
                <a:gd name="connsiteX162" fmla="*/ 100921 w 305112"/>
                <a:gd name="connsiteY162" fmla="*/ 10964 h 335285"/>
                <a:gd name="connsiteX163" fmla="*/ 142759 w 305112"/>
                <a:gd name="connsiteY163" fmla="*/ 3334 h 335285"/>
                <a:gd name="connsiteX164" fmla="*/ 148424 w 305112"/>
                <a:gd name="connsiteY164" fmla="*/ 5078 h 335285"/>
                <a:gd name="connsiteX165" fmla="*/ 144284 w 305112"/>
                <a:gd name="connsiteY165" fmla="*/ 10310 h 335285"/>
                <a:gd name="connsiteX166" fmla="*/ 137529 w 305112"/>
                <a:gd name="connsiteY166" fmla="*/ 13144 h 335285"/>
                <a:gd name="connsiteX167" fmla="*/ 132081 w 305112"/>
                <a:gd name="connsiteY167" fmla="*/ 16850 h 335285"/>
                <a:gd name="connsiteX168" fmla="*/ 123801 w 305112"/>
                <a:gd name="connsiteY168" fmla="*/ 25353 h 335285"/>
                <a:gd name="connsiteX169" fmla="*/ 121186 w 305112"/>
                <a:gd name="connsiteY169" fmla="*/ 17722 h 335285"/>
                <a:gd name="connsiteX170" fmla="*/ 112688 w 305112"/>
                <a:gd name="connsiteY170" fmla="*/ 10964 h 335285"/>
                <a:gd name="connsiteX171" fmla="*/ 103100 w 305112"/>
                <a:gd name="connsiteY171" fmla="*/ 29059 h 335285"/>
                <a:gd name="connsiteX172" fmla="*/ 102228 w 305112"/>
                <a:gd name="connsiteY172" fmla="*/ 36471 h 335285"/>
                <a:gd name="connsiteX173" fmla="*/ 108547 w 305112"/>
                <a:gd name="connsiteY173" fmla="*/ 51949 h 335285"/>
                <a:gd name="connsiteX174" fmla="*/ 116610 w 305112"/>
                <a:gd name="connsiteY174" fmla="*/ 49987 h 335285"/>
                <a:gd name="connsiteX175" fmla="*/ 128813 w 305112"/>
                <a:gd name="connsiteY175" fmla="*/ 41049 h 335285"/>
                <a:gd name="connsiteX176" fmla="*/ 132299 w 305112"/>
                <a:gd name="connsiteY176" fmla="*/ 35817 h 335285"/>
                <a:gd name="connsiteX177" fmla="*/ 139054 w 305112"/>
                <a:gd name="connsiteY177" fmla="*/ 37997 h 335285"/>
                <a:gd name="connsiteX178" fmla="*/ 141887 w 305112"/>
                <a:gd name="connsiteY178" fmla="*/ 41703 h 335285"/>
                <a:gd name="connsiteX179" fmla="*/ 143195 w 305112"/>
                <a:gd name="connsiteY179" fmla="*/ 47371 h 335285"/>
                <a:gd name="connsiteX180" fmla="*/ 154090 w 305112"/>
                <a:gd name="connsiteY180" fmla="*/ 48679 h 335285"/>
                <a:gd name="connsiteX181" fmla="*/ 160845 w 305112"/>
                <a:gd name="connsiteY181" fmla="*/ 46717 h 335285"/>
                <a:gd name="connsiteX182" fmla="*/ 164985 w 305112"/>
                <a:gd name="connsiteY182" fmla="*/ 37561 h 335285"/>
                <a:gd name="connsiteX183" fmla="*/ 156923 w 305112"/>
                <a:gd name="connsiteY183" fmla="*/ 33201 h 335285"/>
                <a:gd name="connsiteX184" fmla="*/ 154090 w 305112"/>
                <a:gd name="connsiteY184" fmla="*/ 23390 h 335285"/>
                <a:gd name="connsiteX185" fmla="*/ 159756 w 305112"/>
                <a:gd name="connsiteY185" fmla="*/ 15542 h 335285"/>
                <a:gd name="connsiteX186" fmla="*/ 164985 w 305112"/>
                <a:gd name="connsiteY186" fmla="*/ 14016 h 335285"/>
                <a:gd name="connsiteX187" fmla="*/ 171740 w 305112"/>
                <a:gd name="connsiteY187" fmla="*/ 13362 h 335285"/>
                <a:gd name="connsiteX188" fmla="*/ 177188 w 305112"/>
                <a:gd name="connsiteY188" fmla="*/ 5732 h 335285"/>
                <a:gd name="connsiteX189" fmla="*/ 184815 w 305112"/>
                <a:gd name="connsiteY189" fmla="*/ 1808 h 335285"/>
                <a:gd name="connsiteX190" fmla="*/ 178931 w 305112"/>
                <a:gd name="connsiteY190" fmla="*/ 17722 h 335285"/>
                <a:gd name="connsiteX191" fmla="*/ 173702 w 305112"/>
                <a:gd name="connsiteY191" fmla="*/ 32111 h 335285"/>
                <a:gd name="connsiteX192" fmla="*/ 172612 w 305112"/>
                <a:gd name="connsiteY192" fmla="*/ 42357 h 335285"/>
                <a:gd name="connsiteX193" fmla="*/ 178060 w 305112"/>
                <a:gd name="connsiteY193" fmla="*/ 51295 h 335285"/>
                <a:gd name="connsiteX194" fmla="*/ 185904 w 305112"/>
                <a:gd name="connsiteY194" fmla="*/ 59144 h 335285"/>
                <a:gd name="connsiteX195" fmla="*/ 175663 w 305112"/>
                <a:gd name="connsiteY195" fmla="*/ 60452 h 335285"/>
                <a:gd name="connsiteX196" fmla="*/ 164550 w 305112"/>
                <a:gd name="connsiteY196" fmla="*/ 62414 h 335285"/>
                <a:gd name="connsiteX197" fmla="*/ 168254 w 305112"/>
                <a:gd name="connsiteY197" fmla="*/ 65030 h 335285"/>
                <a:gd name="connsiteX198" fmla="*/ 171740 w 305112"/>
                <a:gd name="connsiteY198" fmla="*/ 75930 h 335285"/>
                <a:gd name="connsiteX199" fmla="*/ 164114 w 305112"/>
                <a:gd name="connsiteY199" fmla="*/ 73532 h 335285"/>
                <a:gd name="connsiteX200" fmla="*/ 155615 w 305112"/>
                <a:gd name="connsiteY200" fmla="*/ 62850 h 335285"/>
                <a:gd name="connsiteX201" fmla="*/ 153218 w 305112"/>
                <a:gd name="connsiteY201" fmla="*/ 68300 h 335285"/>
                <a:gd name="connsiteX202" fmla="*/ 150821 w 305112"/>
                <a:gd name="connsiteY202" fmla="*/ 73750 h 335285"/>
                <a:gd name="connsiteX203" fmla="*/ 149950 w 305112"/>
                <a:gd name="connsiteY203" fmla="*/ 69390 h 335285"/>
                <a:gd name="connsiteX204" fmla="*/ 143630 w 305112"/>
                <a:gd name="connsiteY204" fmla="*/ 60452 h 335285"/>
                <a:gd name="connsiteX205" fmla="*/ 132081 w 305112"/>
                <a:gd name="connsiteY205" fmla="*/ 61760 h 335285"/>
                <a:gd name="connsiteX206" fmla="*/ 121840 w 305112"/>
                <a:gd name="connsiteY206" fmla="*/ 65684 h 335285"/>
                <a:gd name="connsiteX207" fmla="*/ 117482 w 305112"/>
                <a:gd name="connsiteY207" fmla="*/ 68736 h 335285"/>
                <a:gd name="connsiteX208" fmla="*/ 113995 w 305112"/>
                <a:gd name="connsiteY208" fmla="*/ 70480 h 335285"/>
                <a:gd name="connsiteX209" fmla="*/ 101138 w 305112"/>
                <a:gd name="connsiteY209" fmla="*/ 73314 h 335285"/>
                <a:gd name="connsiteX210" fmla="*/ 90025 w 305112"/>
                <a:gd name="connsiteY210" fmla="*/ 80290 h 335285"/>
                <a:gd name="connsiteX211" fmla="*/ 95473 w 305112"/>
                <a:gd name="connsiteY211" fmla="*/ 89447 h 335285"/>
                <a:gd name="connsiteX212" fmla="*/ 100921 w 305112"/>
                <a:gd name="connsiteY212" fmla="*/ 95551 h 335285"/>
                <a:gd name="connsiteX213" fmla="*/ 108765 w 305112"/>
                <a:gd name="connsiteY213" fmla="*/ 99475 h 335285"/>
                <a:gd name="connsiteX214" fmla="*/ 113341 w 305112"/>
                <a:gd name="connsiteY214" fmla="*/ 90319 h 335285"/>
                <a:gd name="connsiteX215" fmla="*/ 120096 w 305112"/>
                <a:gd name="connsiteY215" fmla="*/ 84215 h 335285"/>
                <a:gd name="connsiteX216" fmla="*/ 124455 w 305112"/>
                <a:gd name="connsiteY216" fmla="*/ 79200 h 335285"/>
                <a:gd name="connsiteX217" fmla="*/ 124890 w 305112"/>
                <a:gd name="connsiteY217" fmla="*/ 71570 h 335285"/>
                <a:gd name="connsiteX218" fmla="*/ 133607 w 305112"/>
                <a:gd name="connsiteY218" fmla="*/ 73750 h 335285"/>
                <a:gd name="connsiteX219" fmla="*/ 139490 w 305112"/>
                <a:gd name="connsiteY219" fmla="*/ 74186 h 335285"/>
                <a:gd name="connsiteX220" fmla="*/ 143848 w 305112"/>
                <a:gd name="connsiteY220" fmla="*/ 79854 h 335285"/>
                <a:gd name="connsiteX221" fmla="*/ 147335 w 305112"/>
                <a:gd name="connsiteY221" fmla="*/ 90101 h 335285"/>
                <a:gd name="connsiteX222" fmla="*/ 153654 w 305112"/>
                <a:gd name="connsiteY222" fmla="*/ 89011 h 335285"/>
                <a:gd name="connsiteX223" fmla="*/ 175881 w 305112"/>
                <a:gd name="connsiteY223" fmla="*/ 85305 h 335285"/>
                <a:gd name="connsiteX224" fmla="*/ 197889 w 305112"/>
                <a:gd name="connsiteY224" fmla="*/ 87049 h 335285"/>
                <a:gd name="connsiteX225" fmla="*/ 197671 w 305112"/>
                <a:gd name="connsiteY225" fmla="*/ 95115 h 335285"/>
                <a:gd name="connsiteX226" fmla="*/ 189827 w 305112"/>
                <a:gd name="connsiteY226" fmla="*/ 103181 h 335285"/>
                <a:gd name="connsiteX227" fmla="*/ 188519 w 305112"/>
                <a:gd name="connsiteY227" fmla="*/ 113864 h 335285"/>
                <a:gd name="connsiteX228" fmla="*/ 196364 w 305112"/>
                <a:gd name="connsiteY228" fmla="*/ 112338 h 335285"/>
                <a:gd name="connsiteX229" fmla="*/ 212489 w 305112"/>
                <a:gd name="connsiteY229" fmla="*/ 119968 h 335285"/>
                <a:gd name="connsiteX230" fmla="*/ 213143 w 305112"/>
                <a:gd name="connsiteY230" fmla="*/ 127162 h 335285"/>
                <a:gd name="connsiteX231" fmla="*/ 217065 w 305112"/>
                <a:gd name="connsiteY231" fmla="*/ 120186 h 335285"/>
                <a:gd name="connsiteX232" fmla="*/ 216411 w 305112"/>
                <a:gd name="connsiteY232" fmla="*/ 110812 h 335285"/>
                <a:gd name="connsiteX233" fmla="*/ 213797 w 305112"/>
                <a:gd name="connsiteY233" fmla="*/ 99911 h 335285"/>
                <a:gd name="connsiteX234" fmla="*/ 218591 w 305112"/>
                <a:gd name="connsiteY234" fmla="*/ 86831 h 335285"/>
                <a:gd name="connsiteX235" fmla="*/ 217719 w 305112"/>
                <a:gd name="connsiteY235" fmla="*/ 79418 h 335285"/>
                <a:gd name="connsiteX236" fmla="*/ 235152 w 305112"/>
                <a:gd name="connsiteY236" fmla="*/ 70916 h 335285"/>
                <a:gd name="connsiteX237" fmla="*/ 238202 w 305112"/>
                <a:gd name="connsiteY237" fmla="*/ 65248 h 335285"/>
                <a:gd name="connsiteX238" fmla="*/ 236023 w 305112"/>
                <a:gd name="connsiteY238" fmla="*/ 58490 h 335285"/>
                <a:gd name="connsiteX239" fmla="*/ 233844 w 305112"/>
                <a:gd name="connsiteY239" fmla="*/ 60670 h 335285"/>
                <a:gd name="connsiteX240" fmla="*/ 225999 w 305112"/>
                <a:gd name="connsiteY240" fmla="*/ 57400 h 335285"/>
                <a:gd name="connsiteX241" fmla="*/ 234498 w 305112"/>
                <a:gd name="connsiteY241" fmla="*/ 49115 h 335285"/>
                <a:gd name="connsiteX242" fmla="*/ 242560 w 305112"/>
                <a:gd name="connsiteY242" fmla="*/ 51731 h 335285"/>
                <a:gd name="connsiteX243" fmla="*/ 252148 w 305112"/>
                <a:gd name="connsiteY243" fmla="*/ 60670 h 335285"/>
                <a:gd name="connsiteX244" fmla="*/ 259339 w 305112"/>
                <a:gd name="connsiteY244" fmla="*/ 66556 h 335285"/>
                <a:gd name="connsiteX245" fmla="*/ 256724 w 305112"/>
                <a:gd name="connsiteY245" fmla="*/ 71570 h 335285"/>
                <a:gd name="connsiteX246" fmla="*/ 248008 w 305112"/>
                <a:gd name="connsiteY246" fmla="*/ 75058 h 335285"/>
                <a:gd name="connsiteX247" fmla="*/ 242560 w 305112"/>
                <a:gd name="connsiteY247" fmla="*/ 83125 h 335285"/>
                <a:gd name="connsiteX248" fmla="*/ 255417 w 305112"/>
                <a:gd name="connsiteY248" fmla="*/ 83997 h 335285"/>
                <a:gd name="connsiteX249" fmla="*/ 266530 w 305112"/>
                <a:gd name="connsiteY249" fmla="*/ 83997 h 335285"/>
                <a:gd name="connsiteX250" fmla="*/ 265005 w 305112"/>
                <a:gd name="connsiteY250" fmla="*/ 101655 h 335285"/>
                <a:gd name="connsiteX251" fmla="*/ 259557 w 305112"/>
                <a:gd name="connsiteY251" fmla="*/ 96205 h 335285"/>
                <a:gd name="connsiteX252" fmla="*/ 250187 w 305112"/>
                <a:gd name="connsiteY252" fmla="*/ 96859 h 335285"/>
                <a:gd name="connsiteX253" fmla="*/ 240599 w 305112"/>
                <a:gd name="connsiteY253" fmla="*/ 100129 h 335285"/>
                <a:gd name="connsiteX254" fmla="*/ 237113 w 305112"/>
                <a:gd name="connsiteY254" fmla="*/ 90755 h 335285"/>
                <a:gd name="connsiteX255" fmla="*/ 235369 w 305112"/>
                <a:gd name="connsiteY255" fmla="*/ 83997 h 335285"/>
                <a:gd name="connsiteX256" fmla="*/ 225346 w 305112"/>
                <a:gd name="connsiteY256" fmla="*/ 95551 h 335285"/>
                <a:gd name="connsiteX257" fmla="*/ 230575 w 305112"/>
                <a:gd name="connsiteY257" fmla="*/ 111248 h 335285"/>
                <a:gd name="connsiteX258" fmla="*/ 241689 w 305112"/>
                <a:gd name="connsiteY258" fmla="*/ 108413 h 335285"/>
                <a:gd name="connsiteX259" fmla="*/ 246483 w 305112"/>
                <a:gd name="connsiteY259" fmla="*/ 109067 h 335285"/>
                <a:gd name="connsiteX260" fmla="*/ 253674 w 305112"/>
                <a:gd name="connsiteY260" fmla="*/ 109067 h 335285"/>
                <a:gd name="connsiteX261" fmla="*/ 257160 w 305112"/>
                <a:gd name="connsiteY261" fmla="*/ 112556 h 335285"/>
                <a:gd name="connsiteX262" fmla="*/ 253456 w 305112"/>
                <a:gd name="connsiteY262" fmla="*/ 119096 h 335285"/>
                <a:gd name="connsiteX263" fmla="*/ 265876 w 305112"/>
                <a:gd name="connsiteY263" fmla="*/ 116044 h 335285"/>
                <a:gd name="connsiteX264" fmla="*/ 275029 w 305112"/>
                <a:gd name="connsiteY264" fmla="*/ 111466 h 335285"/>
                <a:gd name="connsiteX265" fmla="*/ 281566 w 305112"/>
                <a:gd name="connsiteY265" fmla="*/ 108195 h 335285"/>
                <a:gd name="connsiteX266" fmla="*/ 288321 w 305112"/>
                <a:gd name="connsiteY266" fmla="*/ 107541 h 335285"/>
                <a:gd name="connsiteX267" fmla="*/ 295948 w 305112"/>
                <a:gd name="connsiteY267" fmla="*/ 108631 h 335285"/>
                <a:gd name="connsiteX268" fmla="*/ 298998 w 305112"/>
                <a:gd name="connsiteY268" fmla="*/ 117788 h 335285"/>
                <a:gd name="connsiteX269" fmla="*/ 295948 w 305112"/>
                <a:gd name="connsiteY269" fmla="*/ 123892 h 335285"/>
                <a:gd name="connsiteX270" fmla="*/ 281784 w 305112"/>
                <a:gd name="connsiteY270" fmla="*/ 135882 h 335285"/>
                <a:gd name="connsiteX271" fmla="*/ 282655 w 305112"/>
                <a:gd name="connsiteY271" fmla="*/ 128688 h 335285"/>
                <a:gd name="connsiteX272" fmla="*/ 281784 w 305112"/>
                <a:gd name="connsiteY272" fmla="*/ 121712 h 335285"/>
                <a:gd name="connsiteX273" fmla="*/ 277426 w 305112"/>
                <a:gd name="connsiteY273" fmla="*/ 118006 h 335285"/>
                <a:gd name="connsiteX274" fmla="*/ 272632 w 305112"/>
                <a:gd name="connsiteY274" fmla="*/ 119096 h 335285"/>
                <a:gd name="connsiteX275" fmla="*/ 268273 w 305112"/>
                <a:gd name="connsiteY275" fmla="*/ 133702 h 335285"/>
                <a:gd name="connsiteX276" fmla="*/ 267402 w 305112"/>
                <a:gd name="connsiteY276" fmla="*/ 143513 h 335285"/>
                <a:gd name="connsiteX277" fmla="*/ 250405 w 305112"/>
                <a:gd name="connsiteY277" fmla="*/ 124546 h 335285"/>
                <a:gd name="connsiteX278" fmla="*/ 233190 w 305112"/>
                <a:gd name="connsiteY278" fmla="*/ 115172 h 335285"/>
                <a:gd name="connsiteX279" fmla="*/ 227961 w 305112"/>
                <a:gd name="connsiteY279" fmla="*/ 123238 h 335285"/>
                <a:gd name="connsiteX280" fmla="*/ 220116 w 305112"/>
                <a:gd name="connsiteY280" fmla="*/ 133484 h 335285"/>
                <a:gd name="connsiteX281" fmla="*/ 203555 w 305112"/>
                <a:gd name="connsiteY281" fmla="*/ 119532 h 335285"/>
                <a:gd name="connsiteX282" fmla="*/ 196364 w 305112"/>
                <a:gd name="connsiteY282" fmla="*/ 116916 h 335285"/>
                <a:gd name="connsiteX283" fmla="*/ 202901 w 305112"/>
                <a:gd name="connsiteY283" fmla="*/ 129342 h 335285"/>
                <a:gd name="connsiteX284" fmla="*/ 205298 w 305112"/>
                <a:gd name="connsiteY284" fmla="*/ 135010 h 335285"/>
                <a:gd name="connsiteX285" fmla="*/ 195274 w 305112"/>
                <a:gd name="connsiteY285" fmla="*/ 137190 h 335285"/>
                <a:gd name="connsiteX286" fmla="*/ 186994 w 305112"/>
                <a:gd name="connsiteY286" fmla="*/ 129996 h 335285"/>
                <a:gd name="connsiteX287" fmla="*/ 182418 w 305112"/>
                <a:gd name="connsiteY287" fmla="*/ 123020 h 335285"/>
                <a:gd name="connsiteX288" fmla="*/ 176970 w 305112"/>
                <a:gd name="connsiteY288" fmla="*/ 107977 h 335285"/>
                <a:gd name="connsiteX289" fmla="*/ 179367 w 305112"/>
                <a:gd name="connsiteY289" fmla="*/ 101873 h 335285"/>
                <a:gd name="connsiteX290" fmla="*/ 170215 w 305112"/>
                <a:gd name="connsiteY290" fmla="*/ 98603 h 335285"/>
                <a:gd name="connsiteX291" fmla="*/ 158230 w 305112"/>
                <a:gd name="connsiteY291" fmla="*/ 97077 h 335285"/>
                <a:gd name="connsiteX292" fmla="*/ 155397 w 305112"/>
                <a:gd name="connsiteY292" fmla="*/ 98385 h 335285"/>
                <a:gd name="connsiteX293" fmla="*/ 159973 w 305112"/>
                <a:gd name="connsiteY293" fmla="*/ 105143 h 335285"/>
                <a:gd name="connsiteX294" fmla="*/ 163460 w 305112"/>
                <a:gd name="connsiteY294" fmla="*/ 112774 h 335285"/>
                <a:gd name="connsiteX295" fmla="*/ 167382 w 305112"/>
                <a:gd name="connsiteY295" fmla="*/ 121058 h 335285"/>
                <a:gd name="connsiteX296" fmla="*/ 173920 w 305112"/>
                <a:gd name="connsiteY296" fmla="*/ 143513 h 335285"/>
                <a:gd name="connsiteX297" fmla="*/ 178278 w 305112"/>
                <a:gd name="connsiteY297" fmla="*/ 165095 h 335285"/>
                <a:gd name="connsiteX298" fmla="*/ 184161 w 305112"/>
                <a:gd name="connsiteY298" fmla="*/ 157901 h 335285"/>
                <a:gd name="connsiteX299" fmla="*/ 186776 w 305112"/>
                <a:gd name="connsiteY299" fmla="*/ 148091 h 335285"/>
                <a:gd name="connsiteX300" fmla="*/ 198979 w 305112"/>
                <a:gd name="connsiteY300" fmla="*/ 152669 h 335285"/>
                <a:gd name="connsiteX301" fmla="*/ 181328 w 305112"/>
                <a:gd name="connsiteY301" fmla="*/ 170764 h 335285"/>
                <a:gd name="connsiteX302" fmla="*/ 177188 w 305112"/>
                <a:gd name="connsiteY302" fmla="*/ 175996 h 335285"/>
                <a:gd name="connsiteX303" fmla="*/ 174137 w 305112"/>
                <a:gd name="connsiteY303" fmla="*/ 184716 h 335285"/>
                <a:gd name="connsiteX304" fmla="*/ 166293 w 305112"/>
                <a:gd name="connsiteY304" fmla="*/ 184280 h 335285"/>
                <a:gd name="connsiteX305" fmla="*/ 159756 w 305112"/>
                <a:gd name="connsiteY305" fmla="*/ 177740 h 335285"/>
                <a:gd name="connsiteX306" fmla="*/ 158666 w 305112"/>
                <a:gd name="connsiteY306" fmla="*/ 193654 h 335285"/>
                <a:gd name="connsiteX307" fmla="*/ 164114 w 305112"/>
                <a:gd name="connsiteY307" fmla="*/ 207607 h 335285"/>
                <a:gd name="connsiteX308" fmla="*/ 168908 w 305112"/>
                <a:gd name="connsiteY308" fmla="*/ 214365 h 335285"/>
                <a:gd name="connsiteX309" fmla="*/ 183725 w 305112"/>
                <a:gd name="connsiteY309" fmla="*/ 211749 h 335285"/>
                <a:gd name="connsiteX310" fmla="*/ 179367 w 305112"/>
                <a:gd name="connsiteY310" fmla="*/ 218289 h 335285"/>
                <a:gd name="connsiteX311" fmla="*/ 179367 w 305112"/>
                <a:gd name="connsiteY311" fmla="*/ 227882 h 335285"/>
                <a:gd name="connsiteX312" fmla="*/ 185033 w 305112"/>
                <a:gd name="connsiteY312" fmla="*/ 233332 h 335285"/>
                <a:gd name="connsiteX313" fmla="*/ 173048 w 305112"/>
                <a:gd name="connsiteY313" fmla="*/ 229626 h 335285"/>
                <a:gd name="connsiteX314" fmla="*/ 166075 w 305112"/>
                <a:gd name="connsiteY314" fmla="*/ 224829 h 335285"/>
                <a:gd name="connsiteX315" fmla="*/ 165203 w 305112"/>
                <a:gd name="connsiteY315" fmla="*/ 242270 h 335285"/>
                <a:gd name="connsiteX316" fmla="*/ 161063 w 305112"/>
                <a:gd name="connsiteY316" fmla="*/ 261019 h 335285"/>
                <a:gd name="connsiteX317" fmla="*/ 159756 w 305112"/>
                <a:gd name="connsiteY317" fmla="*/ 269957 h 335285"/>
                <a:gd name="connsiteX318" fmla="*/ 161935 w 305112"/>
                <a:gd name="connsiteY318" fmla="*/ 276497 h 335285"/>
                <a:gd name="connsiteX319" fmla="*/ 168908 w 305112"/>
                <a:gd name="connsiteY319" fmla="*/ 277587 h 335285"/>
                <a:gd name="connsiteX320" fmla="*/ 178496 w 305112"/>
                <a:gd name="connsiteY320" fmla="*/ 272137 h 335285"/>
                <a:gd name="connsiteX321" fmla="*/ 173920 w 305112"/>
                <a:gd name="connsiteY321" fmla="*/ 285000 h 335285"/>
                <a:gd name="connsiteX322" fmla="*/ 166293 w 305112"/>
                <a:gd name="connsiteY322" fmla="*/ 302658 h 335285"/>
                <a:gd name="connsiteX323" fmla="*/ 173484 w 305112"/>
                <a:gd name="connsiteY323" fmla="*/ 307890 h 335285"/>
                <a:gd name="connsiteX324" fmla="*/ 193967 w 305112"/>
                <a:gd name="connsiteY324" fmla="*/ 312032 h 335285"/>
                <a:gd name="connsiteX325" fmla="*/ 190698 w 305112"/>
                <a:gd name="connsiteY325" fmla="*/ 309198 h 335285"/>
                <a:gd name="connsiteX326" fmla="*/ 175009 w 305112"/>
                <a:gd name="connsiteY326" fmla="*/ 295900 h 335285"/>
                <a:gd name="connsiteX327" fmla="*/ 182854 w 305112"/>
                <a:gd name="connsiteY327" fmla="*/ 295028 h 335285"/>
                <a:gd name="connsiteX328" fmla="*/ 199633 w 305112"/>
                <a:gd name="connsiteY328" fmla="*/ 292848 h 335285"/>
                <a:gd name="connsiteX329" fmla="*/ 205516 w 305112"/>
                <a:gd name="connsiteY329" fmla="*/ 279985 h 335285"/>
                <a:gd name="connsiteX330" fmla="*/ 209874 w 305112"/>
                <a:gd name="connsiteY330" fmla="*/ 271047 h 335285"/>
                <a:gd name="connsiteX331" fmla="*/ 212271 w 305112"/>
                <a:gd name="connsiteY331" fmla="*/ 290232 h 335285"/>
                <a:gd name="connsiteX332" fmla="*/ 206388 w 305112"/>
                <a:gd name="connsiteY332" fmla="*/ 321843 h 335285"/>
                <a:gd name="connsiteX333" fmla="*/ 197889 w 305112"/>
                <a:gd name="connsiteY333" fmla="*/ 332961 h 335285"/>
                <a:gd name="connsiteX334" fmla="*/ 113341 w 305112"/>
                <a:gd name="connsiteY334" fmla="*/ 251426 h 335285"/>
                <a:gd name="connsiteX335" fmla="*/ 107240 w 305112"/>
                <a:gd name="connsiteY335" fmla="*/ 250554 h 335285"/>
                <a:gd name="connsiteX336" fmla="*/ 114431 w 305112"/>
                <a:gd name="connsiteY336" fmla="*/ 259057 h 335285"/>
                <a:gd name="connsiteX337" fmla="*/ 113341 w 305112"/>
                <a:gd name="connsiteY337" fmla="*/ 251426 h 335285"/>
                <a:gd name="connsiteX338" fmla="*/ 154962 w 305112"/>
                <a:gd name="connsiteY338" fmla="*/ 199759 h 335285"/>
                <a:gd name="connsiteX339" fmla="*/ 146899 w 305112"/>
                <a:gd name="connsiteY339" fmla="*/ 195616 h 335285"/>
                <a:gd name="connsiteX340" fmla="*/ 146463 w 305112"/>
                <a:gd name="connsiteY340" fmla="*/ 201067 h 335285"/>
                <a:gd name="connsiteX341" fmla="*/ 154962 w 305112"/>
                <a:gd name="connsiteY341" fmla="*/ 199759 h 335285"/>
                <a:gd name="connsiteX342" fmla="*/ 121840 w 305112"/>
                <a:gd name="connsiteY342" fmla="*/ 199105 h 335285"/>
                <a:gd name="connsiteX343" fmla="*/ 119443 w 305112"/>
                <a:gd name="connsiteY343" fmla="*/ 193218 h 335285"/>
                <a:gd name="connsiteX344" fmla="*/ 122711 w 305112"/>
                <a:gd name="connsiteY344" fmla="*/ 185152 h 335285"/>
                <a:gd name="connsiteX345" fmla="*/ 130338 w 305112"/>
                <a:gd name="connsiteY345" fmla="*/ 182754 h 335285"/>
                <a:gd name="connsiteX346" fmla="*/ 132299 w 305112"/>
                <a:gd name="connsiteY346" fmla="*/ 190602 h 335285"/>
                <a:gd name="connsiteX347" fmla="*/ 142105 w 305112"/>
                <a:gd name="connsiteY347" fmla="*/ 187332 h 335285"/>
                <a:gd name="connsiteX348" fmla="*/ 149732 w 305112"/>
                <a:gd name="connsiteY348" fmla="*/ 177740 h 335285"/>
                <a:gd name="connsiteX349" fmla="*/ 155397 w 305112"/>
                <a:gd name="connsiteY349" fmla="*/ 168802 h 335285"/>
                <a:gd name="connsiteX350" fmla="*/ 161935 w 305112"/>
                <a:gd name="connsiteY350" fmla="*/ 160953 h 335285"/>
                <a:gd name="connsiteX351" fmla="*/ 170651 w 305112"/>
                <a:gd name="connsiteY351" fmla="*/ 144821 h 335285"/>
                <a:gd name="connsiteX352" fmla="*/ 167382 w 305112"/>
                <a:gd name="connsiteY352" fmla="*/ 136972 h 335285"/>
                <a:gd name="connsiteX353" fmla="*/ 164114 w 305112"/>
                <a:gd name="connsiteY353" fmla="*/ 143077 h 335285"/>
                <a:gd name="connsiteX354" fmla="*/ 157359 w 305112"/>
                <a:gd name="connsiteY354" fmla="*/ 156375 h 335285"/>
                <a:gd name="connsiteX355" fmla="*/ 148642 w 305112"/>
                <a:gd name="connsiteY355" fmla="*/ 168802 h 335285"/>
                <a:gd name="connsiteX356" fmla="*/ 141233 w 305112"/>
                <a:gd name="connsiteY356" fmla="*/ 171418 h 335285"/>
                <a:gd name="connsiteX357" fmla="*/ 132735 w 305112"/>
                <a:gd name="connsiteY357" fmla="*/ 172944 h 335285"/>
                <a:gd name="connsiteX358" fmla="*/ 125544 w 305112"/>
                <a:gd name="connsiteY358" fmla="*/ 167275 h 335285"/>
                <a:gd name="connsiteX359" fmla="*/ 128595 w 305112"/>
                <a:gd name="connsiteY359" fmla="*/ 157247 h 335285"/>
                <a:gd name="connsiteX360" fmla="*/ 143412 w 305112"/>
                <a:gd name="connsiteY360" fmla="*/ 159209 h 335285"/>
                <a:gd name="connsiteX361" fmla="*/ 153654 w 305112"/>
                <a:gd name="connsiteY361" fmla="*/ 152233 h 335285"/>
                <a:gd name="connsiteX362" fmla="*/ 153218 w 305112"/>
                <a:gd name="connsiteY362" fmla="*/ 133266 h 335285"/>
                <a:gd name="connsiteX363" fmla="*/ 148860 w 305112"/>
                <a:gd name="connsiteY363" fmla="*/ 117352 h 335285"/>
                <a:gd name="connsiteX364" fmla="*/ 144284 w 305112"/>
                <a:gd name="connsiteY364" fmla="*/ 125636 h 335285"/>
                <a:gd name="connsiteX365" fmla="*/ 143195 w 305112"/>
                <a:gd name="connsiteY365" fmla="*/ 134574 h 335285"/>
                <a:gd name="connsiteX366" fmla="*/ 142323 w 305112"/>
                <a:gd name="connsiteY366" fmla="*/ 145911 h 335285"/>
                <a:gd name="connsiteX367" fmla="*/ 142759 w 305112"/>
                <a:gd name="connsiteY367" fmla="*/ 154849 h 335285"/>
                <a:gd name="connsiteX368" fmla="*/ 134260 w 305112"/>
                <a:gd name="connsiteY368" fmla="*/ 147437 h 335285"/>
                <a:gd name="connsiteX369" fmla="*/ 128159 w 305112"/>
                <a:gd name="connsiteY369" fmla="*/ 145693 h 335285"/>
                <a:gd name="connsiteX370" fmla="*/ 122493 w 305112"/>
                <a:gd name="connsiteY370" fmla="*/ 147873 h 335285"/>
                <a:gd name="connsiteX371" fmla="*/ 118353 w 305112"/>
                <a:gd name="connsiteY371" fmla="*/ 149835 h 335285"/>
                <a:gd name="connsiteX372" fmla="*/ 110726 w 305112"/>
                <a:gd name="connsiteY372" fmla="*/ 161607 h 335285"/>
                <a:gd name="connsiteX373" fmla="*/ 103100 w 305112"/>
                <a:gd name="connsiteY373" fmla="*/ 173162 h 335285"/>
                <a:gd name="connsiteX374" fmla="*/ 110944 w 305112"/>
                <a:gd name="connsiteY374" fmla="*/ 173380 h 335285"/>
                <a:gd name="connsiteX375" fmla="*/ 119007 w 305112"/>
                <a:gd name="connsiteY375" fmla="*/ 172072 h 335285"/>
                <a:gd name="connsiteX376" fmla="*/ 114213 w 305112"/>
                <a:gd name="connsiteY376" fmla="*/ 176868 h 335285"/>
                <a:gd name="connsiteX377" fmla="*/ 112252 w 305112"/>
                <a:gd name="connsiteY377" fmla="*/ 184498 h 335285"/>
                <a:gd name="connsiteX378" fmla="*/ 110944 w 305112"/>
                <a:gd name="connsiteY378" fmla="*/ 191256 h 335285"/>
                <a:gd name="connsiteX379" fmla="*/ 112252 w 305112"/>
                <a:gd name="connsiteY379" fmla="*/ 198887 h 335285"/>
                <a:gd name="connsiteX380" fmla="*/ 121840 w 305112"/>
                <a:gd name="connsiteY380" fmla="*/ 199105 h 335285"/>
                <a:gd name="connsiteX381" fmla="*/ 137965 w 305112"/>
                <a:gd name="connsiteY381" fmla="*/ 135228 h 335285"/>
                <a:gd name="connsiteX382" fmla="*/ 133171 w 305112"/>
                <a:gd name="connsiteY382" fmla="*/ 131740 h 335285"/>
                <a:gd name="connsiteX383" fmla="*/ 136004 w 305112"/>
                <a:gd name="connsiteY383" fmla="*/ 136972 h 335285"/>
                <a:gd name="connsiteX384" fmla="*/ 137965 w 305112"/>
                <a:gd name="connsiteY384" fmla="*/ 135228 h 335285"/>
                <a:gd name="connsiteX385" fmla="*/ 155397 w 305112"/>
                <a:gd name="connsiteY385" fmla="*/ 106015 h 335285"/>
                <a:gd name="connsiteX386" fmla="*/ 152565 w 305112"/>
                <a:gd name="connsiteY386" fmla="*/ 104271 h 335285"/>
                <a:gd name="connsiteX387" fmla="*/ 136875 w 305112"/>
                <a:gd name="connsiteY387" fmla="*/ 86831 h 335285"/>
                <a:gd name="connsiteX388" fmla="*/ 135568 w 305112"/>
                <a:gd name="connsiteY388" fmla="*/ 83343 h 335285"/>
                <a:gd name="connsiteX389" fmla="*/ 134042 w 305112"/>
                <a:gd name="connsiteY389" fmla="*/ 93371 h 335285"/>
                <a:gd name="connsiteX390" fmla="*/ 150168 w 305112"/>
                <a:gd name="connsiteY390" fmla="*/ 110375 h 335285"/>
                <a:gd name="connsiteX391" fmla="*/ 155397 w 305112"/>
                <a:gd name="connsiteY391" fmla="*/ 106015 h 335285"/>
                <a:gd name="connsiteX392" fmla="*/ 122711 w 305112"/>
                <a:gd name="connsiteY392" fmla="*/ 99693 h 335285"/>
                <a:gd name="connsiteX393" fmla="*/ 120532 w 305112"/>
                <a:gd name="connsiteY393" fmla="*/ 97731 h 335285"/>
                <a:gd name="connsiteX394" fmla="*/ 118353 w 305112"/>
                <a:gd name="connsiteY394" fmla="*/ 101219 h 335285"/>
                <a:gd name="connsiteX395" fmla="*/ 120532 w 305112"/>
                <a:gd name="connsiteY395" fmla="*/ 103181 h 335285"/>
                <a:gd name="connsiteX396" fmla="*/ 122711 w 305112"/>
                <a:gd name="connsiteY396" fmla="*/ 99693 h 335285"/>
                <a:gd name="connsiteX397" fmla="*/ 109419 w 305112"/>
                <a:gd name="connsiteY397" fmla="*/ 65248 h 335285"/>
                <a:gd name="connsiteX398" fmla="*/ 106368 w 305112"/>
                <a:gd name="connsiteY398" fmla="*/ 58490 h 335285"/>
                <a:gd name="connsiteX399" fmla="*/ 102010 w 305112"/>
                <a:gd name="connsiteY399" fmla="*/ 65030 h 335285"/>
                <a:gd name="connsiteX400" fmla="*/ 109419 w 305112"/>
                <a:gd name="connsiteY400" fmla="*/ 65248 h 335285"/>
                <a:gd name="connsiteX401" fmla="*/ 94165 w 305112"/>
                <a:gd name="connsiteY401" fmla="*/ 56528 h 335285"/>
                <a:gd name="connsiteX402" fmla="*/ 87628 w 305112"/>
                <a:gd name="connsiteY402" fmla="*/ 49987 h 335285"/>
                <a:gd name="connsiteX403" fmla="*/ 88936 w 305112"/>
                <a:gd name="connsiteY403" fmla="*/ 60670 h 335285"/>
                <a:gd name="connsiteX404" fmla="*/ 94165 w 305112"/>
                <a:gd name="connsiteY404" fmla="*/ 56528 h 33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Lst>
              <a:rect l="l" t="t" r="r" b="b"/>
              <a:pathLst>
                <a:path w="305112" h="335285">
                  <a:moveTo>
                    <a:pt x="197889" y="332961"/>
                  </a:moveTo>
                  <a:cubicBezTo>
                    <a:pt x="197018" y="331653"/>
                    <a:pt x="195057" y="331217"/>
                    <a:pt x="193531" y="331871"/>
                  </a:cubicBezTo>
                  <a:cubicBezTo>
                    <a:pt x="192006" y="332307"/>
                    <a:pt x="190045" y="332307"/>
                    <a:pt x="189391" y="331435"/>
                  </a:cubicBezTo>
                  <a:cubicBezTo>
                    <a:pt x="188519" y="330781"/>
                    <a:pt x="191134" y="329037"/>
                    <a:pt x="195057" y="327947"/>
                  </a:cubicBezTo>
                  <a:cubicBezTo>
                    <a:pt x="198979" y="326639"/>
                    <a:pt x="202030" y="324677"/>
                    <a:pt x="201812" y="323587"/>
                  </a:cubicBezTo>
                  <a:cubicBezTo>
                    <a:pt x="200940" y="320753"/>
                    <a:pt x="188084" y="320535"/>
                    <a:pt x="181982" y="323151"/>
                  </a:cubicBezTo>
                  <a:cubicBezTo>
                    <a:pt x="177624" y="324895"/>
                    <a:pt x="176317" y="324677"/>
                    <a:pt x="174355" y="321189"/>
                  </a:cubicBezTo>
                  <a:cubicBezTo>
                    <a:pt x="173048" y="318791"/>
                    <a:pt x="169343" y="313995"/>
                    <a:pt x="165857" y="310724"/>
                  </a:cubicBezTo>
                  <a:cubicBezTo>
                    <a:pt x="162588" y="307236"/>
                    <a:pt x="159756" y="303748"/>
                    <a:pt x="159756" y="302876"/>
                  </a:cubicBezTo>
                  <a:cubicBezTo>
                    <a:pt x="159756" y="302004"/>
                    <a:pt x="157794" y="299388"/>
                    <a:pt x="155397" y="297208"/>
                  </a:cubicBezTo>
                  <a:cubicBezTo>
                    <a:pt x="152565" y="294810"/>
                    <a:pt x="151475" y="291758"/>
                    <a:pt x="152347" y="289142"/>
                  </a:cubicBezTo>
                  <a:cubicBezTo>
                    <a:pt x="153000" y="286526"/>
                    <a:pt x="152347" y="285218"/>
                    <a:pt x="150168" y="285218"/>
                  </a:cubicBezTo>
                  <a:cubicBezTo>
                    <a:pt x="148206" y="285218"/>
                    <a:pt x="146681" y="287180"/>
                    <a:pt x="146681" y="289578"/>
                  </a:cubicBezTo>
                  <a:cubicBezTo>
                    <a:pt x="146681" y="291976"/>
                    <a:pt x="145809" y="293938"/>
                    <a:pt x="144938" y="293938"/>
                  </a:cubicBezTo>
                  <a:cubicBezTo>
                    <a:pt x="143848" y="293938"/>
                    <a:pt x="142977" y="288270"/>
                    <a:pt x="142759" y="281511"/>
                  </a:cubicBezTo>
                  <a:cubicBezTo>
                    <a:pt x="142541" y="271483"/>
                    <a:pt x="141669" y="268213"/>
                    <a:pt x="137965" y="265815"/>
                  </a:cubicBezTo>
                  <a:cubicBezTo>
                    <a:pt x="132953" y="262327"/>
                    <a:pt x="132081" y="254696"/>
                    <a:pt x="136875" y="254696"/>
                  </a:cubicBezTo>
                  <a:cubicBezTo>
                    <a:pt x="138619" y="254696"/>
                    <a:pt x="141233" y="256659"/>
                    <a:pt x="142759" y="259057"/>
                  </a:cubicBezTo>
                  <a:cubicBezTo>
                    <a:pt x="148206" y="267559"/>
                    <a:pt x="152783" y="264507"/>
                    <a:pt x="154526" y="250990"/>
                  </a:cubicBezTo>
                  <a:cubicBezTo>
                    <a:pt x="156051" y="237910"/>
                    <a:pt x="154308" y="232242"/>
                    <a:pt x="147771" y="231152"/>
                  </a:cubicBezTo>
                  <a:cubicBezTo>
                    <a:pt x="144502" y="230498"/>
                    <a:pt x="144066" y="231370"/>
                    <a:pt x="145374" y="238128"/>
                  </a:cubicBezTo>
                  <a:cubicBezTo>
                    <a:pt x="146899" y="245758"/>
                    <a:pt x="146681" y="245976"/>
                    <a:pt x="139708" y="246412"/>
                  </a:cubicBezTo>
                  <a:cubicBezTo>
                    <a:pt x="135786" y="246412"/>
                    <a:pt x="130338" y="246412"/>
                    <a:pt x="127723" y="246194"/>
                  </a:cubicBezTo>
                  <a:cubicBezTo>
                    <a:pt x="123365" y="245976"/>
                    <a:pt x="122711" y="246848"/>
                    <a:pt x="122711" y="253388"/>
                  </a:cubicBezTo>
                  <a:cubicBezTo>
                    <a:pt x="122711" y="259275"/>
                    <a:pt x="121404" y="262109"/>
                    <a:pt x="117264" y="264725"/>
                  </a:cubicBezTo>
                  <a:cubicBezTo>
                    <a:pt x="114213" y="266687"/>
                    <a:pt x="111816" y="270175"/>
                    <a:pt x="111816" y="272355"/>
                  </a:cubicBezTo>
                  <a:cubicBezTo>
                    <a:pt x="111816" y="278241"/>
                    <a:pt x="108111" y="279331"/>
                    <a:pt x="105279" y="274317"/>
                  </a:cubicBezTo>
                  <a:cubicBezTo>
                    <a:pt x="101574" y="267341"/>
                    <a:pt x="98306" y="271483"/>
                    <a:pt x="99831" y="281075"/>
                  </a:cubicBezTo>
                  <a:cubicBezTo>
                    <a:pt x="100921" y="288052"/>
                    <a:pt x="100703" y="289578"/>
                    <a:pt x="97870" y="289578"/>
                  </a:cubicBezTo>
                  <a:cubicBezTo>
                    <a:pt x="96127" y="289578"/>
                    <a:pt x="92858" y="291976"/>
                    <a:pt x="90897" y="295028"/>
                  </a:cubicBezTo>
                  <a:cubicBezTo>
                    <a:pt x="87846" y="299824"/>
                    <a:pt x="79130" y="302876"/>
                    <a:pt x="79130" y="299170"/>
                  </a:cubicBezTo>
                  <a:cubicBezTo>
                    <a:pt x="79130" y="294374"/>
                    <a:pt x="84142" y="289578"/>
                    <a:pt x="88064" y="290668"/>
                  </a:cubicBezTo>
                  <a:cubicBezTo>
                    <a:pt x="92422" y="292194"/>
                    <a:pt x="93512" y="288706"/>
                    <a:pt x="90243" y="283255"/>
                  </a:cubicBezTo>
                  <a:cubicBezTo>
                    <a:pt x="89154" y="281511"/>
                    <a:pt x="89154" y="277151"/>
                    <a:pt x="90461" y="272791"/>
                  </a:cubicBezTo>
                  <a:cubicBezTo>
                    <a:pt x="92640" y="264725"/>
                    <a:pt x="89807" y="258403"/>
                    <a:pt x="84795" y="260365"/>
                  </a:cubicBezTo>
                  <a:cubicBezTo>
                    <a:pt x="83052" y="261019"/>
                    <a:pt x="81309" y="259929"/>
                    <a:pt x="80655" y="258185"/>
                  </a:cubicBezTo>
                  <a:cubicBezTo>
                    <a:pt x="79784" y="256223"/>
                    <a:pt x="77169" y="254696"/>
                    <a:pt x="74772" y="254696"/>
                  </a:cubicBezTo>
                  <a:cubicBezTo>
                    <a:pt x="72375" y="254696"/>
                    <a:pt x="70414" y="253388"/>
                    <a:pt x="70414" y="251644"/>
                  </a:cubicBezTo>
                  <a:cubicBezTo>
                    <a:pt x="70414" y="249682"/>
                    <a:pt x="68888" y="249028"/>
                    <a:pt x="66491" y="249682"/>
                  </a:cubicBezTo>
                  <a:cubicBezTo>
                    <a:pt x="61043" y="250990"/>
                    <a:pt x="56032" y="244886"/>
                    <a:pt x="59300" y="240744"/>
                  </a:cubicBezTo>
                  <a:cubicBezTo>
                    <a:pt x="61043" y="238564"/>
                    <a:pt x="61043" y="236384"/>
                    <a:pt x="58647" y="231588"/>
                  </a:cubicBezTo>
                  <a:cubicBezTo>
                    <a:pt x="56250" y="227228"/>
                    <a:pt x="56032" y="224829"/>
                    <a:pt x="57775" y="222649"/>
                  </a:cubicBezTo>
                  <a:cubicBezTo>
                    <a:pt x="61043" y="218725"/>
                    <a:pt x="73682" y="219161"/>
                    <a:pt x="77822" y="223303"/>
                  </a:cubicBezTo>
                  <a:cubicBezTo>
                    <a:pt x="81745" y="227010"/>
                    <a:pt x="82616" y="240526"/>
                    <a:pt x="78912" y="242706"/>
                  </a:cubicBezTo>
                  <a:cubicBezTo>
                    <a:pt x="77387" y="243796"/>
                    <a:pt x="77822" y="245540"/>
                    <a:pt x="80219" y="248156"/>
                  </a:cubicBezTo>
                  <a:cubicBezTo>
                    <a:pt x="83924" y="252298"/>
                    <a:pt x="86539" y="251644"/>
                    <a:pt x="96344" y="244450"/>
                  </a:cubicBezTo>
                  <a:cubicBezTo>
                    <a:pt x="96998" y="244014"/>
                    <a:pt x="95473" y="242488"/>
                    <a:pt x="93512" y="240962"/>
                  </a:cubicBezTo>
                  <a:cubicBezTo>
                    <a:pt x="90243" y="238564"/>
                    <a:pt x="90025" y="237256"/>
                    <a:pt x="91986" y="233332"/>
                  </a:cubicBezTo>
                  <a:cubicBezTo>
                    <a:pt x="94819" y="227882"/>
                    <a:pt x="100049" y="228972"/>
                    <a:pt x="101792" y="235512"/>
                  </a:cubicBezTo>
                  <a:cubicBezTo>
                    <a:pt x="102664" y="239436"/>
                    <a:pt x="103318" y="239654"/>
                    <a:pt x="106150" y="237256"/>
                  </a:cubicBezTo>
                  <a:cubicBezTo>
                    <a:pt x="108111" y="235730"/>
                    <a:pt x="109637" y="233114"/>
                    <a:pt x="109637" y="231588"/>
                  </a:cubicBezTo>
                  <a:cubicBezTo>
                    <a:pt x="109637" y="227664"/>
                    <a:pt x="112688" y="227664"/>
                    <a:pt x="115956" y="231588"/>
                  </a:cubicBezTo>
                  <a:cubicBezTo>
                    <a:pt x="119878" y="236166"/>
                    <a:pt x="129249" y="237910"/>
                    <a:pt x="132953" y="234640"/>
                  </a:cubicBezTo>
                  <a:cubicBezTo>
                    <a:pt x="134696" y="233114"/>
                    <a:pt x="137093" y="229626"/>
                    <a:pt x="138183" y="227010"/>
                  </a:cubicBezTo>
                  <a:cubicBezTo>
                    <a:pt x="139708" y="223085"/>
                    <a:pt x="141233" y="222213"/>
                    <a:pt x="144938" y="223085"/>
                  </a:cubicBezTo>
                  <a:cubicBezTo>
                    <a:pt x="147771" y="223739"/>
                    <a:pt x="151693" y="223085"/>
                    <a:pt x="154090" y="221341"/>
                  </a:cubicBezTo>
                  <a:cubicBezTo>
                    <a:pt x="157359" y="218943"/>
                    <a:pt x="157794" y="217635"/>
                    <a:pt x="155615" y="213711"/>
                  </a:cubicBezTo>
                  <a:cubicBezTo>
                    <a:pt x="154308" y="211095"/>
                    <a:pt x="151475" y="208915"/>
                    <a:pt x="149514" y="208915"/>
                  </a:cubicBezTo>
                  <a:cubicBezTo>
                    <a:pt x="147553" y="208915"/>
                    <a:pt x="144938" y="207389"/>
                    <a:pt x="143412" y="205427"/>
                  </a:cubicBezTo>
                  <a:cubicBezTo>
                    <a:pt x="141233" y="202375"/>
                    <a:pt x="140580" y="202375"/>
                    <a:pt x="137747" y="204991"/>
                  </a:cubicBezTo>
                  <a:cubicBezTo>
                    <a:pt x="136004" y="206735"/>
                    <a:pt x="131863" y="208915"/>
                    <a:pt x="128595" y="209787"/>
                  </a:cubicBezTo>
                  <a:cubicBezTo>
                    <a:pt x="121840" y="211313"/>
                    <a:pt x="120532" y="215455"/>
                    <a:pt x="126852" y="215455"/>
                  </a:cubicBezTo>
                  <a:cubicBezTo>
                    <a:pt x="132081" y="215455"/>
                    <a:pt x="134914" y="219379"/>
                    <a:pt x="131863" y="222431"/>
                  </a:cubicBezTo>
                  <a:cubicBezTo>
                    <a:pt x="130338" y="223957"/>
                    <a:pt x="127505" y="223957"/>
                    <a:pt x="123147" y="222431"/>
                  </a:cubicBezTo>
                  <a:cubicBezTo>
                    <a:pt x="119007" y="221123"/>
                    <a:pt x="115956" y="220905"/>
                    <a:pt x="114649" y="222213"/>
                  </a:cubicBezTo>
                  <a:cubicBezTo>
                    <a:pt x="113341" y="223521"/>
                    <a:pt x="112470" y="220905"/>
                    <a:pt x="112252" y="215237"/>
                  </a:cubicBezTo>
                  <a:cubicBezTo>
                    <a:pt x="111816" y="204119"/>
                    <a:pt x="110726" y="202593"/>
                    <a:pt x="105279" y="203901"/>
                  </a:cubicBezTo>
                  <a:cubicBezTo>
                    <a:pt x="100703" y="205209"/>
                    <a:pt x="99613" y="208915"/>
                    <a:pt x="102882" y="212403"/>
                  </a:cubicBezTo>
                  <a:cubicBezTo>
                    <a:pt x="103971" y="213493"/>
                    <a:pt x="105497" y="216545"/>
                    <a:pt x="106368" y="219379"/>
                  </a:cubicBezTo>
                  <a:cubicBezTo>
                    <a:pt x="107676" y="223739"/>
                    <a:pt x="107240" y="223957"/>
                    <a:pt x="102664" y="222213"/>
                  </a:cubicBezTo>
                  <a:cubicBezTo>
                    <a:pt x="99831" y="221123"/>
                    <a:pt x="94819" y="220687"/>
                    <a:pt x="91768" y="221341"/>
                  </a:cubicBezTo>
                  <a:cubicBezTo>
                    <a:pt x="86757" y="222213"/>
                    <a:pt x="86321" y="221777"/>
                    <a:pt x="87192" y="216763"/>
                  </a:cubicBezTo>
                  <a:cubicBezTo>
                    <a:pt x="87846" y="213493"/>
                    <a:pt x="90243" y="210005"/>
                    <a:pt x="92422" y="208697"/>
                  </a:cubicBezTo>
                  <a:cubicBezTo>
                    <a:pt x="94819" y="207607"/>
                    <a:pt x="96562" y="205209"/>
                    <a:pt x="96562" y="203465"/>
                  </a:cubicBezTo>
                  <a:cubicBezTo>
                    <a:pt x="96562" y="201721"/>
                    <a:pt x="98959" y="198669"/>
                    <a:pt x="101792" y="196706"/>
                  </a:cubicBezTo>
                  <a:lnTo>
                    <a:pt x="107240" y="193218"/>
                  </a:lnTo>
                  <a:lnTo>
                    <a:pt x="102664" y="184716"/>
                  </a:lnTo>
                  <a:cubicBezTo>
                    <a:pt x="100267" y="180138"/>
                    <a:pt x="96998" y="176214"/>
                    <a:pt x="95691" y="176214"/>
                  </a:cubicBezTo>
                  <a:cubicBezTo>
                    <a:pt x="91115" y="176214"/>
                    <a:pt x="85013" y="167929"/>
                    <a:pt x="86539" y="164005"/>
                  </a:cubicBezTo>
                  <a:cubicBezTo>
                    <a:pt x="87628" y="161389"/>
                    <a:pt x="89589" y="160735"/>
                    <a:pt x="94383" y="161825"/>
                  </a:cubicBezTo>
                  <a:cubicBezTo>
                    <a:pt x="98088" y="162479"/>
                    <a:pt x="100921" y="162043"/>
                    <a:pt x="100921" y="160953"/>
                  </a:cubicBezTo>
                  <a:cubicBezTo>
                    <a:pt x="100921" y="159863"/>
                    <a:pt x="103535" y="156375"/>
                    <a:pt x="106804" y="153323"/>
                  </a:cubicBezTo>
                  <a:cubicBezTo>
                    <a:pt x="110073" y="150271"/>
                    <a:pt x="112470" y="147873"/>
                    <a:pt x="111816" y="147655"/>
                  </a:cubicBezTo>
                  <a:cubicBezTo>
                    <a:pt x="92858" y="145475"/>
                    <a:pt x="92204" y="145693"/>
                    <a:pt x="89589" y="151143"/>
                  </a:cubicBezTo>
                  <a:cubicBezTo>
                    <a:pt x="88282" y="154195"/>
                    <a:pt x="85013" y="157901"/>
                    <a:pt x="82398" y="159645"/>
                  </a:cubicBezTo>
                  <a:cubicBezTo>
                    <a:pt x="77822" y="162697"/>
                    <a:pt x="77387" y="162261"/>
                    <a:pt x="72810" y="153977"/>
                  </a:cubicBezTo>
                  <a:cubicBezTo>
                    <a:pt x="67145" y="143077"/>
                    <a:pt x="66927" y="139370"/>
                    <a:pt x="72593" y="144603"/>
                  </a:cubicBezTo>
                  <a:cubicBezTo>
                    <a:pt x="76951" y="148527"/>
                    <a:pt x="83488" y="147873"/>
                    <a:pt x="83488" y="143513"/>
                  </a:cubicBezTo>
                  <a:cubicBezTo>
                    <a:pt x="83488" y="142205"/>
                    <a:pt x="82398" y="139152"/>
                    <a:pt x="81309" y="136754"/>
                  </a:cubicBezTo>
                  <a:cubicBezTo>
                    <a:pt x="77387" y="129778"/>
                    <a:pt x="81091" y="127380"/>
                    <a:pt x="86974" y="132830"/>
                  </a:cubicBezTo>
                  <a:cubicBezTo>
                    <a:pt x="91333" y="136972"/>
                    <a:pt x="93294" y="137408"/>
                    <a:pt x="98306" y="135664"/>
                  </a:cubicBezTo>
                  <a:cubicBezTo>
                    <a:pt x="102882" y="133920"/>
                    <a:pt x="106368" y="134356"/>
                    <a:pt x="113559" y="137190"/>
                  </a:cubicBezTo>
                  <a:cubicBezTo>
                    <a:pt x="118571" y="139370"/>
                    <a:pt x="122711" y="140243"/>
                    <a:pt x="122711" y="139152"/>
                  </a:cubicBezTo>
                  <a:cubicBezTo>
                    <a:pt x="122711" y="137844"/>
                    <a:pt x="121840" y="136972"/>
                    <a:pt x="120532" y="136972"/>
                  </a:cubicBezTo>
                  <a:cubicBezTo>
                    <a:pt x="119443" y="136972"/>
                    <a:pt x="118353" y="135010"/>
                    <a:pt x="118353" y="132612"/>
                  </a:cubicBezTo>
                  <a:cubicBezTo>
                    <a:pt x="118353" y="129778"/>
                    <a:pt x="119878" y="128252"/>
                    <a:pt x="122711" y="128252"/>
                  </a:cubicBezTo>
                  <a:cubicBezTo>
                    <a:pt x="125108" y="128252"/>
                    <a:pt x="127069" y="127380"/>
                    <a:pt x="127069" y="126072"/>
                  </a:cubicBezTo>
                  <a:cubicBezTo>
                    <a:pt x="127069" y="124982"/>
                    <a:pt x="129031" y="123892"/>
                    <a:pt x="131210" y="123892"/>
                  </a:cubicBezTo>
                  <a:cubicBezTo>
                    <a:pt x="138836" y="123892"/>
                    <a:pt x="139054" y="118660"/>
                    <a:pt x="132299" y="106887"/>
                  </a:cubicBezTo>
                  <a:cubicBezTo>
                    <a:pt x="132081" y="106451"/>
                    <a:pt x="129902" y="107323"/>
                    <a:pt x="127505" y="108849"/>
                  </a:cubicBezTo>
                  <a:cubicBezTo>
                    <a:pt x="124019" y="111030"/>
                    <a:pt x="122275" y="111030"/>
                    <a:pt x="120096" y="109067"/>
                  </a:cubicBezTo>
                  <a:cubicBezTo>
                    <a:pt x="118353" y="107759"/>
                    <a:pt x="115956" y="107323"/>
                    <a:pt x="114867" y="108413"/>
                  </a:cubicBezTo>
                  <a:cubicBezTo>
                    <a:pt x="113777" y="109503"/>
                    <a:pt x="109419" y="110812"/>
                    <a:pt x="104843" y="111466"/>
                  </a:cubicBezTo>
                  <a:cubicBezTo>
                    <a:pt x="97216" y="112556"/>
                    <a:pt x="96998" y="112338"/>
                    <a:pt x="95691" y="105143"/>
                  </a:cubicBezTo>
                  <a:cubicBezTo>
                    <a:pt x="94601" y="99911"/>
                    <a:pt x="93076" y="97731"/>
                    <a:pt x="90025" y="97731"/>
                  </a:cubicBezTo>
                  <a:cubicBezTo>
                    <a:pt x="87846" y="97731"/>
                    <a:pt x="85231" y="95769"/>
                    <a:pt x="84577" y="93371"/>
                  </a:cubicBezTo>
                  <a:cubicBezTo>
                    <a:pt x="83052" y="88357"/>
                    <a:pt x="77822" y="85523"/>
                    <a:pt x="71503" y="85959"/>
                  </a:cubicBezTo>
                  <a:cubicBezTo>
                    <a:pt x="69106" y="85959"/>
                    <a:pt x="64530" y="86395"/>
                    <a:pt x="61261" y="86613"/>
                  </a:cubicBezTo>
                  <a:cubicBezTo>
                    <a:pt x="57339" y="86613"/>
                    <a:pt x="55160" y="88139"/>
                    <a:pt x="55160" y="90101"/>
                  </a:cubicBezTo>
                  <a:cubicBezTo>
                    <a:pt x="55160" y="93807"/>
                    <a:pt x="57775" y="94243"/>
                    <a:pt x="60826" y="91191"/>
                  </a:cubicBezTo>
                  <a:cubicBezTo>
                    <a:pt x="62351" y="89665"/>
                    <a:pt x="64966" y="89447"/>
                    <a:pt x="68888" y="90973"/>
                  </a:cubicBezTo>
                  <a:cubicBezTo>
                    <a:pt x="75643" y="93589"/>
                    <a:pt x="76515" y="96641"/>
                    <a:pt x="71067" y="98603"/>
                  </a:cubicBezTo>
                  <a:cubicBezTo>
                    <a:pt x="68452" y="99693"/>
                    <a:pt x="68234" y="100783"/>
                    <a:pt x="69978" y="102527"/>
                  </a:cubicBezTo>
                  <a:cubicBezTo>
                    <a:pt x="71939" y="104489"/>
                    <a:pt x="73464" y="104053"/>
                    <a:pt x="76515" y="101437"/>
                  </a:cubicBezTo>
                  <a:cubicBezTo>
                    <a:pt x="82398" y="95987"/>
                    <a:pt x="84142" y="96859"/>
                    <a:pt x="89589" y="107759"/>
                  </a:cubicBezTo>
                  <a:cubicBezTo>
                    <a:pt x="93294" y="115390"/>
                    <a:pt x="93948" y="118442"/>
                    <a:pt x="92204" y="121712"/>
                  </a:cubicBezTo>
                  <a:cubicBezTo>
                    <a:pt x="89807" y="126290"/>
                    <a:pt x="86757" y="127380"/>
                    <a:pt x="84795" y="124110"/>
                  </a:cubicBezTo>
                  <a:cubicBezTo>
                    <a:pt x="84142" y="123020"/>
                    <a:pt x="81527" y="122584"/>
                    <a:pt x="79130" y="123238"/>
                  </a:cubicBezTo>
                  <a:cubicBezTo>
                    <a:pt x="73900" y="124546"/>
                    <a:pt x="73028" y="118442"/>
                    <a:pt x="78040" y="116480"/>
                  </a:cubicBezTo>
                  <a:cubicBezTo>
                    <a:pt x="83488" y="114518"/>
                    <a:pt x="81745" y="110812"/>
                    <a:pt x="74990" y="110812"/>
                  </a:cubicBezTo>
                  <a:cubicBezTo>
                    <a:pt x="70414" y="110812"/>
                    <a:pt x="67145" y="108849"/>
                    <a:pt x="63005" y="103399"/>
                  </a:cubicBezTo>
                  <a:cubicBezTo>
                    <a:pt x="57339" y="95769"/>
                    <a:pt x="55378" y="95333"/>
                    <a:pt x="39471" y="97513"/>
                  </a:cubicBezTo>
                  <a:cubicBezTo>
                    <a:pt x="38381" y="97731"/>
                    <a:pt x="37727" y="100565"/>
                    <a:pt x="37727" y="103835"/>
                  </a:cubicBezTo>
                  <a:cubicBezTo>
                    <a:pt x="37727" y="107323"/>
                    <a:pt x="35766" y="111902"/>
                    <a:pt x="33369" y="114082"/>
                  </a:cubicBezTo>
                  <a:cubicBezTo>
                    <a:pt x="27486" y="119314"/>
                    <a:pt x="27922" y="123892"/>
                    <a:pt x="34023" y="123892"/>
                  </a:cubicBezTo>
                  <a:cubicBezTo>
                    <a:pt x="42086" y="123892"/>
                    <a:pt x="49059" y="117788"/>
                    <a:pt x="48187" y="111248"/>
                  </a:cubicBezTo>
                  <a:cubicBezTo>
                    <a:pt x="47751" y="106233"/>
                    <a:pt x="48405" y="105143"/>
                    <a:pt x="53199" y="104707"/>
                  </a:cubicBezTo>
                  <a:cubicBezTo>
                    <a:pt x="57993" y="104053"/>
                    <a:pt x="59082" y="105143"/>
                    <a:pt x="60608" y="111248"/>
                  </a:cubicBezTo>
                  <a:cubicBezTo>
                    <a:pt x="63440" y="122584"/>
                    <a:pt x="63223" y="122802"/>
                    <a:pt x="55160" y="122802"/>
                  </a:cubicBezTo>
                  <a:cubicBezTo>
                    <a:pt x="48841" y="122802"/>
                    <a:pt x="47315" y="123674"/>
                    <a:pt x="45572" y="129342"/>
                  </a:cubicBezTo>
                  <a:cubicBezTo>
                    <a:pt x="42521" y="138280"/>
                    <a:pt x="42739" y="138280"/>
                    <a:pt x="37727" y="133702"/>
                  </a:cubicBezTo>
                  <a:cubicBezTo>
                    <a:pt x="34023" y="130214"/>
                    <a:pt x="32280" y="129996"/>
                    <a:pt x="29011" y="131958"/>
                  </a:cubicBezTo>
                  <a:cubicBezTo>
                    <a:pt x="25742" y="134138"/>
                    <a:pt x="24435" y="133702"/>
                    <a:pt x="21602" y="129342"/>
                  </a:cubicBezTo>
                  <a:cubicBezTo>
                    <a:pt x="16590" y="121494"/>
                    <a:pt x="17244" y="117352"/>
                    <a:pt x="23563" y="117352"/>
                  </a:cubicBezTo>
                  <a:cubicBezTo>
                    <a:pt x="27050" y="117352"/>
                    <a:pt x="29011" y="116044"/>
                    <a:pt x="29011" y="114082"/>
                  </a:cubicBezTo>
                  <a:cubicBezTo>
                    <a:pt x="29011" y="108849"/>
                    <a:pt x="23346" y="107977"/>
                    <a:pt x="15719" y="111684"/>
                  </a:cubicBezTo>
                  <a:cubicBezTo>
                    <a:pt x="10053" y="114518"/>
                    <a:pt x="8310" y="114736"/>
                    <a:pt x="6785" y="112556"/>
                  </a:cubicBezTo>
                  <a:cubicBezTo>
                    <a:pt x="4388" y="108413"/>
                    <a:pt x="4605" y="99039"/>
                    <a:pt x="7438" y="96205"/>
                  </a:cubicBezTo>
                  <a:cubicBezTo>
                    <a:pt x="9182" y="94461"/>
                    <a:pt x="8746" y="92063"/>
                    <a:pt x="6349" y="87703"/>
                  </a:cubicBezTo>
                  <a:cubicBezTo>
                    <a:pt x="2862" y="81162"/>
                    <a:pt x="2426" y="81599"/>
                    <a:pt x="1991" y="91191"/>
                  </a:cubicBezTo>
                  <a:cubicBezTo>
                    <a:pt x="1773" y="94461"/>
                    <a:pt x="465" y="96641"/>
                    <a:pt x="-1496" y="96641"/>
                  </a:cubicBezTo>
                  <a:cubicBezTo>
                    <a:pt x="-3893" y="96641"/>
                    <a:pt x="-4547" y="94679"/>
                    <a:pt x="-4111" y="89011"/>
                  </a:cubicBezTo>
                  <a:cubicBezTo>
                    <a:pt x="-3893" y="84869"/>
                    <a:pt x="-2585" y="80944"/>
                    <a:pt x="-1496" y="80726"/>
                  </a:cubicBezTo>
                  <a:cubicBezTo>
                    <a:pt x="-188" y="80290"/>
                    <a:pt x="683" y="78110"/>
                    <a:pt x="683" y="75712"/>
                  </a:cubicBezTo>
                  <a:cubicBezTo>
                    <a:pt x="683" y="73532"/>
                    <a:pt x="2208" y="71570"/>
                    <a:pt x="3952" y="71570"/>
                  </a:cubicBezTo>
                  <a:cubicBezTo>
                    <a:pt x="5695" y="71570"/>
                    <a:pt x="7220" y="69608"/>
                    <a:pt x="7220" y="66992"/>
                  </a:cubicBezTo>
                  <a:cubicBezTo>
                    <a:pt x="7220" y="61760"/>
                    <a:pt x="10925" y="54130"/>
                    <a:pt x="13540" y="54130"/>
                  </a:cubicBezTo>
                  <a:cubicBezTo>
                    <a:pt x="16808" y="54130"/>
                    <a:pt x="20949" y="66992"/>
                    <a:pt x="18769" y="70044"/>
                  </a:cubicBezTo>
                  <a:cubicBezTo>
                    <a:pt x="17462" y="71352"/>
                    <a:pt x="15937" y="77892"/>
                    <a:pt x="15283" y="83997"/>
                  </a:cubicBezTo>
                  <a:cubicBezTo>
                    <a:pt x="14193" y="93589"/>
                    <a:pt x="14629" y="95769"/>
                    <a:pt x="17898" y="97513"/>
                  </a:cubicBezTo>
                  <a:cubicBezTo>
                    <a:pt x="23563" y="100565"/>
                    <a:pt x="31190" y="97949"/>
                    <a:pt x="33587" y="92063"/>
                  </a:cubicBezTo>
                  <a:cubicBezTo>
                    <a:pt x="34895" y="88357"/>
                    <a:pt x="37074" y="86831"/>
                    <a:pt x="40996" y="86831"/>
                  </a:cubicBezTo>
                  <a:cubicBezTo>
                    <a:pt x="46444" y="86831"/>
                    <a:pt x="48623" y="81817"/>
                    <a:pt x="44265" y="79200"/>
                  </a:cubicBezTo>
                  <a:cubicBezTo>
                    <a:pt x="37074" y="74840"/>
                    <a:pt x="53853" y="69608"/>
                    <a:pt x="61915" y="73750"/>
                  </a:cubicBezTo>
                  <a:cubicBezTo>
                    <a:pt x="65402" y="75712"/>
                    <a:pt x="67145" y="75494"/>
                    <a:pt x="70414" y="72660"/>
                  </a:cubicBezTo>
                  <a:cubicBezTo>
                    <a:pt x="74118" y="69172"/>
                    <a:pt x="74554" y="69390"/>
                    <a:pt x="75207" y="73750"/>
                  </a:cubicBezTo>
                  <a:cubicBezTo>
                    <a:pt x="75643" y="76148"/>
                    <a:pt x="76951" y="77892"/>
                    <a:pt x="78040" y="77674"/>
                  </a:cubicBezTo>
                  <a:cubicBezTo>
                    <a:pt x="80873" y="76802"/>
                    <a:pt x="80001" y="65466"/>
                    <a:pt x="76515" y="59144"/>
                  </a:cubicBezTo>
                  <a:cubicBezTo>
                    <a:pt x="74554" y="55002"/>
                    <a:pt x="74772" y="53476"/>
                    <a:pt x="78040" y="49769"/>
                  </a:cubicBezTo>
                  <a:cubicBezTo>
                    <a:pt x="80219" y="47371"/>
                    <a:pt x="83706" y="44973"/>
                    <a:pt x="86103" y="44101"/>
                  </a:cubicBezTo>
                  <a:cubicBezTo>
                    <a:pt x="89589" y="43011"/>
                    <a:pt x="90243" y="41049"/>
                    <a:pt x="89807" y="29277"/>
                  </a:cubicBezTo>
                  <a:cubicBezTo>
                    <a:pt x="89371" y="13580"/>
                    <a:pt x="90461" y="10528"/>
                    <a:pt x="96562" y="12054"/>
                  </a:cubicBezTo>
                  <a:cubicBezTo>
                    <a:pt x="98959" y="12708"/>
                    <a:pt x="100921" y="12272"/>
                    <a:pt x="100921" y="10964"/>
                  </a:cubicBezTo>
                  <a:cubicBezTo>
                    <a:pt x="100921" y="4642"/>
                    <a:pt x="129031" y="-590"/>
                    <a:pt x="142759" y="3334"/>
                  </a:cubicBezTo>
                  <a:lnTo>
                    <a:pt x="148424" y="5078"/>
                  </a:lnTo>
                  <a:lnTo>
                    <a:pt x="144284" y="10310"/>
                  </a:lnTo>
                  <a:cubicBezTo>
                    <a:pt x="141016" y="14234"/>
                    <a:pt x="139272" y="14888"/>
                    <a:pt x="137529" y="13144"/>
                  </a:cubicBezTo>
                  <a:cubicBezTo>
                    <a:pt x="133171" y="8784"/>
                    <a:pt x="130774" y="10310"/>
                    <a:pt x="132081" y="16850"/>
                  </a:cubicBezTo>
                  <a:cubicBezTo>
                    <a:pt x="133825" y="24917"/>
                    <a:pt x="130338" y="28405"/>
                    <a:pt x="123801" y="25353"/>
                  </a:cubicBezTo>
                  <a:cubicBezTo>
                    <a:pt x="119443" y="23390"/>
                    <a:pt x="119007" y="22300"/>
                    <a:pt x="121186" y="17722"/>
                  </a:cubicBezTo>
                  <a:cubicBezTo>
                    <a:pt x="124455" y="10528"/>
                    <a:pt x="120968" y="7694"/>
                    <a:pt x="112688" y="10964"/>
                  </a:cubicBezTo>
                  <a:cubicBezTo>
                    <a:pt x="104407" y="14016"/>
                    <a:pt x="99177" y="24263"/>
                    <a:pt x="103100" y="29059"/>
                  </a:cubicBezTo>
                  <a:cubicBezTo>
                    <a:pt x="105279" y="31675"/>
                    <a:pt x="105061" y="33201"/>
                    <a:pt x="102228" y="36471"/>
                  </a:cubicBezTo>
                  <a:cubicBezTo>
                    <a:pt x="95909" y="43447"/>
                    <a:pt x="101792" y="57618"/>
                    <a:pt x="108547" y="51949"/>
                  </a:cubicBezTo>
                  <a:cubicBezTo>
                    <a:pt x="110073" y="50641"/>
                    <a:pt x="113777" y="49769"/>
                    <a:pt x="116610" y="49987"/>
                  </a:cubicBezTo>
                  <a:cubicBezTo>
                    <a:pt x="128813" y="51077"/>
                    <a:pt x="129684" y="50423"/>
                    <a:pt x="128813" y="41049"/>
                  </a:cubicBezTo>
                  <a:cubicBezTo>
                    <a:pt x="127941" y="32111"/>
                    <a:pt x="129902" y="29495"/>
                    <a:pt x="132299" y="35817"/>
                  </a:cubicBezTo>
                  <a:cubicBezTo>
                    <a:pt x="133171" y="38215"/>
                    <a:pt x="135132" y="38869"/>
                    <a:pt x="139054" y="37997"/>
                  </a:cubicBezTo>
                  <a:cubicBezTo>
                    <a:pt x="144502" y="36689"/>
                    <a:pt x="146899" y="39741"/>
                    <a:pt x="141887" y="41703"/>
                  </a:cubicBezTo>
                  <a:cubicBezTo>
                    <a:pt x="139926" y="42357"/>
                    <a:pt x="140144" y="43883"/>
                    <a:pt x="143195" y="47371"/>
                  </a:cubicBezTo>
                  <a:cubicBezTo>
                    <a:pt x="147989" y="52822"/>
                    <a:pt x="152347" y="53258"/>
                    <a:pt x="154090" y="48679"/>
                  </a:cubicBezTo>
                  <a:cubicBezTo>
                    <a:pt x="154962" y="46281"/>
                    <a:pt x="156923" y="45627"/>
                    <a:pt x="160845" y="46717"/>
                  </a:cubicBezTo>
                  <a:cubicBezTo>
                    <a:pt x="166511" y="48243"/>
                    <a:pt x="167382" y="46499"/>
                    <a:pt x="164985" y="37561"/>
                  </a:cubicBezTo>
                  <a:cubicBezTo>
                    <a:pt x="164114" y="33855"/>
                    <a:pt x="162153" y="32983"/>
                    <a:pt x="156923" y="33201"/>
                  </a:cubicBezTo>
                  <a:cubicBezTo>
                    <a:pt x="147989" y="33419"/>
                    <a:pt x="146027" y="26879"/>
                    <a:pt x="154090" y="23390"/>
                  </a:cubicBezTo>
                  <a:cubicBezTo>
                    <a:pt x="157794" y="21646"/>
                    <a:pt x="159756" y="19030"/>
                    <a:pt x="159756" y="15542"/>
                  </a:cubicBezTo>
                  <a:cubicBezTo>
                    <a:pt x="159756" y="9874"/>
                    <a:pt x="163024" y="8784"/>
                    <a:pt x="164985" y="14016"/>
                  </a:cubicBezTo>
                  <a:cubicBezTo>
                    <a:pt x="166075" y="16850"/>
                    <a:pt x="166946" y="16850"/>
                    <a:pt x="171740" y="13362"/>
                  </a:cubicBezTo>
                  <a:cubicBezTo>
                    <a:pt x="174573" y="11182"/>
                    <a:pt x="177188" y="7694"/>
                    <a:pt x="177188" y="5732"/>
                  </a:cubicBezTo>
                  <a:cubicBezTo>
                    <a:pt x="177188" y="718"/>
                    <a:pt x="181110" y="-1244"/>
                    <a:pt x="184815" y="1808"/>
                  </a:cubicBezTo>
                  <a:cubicBezTo>
                    <a:pt x="188519" y="4860"/>
                    <a:pt x="186994" y="9002"/>
                    <a:pt x="178931" y="17722"/>
                  </a:cubicBezTo>
                  <a:cubicBezTo>
                    <a:pt x="173702" y="23390"/>
                    <a:pt x="172830" y="26007"/>
                    <a:pt x="173702" y="32111"/>
                  </a:cubicBezTo>
                  <a:cubicBezTo>
                    <a:pt x="174355" y="36253"/>
                    <a:pt x="173920" y="40831"/>
                    <a:pt x="172612" y="42357"/>
                  </a:cubicBezTo>
                  <a:cubicBezTo>
                    <a:pt x="171087" y="44319"/>
                    <a:pt x="172612" y="46717"/>
                    <a:pt x="178060" y="51295"/>
                  </a:cubicBezTo>
                  <a:cubicBezTo>
                    <a:pt x="182418" y="54566"/>
                    <a:pt x="185904" y="58272"/>
                    <a:pt x="185904" y="59144"/>
                  </a:cubicBezTo>
                  <a:cubicBezTo>
                    <a:pt x="185904" y="60234"/>
                    <a:pt x="181328" y="60670"/>
                    <a:pt x="175663" y="60452"/>
                  </a:cubicBezTo>
                  <a:cubicBezTo>
                    <a:pt x="169126" y="60016"/>
                    <a:pt x="165203" y="60670"/>
                    <a:pt x="164550" y="62414"/>
                  </a:cubicBezTo>
                  <a:cubicBezTo>
                    <a:pt x="164114" y="63940"/>
                    <a:pt x="165639" y="65030"/>
                    <a:pt x="168254" y="65030"/>
                  </a:cubicBezTo>
                  <a:cubicBezTo>
                    <a:pt x="174573" y="65030"/>
                    <a:pt x="176317" y="70698"/>
                    <a:pt x="171740" y="75930"/>
                  </a:cubicBezTo>
                  <a:cubicBezTo>
                    <a:pt x="167382" y="80944"/>
                    <a:pt x="164114" y="79854"/>
                    <a:pt x="164114" y="73532"/>
                  </a:cubicBezTo>
                  <a:cubicBezTo>
                    <a:pt x="164114" y="68736"/>
                    <a:pt x="159320" y="62850"/>
                    <a:pt x="155615" y="62850"/>
                  </a:cubicBezTo>
                  <a:cubicBezTo>
                    <a:pt x="154308" y="62850"/>
                    <a:pt x="153218" y="65248"/>
                    <a:pt x="153218" y="68300"/>
                  </a:cubicBezTo>
                  <a:cubicBezTo>
                    <a:pt x="153218" y="71352"/>
                    <a:pt x="152129" y="73750"/>
                    <a:pt x="150821" y="73750"/>
                  </a:cubicBezTo>
                  <a:cubicBezTo>
                    <a:pt x="149514" y="73750"/>
                    <a:pt x="149078" y="71788"/>
                    <a:pt x="149950" y="69390"/>
                  </a:cubicBezTo>
                  <a:cubicBezTo>
                    <a:pt x="151693" y="63940"/>
                    <a:pt x="147117" y="57618"/>
                    <a:pt x="143630" y="60452"/>
                  </a:cubicBezTo>
                  <a:cubicBezTo>
                    <a:pt x="142323" y="61542"/>
                    <a:pt x="137093" y="62196"/>
                    <a:pt x="132081" y="61760"/>
                  </a:cubicBezTo>
                  <a:cubicBezTo>
                    <a:pt x="124672" y="61324"/>
                    <a:pt x="122929" y="61978"/>
                    <a:pt x="121840" y="65684"/>
                  </a:cubicBezTo>
                  <a:cubicBezTo>
                    <a:pt x="121186" y="68518"/>
                    <a:pt x="119661" y="69608"/>
                    <a:pt x="117482" y="68736"/>
                  </a:cubicBezTo>
                  <a:cubicBezTo>
                    <a:pt x="115302" y="67864"/>
                    <a:pt x="113995" y="68518"/>
                    <a:pt x="113995" y="70480"/>
                  </a:cubicBezTo>
                  <a:cubicBezTo>
                    <a:pt x="113995" y="74186"/>
                    <a:pt x="107894" y="75712"/>
                    <a:pt x="101138" y="73314"/>
                  </a:cubicBezTo>
                  <a:cubicBezTo>
                    <a:pt x="93512" y="70480"/>
                    <a:pt x="90025" y="72660"/>
                    <a:pt x="90025" y="80290"/>
                  </a:cubicBezTo>
                  <a:cubicBezTo>
                    <a:pt x="90025" y="85305"/>
                    <a:pt x="91333" y="87485"/>
                    <a:pt x="95473" y="89447"/>
                  </a:cubicBezTo>
                  <a:cubicBezTo>
                    <a:pt x="98524" y="90755"/>
                    <a:pt x="100921" y="93589"/>
                    <a:pt x="100921" y="95551"/>
                  </a:cubicBezTo>
                  <a:cubicBezTo>
                    <a:pt x="100921" y="101001"/>
                    <a:pt x="102882" y="102091"/>
                    <a:pt x="108765" y="99475"/>
                  </a:cubicBezTo>
                  <a:cubicBezTo>
                    <a:pt x="112688" y="97513"/>
                    <a:pt x="113777" y="95551"/>
                    <a:pt x="113341" y="90319"/>
                  </a:cubicBezTo>
                  <a:cubicBezTo>
                    <a:pt x="112905" y="83997"/>
                    <a:pt x="113341" y="83561"/>
                    <a:pt x="120096" y="84215"/>
                  </a:cubicBezTo>
                  <a:cubicBezTo>
                    <a:pt x="126852" y="84869"/>
                    <a:pt x="127069" y="84869"/>
                    <a:pt x="124455" y="79200"/>
                  </a:cubicBezTo>
                  <a:cubicBezTo>
                    <a:pt x="122275" y="74622"/>
                    <a:pt x="122493" y="73096"/>
                    <a:pt x="124890" y="71570"/>
                  </a:cubicBezTo>
                  <a:cubicBezTo>
                    <a:pt x="127941" y="69608"/>
                    <a:pt x="133607" y="70916"/>
                    <a:pt x="133607" y="73750"/>
                  </a:cubicBezTo>
                  <a:cubicBezTo>
                    <a:pt x="133607" y="74622"/>
                    <a:pt x="136222" y="74840"/>
                    <a:pt x="139490" y="74186"/>
                  </a:cubicBezTo>
                  <a:cubicBezTo>
                    <a:pt x="144938" y="73096"/>
                    <a:pt x="145156" y="73532"/>
                    <a:pt x="143848" y="79854"/>
                  </a:cubicBezTo>
                  <a:cubicBezTo>
                    <a:pt x="142759" y="85305"/>
                    <a:pt x="143412" y="87267"/>
                    <a:pt x="147335" y="90101"/>
                  </a:cubicBezTo>
                  <a:cubicBezTo>
                    <a:pt x="151693" y="93153"/>
                    <a:pt x="152129" y="93153"/>
                    <a:pt x="153654" y="89011"/>
                  </a:cubicBezTo>
                  <a:cubicBezTo>
                    <a:pt x="154962" y="85087"/>
                    <a:pt x="156923" y="84869"/>
                    <a:pt x="175881" y="85305"/>
                  </a:cubicBezTo>
                  <a:cubicBezTo>
                    <a:pt x="187212" y="85741"/>
                    <a:pt x="197236" y="86395"/>
                    <a:pt x="197889" y="87049"/>
                  </a:cubicBezTo>
                  <a:cubicBezTo>
                    <a:pt x="198543" y="87703"/>
                    <a:pt x="198325" y="91409"/>
                    <a:pt x="197671" y="95115"/>
                  </a:cubicBezTo>
                  <a:cubicBezTo>
                    <a:pt x="196582" y="100347"/>
                    <a:pt x="194839" y="102091"/>
                    <a:pt x="189827" y="103181"/>
                  </a:cubicBezTo>
                  <a:cubicBezTo>
                    <a:pt x="182854" y="104707"/>
                    <a:pt x="182200" y="109721"/>
                    <a:pt x="188519" y="113864"/>
                  </a:cubicBezTo>
                  <a:cubicBezTo>
                    <a:pt x="191352" y="115608"/>
                    <a:pt x="193095" y="115172"/>
                    <a:pt x="196364" y="112338"/>
                  </a:cubicBezTo>
                  <a:cubicBezTo>
                    <a:pt x="202901" y="106451"/>
                    <a:pt x="211618" y="110594"/>
                    <a:pt x="212489" y="119968"/>
                  </a:cubicBezTo>
                  <a:lnTo>
                    <a:pt x="213143" y="127162"/>
                  </a:lnTo>
                  <a:lnTo>
                    <a:pt x="217065" y="120186"/>
                  </a:lnTo>
                  <a:cubicBezTo>
                    <a:pt x="220770" y="113428"/>
                    <a:pt x="220770" y="112992"/>
                    <a:pt x="216411" y="110812"/>
                  </a:cubicBezTo>
                  <a:cubicBezTo>
                    <a:pt x="212271" y="108631"/>
                    <a:pt x="210092" y="99911"/>
                    <a:pt x="213797" y="99911"/>
                  </a:cubicBezTo>
                  <a:cubicBezTo>
                    <a:pt x="217501" y="99911"/>
                    <a:pt x="220770" y="91191"/>
                    <a:pt x="218591" y="86831"/>
                  </a:cubicBezTo>
                  <a:cubicBezTo>
                    <a:pt x="217501" y="84651"/>
                    <a:pt x="217065" y="81162"/>
                    <a:pt x="217719" y="79418"/>
                  </a:cubicBezTo>
                  <a:cubicBezTo>
                    <a:pt x="219462" y="75058"/>
                    <a:pt x="231011" y="69172"/>
                    <a:pt x="235152" y="70916"/>
                  </a:cubicBezTo>
                  <a:cubicBezTo>
                    <a:pt x="237331" y="71788"/>
                    <a:pt x="238202" y="70262"/>
                    <a:pt x="238202" y="65248"/>
                  </a:cubicBezTo>
                  <a:cubicBezTo>
                    <a:pt x="238202" y="61542"/>
                    <a:pt x="237331" y="58490"/>
                    <a:pt x="236023" y="58490"/>
                  </a:cubicBezTo>
                  <a:cubicBezTo>
                    <a:pt x="234934" y="58490"/>
                    <a:pt x="233844" y="59580"/>
                    <a:pt x="233844" y="60670"/>
                  </a:cubicBezTo>
                  <a:cubicBezTo>
                    <a:pt x="233844" y="65248"/>
                    <a:pt x="227307" y="62632"/>
                    <a:pt x="225999" y="57400"/>
                  </a:cubicBezTo>
                  <a:cubicBezTo>
                    <a:pt x="224256" y="50641"/>
                    <a:pt x="224256" y="50641"/>
                    <a:pt x="234498" y="49115"/>
                  </a:cubicBezTo>
                  <a:cubicBezTo>
                    <a:pt x="241253" y="48025"/>
                    <a:pt x="242560" y="48461"/>
                    <a:pt x="242560" y="51731"/>
                  </a:cubicBezTo>
                  <a:cubicBezTo>
                    <a:pt x="242560" y="56746"/>
                    <a:pt x="246701" y="60670"/>
                    <a:pt x="252148" y="60670"/>
                  </a:cubicBezTo>
                  <a:cubicBezTo>
                    <a:pt x="254981" y="60670"/>
                    <a:pt x="257814" y="63068"/>
                    <a:pt x="259339" y="66556"/>
                  </a:cubicBezTo>
                  <a:cubicBezTo>
                    <a:pt x="262608" y="73314"/>
                    <a:pt x="261518" y="75494"/>
                    <a:pt x="256724" y="71570"/>
                  </a:cubicBezTo>
                  <a:cubicBezTo>
                    <a:pt x="253674" y="68954"/>
                    <a:pt x="252366" y="69608"/>
                    <a:pt x="248008" y="75058"/>
                  </a:cubicBezTo>
                  <a:cubicBezTo>
                    <a:pt x="244957" y="78546"/>
                    <a:pt x="242778" y="82253"/>
                    <a:pt x="242560" y="83125"/>
                  </a:cubicBezTo>
                  <a:cubicBezTo>
                    <a:pt x="242560" y="86613"/>
                    <a:pt x="249098" y="87049"/>
                    <a:pt x="255417" y="83997"/>
                  </a:cubicBezTo>
                  <a:cubicBezTo>
                    <a:pt x="261082" y="81162"/>
                    <a:pt x="262390" y="81162"/>
                    <a:pt x="266530" y="83997"/>
                  </a:cubicBezTo>
                  <a:cubicBezTo>
                    <a:pt x="272849" y="88575"/>
                    <a:pt x="271978" y="100783"/>
                    <a:pt x="265005" y="101655"/>
                  </a:cubicBezTo>
                  <a:cubicBezTo>
                    <a:pt x="261300" y="102309"/>
                    <a:pt x="260211" y="101219"/>
                    <a:pt x="259557" y="96205"/>
                  </a:cubicBezTo>
                  <a:cubicBezTo>
                    <a:pt x="258686" y="88357"/>
                    <a:pt x="255853" y="88575"/>
                    <a:pt x="250187" y="96859"/>
                  </a:cubicBezTo>
                  <a:cubicBezTo>
                    <a:pt x="245611" y="103617"/>
                    <a:pt x="245393" y="103617"/>
                    <a:pt x="240599" y="100129"/>
                  </a:cubicBezTo>
                  <a:cubicBezTo>
                    <a:pt x="236895" y="97295"/>
                    <a:pt x="236023" y="95115"/>
                    <a:pt x="237113" y="90755"/>
                  </a:cubicBezTo>
                  <a:cubicBezTo>
                    <a:pt x="237984" y="87049"/>
                    <a:pt x="237548" y="84869"/>
                    <a:pt x="235369" y="83997"/>
                  </a:cubicBezTo>
                  <a:cubicBezTo>
                    <a:pt x="230575" y="82253"/>
                    <a:pt x="228178" y="84869"/>
                    <a:pt x="225346" y="95551"/>
                  </a:cubicBezTo>
                  <a:cubicBezTo>
                    <a:pt x="220988" y="112120"/>
                    <a:pt x="220770" y="111902"/>
                    <a:pt x="230575" y="111248"/>
                  </a:cubicBezTo>
                  <a:cubicBezTo>
                    <a:pt x="235369" y="110812"/>
                    <a:pt x="240381" y="109503"/>
                    <a:pt x="241689" y="108413"/>
                  </a:cubicBezTo>
                  <a:cubicBezTo>
                    <a:pt x="242996" y="107323"/>
                    <a:pt x="244957" y="107541"/>
                    <a:pt x="246483" y="109067"/>
                  </a:cubicBezTo>
                  <a:cubicBezTo>
                    <a:pt x="248662" y="111248"/>
                    <a:pt x="250187" y="111248"/>
                    <a:pt x="253674" y="109067"/>
                  </a:cubicBezTo>
                  <a:cubicBezTo>
                    <a:pt x="259557" y="105361"/>
                    <a:pt x="261736" y="107541"/>
                    <a:pt x="257160" y="112556"/>
                  </a:cubicBezTo>
                  <a:cubicBezTo>
                    <a:pt x="254981" y="114736"/>
                    <a:pt x="253456" y="117788"/>
                    <a:pt x="253456" y="119096"/>
                  </a:cubicBezTo>
                  <a:cubicBezTo>
                    <a:pt x="253456" y="123674"/>
                    <a:pt x="260429" y="121930"/>
                    <a:pt x="265876" y="116044"/>
                  </a:cubicBezTo>
                  <a:cubicBezTo>
                    <a:pt x="268927" y="112556"/>
                    <a:pt x="272632" y="110812"/>
                    <a:pt x="275029" y="111466"/>
                  </a:cubicBezTo>
                  <a:cubicBezTo>
                    <a:pt x="277426" y="111902"/>
                    <a:pt x="280040" y="110594"/>
                    <a:pt x="281566" y="108195"/>
                  </a:cubicBezTo>
                  <a:cubicBezTo>
                    <a:pt x="284181" y="104053"/>
                    <a:pt x="284399" y="104053"/>
                    <a:pt x="288321" y="107541"/>
                  </a:cubicBezTo>
                  <a:cubicBezTo>
                    <a:pt x="291807" y="110812"/>
                    <a:pt x="293115" y="110812"/>
                    <a:pt x="295948" y="108631"/>
                  </a:cubicBezTo>
                  <a:cubicBezTo>
                    <a:pt x="300524" y="104707"/>
                    <a:pt x="302703" y="111030"/>
                    <a:pt x="298998" y="117788"/>
                  </a:cubicBezTo>
                  <a:cubicBezTo>
                    <a:pt x="297473" y="120622"/>
                    <a:pt x="295948" y="123238"/>
                    <a:pt x="295948" y="123892"/>
                  </a:cubicBezTo>
                  <a:cubicBezTo>
                    <a:pt x="294204" y="134574"/>
                    <a:pt x="286142" y="141333"/>
                    <a:pt x="281784" y="135882"/>
                  </a:cubicBezTo>
                  <a:cubicBezTo>
                    <a:pt x="279605" y="133048"/>
                    <a:pt x="279605" y="131740"/>
                    <a:pt x="282655" y="128688"/>
                  </a:cubicBezTo>
                  <a:cubicBezTo>
                    <a:pt x="287231" y="123456"/>
                    <a:pt x="287013" y="121712"/>
                    <a:pt x="281784" y="121712"/>
                  </a:cubicBezTo>
                  <a:cubicBezTo>
                    <a:pt x="279169" y="121712"/>
                    <a:pt x="277426" y="120186"/>
                    <a:pt x="277426" y="118006"/>
                  </a:cubicBezTo>
                  <a:cubicBezTo>
                    <a:pt x="277426" y="114736"/>
                    <a:pt x="276772" y="114954"/>
                    <a:pt x="272632" y="119096"/>
                  </a:cubicBezTo>
                  <a:cubicBezTo>
                    <a:pt x="268927" y="122802"/>
                    <a:pt x="267838" y="126072"/>
                    <a:pt x="268273" y="133702"/>
                  </a:cubicBezTo>
                  <a:cubicBezTo>
                    <a:pt x="268491" y="139152"/>
                    <a:pt x="268056" y="143513"/>
                    <a:pt x="267402" y="143513"/>
                  </a:cubicBezTo>
                  <a:cubicBezTo>
                    <a:pt x="265223" y="143513"/>
                    <a:pt x="251712" y="128688"/>
                    <a:pt x="250405" y="124546"/>
                  </a:cubicBezTo>
                  <a:cubicBezTo>
                    <a:pt x="249315" y="121058"/>
                    <a:pt x="238420" y="115172"/>
                    <a:pt x="233190" y="115172"/>
                  </a:cubicBezTo>
                  <a:cubicBezTo>
                    <a:pt x="232319" y="115172"/>
                    <a:pt x="229922" y="118660"/>
                    <a:pt x="227961" y="123238"/>
                  </a:cubicBezTo>
                  <a:cubicBezTo>
                    <a:pt x="225781" y="127598"/>
                    <a:pt x="222295" y="132176"/>
                    <a:pt x="220116" y="133484"/>
                  </a:cubicBezTo>
                  <a:cubicBezTo>
                    <a:pt x="216194" y="135882"/>
                    <a:pt x="216411" y="136318"/>
                    <a:pt x="203555" y="119532"/>
                  </a:cubicBezTo>
                  <a:cubicBezTo>
                    <a:pt x="200068" y="115172"/>
                    <a:pt x="198761" y="114518"/>
                    <a:pt x="196364" y="116916"/>
                  </a:cubicBezTo>
                  <a:cubicBezTo>
                    <a:pt x="193095" y="120186"/>
                    <a:pt x="195928" y="125854"/>
                    <a:pt x="202901" y="129342"/>
                  </a:cubicBezTo>
                  <a:cubicBezTo>
                    <a:pt x="205952" y="131086"/>
                    <a:pt x="206824" y="132612"/>
                    <a:pt x="205298" y="135010"/>
                  </a:cubicBezTo>
                  <a:cubicBezTo>
                    <a:pt x="203991" y="137626"/>
                    <a:pt x="201376" y="138062"/>
                    <a:pt x="195274" y="137190"/>
                  </a:cubicBezTo>
                  <a:cubicBezTo>
                    <a:pt x="188084" y="135882"/>
                    <a:pt x="186994" y="135010"/>
                    <a:pt x="186994" y="129996"/>
                  </a:cubicBezTo>
                  <a:cubicBezTo>
                    <a:pt x="187212" y="125854"/>
                    <a:pt x="185904" y="123892"/>
                    <a:pt x="182418" y="123020"/>
                  </a:cubicBezTo>
                  <a:cubicBezTo>
                    <a:pt x="176970" y="121494"/>
                    <a:pt x="173484" y="111466"/>
                    <a:pt x="176970" y="107977"/>
                  </a:cubicBezTo>
                  <a:cubicBezTo>
                    <a:pt x="178278" y="106669"/>
                    <a:pt x="179367" y="103835"/>
                    <a:pt x="179367" y="101873"/>
                  </a:cubicBezTo>
                  <a:cubicBezTo>
                    <a:pt x="179367" y="98603"/>
                    <a:pt x="177624" y="98167"/>
                    <a:pt x="170215" y="98603"/>
                  </a:cubicBezTo>
                  <a:cubicBezTo>
                    <a:pt x="164985" y="98821"/>
                    <a:pt x="159538" y="98167"/>
                    <a:pt x="158230" y="97077"/>
                  </a:cubicBezTo>
                  <a:cubicBezTo>
                    <a:pt x="156269" y="95551"/>
                    <a:pt x="155397" y="95987"/>
                    <a:pt x="155397" y="98385"/>
                  </a:cubicBezTo>
                  <a:cubicBezTo>
                    <a:pt x="155397" y="100347"/>
                    <a:pt x="157576" y="103399"/>
                    <a:pt x="159973" y="105143"/>
                  </a:cubicBezTo>
                  <a:cubicBezTo>
                    <a:pt x="163242" y="107323"/>
                    <a:pt x="164332" y="109721"/>
                    <a:pt x="163460" y="112774"/>
                  </a:cubicBezTo>
                  <a:cubicBezTo>
                    <a:pt x="162806" y="115826"/>
                    <a:pt x="163896" y="118442"/>
                    <a:pt x="167382" y="121058"/>
                  </a:cubicBezTo>
                  <a:cubicBezTo>
                    <a:pt x="171958" y="124546"/>
                    <a:pt x="172830" y="127380"/>
                    <a:pt x="173920" y="143513"/>
                  </a:cubicBezTo>
                  <a:cubicBezTo>
                    <a:pt x="174791" y="155067"/>
                    <a:pt x="176317" y="163133"/>
                    <a:pt x="178278" y="165095"/>
                  </a:cubicBezTo>
                  <a:cubicBezTo>
                    <a:pt x="182636" y="169456"/>
                    <a:pt x="184815" y="166621"/>
                    <a:pt x="184161" y="157901"/>
                  </a:cubicBezTo>
                  <a:cubicBezTo>
                    <a:pt x="183725" y="153759"/>
                    <a:pt x="185033" y="149617"/>
                    <a:pt x="186776" y="148091"/>
                  </a:cubicBezTo>
                  <a:cubicBezTo>
                    <a:pt x="191352" y="144167"/>
                    <a:pt x="198979" y="147219"/>
                    <a:pt x="198979" y="152669"/>
                  </a:cubicBezTo>
                  <a:cubicBezTo>
                    <a:pt x="198979" y="157683"/>
                    <a:pt x="184379" y="172508"/>
                    <a:pt x="181328" y="170764"/>
                  </a:cubicBezTo>
                  <a:cubicBezTo>
                    <a:pt x="177624" y="168365"/>
                    <a:pt x="174791" y="171854"/>
                    <a:pt x="177188" y="175996"/>
                  </a:cubicBezTo>
                  <a:cubicBezTo>
                    <a:pt x="178713" y="179048"/>
                    <a:pt x="178060" y="181010"/>
                    <a:pt x="174137" y="184716"/>
                  </a:cubicBezTo>
                  <a:cubicBezTo>
                    <a:pt x="167818" y="190602"/>
                    <a:pt x="166293" y="190602"/>
                    <a:pt x="166293" y="184280"/>
                  </a:cubicBezTo>
                  <a:cubicBezTo>
                    <a:pt x="166293" y="177740"/>
                    <a:pt x="164985" y="176432"/>
                    <a:pt x="159756" y="177740"/>
                  </a:cubicBezTo>
                  <a:cubicBezTo>
                    <a:pt x="152565" y="179702"/>
                    <a:pt x="151693" y="193654"/>
                    <a:pt x="158666" y="193654"/>
                  </a:cubicBezTo>
                  <a:cubicBezTo>
                    <a:pt x="164550" y="193654"/>
                    <a:pt x="166729" y="199541"/>
                    <a:pt x="164114" y="207607"/>
                  </a:cubicBezTo>
                  <a:cubicBezTo>
                    <a:pt x="160845" y="217853"/>
                    <a:pt x="163242" y="221559"/>
                    <a:pt x="168908" y="214365"/>
                  </a:cubicBezTo>
                  <a:cubicBezTo>
                    <a:pt x="173266" y="208697"/>
                    <a:pt x="183725" y="206735"/>
                    <a:pt x="183725" y="211749"/>
                  </a:cubicBezTo>
                  <a:cubicBezTo>
                    <a:pt x="183725" y="213275"/>
                    <a:pt x="181764" y="216109"/>
                    <a:pt x="179367" y="218289"/>
                  </a:cubicBezTo>
                  <a:cubicBezTo>
                    <a:pt x="173920" y="222867"/>
                    <a:pt x="173920" y="226355"/>
                    <a:pt x="179367" y="227882"/>
                  </a:cubicBezTo>
                  <a:cubicBezTo>
                    <a:pt x="181546" y="228536"/>
                    <a:pt x="184161" y="230934"/>
                    <a:pt x="185033" y="233332"/>
                  </a:cubicBezTo>
                  <a:cubicBezTo>
                    <a:pt x="188301" y="243578"/>
                    <a:pt x="176970" y="240090"/>
                    <a:pt x="173048" y="229626"/>
                  </a:cubicBezTo>
                  <a:cubicBezTo>
                    <a:pt x="170433" y="221995"/>
                    <a:pt x="166511" y="219379"/>
                    <a:pt x="166075" y="224829"/>
                  </a:cubicBezTo>
                  <a:cubicBezTo>
                    <a:pt x="165857" y="226137"/>
                    <a:pt x="165421" y="234204"/>
                    <a:pt x="165203" y="242270"/>
                  </a:cubicBezTo>
                  <a:cubicBezTo>
                    <a:pt x="164767" y="252080"/>
                    <a:pt x="163242" y="258403"/>
                    <a:pt x="161063" y="261019"/>
                  </a:cubicBezTo>
                  <a:cubicBezTo>
                    <a:pt x="157141" y="265379"/>
                    <a:pt x="156487" y="269957"/>
                    <a:pt x="159756" y="269957"/>
                  </a:cubicBezTo>
                  <a:cubicBezTo>
                    <a:pt x="161063" y="269957"/>
                    <a:pt x="161935" y="273009"/>
                    <a:pt x="161935" y="276497"/>
                  </a:cubicBezTo>
                  <a:cubicBezTo>
                    <a:pt x="161935" y="284563"/>
                    <a:pt x="163242" y="284782"/>
                    <a:pt x="168908" y="277587"/>
                  </a:cubicBezTo>
                  <a:cubicBezTo>
                    <a:pt x="171305" y="274535"/>
                    <a:pt x="175445" y="272137"/>
                    <a:pt x="178496" y="272137"/>
                  </a:cubicBezTo>
                  <a:cubicBezTo>
                    <a:pt x="183507" y="272137"/>
                    <a:pt x="183290" y="272573"/>
                    <a:pt x="173920" y="285000"/>
                  </a:cubicBezTo>
                  <a:cubicBezTo>
                    <a:pt x="164114" y="297862"/>
                    <a:pt x="162153" y="302658"/>
                    <a:pt x="166293" y="302658"/>
                  </a:cubicBezTo>
                  <a:cubicBezTo>
                    <a:pt x="167600" y="302658"/>
                    <a:pt x="170869" y="305056"/>
                    <a:pt x="173484" y="307890"/>
                  </a:cubicBezTo>
                  <a:cubicBezTo>
                    <a:pt x="178931" y="313777"/>
                    <a:pt x="192442" y="316393"/>
                    <a:pt x="193967" y="312032"/>
                  </a:cubicBezTo>
                  <a:cubicBezTo>
                    <a:pt x="194621" y="310288"/>
                    <a:pt x="193095" y="309198"/>
                    <a:pt x="190698" y="309198"/>
                  </a:cubicBezTo>
                  <a:cubicBezTo>
                    <a:pt x="184815" y="309198"/>
                    <a:pt x="175009" y="300914"/>
                    <a:pt x="175009" y="295900"/>
                  </a:cubicBezTo>
                  <a:cubicBezTo>
                    <a:pt x="175009" y="290886"/>
                    <a:pt x="177188" y="290668"/>
                    <a:pt x="182854" y="295028"/>
                  </a:cubicBezTo>
                  <a:cubicBezTo>
                    <a:pt x="188737" y="299388"/>
                    <a:pt x="192660" y="298952"/>
                    <a:pt x="199633" y="292848"/>
                  </a:cubicBezTo>
                  <a:cubicBezTo>
                    <a:pt x="203991" y="288924"/>
                    <a:pt x="205516" y="285654"/>
                    <a:pt x="205516" y="279985"/>
                  </a:cubicBezTo>
                  <a:cubicBezTo>
                    <a:pt x="205516" y="274317"/>
                    <a:pt x="206606" y="272137"/>
                    <a:pt x="209874" y="271047"/>
                  </a:cubicBezTo>
                  <a:cubicBezTo>
                    <a:pt x="220334" y="267777"/>
                    <a:pt x="221423" y="277151"/>
                    <a:pt x="212271" y="290232"/>
                  </a:cubicBezTo>
                  <a:cubicBezTo>
                    <a:pt x="205516" y="299606"/>
                    <a:pt x="203337" y="312250"/>
                    <a:pt x="206388" y="321843"/>
                  </a:cubicBezTo>
                  <a:cubicBezTo>
                    <a:pt x="209438" y="330999"/>
                    <a:pt x="202247" y="340373"/>
                    <a:pt x="197889" y="332961"/>
                  </a:cubicBezTo>
                  <a:close/>
                  <a:moveTo>
                    <a:pt x="113341" y="251426"/>
                  </a:moveTo>
                  <a:cubicBezTo>
                    <a:pt x="110726" y="242924"/>
                    <a:pt x="105932" y="242270"/>
                    <a:pt x="107240" y="250554"/>
                  </a:cubicBezTo>
                  <a:cubicBezTo>
                    <a:pt x="107894" y="255350"/>
                    <a:pt x="110944" y="258839"/>
                    <a:pt x="114431" y="259057"/>
                  </a:cubicBezTo>
                  <a:cubicBezTo>
                    <a:pt x="115085" y="259057"/>
                    <a:pt x="114649" y="255568"/>
                    <a:pt x="113341" y="251426"/>
                  </a:cubicBezTo>
                  <a:close/>
                  <a:moveTo>
                    <a:pt x="154962" y="199759"/>
                  </a:moveTo>
                  <a:cubicBezTo>
                    <a:pt x="154308" y="194308"/>
                    <a:pt x="151257" y="192782"/>
                    <a:pt x="146899" y="195616"/>
                  </a:cubicBezTo>
                  <a:cubicBezTo>
                    <a:pt x="144284" y="197360"/>
                    <a:pt x="144284" y="198233"/>
                    <a:pt x="146463" y="201067"/>
                  </a:cubicBezTo>
                  <a:cubicBezTo>
                    <a:pt x="150821" y="206299"/>
                    <a:pt x="155833" y="205427"/>
                    <a:pt x="154962" y="199759"/>
                  </a:cubicBezTo>
                  <a:close/>
                  <a:moveTo>
                    <a:pt x="121840" y="199105"/>
                  </a:moveTo>
                  <a:cubicBezTo>
                    <a:pt x="121186" y="197360"/>
                    <a:pt x="120096" y="194526"/>
                    <a:pt x="119443" y="193218"/>
                  </a:cubicBezTo>
                  <a:cubicBezTo>
                    <a:pt x="119007" y="191692"/>
                    <a:pt x="120314" y="187986"/>
                    <a:pt x="122711" y="185152"/>
                  </a:cubicBezTo>
                  <a:cubicBezTo>
                    <a:pt x="126416" y="181010"/>
                    <a:pt x="127723" y="180574"/>
                    <a:pt x="130338" y="182754"/>
                  </a:cubicBezTo>
                  <a:cubicBezTo>
                    <a:pt x="132299" y="184498"/>
                    <a:pt x="133171" y="187332"/>
                    <a:pt x="132299" y="190602"/>
                  </a:cubicBezTo>
                  <a:cubicBezTo>
                    <a:pt x="130120" y="199323"/>
                    <a:pt x="137311" y="196924"/>
                    <a:pt x="142105" y="187332"/>
                  </a:cubicBezTo>
                  <a:cubicBezTo>
                    <a:pt x="144502" y="182754"/>
                    <a:pt x="147989" y="178394"/>
                    <a:pt x="149732" y="177740"/>
                  </a:cubicBezTo>
                  <a:cubicBezTo>
                    <a:pt x="151257" y="177086"/>
                    <a:pt x="153872" y="172944"/>
                    <a:pt x="155397" y="168802"/>
                  </a:cubicBezTo>
                  <a:cubicBezTo>
                    <a:pt x="157141" y="163569"/>
                    <a:pt x="159320" y="160953"/>
                    <a:pt x="161935" y="160953"/>
                  </a:cubicBezTo>
                  <a:cubicBezTo>
                    <a:pt x="167382" y="160953"/>
                    <a:pt x="170651" y="154631"/>
                    <a:pt x="170651" y="144821"/>
                  </a:cubicBezTo>
                  <a:cubicBezTo>
                    <a:pt x="170651" y="139370"/>
                    <a:pt x="169779" y="136972"/>
                    <a:pt x="167382" y="136972"/>
                  </a:cubicBezTo>
                  <a:cubicBezTo>
                    <a:pt x="165203" y="136972"/>
                    <a:pt x="164114" y="139152"/>
                    <a:pt x="164114" y="143077"/>
                  </a:cubicBezTo>
                  <a:cubicBezTo>
                    <a:pt x="164114" y="146783"/>
                    <a:pt x="161499" y="152015"/>
                    <a:pt x="157359" y="156375"/>
                  </a:cubicBezTo>
                  <a:cubicBezTo>
                    <a:pt x="153654" y="160517"/>
                    <a:pt x="149732" y="166185"/>
                    <a:pt x="148642" y="168802"/>
                  </a:cubicBezTo>
                  <a:cubicBezTo>
                    <a:pt x="147117" y="173380"/>
                    <a:pt x="146245" y="173816"/>
                    <a:pt x="141233" y="171418"/>
                  </a:cubicBezTo>
                  <a:cubicBezTo>
                    <a:pt x="136657" y="169238"/>
                    <a:pt x="135350" y="169456"/>
                    <a:pt x="132735" y="172944"/>
                  </a:cubicBezTo>
                  <a:cubicBezTo>
                    <a:pt x="129902" y="176868"/>
                    <a:pt x="129466" y="176432"/>
                    <a:pt x="125544" y="167275"/>
                  </a:cubicBezTo>
                  <a:cubicBezTo>
                    <a:pt x="120750" y="156811"/>
                    <a:pt x="122275" y="151361"/>
                    <a:pt x="128595" y="157247"/>
                  </a:cubicBezTo>
                  <a:cubicBezTo>
                    <a:pt x="131863" y="160081"/>
                    <a:pt x="134914" y="160299"/>
                    <a:pt x="143412" y="159209"/>
                  </a:cubicBezTo>
                  <a:cubicBezTo>
                    <a:pt x="153436" y="157683"/>
                    <a:pt x="154308" y="157029"/>
                    <a:pt x="153654" y="152233"/>
                  </a:cubicBezTo>
                  <a:cubicBezTo>
                    <a:pt x="153436" y="149181"/>
                    <a:pt x="153218" y="140679"/>
                    <a:pt x="153218" y="133266"/>
                  </a:cubicBezTo>
                  <a:cubicBezTo>
                    <a:pt x="153436" y="121712"/>
                    <a:pt x="152783" y="119532"/>
                    <a:pt x="148860" y="117352"/>
                  </a:cubicBezTo>
                  <a:cubicBezTo>
                    <a:pt x="143412" y="114518"/>
                    <a:pt x="140798" y="119096"/>
                    <a:pt x="144284" y="125636"/>
                  </a:cubicBezTo>
                  <a:cubicBezTo>
                    <a:pt x="145809" y="128688"/>
                    <a:pt x="145592" y="131086"/>
                    <a:pt x="143195" y="134574"/>
                  </a:cubicBezTo>
                  <a:cubicBezTo>
                    <a:pt x="140362" y="138716"/>
                    <a:pt x="140144" y="140461"/>
                    <a:pt x="142323" y="145911"/>
                  </a:cubicBezTo>
                  <a:cubicBezTo>
                    <a:pt x="144502" y="150707"/>
                    <a:pt x="144502" y="153105"/>
                    <a:pt x="142759" y="154849"/>
                  </a:cubicBezTo>
                  <a:cubicBezTo>
                    <a:pt x="139272" y="158337"/>
                    <a:pt x="132953" y="152669"/>
                    <a:pt x="134260" y="147437"/>
                  </a:cubicBezTo>
                  <a:cubicBezTo>
                    <a:pt x="135350" y="143295"/>
                    <a:pt x="130556" y="141769"/>
                    <a:pt x="128159" y="145693"/>
                  </a:cubicBezTo>
                  <a:cubicBezTo>
                    <a:pt x="127505" y="147001"/>
                    <a:pt x="124890" y="147873"/>
                    <a:pt x="122493" y="147873"/>
                  </a:cubicBezTo>
                  <a:cubicBezTo>
                    <a:pt x="120314" y="147873"/>
                    <a:pt x="118353" y="148745"/>
                    <a:pt x="118353" y="149835"/>
                  </a:cubicBezTo>
                  <a:cubicBezTo>
                    <a:pt x="118353" y="150707"/>
                    <a:pt x="114867" y="156157"/>
                    <a:pt x="110726" y="161607"/>
                  </a:cubicBezTo>
                  <a:cubicBezTo>
                    <a:pt x="106586" y="167057"/>
                    <a:pt x="103100" y="172290"/>
                    <a:pt x="103100" y="173162"/>
                  </a:cubicBezTo>
                  <a:cubicBezTo>
                    <a:pt x="103100" y="174034"/>
                    <a:pt x="106586" y="174034"/>
                    <a:pt x="110944" y="173380"/>
                  </a:cubicBezTo>
                  <a:lnTo>
                    <a:pt x="119007" y="172072"/>
                  </a:lnTo>
                  <a:lnTo>
                    <a:pt x="114213" y="176868"/>
                  </a:lnTo>
                  <a:cubicBezTo>
                    <a:pt x="110726" y="180792"/>
                    <a:pt x="110291" y="182536"/>
                    <a:pt x="112252" y="184498"/>
                  </a:cubicBezTo>
                  <a:cubicBezTo>
                    <a:pt x="114213" y="186460"/>
                    <a:pt x="113777" y="187986"/>
                    <a:pt x="110944" y="191256"/>
                  </a:cubicBezTo>
                  <a:cubicBezTo>
                    <a:pt x="107458" y="195180"/>
                    <a:pt x="107458" y="195616"/>
                    <a:pt x="112252" y="198887"/>
                  </a:cubicBezTo>
                  <a:cubicBezTo>
                    <a:pt x="118571" y="203247"/>
                    <a:pt x="123583" y="203465"/>
                    <a:pt x="121840" y="199105"/>
                  </a:cubicBezTo>
                  <a:close/>
                  <a:moveTo>
                    <a:pt x="137965" y="135228"/>
                  </a:moveTo>
                  <a:cubicBezTo>
                    <a:pt x="137965" y="132394"/>
                    <a:pt x="135350" y="130432"/>
                    <a:pt x="133171" y="131740"/>
                  </a:cubicBezTo>
                  <a:cubicBezTo>
                    <a:pt x="130992" y="133048"/>
                    <a:pt x="132953" y="136972"/>
                    <a:pt x="136004" y="136972"/>
                  </a:cubicBezTo>
                  <a:cubicBezTo>
                    <a:pt x="137093" y="136972"/>
                    <a:pt x="137965" y="136100"/>
                    <a:pt x="137965" y="135228"/>
                  </a:cubicBezTo>
                  <a:close/>
                  <a:moveTo>
                    <a:pt x="155397" y="106015"/>
                  </a:moveTo>
                  <a:cubicBezTo>
                    <a:pt x="155397" y="105143"/>
                    <a:pt x="154090" y="104271"/>
                    <a:pt x="152565" y="104271"/>
                  </a:cubicBezTo>
                  <a:cubicBezTo>
                    <a:pt x="148860" y="104271"/>
                    <a:pt x="135350" y="89229"/>
                    <a:pt x="136875" y="86831"/>
                  </a:cubicBezTo>
                  <a:cubicBezTo>
                    <a:pt x="137529" y="85741"/>
                    <a:pt x="136875" y="84215"/>
                    <a:pt x="135568" y="83343"/>
                  </a:cubicBezTo>
                  <a:cubicBezTo>
                    <a:pt x="133607" y="82253"/>
                    <a:pt x="133389" y="85087"/>
                    <a:pt x="134042" y="93371"/>
                  </a:cubicBezTo>
                  <a:cubicBezTo>
                    <a:pt x="135568" y="107759"/>
                    <a:pt x="141451" y="114300"/>
                    <a:pt x="150168" y="110375"/>
                  </a:cubicBezTo>
                  <a:cubicBezTo>
                    <a:pt x="153000" y="109067"/>
                    <a:pt x="155397" y="107105"/>
                    <a:pt x="155397" y="106015"/>
                  </a:cubicBezTo>
                  <a:close/>
                  <a:moveTo>
                    <a:pt x="122711" y="99693"/>
                  </a:moveTo>
                  <a:cubicBezTo>
                    <a:pt x="122711" y="98603"/>
                    <a:pt x="121840" y="97731"/>
                    <a:pt x="120532" y="97731"/>
                  </a:cubicBezTo>
                  <a:cubicBezTo>
                    <a:pt x="119443" y="97731"/>
                    <a:pt x="118353" y="99257"/>
                    <a:pt x="118353" y="101219"/>
                  </a:cubicBezTo>
                  <a:cubicBezTo>
                    <a:pt x="118353" y="102963"/>
                    <a:pt x="119443" y="103835"/>
                    <a:pt x="120532" y="103181"/>
                  </a:cubicBezTo>
                  <a:cubicBezTo>
                    <a:pt x="121840" y="102527"/>
                    <a:pt x="122711" y="101001"/>
                    <a:pt x="122711" y="99693"/>
                  </a:cubicBezTo>
                  <a:close/>
                  <a:moveTo>
                    <a:pt x="109419" y="65248"/>
                  </a:moveTo>
                  <a:cubicBezTo>
                    <a:pt x="112905" y="63068"/>
                    <a:pt x="110726" y="58490"/>
                    <a:pt x="106368" y="58490"/>
                  </a:cubicBezTo>
                  <a:cubicBezTo>
                    <a:pt x="102664" y="58490"/>
                    <a:pt x="100267" y="62196"/>
                    <a:pt x="102010" y="65030"/>
                  </a:cubicBezTo>
                  <a:cubicBezTo>
                    <a:pt x="103753" y="67646"/>
                    <a:pt x="105497" y="67646"/>
                    <a:pt x="109419" y="65248"/>
                  </a:cubicBezTo>
                  <a:close/>
                  <a:moveTo>
                    <a:pt x="94165" y="56528"/>
                  </a:moveTo>
                  <a:cubicBezTo>
                    <a:pt x="97216" y="51077"/>
                    <a:pt x="90897" y="44755"/>
                    <a:pt x="87628" y="49987"/>
                  </a:cubicBezTo>
                  <a:cubicBezTo>
                    <a:pt x="84577" y="54784"/>
                    <a:pt x="85231" y="60670"/>
                    <a:pt x="88936" y="60670"/>
                  </a:cubicBezTo>
                  <a:cubicBezTo>
                    <a:pt x="90679" y="60670"/>
                    <a:pt x="93076" y="58708"/>
                    <a:pt x="94165" y="56528"/>
                  </a:cubicBezTo>
                  <a:close/>
                </a:path>
              </a:pathLst>
            </a:custGeom>
            <a:grpFill/>
            <a:ln w="218" cap="flat">
              <a:noFill/>
              <a:prstDash val="solid"/>
              <a:miter/>
            </a:ln>
          </p:spPr>
          <p:txBody>
            <a:bodyPr rtlCol="0" anchor="ctr"/>
            <a:lstStyle/>
            <a:p>
              <a:endParaRPr lang="en-GB" dirty="0"/>
            </a:p>
          </p:txBody>
        </p:sp>
        <p:sp>
          <p:nvSpPr>
            <p:cNvPr id="39" name="Freihandform: Form 38">
              <a:extLst>
                <a:ext uri="{FF2B5EF4-FFF2-40B4-BE49-F238E27FC236}">
                  <a16:creationId xmlns:a16="http://schemas.microsoft.com/office/drawing/2014/main" xmlns="" id="{655E31E9-B206-4AE5-922D-0F9FBF7BFC71}"/>
                </a:ext>
              </a:extLst>
            </p:cNvPr>
            <p:cNvSpPr/>
            <p:nvPr/>
          </p:nvSpPr>
          <p:spPr>
            <a:xfrm flipV="1">
              <a:off x="4905342" y="5203723"/>
              <a:ext cx="151405" cy="195239"/>
            </a:xfrm>
            <a:custGeom>
              <a:avLst/>
              <a:gdLst>
                <a:gd name="connsiteX0" fmla="*/ 97775 w 151405"/>
                <a:gd name="connsiteY0" fmla="*/ 191971 h 195239"/>
                <a:gd name="connsiteX1" fmla="*/ 100826 w 151405"/>
                <a:gd name="connsiteY1" fmla="*/ 187175 h 195239"/>
                <a:gd name="connsiteX2" fmla="*/ 104748 w 151405"/>
                <a:gd name="connsiteY2" fmla="*/ 176711 h 195239"/>
                <a:gd name="connsiteX3" fmla="*/ 110849 w 151405"/>
                <a:gd name="connsiteY3" fmla="*/ 167336 h 195239"/>
                <a:gd name="connsiteX4" fmla="*/ 130461 w 151405"/>
                <a:gd name="connsiteY4" fmla="*/ 149024 h 195239"/>
                <a:gd name="connsiteX5" fmla="*/ 126103 w 151405"/>
                <a:gd name="connsiteY5" fmla="*/ 144882 h 195239"/>
                <a:gd name="connsiteX6" fmla="*/ 119130 w 151405"/>
                <a:gd name="connsiteY6" fmla="*/ 144228 h 195239"/>
                <a:gd name="connsiteX7" fmla="*/ 115207 w 151405"/>
                <a:gd name="connsiteY7" fmla="*/ 150550 h 195239"/>
                <a:gd name="connsiteX8" fmla="*/ 101697 w 151405"/>
                <a:gd name="connsiteY8" fmla="*/ 156872 h 195239"/>
                <a:gd name="connsiteX9" fmla="*/ 89276 w 151405"/>
                <a:gd name="connsiteY9" fmla="*/ 156436 h 195239"/>
                <a:gd name="connsiteX10" fmla="*/ 85572 w 151405"/>
                <a:gd name="connsiteY10" fmla="*/ 165810 h 195239"/>
                <a:gd name="connsiteX11" fmla="*/ 83611 w 151405"/>
                <a:gd name="connsiteY11" fmla="*/ 179763 h 195239"/>
                <a:gd name="connsiteX12" fmla="*/ 77074 w 151405"/>
                <a:gd name="connsiteY12" fmla="*/ 193061 h 195239"/>
                <a:gd name="connsiteX13" fmla="*/ 73805 w 151405"/>
                <a:gd name="connsiteY13" fmla="*/ 186957 h 195239"/>
                <a:gd name="connsiteX14" fmla="*/ 66832 w 151405"/>
                <a:gd name="connsiteY14" fmla="*/ 175621 h 195239"/>
                <a:gd name="connsiteX15" fmla="*/ 62910 w 151405"/>
                <a:gd name="connsiteY15" fmla="*/ 181071 h 195239"/>
                <a:gd name="connsiteX16" fmla="*/ 55283 w 151405"/>
                <a:gd name="connsiteY16" fmla="*/ 184341 h 195239"/>
                <a:gd name="connsiteX17" fmla="*/ 47438 w 151405"/>
                <a:gd name="connsiteY17" fmla="*/ 182161 h 195239"/>
                <a:gd name="connsiteX18" fmla="*/ 41555 w 151405"/>
                <a:gd name="connsiteY18" fmla="*/ 178455 h 195239"/>
                <a:gd name="connsiteX19" fmla="*/ 46349 w 151405"/>
                <a:gd name="connsiteY19" fmla="*/ 174531 h 195239"/>
                <a:gd name="connsiteX20" fmla="*/ 46131 w 151405"/>
                <a:gd name="connsiteY20" fmla="*/ 168644 h 195239"/>
                <a:gd name="connsiteX21" fmla="*/ 43080 w 151405"/>
                <a:gd name="connsiteY21" fmla="*/ 156218 h 195239"/>
                <a:gd name="connsiteX22" fmla="*/ 55719 w 151405"/>
                <a:gd name="connsiteY22" fmla="*/ 162322 h 195239"/>
                <a:gd name="connsiteX23" fmla="*/ 64217 w 151405"/>
                <a:gd name="connsiteY23" fmla="*/ 168208 h 195239"/>
                <a:gd name="connsiteX24" fmla="*/ 83175 w 151405"/>
                <a:gd name="connsiteY24" fmla="*/ 154474 h 195239"/>
                <a:gd name="connsiteX25" fmla="*/ 78163 w 151405"/>
                <a:gd name="connsiteY25" fmla="*/ 154910 h 195239"/>
                <a:gd name="connsiteX26" fmla="*/ 60077 w 151405"/>
                <a:gd name="connsiteY26" fmla="*/ 154910 h 195239"/>
                <a:gd name="connsiteX27" fmla="*/ 53104 w 151405"/>
                <a:gd name="connsiteY27" fmla="*/ 143792 h 195239"/>
                <a:gd name="connsiteX28" fmla="*/ 54193 w 151405"/>
                <a:gd name="connsiteY28" fmla="*/ 137469 h 195239"/>
                <a:gd name="connsiteX29" fmla="*/ 54629 w 151405"/>
                <a:gd name="connsiteY29" fmla="*/ 130493 h 195239"/>
                <a:gd name="connsiteX30" fmla="*/ 62038 w 151405"/>
                <a:gd name="connsiteY30" fmla="*/ 136379 h 195239"/>
                <a:gd name="connsiteX31" fmla="*/ 72280 w 151405"/>
                <a:gd name="connsiteY31" fmla="*/ 145536 h 195239"/>
                <a:gd name="connsiteX32" fmla="*/ 94070 w 151405"/>
                <a:gd name="connsiteY32" fmla="*/ 144664 h 195239"/>
                <a:gd name="connsiteX33" fmla="*/ 98646 w 151405"/>
                <a:gd name="connsiteY33" fmla="*/ 131365 h 195239"/>
                <a:gd name="connsiteX34" fmla="*/ 94724 w 151405"/>
                <a:gd name="connsiteY34" fmla="*/ 113707 h 195239"/>
                <a:gd name="connsiteX35" fmla="*/ 90366 w 151405"/>
                <a:gd name="connsiteY35" fmla="*/ 105858 h 195239"/>
                <a:gd name="connsiteX36" fmla="*/ 84700 w 151405"/>
                <a:gd name="connsiteY36" fmla="*/ 109128 h 195239"/>
                <a:gd name="connsiteX37" fmla="*/ 86662 w 151405"/>
                <a:gd name="connsiteY37" fmla="*/ 112398 h 195239"/>
                <a:gd name="connsiteX38" fmla="*/ 89712 w 151405"/>
                <a:gd name="connsiteY38" fmla="*/ 125479 h 195239"/>
                <a:gd name="connsiteX39" fmla="*/ 83175 w 151405"/>
                <a:gd name="connsiteY39" fmla="*/ 122863 h 195239"/>
                <a:gd name="connsiteX40" fmla="*/ 78163 w 151405"/>
                <a:gd name="connsiteY40" fmla="*/ 112398 h 195239"/>
                <a:gd name="connsiteX41" fmla="*/ 72933 w 151405"/>
                <a:gd name="connsiteY41" fmla="*/ 108474 h 195239"/>
                <a:gd name="connsiteX42" fmla="*/ 73587 w 151405"/>
                <a:gd name="connsiteY42" fmla="*/ 102588 h 195239"/>
                <a:gd name="connsiteX43" fmla="*/ 77727 w 151405"/>
                <a:gd name="connsiteY43" fmla="*/ 99318 h 195239"/>
                <a:gd name="connsiteX44" fmla="*/ 80996 w 151405"/>
                <a:gd name="connsiteY44" fmla="*/ 93868 h 195239"/>
                <a:gd name="connsiteX45" fmla="*/ 71626 w 151405"/>
                <a:gd name="connsiteY45" fmla="*/ 94304 h 195239"/>
                <a:gd name="connsiteX46" fmla="*/ 64217 w 151405"/>
                <a:gd name="connsiteY46" fmla="*/ 112398 h 195239"/>
                <a:gd name="connsiteX47" fmla="*/ 54629 w 151405"/>
                <a:gd name="connsiteY47" fmla="*/ 121555 h 195239"/>
                <a:gd name="connsiteX48" fmla="*/ 41119 w 151405"/>
                <a:gd name="connsiteY48" fmla="*/ 120029 h 195239"/>
                <a:gd name="connsiteX49" fmla="*/ 32403 w 151405"/>
                <a:gd name="connsiteY49" fmla="*/ 115451 h 195239"/>
                <a:gd name="connsiteX50" fmla="*/ 24776 w 151405"/>
                <a:gd name="connsiteY50" fmla="*/ 101498 h 195239"/>
                <a:gd name="connsiteX51" fmla="*/ 21507 w 151405"/>
                <a:gd name="connsiteY51" fmla="*/ 118067 h 195239"/>
                <a:gd name="connsiteX52" fmla="*/ 21943 w 151405"/>
                <a:gd name="connsiteY52" fmla="*/ 132455 h 195239"/>
                <a:gd name="connsiteX53" fmla="*/ 23250 w 151405"/>
                <a:gd name="connsiteY53" fmla="*/ 137687 h 195239"/>
                <a:gd name="connsiteX54" fmla="*/ 19982 w 151405"/>
                <a:gd name="connsiteY54" fmla="*/ 143792 h 195239"/>
                <a:gd name="connsiteX55" fmla="*/ 12573 w 151405"/>
                <a:gd name="connsiteY55" fmla="*/ 139213 h 195239"/>
                <a:gd name="connsiteX56" fmla="*/ 10394 w 151405"/>
                <a:gd name="connsiteY56" fmla="*/ 127223 h 195239"/>
                <a:gd name="connsiteX57" fmla="*/ 6690 w 151405"/>
                <a:gd name="connsiteY57" fmla="*/ 121119 h 195239"/>
                <a:gd name="connsiteX58" fmla="*/ -4642 w 151405"/>
                <a:gd name="connsiteY58" fmla="*/ 110654 h 195239"/>
                <a:gd name="connsiteX59" fmla="*/ 2549 w 151405"/>
                <a:gd name="connsiteY59" fmla="*/ 108038 h 195239"/>
                <a:gd name="connsiteX60" fmla="*/ 20418 w 151405"/>
                <a:gd name="connsiteY60" fmla="*/ 90162 h 195239"/>
                <a:gd name="connsiteX61" fmla="*/ 24558 w 151405"/>
                <a:gd name="connsiteY61" fmla="*/ 82313 h 195239"/>
                <a:gd name="connsiteX62" fmla="*/ 24776 w 151405"/>
                <a:gd name="connsiteY62" fmla="*/ 74465 h 195239"/>
                <a:gd name="connsiteX63" fmla="*/ 26955 w 151405"/>
                <a:gd name="connsiteY63" fmla="*/ 66399 h 195239"/>
                <a:gd name="connsiteX64" fmla="*/ 37850 w 151405"/>
                <a:gd name="connsiteY64" fmla="*/ 69451 h 195239"/>
                <a:gd name="connsiteX65" fmla="*/ 52668 w 151405"/>
                <a:gd name="connsiteY65" fmla="*/ 65963 h 195239"/>
                <a:gd name="connsiteX66" fmla="*/ 55283 w 151405"/>
                <a:gd name="connsiteY66" fmla="*/ 53536 h 195239"/>
                <a:gd name="connsiteX67" fmla="*/ 72062 w 151405"/>
                <a:gd name="connsiteY67" fmla="*/ 61167 h 195239"/>
                <a:gd name="connsiteX68" fmla="*/ 70318 w 151405"/>
                <a:gd name="connsiteY68" fmla="*/ 68797 h 195239"/>
                <a:gd name="connsiteX69" fmla="*/ 78381 w 151405"/>
                <a:gd name="connsiteY69" fmla="*/ 78389 h 195239"/>
                <a:gd name="connsiteX70" fmla="*/ 91238 w 151405"/>
                <a:gd name="connsiteY70" fmla="*/ 84058 h 195239"/>
                <a:gd name="connsiteX71" fmla="*/ 111067 w 151405"/>
                <a:gd name="connsiteY71" fmla="*/ 94958 h 195239"/>
                <a:gd name="connsiteX72" fmla="*/ 117386 w 151405"/>
                <a:gd name="connsiteY72" fmla="*/ 89944 h 195239"/>
                <a:gd name="connsiteX73" fmla="*/ 106055 w 151405"/>
                <a:gd name="connsiteY73" fmla="*/ 79261 h 195239"/>
                <a:gd name="connsiteX74" fmla="*/ 91238 w 151405"/>
                <a:gd name="connsiteY74" fmla="*/ 78607 h 195239"/>
                <a:gd name="connsiteX75" fmla="*/ 92981 w 151405"/>
                <a:gd name="connsiteY75" fmla="*/ 75337 h 195239"/>
                <a:gd name="connsiteX76" fmla="*/ 91891 w 151405"/>
                <a:gd name="connsiteY76" fmla="*/ 53100 h 195239"/>
                <a:gd name="connsiteX77" fmla="*/ 89059 w 151405"/>
                <a:gd name="connsiteY77" fmla="*/ 46342 h 195239"/>
                <a:gd name="connsiteX78" fmla="*/ 93852 w 151405"/>
                <a:gd name="connsiteY78" fmla="*/ 43726 h 195239"/>
                <a:gd name="connsiteX79" fmla="*/ 96685 w 151405"/>
                <a:gd name="connsiteY79" fmla="*/ 41328 h 195239"/>
                <a:gd name="connsiteX80" fmla="*/ 93852 w 151405"/>
                <a:gd name="connsiteY80" fmla="*/ 31954 h 195239"/>
                <a:gd name="connsiteX81" fmla="*/ 75330 w 151405"/>
                <a:gd name="connsiteY81" fmla="*/ 14295 h 195239"/>
                <a:gd name="connsiteX82" fmla="*/ 72715 w 151405"/>
                <a:gd name="connsiteY82" fmla="*/ 9499 h 195239"/>
                <a:gd name="connsiteX83" fmla="*/ 82739 w 151405"/>
                <a:gd name="connsiteY83" fmla="*/ 343 h 195239"/>
                <a:gd name="connsiteX84" fmla="*/ 84700 w 151405"/>
                <a:gd name="connsiteY84" fmla="*/ 7101 h 195239"/>
                <a:gd name="connsiteX85" fmla="*/ 95596 w 151405"/>
                <a:gd name="connsiteY85" fmla="*/ 23451 h 195239"/>
                <a:gd name="connsiteX86" fmla="*/ 106491 w 151405"/>
                <a:gd name="connsiteY86" fmla="*/ 36968 h 195239"/>
                <a:gd name="connsiteX87" fmla="*/ 103222 w 151405"/>
                <a:gd name="connsiteY87" fmla="*/ 47868 h 195239"/>
                <a:gd name="connsiteX88" fmla="*/ 105619 w 151405"/>
                <a:gd name="connsiteY88" fmla="*/ 69015 h 195239"/>
                <a:gd name="connsiteX89" fmla="*/ 108670 w 151405"/>
                <a:gd name="connsiteY89" fmla="*/ 66835 h 195239"/>
                <a:gd name="connsiteX90" fmla="*/ 106491 w 151405"/>
                <a:gd name="connsiteY90" fmla="*/ 62257 h 195239"/>
                <a:gd name="connsiteX91" fmla="*/ 107581 w 151405"/>
                <a:gd name="connsiteY91" fmla="*/ 54408 h 195239"/>
                <a:gd name="connsiteX92" fmla="*/ 114554 w 151405"/>
                <a:gd name="connsiteY92" fmla="*/ 55935 h 195239"/>
                <a:gd name="connsiteX93" fmla="*/ 113900 w 151405"/>
                <a:gd name="connsiteY93" fmla="*/ 38058 h 195239"/>
                <a:gd name="connsiteX94" fmla="*/ 118258 w 151405"/>
                <a:gd name="connsiteY94" fmla="*/ 33044 h 195239"/>
                <a:gd name="connsiteX95" fmla="*/ 127192 w 151405"/>
                <a:gd name="connsiteY95" fmla="*/ 31736 h 195239"/>
                <a:gd name="connsiteX96" fmla="*/ 138088 w 151405"/>
                <a:gd name="connsiteY96" fmla="*/ 32826 h 195239"/>
                <a:gd name="connsiteX97" fmla="*/ 143535 w 151405"/>
                <a:gd name="connsiteY97" fmla="*/ 45034 h 195239"/>
                <a:gd name="connsiteX98" fmla="*/ 136998 w 151405"/>
                <a:gd name="connsiteY98" fmla="*/ 46560 h 195239"/>
                <a:gd name="connsiteX99" fmla="*/ 124795 w 151405"/>
                <a:gd name="connsiteY99" fmla="*/ 54844 h 195239"/>
                <a:gd name="connsiteX100" fmla="*/ 131550 w 151405"/>
                <a:gd name="connsiteY100" fmla="*/ 59205 h 195239"/>
                <a:gd name="connsiteX101" fmla="*/ 132640 w 151405"/>
                <a:gd name="connsiteY101" fmla="*/ 65527 h 195239"/>
                <a:gd name="connsiteX102" fmla="*/ 121745 w 151405"/>
                <a:gd name="connsiteY102" fmla="*/ 67925 h 195239"/>
                <a:gd name="connsiteX103" fmla="*/ 116515 w 151405"/>
                <a:gd name="connsiteY103" fmla="*/ 71413 h 195239"/>
                <a:gd name="connsiteX104" fmla="*/ 123052 w 151405"/>
                <a:gd name="connsiteY104" fmla="*/ 80351 h 195239"/>
                <a:gd name="connsiteX105" fmla="*/ 123924 w 151405"/>
                <a:gd name="connsiteY105" fmla="*/ 94958 h 195239"/>
                <a:gd name="connsiteX106" fmla="*/ 119566 w 151405"/>
                <a:gd name="connsiteY106" fmla="*/ 101280 h 195239"/>
                <a:gd name="connsiteX107" fmla="*/ 108670 w 151405"/>
                <a:gd name="connsiteY107" fmla="*/ 106948 h 195239"/>
                <a:gd name="connsiteX108" fmla="*/ 99082 w 151405"/>
                <a:gd name="connsiteY108" fmla="*/ 117631 h 195239"/>
                <a:gd name="connsiteX109" fmla="*/ 105619 w 151405"/>
                <a:gd name="connsiteY109" fmla="*/ 117849 h 195239"/>
                <a:gd name="connsiteX110" fmla="*/ 113900 w 151405"/>
                <a:gd name="connsiteY110" fmla="*/ 123081 h 195239"/>
                <a:gd name="connsiteX111" fmla="*/ 117386 w 151405"/>
                <a:gd name="connsiteY111" fmla="*/ 132019 h 195239"/>
                <a:gd name="connsiteX112" fmla="*/ 126321 w 151405"/>
                <a:gd name="connsiteY112" fmla="*/ 130711 h 195239"/>
                <a:gd name="connsiteX113" fmla="*/ 133947 w 151405"/>
                <a:gd name="connsiteY113" fmla="*/ 130275 h 195239"/>
                <a:gd name="connsiteX114" fmla="*/ 135037 w 151405"/>
                <a:gd name="connsiteY114" fmla="*/ 138123 h 195239"/>
                <a:gd name="connsiteX115" fmla="*/ 136127 w 151405"/>
                <a:gd name="connsiteY115" fmla="*/ 144664 h 195239"/>
                <a:gd name="connsiteX116" fmla="*/ 135691 w 151405"/>
                <a:gd name="connsiteY116" fmla="*/ 156872 h 195239"/>
                <a:gd name="connsiteX117" fmla="*/ 126756 w 151405"/>
                <a:gd name="connsiteY117" fmla="*/ 168208 h 195239"/>
                <a:gd name="connsiteX118" fmla="*/ 120873 w 151405"/>
                <a:gd name="connsiteY118" fmla="*/ 174095 h 195239"/>
                <a:gd name="connsiteX119" fmla="*/ 110849 w 151405"/>
                <a:gd name="connsiteY119" fmla="*/ 183905 h 195239"/>
                <a:gd name="connsiteX120" fmla="*/ 102133 w 151405"/>
                <a:gd name="connsiteY120" fmla="*/ 191971 h 195239"/>
                <a:gd name="connsiteX121" fmla="*/ 99954 w 151405"/>
                <a:gd name="connsiteY121" fmla="*/ 195241 h 195239"/>
                <a:gd name="connsiteX122" fmla="*/ 97775 w 151405"/>
                <a:gd name="connsiteY122" fmla="*/ 191971 h 195239"/>
                <a:gd name="connsiteX123" fmla="*/ 57244 w 151405"/>
                <a:gd name="connsiteY123" fmla="*/ 99100 h 195239"/>
                <a:gd name="connsiteX124" fmla="*/ 60513 w 151405"/>
                <a:gd name="connsiteY124" fmla="*/ 94958 h 195239"/>
                <a:gd name="connsiteX125" fmla="*/ 68793 w 151405"/>
                <a:gd name="connsiteY125" fmla="*/ 91470 h 195239"/>
                <a:gd name="connsiteX126" fmla="*/ 72933 w 151405"/>
                <a:gd name="connsiteY126" fmla="*/ 89290 h 195239"/>
                <a:gd name="connsiteX127" fmla="*/ 77292 w 151405"/>
                <a:gd name="connsiteY127" fmla="*/ 82531 h 195239"/>
                <a:gd name="connsiteX128" fmla="*/ 72933 w 151405"/>
                <a:gd name="connsiteY128" fmla="*/ 83185 h 195239"/>
                <a:gd name="connsiteX129" fmla="*/ 64217 w 151405"/>
                <a:gd name="connsiteY129" fmla="*/ 82095 h 195239"/>
                <a:gd name="connsiteX130" fmla="*/ 55283 w 151405"/>
                <a:gd name="connsiteY130" fmla="*/ 79697 h 195239"/>
                <a:gd name="connsiteX131" fmla="*/ 48964 w 151405"/>
                <a:gd name="connsiteY131" fmla="*/ 79915 h 195239"/>
                <a:gd name="connsiteX132" fmla="*/ 42208 w 151405"/>
                <a:gd name="connsiteY132" fmla="*/ 82749 h 195239"/>
                <a:gd name="connsiteX133" fmla="*/ 30224 w 151405"/>
                <a:gd name="connsiteY133" fmla="*/ 85802 h 195239"/>
                <a:gd name="connsiteX134" fmla="*/ 28044 w 151405"/>
                <a:gd name="connsiteY134" fmla="*/ 86238 h 195239"/>
                <a:gd name="connsiteX135" fmla="*/ 29352 w 151405"/>
                <a:gd name="connsiteY135" fmla="*/ 92996 h 195239"/>
                <a:gd name="connsiteX136" fmla="*/ 32403 w 151405"/>
                <a:gd name="connsiteY136" fmla="*/ 98882 h 195239"/>
                <a:gd name="connsiteX137" fmla="*/ 35235 w 151405"/>
                <a:gd name="connsiteY137" fmla="*/ 101498 h 195239"/>
                <a:gd name="connsiteX138" fmla="*/ 41119 w 151405"/>
                <a:gd name="connsiteY138" fmla="*/ 106730 h 195239"/>
                <a:gd name="connsiteX139" fmla="*/ 43952 w 151405"/>
                <a:gd name="connsiteY139" fmla="*/ 112180 h 195239"/>
                <a:gd name="connsiteX140" fmla="*/ 52450 w 151405"/>
                <a:gd name="connsiteY140" fmla="*/ 107820 h 195239"/>
                <a:gd name="connsiteX141" fmla="*/ 57244 w 151405"/>
                <a:gd name="connsiteY141" fmla="*/ 99100 h 195239"/>
                <a:gd name="connsiteX142" fmla="*/ 97121 w 151405"/>
                <a:gd name="connsiteY142" fmla="*/ 95830 h 195239"/>
                <a:gd name="connsiteX143" fmla="*/ 92545 w 151405"/>
                <a:gd name="connsiteY143" fmla="*/ 99754 h 195239"/>
                <a:gd name="connsiteX144" fmla="*/ 96249 w 151405"/>
                <a:gd name="connsiteY144" fmla="*/ 99536 h 195239"/>
                <a:gd name="connsiteX145" fmla="*/ 97121 w 151405"/>
                <a:gd name="connsiteY145" fmla="*/ 95830 h 19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151405" h="195239">
                  <a:moveTo>
                    <a:pt x="97775" y="191971"/>
                  </a:moveTo>
                  <a:cubicBezTo>
                    <a:pt x="97775" y="190445"/>
                    <a:pt x="99082" y="188047"/>
                    <a:pt x="100826" y="187175"/>
                  </a:cubicBezTo>
                  <a:cubicBezTo>
                    <a:pt x="102569" y="186303"/>
                    <a:pt x="104312" y="181507"/>
                    <a:pt x="104748" y="176711"/>
                  </a:cubicBezTo>
                  <a:cubicBezTo>
                    <a:pt x="105402" y="169298"/>
                    <a:pt x="106273" y="167990"/>
                    <a:pt x="110849" y="167336"/>
                  </a:cubicBezTo>
                  <a:cubicBezTo>
                    <a:pt x="117604" y="166464"/>
                    <a:pt x="130461" y="154474"/>
                    <a:pt x="130461" y="149024"/>
                  </a:cubicBezTo>
                  <a:cubicBezTo>
                    <a:pt x="130461" y="146626"/>
                    <a:pt x="128718" y="144882"/>
                    <a:pt x="126103" y="144882"/>
                  </a:cubicBezTo>
                  <a:cubicBezTo>
                    <a:pt x="123706" y="144664"/>
                    <a:pt x="120437" y="144446"/>
                    <a:pt x="119130" y="144228"/>
                  </a:cubicBezTo>
                  <a:cubicBezTo>
                    <a:pt x="117604" y="144010"/>
                    <a:pt x="115861" y="147062"/>
                    <a:pt x="115207" y="150550"/>
                  </a:cubicBezTo>
                  <a:cubicBezTo>
                    <a:pt x="114118" y="156872"/>
                    <a:pt x="113900" y="157090"/>
                    <a:pt x="101697" y="156872"/>
                  </a:cubicBezTo>
                  <a:lnTo>
                    <a:pt x="89276" y="156436"/>
                  </a:lnTo>
                  <a:lnTo>
                    <a:pt x="85572" y="165810"/>
                  </a:lnTo>
                  <a:cubicBezTo>
                    <a:pt x="83611" y="171043"/>
                    <a:pt x="82739" y="177147"/>
                    <a:pt x="83611" y="179763"/>
                  </a:cubicBezTo>
                  <a:cubicBezTo>
                    <a:pt x="85354" y="185213"/>
                    <a:pt x="81432" y="193061"/>
                    <a:pt x="77074" y="193061"/>
                  </a:cubicBezTo>
                  <a:cubicBezTo>
                    <a:pt x="74895" y="193061"/>
                    <a:pt x="73805" y="190881"/>
                    <a:pt x="73805" y="186957"/>
                  </a:cubicBezTo>
                  <a:cubicBezTo>
                    <a:pt x="73805" y="181071"/>
                    <a:pt x="70536" y="175621"/>
                    <a:pt x="66832" y="175621"/>
                  </a:cubicBezTo>
                  <a:cubicBezTo>
                    <a:pt x="65742" y="175621"/>
                    <a:pt x="63999" y="178019"/>
                    <a:pt x="62910" y="181071"/>
                  </a:cubicBezTo>
                  <a:cubicBezTo>
                    <a:pt x="60731" y="186739"/>
                    <a:pt x="57680" y="188047"/>
                    <a:pt x="55283" y="184341"/>
                  </a:cubicBezTo>
                  <a:cubicBezTo>
                    <a:pt x="54629" y="183251"/>
                    <a:pt x="50925" y="182161"/>
                    <a:pt x="47438" y="182161"/>
                  </a:cubicBezTo>
                  <a:cubicBezTo>
                    <a:pt x="42208" y="182161"/>
                    <a:pt x="40901" y="181289"/>
                    <a:pt x="41555" y="178455"/>
                  </a:cubicBezTo>
                  <a:cubicBezTo>
                    <a:pt x="41991" y="176275"/>
                    <a:pt x="44170" y="174531"/>
                    <a:pt x="46349" y="174531"/>
                  </a:cubicBezTo>
                  <a:cubicBezTo>
                    <a:pt x="53104" y="174531"/>
                    <a:pt x="52886" y="169516"/>
                    <a:pt x="46131" y="168644"/>
                  </a:cubicBezTo>
                  <a:cubicBezTo>
                    <a:pt x="38504" y="167772"/>
                    <a:pt x="36543" y="159706"/>
                    <a:pt x="43080" y="156218"/>
                  </a:cubicBezTo>
                  <a:cubicBezTo>
                    <a:pt x="48964" y="152948"/>
                    <a:pt x="52886" y="154910"/>
                    <a:pt x="55719" y="162322"/>
                  </a:cubicBezTo>
                  <a:cubicBezTo>
                    <a:pt x="57462" y="167336"/>
                    <a:pt x="59205" y="168426"/>
                    <a:pt x="64217" y="168208"/>
                  </a:cubicBezTo>
                  <a:cubicBezTo>
                    <a:pt x="72280" y="167772"/>
                    <a:pt x="84700" y="158616"/>
                    <a:pt x="83175" y="154474"/>
                  </a:cubicBezTo>
                  <a:cubicBezTo>
                    <a:pt x="82085" y="151858"/>
                    <a:pt x="81432" y="152076"/>
                    <a:pt x="78163" y="154910"/>
                  </a:cubicBezTo>
                  <a:cubicBezTo>
                    <a:pt x="73587" y="159052"/>
                    <a:pt x="69883" y="159052"/>
                    <a:pt x="60077" y="154910"/>
                  </a:cubicBezTo>
                  <a:cubicBezTo>
                    <a:pt x="50271" y="150768"/>
                    <a:pt x="48092" y="147498"/>
                    <a:pt x="53104" y="143792"/>
                  </a:cubicBezTo>
                  <a:cubicBezTo>
                    <a:pt x="56372" y="141393"/>
                    <a:pt x="56590" y="140303"/>
                    <a:pt x="54193" y="137469"/>
                  </a:cubicBezTo>
                  <a:cubicBezTo>
                    <a:pt x="51796" y="134635"/>
                    <a:pt x="51796" y="133327"/>
                    <a:pt x="54629" y="130493"/>
                  </a:cubicBezTo>
                  <a:cubicBezTo>
                    <a:pt x="59423" y="125697"/>
                    <a:pt x="63563" y="128967"/>
                    <a:pt x="62038" y="136379"/>
                  </a:cubicBezTo>
                  <a:cubicBezTo>
                    <a:pt x="60513" y="144446"/>
                    <a:pt x="65525" y="149024"/>
                    <a:pt x="72280" y="145536"/>
                  </a:cubicBezTo>
                  <a:cubicBezTo>
                    <a:pt x="79035" y="142048"/>
                    <a:pt x="86879" y="141829"/>
                    <a:pt x="94070" y="144664"/>
                  </a:cubicBezTo>
                  <a:cubicBezTo>
                    <a:pt x="106273" y="149678"/>
                    <a:pt x="107363" y="146626"/>
                    <a:pt x="98646" y="131365"/>
                  </a:cubicBezTo>
                  <a:cubicBezTo>
                    <a:pt x="94288" y="123517"/>
                    <a:pt x="93417" y="119593"/>
                    <a:pt x="94724" y="113707"/>
                  </a:cubicBezTo>
                  <a:cubicBezTo>
                    <a:pt x="96032" y="106294"/>
                    <a:pt x="95814" y="105858"/>
                    <a:pt x="90366" y="105858"/>
                  </a:cubicBezTo>
                  <a:cubicBezTo>
                    <a:pt x="86879" y="105858"/>
                    <a:pt x="84700" y="106948"/>
                    <a:pt x="84700" y="109128"/>
                  </a:cubicBezTo>
                  <a:cubicBezTo>
                    <a:pt x="84700" y="110872"/>
                    <a:pt x="85572" y="112398"/>
                    <a:pt x="86662" y="112398"/>
                  </a:cubicBezTo>
                  <a:cubicBezTo>
                    <a:pt x="89712" y="112398"/>
                    <a:pt x="91238" y="118503"/>
                    <a:pt x="89712" y="125479"/>
                  </a:cubicBezTo>
                  <a:cubicBezTo>
                    <a:pt x="87751" y="135725"/>
                    <a:pt x="82739" y="133763"/>
                    <a:pt x="83175" y="122863"/>
                  </a:cubicBezTo>
                  <a:cubicBezTo>
                    <a:pt x="83611" y="114797"/>
                    <a:pt x="82957" y="113707"/>
                    <a:pt x="78163" y="112398"/>
                  </a:cubicBezTo>
                  <a:cubicBezTo>
                    <a:pt x="75112" y="111744"/>
                    <a:pt x="72715" y="110000"/>
                    <a:pt x="72933" y="108474"/>
                  </a:cubicBezTo>
                  <a:cubicBezTo>
                    <a:pt x="73151" y="106948"/>
                    <a:pt x="73369" y="104332"/>
                    <a:pt x="73587" y="102588"/>
                  </a:cubicBezTo>
                  <a:cubicBezTo>
                    <a:pt x="73587" y="100844"/>
                    <a:pt x="75548" y="99318"/>
                    <a:pt x="77727" y="99318"/>
                  </a:cubicBezTo>
                  <a:cubicBezTo>
                    <a:pt x="83611" y="99318"/>
                    <a:pt x="85136" y="96920"/>
                    <a:pt x="80996" y="93868"/>
                  </a:cubicBezTo>
                  <a:cubicBezTo>
                    <a:pt x="78381" y="91906"/>
                    <a:pt x="76202" y="91906"/>
                    <a:pt x="71626" y="94304"/>
                  </a:cubicBezTo>
                  <a:cubicBezTo>
                    <a:pt x="64871" y="97574"/>
                    <a:pt x="62474" y="103460"/>
                    <a:pt x="64217" y="112398"/>
                  </a:cubicBezTo>
                  <a:cubicBezTo>
                    <a:pt x="65742" y="119811"/>
                    <a:pt x="60077" y="125479"/>
                    <a:pt x="54629" y="121555"/>
                  </a:cubicBezTo>
                  <a:cubicBezTo>
                    <a:pt x="47656" y="116541"/>
                    <a:pt x="45259" y="116323"/>
                    <a:pt x="41119" y="120029"/>
                  </a:cubicBezTo>
                  <a:cubicBezTo>
                    <a:pt x="36107" y="124607"/>
                    <a:pt x="32403" y="122645"/>
                    <a:pt x="32403" y="115451"/>
                  </a:cubicBezTo>
                  <a:cubicBezTo>
                    <a:pt x="32403" y="108256"/>
                    <a:pt x="28698" y="101498"/>
                    <a:pt x="24776" y="101498"/>
                  </a:cubicBezTo>
                  <a:cubicBezTo>
                    <a:pt x="19546" y="101498"/>
                    <a:pt x="18674" y="106076"/>
                    <a:pt x="21507" y="118067"/>
                  </a:cubicBezTo>
                  <a:cubicBezTo>
                    <a:pt x="23686" y="127005"/>
                    <a:pt x="23686" y="130711"/>
                    <a:pt x="21943" y="132455"/>
                  </a:cubicBezTo>
                  <a:cubicBezTo>
                    <a:pt x="20200" y="134199"/>
                    <a:pt x="20418" y="135725"/>
                    <a:pt x="23250" y="137687"/>
                  </a:cubicBezTo>
                  <a:cubicBezTo>
                    <a:pt x="27391" y="140739"/>
                    <a:pt x="26955" y="141829"/>
                    <a:pt x="19982" y="143792"/>
                  </a:cubicBezTo>
                  <a:cubicBezTo>
                    <a:pt x="15842" y="145100"/>
                    <a:pt x="14534" y="144228"/>
                    <a:pt x="12573" y="139213"/>
                  </a:cubicBezTo>
                  <a:cubicBezTo>
                    <a:pt x="11048" y="135943"/>
                    <a:pt x="10176" y="130493"/>
                    <a:pt x="10394" y="127223"/>
                  </a:cubicBezTo>
                  <a:cubicBezTo>
                    <a:pt x="10612" y="122645"/>
                    <a:pt x="9740" y="121119"/>
                    <a:pt x="6690" y="121119"/>
                  </a:cubicBezTo>
                  <a:cubicBezTo>
                    <a:pt x="2331" y="121119"/>
                    <a:pt x="-4642" y="114797"/>
                    <a:pt x="-4642" y="110654"/>
                  </a:cubicBezTo>
                  <a:cubicBezTo>
                    <a:pt x="-4642" y="109128"/>
                    <a:pt x="-1373" y="108038"/>
                    <a:pt x="2549" y="108038"/>
                  </a:cubicBezTo>
                  <a:cubicBezTo>
                    <a:pt x="11701" y="108038"/>
                    <a:pt x="19546" y="100190"/>
                    <a:pt x="20418" y="90162"/>
                  </a:cubicBezTo>
                  <a:cubicBezTo>
                    <a:pt x="20636" y="85584"/>
                    <a:pt x="22161" y="82749"/>
                    <a:pt x="24558" y="82313"/>
                  </a:cubicBezTo>
                  <a:cubicBezTo>
                    <a:pt x="28916" y="81441"/>
                    <a:pt x="28916" y="78825"/>
                    <a:pt x="24776" y="74465"/>
                  </a:cubicBezTo>
                  <a:cubicBezTo>
                    <a:pt x="19110" y="69015"/>
                    <a:pt x="21289" y="61167"/>
                    <a:pt x="26955" y="66399"/>
                  </a:cubicBezTo>
                  <a:cubicBezTo>
                    <a:pt x="28262" y="67489"/>
                    <a:pt x="33056" y="68797"/>
                    <a:pt x="37850" y="69451"/>
                  </a:cubicBezTo>
                  <a:cubicBezTo>
                    <a:pt x="47220" y="70759"/>
                    <a:pt x="56590" y="68361"/>
                    <a:pt x="52668" y="65963"/>
                  </a:cubicBezTo>
                  <a:cubicBezTo>
                    <a:pt x="49835" y="64219"/>
                    <a:pt x="51361" y="56807"/>
                    <a:pt x="55283" y="53536"/>
                  </a:cubicBezTo>
                  <a:cubicBezTo>
                    <a:pt x="58551" y="50702"/>
                    <a:pt x="65742" y="53972"/>
                    <a:pt x="72062" y="61167"/>
                  </a:cubicBezTo>
                  <a:cubicBezTo>
                    <a:pt x="77292" y="67053"/>
                    <a:pt x="76856" y="68797"/>
                    <a:pt x="70318" y="68797"/>
                  </a:cubicBezTo>
                  <a:cubicBezTo>
                    <a:pt x="61384" y="68797"/>
                    <a:pt x="65307" y="73375"/>
                    <a:pt x="78381" y="78389"/>
                  </a:cubicBezTo>
                  <a:cubicBezTo>
                    <a:pt x="84700" y="80787"/>
                    <a:pt x="90584" y="83403"/>
                    <a:pt x="91238" y="84058"/>
                  </a:cubicBezTo>
                  <a:cubicBezTo>
                    <a:pt x="95814" y="89290"/>
                    <a:pt x="106055" y="94958"/>
                    <a:pt x="111067" y="94958"/>
                  </a:cubicBezTo>
                  <a:cubicBezTo>
                    <a:pt x="116297" y="94958"/>
                    <a:pt x="117386" y="94086"/>
                    <a:pt x="117386" y="89944"/>
                  </a:cubicBezTo>
                  <a:cubicBezTo>
                    <a:pt x="117386" y="82967"/>
                    <a:pt x="109542" y="75773"/>
                    <a:pt x="106055" y="79261"/>
                  </a:cubicBezTo>
                  <a:cubicBezTo>
                    <a:pt x="102133" y="83185"/>
                    <a:pt x="91238" y="82531"/>
                    <a:pt x="91238" y="78607"/>
                  </a:cubicBezTo>
                  <a:cubicBezTo>
                    <a:pt x="91238" y="76863"/>
                    <a:pt x="92109" y="75337"/>
                    <a:pt x="92981" y="75337"/>
                  </a:cubicBezTo>
                  <a:cubicBezTo>
                    <a:pt x="95814" y="75337"/>
                    <a:pt x="94724" y="56153"/>
                    <a:pt x="91891" y="53100"/>
                  </a:cubicBezTo>
                  <a:cubicBezTo>
                    <a:pt x="90366" y="51792"/>
                    <a:pt x="89059" y="48740"/>
                    <a:pt x="89059" y="46342"/>
                  </a:cubicBezTo>
                  <a:cubicBezTo>
                    <a:pt x="89059" y="43290"/>
                    <a:pt x="90148" y="42636"/>
                    <a:pt x="93852" y="43726"/>
                  </a:cubicBezTo>
                  <a:cubicBezTo>
                    <a:pt x="97775" y="45034"/>
                    <a:pt x="98211" y="44598"/>
                    <a:pt x="96685" y="41328"/>
                  </a:cubicBezTo>
                  <a:cubicBezTo>
                    <a:pt x="95814" y="38930"/>
                    <a:pt x="94506" y="34788"/>
                    <a:pt x="93852" y="31954"/>
                  </a:cubicBezTo>
                  <a:cubicBezTo>
                    <a:pt x="92545" y="25631"/>
                    <a:pt x="80778" y="14513"/>
                    <a:pt x="75330" y="14295"/>
                  </a:cubicBezTo>
                  <a:cubicBezTo>
                    <a:pt x="72280" y="14295"/>
                    <a:pt x="71626" y="13205"/>
                    <a:pt x="72715" y="9499"/>
                  </a:cubicBezTo>
                  <a:cubicBezTo>
                    <a:pt x="74459" y="3831"/>
                    <a:pt x="80124" y="-1401"/>
                    <a:pt x="82739" y="343"/>
                  </a:cubicBezTo>
                  <a:cubicBezTo>
                    <a:pt x="83829" y="997"/>
                    <a:pt x="84700" y="4049"/>
                    <a:pt x="84700" y="7101"/>
                  </a:cubicBezTo>
                  <a:cubicBezTo>
                    <a:pt x="84700" y="11025"/>
                    <a:pt x="88187" y="16039"/>
                    <a:pt x="95596" y="23451"/>
                  </a:cubicBezTo>
                  <a:cubicBezTo>
                    <a:pt x="101697" y="29338"/>
                    <a:pt x="106491" y="35442"/>
                    <a:pt x="106491" y="36968"/>
                  </a:cubicBezTo>
                  <a:cubicBezTo>
                    <a:pt x="106491" y="38712"/>
                    <a:pt x="104966" y="43508"/>
                    <a:pt x="103222" y="47868"/>
                  </a:cubicBezTo>
                  <a:cubicBezTo>
                    <a:pt x="99736" y="56371"/>
                    <a:pt x="100608" y="64873"/>
                    <a:pt x="105619" y="69015"/>
                  </a:cubicBezTo>
                  <a:cubicBezTo>
                    <a:pt x="108016" y="70977"/>
                    <a:pt x="108670" y="70541"/>
                    <a:pt x="108670" y="66835"/>
                  </a:cubicBezTo>
                  <a:cubicBezTo>
                    <a:pt x="108670" y="64437"/>
                    <a:pt x="107799" y="62257"/>
                    <a:pt x="106491" y="62257"/>
                  </a:cubicBezTo>
                  <a:cubicBezTo>
                    <a:pt x="103005" y="62257"/>
                    <a:pt x="103876" y="55717"/>
                    <a:pt x="107581" y="54408"/>
                  </a:cubicBezTo>
                  <a:cubicBezTo>
                    <a:pt x="109324" y="53536"/>
                    <a:pt x="112593" y="54408"/>
                    <a:pt x="114554" y="55935"/>
                  </a:cubicBezTo>
                  <a:cubicBezTo>
                    <a:pt x="118476" y="59205"/>
                    <a:pt x="118476" y="60295"/>
                    <a:pt x="113900" y="38058"/>
                  </a:cubicBezTo>
                  <a:cubicBezTo>
                    <a:pt x="112593" y="31736"/>
                    <a:pt x="112810" y="31518"/>
                    <a:pt x="118258" y="33044"/>
                  </a:cubicBezTo>
                  <a:cubicBezTo>
                    <a:pt x="121527" y="33698"/>
                    <a:pt x="125231" y="33262"/>
                    <a:pt x="127192" y="31736"/>
                  </a:cubicBezTo>
                  <a:cubicBezTo>
                    <a:pt x="129589" y="29774"/>
                    <a:pt x="131986" y="29992"/>
                    <a:pt x="138088" y="32826"/>
                  </a:cubicBezTo>
                  <a:cubicBezTo>
                    <a:pt x="148111" y="37840"/>
                    <a:pt x="148765" y="38930"/>
                    <a:pt x="143535" y="45034"/>
                  </a:cubicBezTo>
                  <a:cubicBezTo>
                    <a:pt x="139395" y="49830"/>
                    <a:pt x="138959" y="50048"/>
                    <a:pt x="136998" y="46560"/>
                  </a:cubicBezTo>
                  <a:cubicBezTo>
                    <a:pt x="131986" y="38276"/>
                    <a:pt x="122398" y="45034"/>
                    <a:pt x="124795" y="54844"/>
                  </a:cubicBezTo>
                  <a:cubicBezTo>
                    <a:pt x="126103" y="59641"/>
                    <a:pt x="127192" y="60295"/>
                    <a:pt x="131550" y="59205"/>
                  </a:cubicBezTo>
                  <a:cubicBezTo>
                    <a:pt x="138088" y="57461"/>
                    <a:pt x="138524" y="60077"/>
                    <a:pt x="132640" y="65527"/>
                  </a:cubicBezTo>
                  <a:cubicBezTo>
                    <a:pt x="129589" y="68361"/>
                    <a:pt x="126539" y="69015"/>
                    <a:pt x="121745" y="67925"/>
                  </a:cubicBezTo>
                  <a:cubicBezTo>
                    <a:pt x="115425" y="66835"/>
                    <a:pt x="114989" y="67053"/>
                    <a:pt x="116515" y="71413"/>
                  </a:cubicBezTo>
                  <a:cubicBezTo>
                    <a:pt x="117386" y="74029"/>
                    <a:pt x="120219" y="78171"/>
                    <a:pt x="123052" y="80351"/>
                  </a:cubicBezTo>
                  <a:cubicBezTo>
                    <a:pt x="129371" y="85366"/>
                    <a:pt x="129807" y="91906"/>
                    <a:pt x="123924" y="94958"/>
                  </a:cubicBezTo>
                  <a:cubicBezTo>
                    <a:pt x="121527" y="96266"/>
                    <a:pt x="119566" y="99100"/>
                    <a:pt x="119566" y="101280"/>
                  </a:cubicBezTo>
                  <a:cubicBezTo>
                    <a:pt x="119566" y="105858"/>
                    <a:pt x="114118" y="108692"/>
                    <a:pt x="108670" y="106948"/>
                  </a:cubicBezTo>
                  <a:cubicBezTo>
                    <a:pt x="103876" y="105422"/>
                    <a:pt x="97339" y="112834"/>
                    <a:pt x="99082" y="117631"/>
                  </a:cubicBezTo>
                  <a:cubicBezTo>
                    <a:pt x="100390" y="120901"/>
                    <a:pt x="100826" y="120901"/>
                    <a:pt x="105619" y="117849"/>
                  </a:cubicBezTo>
                  <a:cubicBezTo>
                    <a:pt x="112593" y="113489"/>
                    <a:pt x="115425" y="115233"/>
                    <a:pt x="113900" y="123081"/>
                  </a:cubicBezTo>
                  <a:cubicBezTo>
                    <a:pt x="112810" y="128095"/>
                    <a:pt x="113464" y="130057"/>
                    <a:pt x="117386" y="132019"/>
                  </a:cubicBezTo>
                  <a:cubicBezTo>
                    <a:pt x="121309" y="133981"/>
                    <a:pt x="122834" y="133763"/>
                    <a:pt x="126321" y="130711"/>
                  </a:cubicBezTo>
                  <a:cubicBezTo>
                    <a:pt x="130243" y="127223"/>
                    <a:pt x="130897" y="127223"/>
                    <a:pt x="133947" y="130275"/>
                  </a:cubicBezTo>
                  <a:cubicBezTo>
                    <a:pt x="136780" y="132891"/>
                    <a:pt x="136998" y="134635"/>
                    <a:pt x="135037" y="138123"/>
                  </a:cubicBezTo>
                  <a:cubicBezTo>
                    <a:pt x="133076" y="141829"/>
                    <a:pt x="133294" y="143138"/>
                    <a:pt x="136127" y="144664"/>
                  </a:cubicBezTo>
                  <a:cubicBezTo>
                    <a:pt x="139613" y="146626"/>
                    <a:pt x="139613" y="147498"/>
                    <a:pt x="135691" y="156872"/>
                  </a:cubicBezTo>
                  <a:cubicBezTo>
                    <a:pt x="133076" y="163412"/>
                    <a:pt x="129807" y="167554"/>
                    <a:pt x="126756" y="168208"/>
                  </a:cubicBezTo>
                  <a:cubicBezTo>
                    <a:pt x="124142" y="168862"/>
                    <a:pt x="121527" y="171479"/>
                    <a:pt x="120873" y="174095"/>
                  </a:cubicBezTo>
                  <a:cubicBezTo>
                    <a:pt x="120219" y="176711"/>
                    <a:pt x="115643" y="181071"/>
                    <a:pt x="110849" y="183905"/>
                  </a:cubicBezTo>
                  <a:cubicBezTo>
                    <a:pt x="106055" y="186521"/>
                    <a:pt x="102133" y="190227"/>
                    <a:pt x="102133" y="191971"/>
                  </a:cubicBezTo>
                  <a:cubicBezTo>
                    <a:pt x="102133" y="193715"/>
                    <a:pt x="101261" y="195241"/>
                    <a:pt x="99954" y="195241"/>
                  </a:cubicBezTo>
                  <a:cubicBezTo>
                    <a:pt x="98864" y="195241"/>
                    <a:pt x="97775" y="193715"/>
                    <a:pt x="97775" y="191971"/>
                  </a:cubicBezTo>
                  <a:close/>
                  <a:moveTo>
                    <a:pt x="57244" y="99100"/>
                  </a:moveTo>
                  <a:cubicBezTo>
                    <a:pt x="53540" y="95176"/>
                    <a:pt x="53758" y="94958"/>
                    <a:pt x="60513" y="94958"/>
                  </a:cubicBezTo>
                  <a:cubicBezTo>
                    <a:pt x="64653" y="94958"/>
                    <a:pt x="67922" y="93650"/>
                    <a:pt x="68793" y="91470"/>
                  </a:cubicBezTo>
                  <a:cubicBezTo>
                    <a:pt x="69447" y="89726"/>
                    <a:pt x="71408" y="88636"/>
                    <a:pt x="72933" y="89290"/>
                  </a:cubicBezTo>
                  <a:cubicBezTo>
                    <a:pt x="76638" y="90816"/>
                    <a:pt x="79035" y="87110"/>
                    <a:pt x="77292" y="82531"/>
                  </a:cubicBezTo>
                  <a:cubicBezTo>
                    <a:pt x="75984" y="79479"/>
                    <a:pt x="75548" y="79479"/>
                    <a:pt x="72933" y="83185"/>
                  </a:cubicBezTo>
                  <a:cubicBezTo>
                    <a:pt x="69883" y="87110"/>
                    <a:pt x="69665" y="87110"/>
                    <a:pt x="64217" y="82095"/>
                  </a:cubicBezTo>
                  <a:cubicBezTo>
                    <a:pt x="59641" y="77735"/>
                    <a:pt x="58116" y="77299"/>
                    <a:pt x="55283" y="79697"/>
                  </a:cubicBezTo>
                  <a:cubicBezTo>
                    <a:pt x="52668" y="81877"/>
                    <a:pt x="51361" y="81877"/>
                    <a:pt x="48964" y="79915"/>
                  </a:cubicBezTo>
                  <a:cubicBezTo>
                    <a:pt x="46349" y="77735"/>
                    <a:pt x="45041" y="78389"/>
                    <a:pt x="42208" y="82749"/>
                  </a:cubicBezTo>
                  <a:cubicBezTo>
                    <a:pt x="38286" y="88636"/>
                    <a:pt x="30224" y="90598"/>
                    <a:pt x="30224" y="85802"/>
                  </a:cubicBezTo>
                  <a:cubicBezTo>
                    <a:pt x="30224" y="83839"/>
                    <a:pt x="29570" y="84058"/>
                    <a:pt x="28044" y="86238"/>
                  </a:cubicBezTo>
                  <a:cubicBezTo>
                    <a:pt x="26737" y="88418"/>
                    <a:pt x="27173" y="90598"/>
                    <a:pt x="29352" y="92996"/>
                  </a:cubicBezTo>
                  <a:cubicBezTo>
                    <a:pt x="30877" y="94740"/>
                    <a:pt x="32403" y="97574"/>
                    <a:pt x="32403" y="98882"/>
                  </a:cubicBezTo>
                  <a:cubicBezTo>
                    <a:pt x="32403" y="100408"/>
                    <a:pt x="33710" y="101498"/>
                    <a:pt x="35235" y="101498"/>
                  </a:cubicBezTo>
                  <a:cubicBezTo>
                    <a:pt x="36979" y="101498"/>
                    <a:pt x="39594" y="103896"/>
                    <a:pt x="41119" y="106730"/>
                  </a:cubicBezTo>
                  <a:lnTo>
                    <a:pt x="43952" y="112180"/>
                  </a:lnTo>
                  <a:lnTo>
                    <a:pt x="52450" y="107820"/>
                  </a:lnTo>
                  <a:cubicBezTo>
                    <a:pt x="60948" y="103460"/>
                    <a:pt x="60948" y="103242"/>
                    <a:pt x="57244" y="99100"/>
                  </a:cubicBezTo>
                  <a:close/>
                  <a:moveTo>
                    <a:pt x="97121" y="95830"/>
                  </a:moveTo>
                  <a:cubicBezTo>
                    <a:pt x="95160" y="93868"/>
                    <a:pt x="91020" y="97138"/>
                    <a:pt x="92545" y="99754"/>
                  </a:cubicBezTo>
                  <a:cubicBezTo>
                    <a:pt x="93417" y="101062"/>
                    <a:pt x="94724" y="101062"/>
                    <a:pt x="96249" y="99536"/>
                  </a:cubicBezTo>
                  <a:cubicBezTo>
                    <a:pt x="97557" y="98228"/>
                    <a:pt x="97993" y="96702"/>
                    <a:pt x="97121" y="95830"/>
                  </a:cubicBezTo>
                  <a:close/>
                </a:path>
              </a:pathLst>
            </a:custGeom>
            <a:grpFill/>
            <a:ln w="218" cap="flat">
              <a:noFill/>
              <a:prstDash val="solid"/>
              <a:miter/>
            </a:ln>
          </p:spPr>
          <p:txBody>
            <a:bodyPr rtlCol="0" anchor="ctr"/>
            <a:lstStyle/>
            <a:p>
              <a:endParaRPr lang="en-GB" dirty="0"/>
            </a:p>
          </p:txBody>
        </p:sp>
        <p:sp>
          <p:nvSpPr>
            <p:cNvPr id="40" name="Freihandform: Form 39">
              <a:extLst>
                <a:ext uri="{FF2B5EF4-FFF2-40B4-BE49-F238E27FC236}">
                  <a16:creationId xmlns:a16="http://schemas.microsoft.com/office/drawing/2014/main" xmlns="" id="{7F725B52-1166-45A3-8429-6B9E0B27DB33}"/>
                </a:ext>
              </a:extLst>
            </p:cNvPr>
            <p:cNvSpPr/>
            <p:nvPr/>
          </p:nvSpPr>
          <p:spPr>
            <a:xfrm flipV="1">
              <a:off x="4951103" y="5300458"/>
              <a:ext cx="5775" cy="5483"/>
            </a:xfrm>
            <a:custGeom>
              <a:avLst/>
              <a:gdLst>
                <a:gd name="connsiteX0" fmla="*/ -4530 w 5775"/>
                <a:gd name="connsiteY0" fmla="*/ 4562 h 5483"/>
                <a:gd name="connsiteX1" fmla="*/ 1136 w 5775"/>
                <a:gd name="connsiteY1" fmla="*/ 420 h 5483"/>
                <a:gd name="connsiteX2" fmla="*/ -1261 w 5775"/>
                <a:gd name="connsiteY2" fmla="*/ 4126 h 5483"/>
                <a:gd name="connsiteX3" fmla="*/ -4530 w 5775"/>
                <a:gd name="connsiteY3" fmla="*/ 4562 h 5483"/>
              </a:gdLst>
              <a:ahLst/>
              <a:cxnLst>
                <a:cxn ang="0">
                  <a:pos x="connsiteX0" y="connsiteY0"/>
                </a:cxn>
                <a:cxn ang="0">
                  <a:pos x="connsiteX1" y="connsiteY1"/>
                </a:cxn>
                <a:cxn ang="0">
                  <a:pos x="connsiteX2" y="connsiteY2"/>
                </a:cxn>
                <a:cxn ang="0">
                  <a:pos x="connsiteX3" y="connsiteY3"/>
                </a:cxn>
              </a:cxnLst>
              <a:rect l="l" t="t" r="r" b="b"/>
              <a:pathLst>
                <a:path w="5775" h="5483">
                  <a:moveTo>
                    <a:pt x="-4530" y="4562"/>
                  </a:moveTo>
                  <a:cubicBezTo>
                    <a:pt x="-4530" y="1946"/>
                    <a:pt x="-390" y="-1106"/>
                    <a:pt x="1136" y="420"/>
                  </a:cubicBezTo>
                  <a:cubicBezTo>
                    <a:pt x="1571" y="856"/>
                    <a:pt x="700" y="2600"/>
                    <a:pt x="-1261" y="4126"/>
                  </a:cubicBezTo>
                  <a:cubicBezTo>
                    <a:pt x="-3222" y="5870"/>
                    <a:pt x="-4530" y="5870"/>
                    <a:pt x="-4530" y="4562"/>
                  </a:cubicBezTo>
                  <a:close/>
                </a:path>
              </a:pathLst>
            </a:custGeom>
            <a:grpFill/>
            <a:ln w="218" cap="flat">
              <a:noFill/>
              <a:prstDash val="solid"/>
              <a:miter/>
            </a:ln>
          </p:spPr>
          <p:txBody>
            <a:bodyPr rtlCol="0" anchor="ctr"/>
            <a:lstStyle/>
            <a:p>
              <a:endParaRPr lang="en-GB" dirty="0"/>
            </a:p>
          </p:txBody>
        </p:sp>
        <p:sp>
          <p:nvSpPr>
            <p:cNvPr id="42" name="Freihandform: Form 41">
              <a:extLst>
                <a:ext uri="{FF2B5EF4-FFF2-40B4-BE49-F238E27FC236}">
                  <a16:creationId xmlns:a16="http://schemas.microsoft.com/office/drawing/2014/main" xmlns="" id="{319E8855-137D-453E-A831-81FA6EAF05EE}"/>
                </a:ext>
              </a:extLst>
            </p:cNvPr>
            <p:cNvSpPr/>
            <p:nvPr/>
          </p:nvSpPr>
          <p:spPr>
            <a:xfrm flipV="1">
              <a:off x="5028570" y="5203723"/>
              <a:ext cx="28901" cy="25812"/>
            </a:xfrm>
            <a:custGeom>
              <a:avLst/>
              <a:gdLst>
                <a:gd name="connsiteX0" fmla="*/ -4790 w 28901"/>
                <a:gd name="connsiteY0" fmla="*/ 23424 h 25812"/>
                <a:gd name="connsiteX1" fmla="*/ 440 w 28901"/>
                <a:gd name="connsiteY1" fmla="*/ 14268 h 25812"/>
                <a:gd name="connsiteX2" fmla="*/ 8284 w 28901"/>
                <a:gd name="connsiteY2" fmla="*/ 3150 h 25812"/>
                <a:gd name="connsiteX3" fmla="*/ 18962 w 28901"/>
                <a:gd name="connsiteY3" fmla="*/ 5984 h 25812"/>
                <a:gd name="connsiteX4" fmla="*/ 19398 w 28901"/>
                <a:gd name="connsiteY4" fmla="*/ 24950 h 25812"/>
                <a:gd name="connsiteX5" fmla="*/ 17001 w 28901"/>
                <a:gd name="connsiteY5" fmla="*/ 16884 h 25812"/>
                <a:gd name="connsiteX6" fmla="*/ 15911 w 28901"/>
                <a:gd name="connsiteY6" fmla="*/ 7946 h 25812"/>
                <a:gd name="connsiteX7" fmla="*/ 13514 w 28901"/>
                <a:gd name="connsiteY7" fmla="*/ 10344 h 25812"/>
                <a:gd name="connsiteX8" fmla="*/ -2175 w 28901"/>
                <a:gd name="connsiteY8" fmla="*/ 25386 h 25812"/>
                <a:gd name="connsiteX9" fmla="*/ -4790 w 28901"/>
                <a:gd name="connsiteY9" fmla="*/ 23424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01" h="25812">
                  <a:moveTo>
                    <a:pt x="-4790" y="23424"/>
                  </a:moveTo>
                  <a:cubicBezTo>
                    <a:pt x="-5444" y="22334"/>
                    <a:pt x="-3047" y="18192"/>
                    <a:pt x="440" y="14268"/>
                  </a:cubicBezTo>
                  <a:cubicBezTo>
                    <a:pt x="3926" y="10126"/>
                    <a:pt x="7413" y="5112"/>
                    <a:pt x="8284" y="3150"/>
                  </a:cubicBezTo>
                  <a:cubicBezTo>
                    <a:pt x="10028" y="-2300"/>
                    <a:pt x="12425" y="-1646"/>
                    <a:pt x="18962" y="5984"/>
                  </a:cubicBezTo>
                  <a:cubicBezTo>
                    <a:pt x="25499" y="13832"/>
                    <a:pt x="25717" y="23860"/>
                    <a:pt x="19398" y="24950"/>
                  </a:cubicBezTo>
                  <a:cubicBezTo>
                    <a:pt x="16129" y="25604"/>
                    <a:pt x="15693" y="24514"/>
                    <a:pt x="17001" y="16884"/>
                  </a:cubicBezTo>
                  <a:cubicBezTo>
                    <a:pt x="17872" y="10780"/>
                    <a:pt x="17654" y="7946"/>
                    <a:pt x="15911" y="7946"/>
                  </a:cubicBezTo>
                  <a:cubicBezTo>
                    <a:pt x="14604" y="7946"/>
                    <a:pt x="13514" y="9036"/>
                    <a:pt x="13514" y="10344"/>
                  </a:cubicBezTo>
                  <a:cubicBezTo>
                    <a:pt x="13514" y="12742"/>
                    <a:pt x="440" y="25386"/>
                    <a:pt x="-2175" y="25386"/>
                  </a:cubicBezTo>
                  <a:cubicBezTo>
                    <a:pt x="-3047" y="25386"/>
                    <a:pt x="-4136" y="24514"/>
                    <a:pt x="-4790" y="23424"/>
                  </a:cubicBezTo>
                  <a:close/>
                </a:path>
              </a:pathLst>
            </a:custGeom>
            <a:grpFill/>
            <a:ln w="218" cap="flat">
              <a:noFill/>
              <a:prstDash val="solid"/>
              <a:miter/>
            </a:ln>
          </p:spPr>
          <p:txBody>
            <a:bodyPr rtlCol="0" anchor="ctr"/>
            <a:lstStyle/>
            <a:p>
              <a:endParaRPr lang="en-GB" dirty="0"/>
            </a:p>
          </p:txBody>
        </p:sp>
        <p:sp>
          <p:nvSpPr>
            <p:cNvPr id="43" name="Freihandform: Form 42">
              <a:extLst>
                <a:ext uri="{FF2B5EF4-FFF2-40B4-BE49-F238E27FC236}">
                  <a16:creationId xmlns:a16="http://schemas.microsoft.com/office/drawing/2014/main" xmlns="" id="{6A86E3BB-A86F-42C6-9F20-0309A6B23E0F}"/>
                </a:ext>
              </a:extLst>
            </p:cNvPr>
            <p:cNvSpPr/>
            <p:nvPr/>
          </p:nvSpPr>
          <p:spPr>
            <a:xfrm flipV="1">
              <a:off x="5165496" y="5204568"/>
              <a:ext cx="4849" cy="4851"/>
            </a:xfrm>
            <a:custGeom>
              <a:avLst/>
              <a:gdLst>
                <a:gd name="connsiteX0" fmla="*/ -4950 w 4849"/>
                <a:gd name="connsiteY0" fmla="*/ 3260 h 4851"/>
                <a:gd name="connsiteX1" fmla="*/ -4296 w 4849"/>
                <a:gd name="connsiteY1" fmla="*/ -11 h 4851"/>
                <a:gd name="connsiteX2" fmla="*/ -1027 w 4849"/>
                <a:gd name="connsiteY2" fmla="*/ 643 h 4851"/>
                <a:gd name="connsiteX3" fmla="*/ -1681 w 4849"/>
                <a:gd name="connsiteY3" fmla="*/ 3914 h 4851"/>
                <a:gd name="connsiteX4" fmla="*/ -4950 w 4849"/>
                <a:gd name="connsiteY4" fmla="*/ 3260 h 4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9" h="4851">
                  <a:moveTo>
                    <a:pt x="-4950" y="3260"/>
                  </a:moveTo>
                  <a:cubicBezTo>
                    <a:pt x="-5821" y="2169"/>
                    <a:pt x="-5386" y="643"/>
                    <a:pt x="-4296" y="-11"/>
                  </a:cubicBezTo>
                  <a:cubicBezTo>
                    <a:pt x="-3207" y="-883"/>
                    <a:pt x="-1681" y="-447"/>
                    <a:pt x="-1027" y="643"/>
                  </a:cubicBezTo>
                  <a:cubicBezTo>
                    <a:pt x="-156" y="1733"/>
                    <a:pt x="-592" y="3260"/>
                    <a:pt x="-1681" y="3914"/>
                  </a:cubicBezTo>
                  <a:cubicBezTo>
                    <a:pt x="-2771" y="4786"/>
                    <a:pt x="-4296" y="4350"/>
                    <a:pt x="-4950" y="3260"/>
                  </a:cubicBezTo>
                  <a:close/>
                </a:path>
              </a:pathLst>
            </a:custGeom>
            <a:grpFill/>
            <a:ln w="218" cap="flat">
              <a:noFill/>
              <a:prstDash val="solid"/>
              <a:miter/>
            </a:ln>
          </p:spPr>
          <p:txBody>
            <a:bodyPr rtlCol="0" anchor="ctr"/>
            <a:lstStyle/>
            <a:p>
              <a:endParaRPr lang="en-GB" dirty="0"/>
            </a:p>
          </p:txBody>
        </p:sp>
        <p:sp>
          <p:nvSpPr>
            <p:cNvPr id="45" name="Freihandform: Form 44">
              <a:extLst>
                <a:ext uri="{FF2B5EF4-FFF2-40B4-BE49-F238E27FC236}">
                  <a16:creationId xmlns:a16="http://schemas.microsoft.com/office/drawing/2014/main" xmlns="" id="{FD81B283-4448-4155-BDBF-614AA5533815}"/>
                </a:ext>
              </a:extLst>
            </p:cNvPr>
            <p:cNvSpPr/>
            <p:nvPr/>
          </p:nvSpPr>
          <p:spPr>
            <a:xfrm flipV="1">
              <a:off x="5264889" y="5204982"/>
              <a:ext cx="30232" cy="16155"/>
            </a:xfrm>
            <a:custGeom>
              <a:avLst/>
              <a:gdLst>
                <a:gd name="connsiteX0" fmla="*/ -2172 w 30232"/>
                <a:gd name="connsiteY0" fmla="*/ 14572 h 16155"/>
                <a:gd name="connsiteX1" fmla="*/ -5876 w 30232"/>
                <a:gd name="connsiteY1" fmla="*/ 8032 h 16155"/>
                <a:gd name="connsiteX2" fmla="*/ 5237 w 30232"/>
                <a:gd name="connsiteY2" fmla="*/ 4108 h 16155"/>
                <a:gd name="connsiteX3" fmla="*/ 18311 w 30232"/>
                <a:gd name="connsiteY3" fmla="*/ 1492 h 16155"/>
                <a:gd name="connsiteX4" fmla="*/ 22452 w 30232"/>
                <a:gd name="connsiteY4" fmla="*/ 1710 h 16155"/>
                <a:gd name="connsiteX5" fmla="*/ 19837 w 30232"/>
                <a:gd name="connsiteY5" fmla="*/ 11302 h 16155"/>
                <a:gd name="connsiteX6" fmla="*/ -2172 w 30232"/>
                <a:gd name="connsiteY6" fmla="*/ 14572 h 16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32" h="16155">
                  <a:moveTo>
                    <a:pt x="-2172" y="14572"/>
                  </a:moveTo>
                  <a:cubicBezTo>
                    <a:pt x="-4133" y="13264"/>
                    <a:pt x="-5876" y="10430"/>
                    <a:pt x="-5876" y="8032"/>
                  </a:cubicBezTo>
                  <a:cubicBezTo>
                    <a:pt x="-5876" y="4108"/>
                    <a:pt x="-4569" y="3672"/>
                    <a:pt x="5237" y="4108"/>
                  </a:cubicBezTo>
                  <a:cubicBezTo>
                    <a:pt x="12864" y="4544"/>
                    <a:pt x="16786" y="3890"/>
                    <a:pt x="18311" y="1492"/>
                  </a:cubicBezTo>
                  <a:cubicBezTo>
                    <a:pt x="20055" y="-1124"/>
                    <a:pt x="20490" y="-1124"/>
                    <a:pt x="22452" y="1710"/>
                  </a:cubicBezTo>
                  <a:cubicBezTo>
                    <a:pt x="25502" y="6506"/>
                    <a:pt x="25066" y="7814"/>
                    <a:pt x="19837" y="11302"/>
                  </a:cubicBezTo>
                  <a:cubicBezTo>
                    <a:pt x="12864" y="15444"/>
                    <a:pt x="2404" y="16970"/>
                    <a:pt x="-2172" y="14572"/>
                  </a:cubicBezTo>
                  <a:close/>
                </a:path>
              </a:pathLst>
            </a:custGeom>
            <a:grpFill/>
            <a:ln w="218" cap="flat">
              <a:noFill/>
              <a:prstDash val="solid"/>
              <a:miter/>
            </a:ln>
          </p:spPr>
          <p:txBody>
            <a:bodyPr rtlCol="0" anchor="ctr"/>
            <a:lstStyle/>
            <a:p>
              <a:endParaRPr lang="en-GB" dirty="0"/>
            </a:p>
          </p:txBody>
        </p:sp>
        <p:sp>
          <p:nvSpPr>
            <p:cNvPr id="51" name="Freihandform: Form 50">
              <a:extLst>
                <a:ext uri="{FF2B5EF4-FFF2-40B4-BE49-F238E27FC236}">
                  <a16:creationId xmlns:a16="http://schemas.microsoft.com/office/drawing/2014/main" xmlns="" id="{1B00925E-5340-4425-BD18-00924AFB0521}"/>
                </a:ext>
              </a:extLst>
            </p:cNvPr>
            <p:cNvSpPr/>
            <p:nvPr/>
          </p:nvSpPr>
          <p:spPr>
            <a:xfrm flipV="1">
              <a:off x="4540396" y="5205904"/>
              <a:ext cx="6440" cy="8720"/>
            </a:xfrm>
            <a:custGeom>
              <a:avLst/>
              <a:gdLst>
                <a:gd name="connsiteX0" fmla="*/ -1358 w 6440"/>
                <a:gd name="connsiteY0" fmla="*/ 3902 h 8720"/>
                <a:gd name="connsiteX1" fmla="*/ -2230 w 6440"/>
                <a:gd name="connsiteY1" fmla="*/ -458 h 8720"/>
                <a:gd name="connsiteX2" fmla="*/ 2128 w 6440"/>
                <a:gd name="connsiteY2" fmla="*/ 3902 h 8720"/>
                <a:gd name="connsiteX3" fmla="*/ 3000 w 6440"/>
                <a:gd name="connsiteY3" fmla="*/ 8262 h 8720"/>
                <a:gd name="connsiteX4" fmla="*/ -1358 w 6440"/>
                <a:gd name="connsiteY4" fmla="*/ 3902 h 8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40" h="8720">
                  <a:moveTo>
                    <a:pt x="-1358" y="3902"/>
                  </a:moveTo>
                  <a:cubicBezTo>
                    <a:pt x="-2883" y="1504"/>
                    <a:pt x="-3319" y="-458"/>
                    <a:pt x="-2230" y="-458"/>
                  </a:cubicBezTo>
                  <a:cubicBezTo>
                    <a:pt x="-1358" y="-458"/>
                    <a:pt x="603" y="1504"/>
                    <a:pt x="2128" y="3902"/>
                  </a:cubicBezTo>
                  <a:cubicBezTo>
                    <a:pt x="3654" y="6300"/>
                    <a:pt x="4090" y="8262"/>
                    <a:pt x="3000" y="8262"/>
                  </a:cubicBezTo>
                  <a:cubicBezTo>
                    <a:pt x="2128" y="8262"/>
                    <a:pt x="167" y="6300"/>
                    <a:pt x="-1358" y="3902"/>
                  </a:cubicBezTo>
                  <a:close/>
                </a:path>
              </a:pathLst>
            </a:custGeom>
            <a:grpFill/>
            <a:ln w="218" cap="flat">
              <a:noFill/>
              <a:prstDash val="solid"/>
              <a:miter/>
            </a:ln>
          </p:spPr>
          <p:txBody>
            <a:bodyPr rtlCol="0" anchor="ctr"/>
            <a:lstStyle/>
            <a:p>
              <a:endParaRPr lang="en-GB" dirty="0"/>
            </a:p>
          </p:txBody>
        </p:sp>
        <p:sp>
          <p:nvSpPr>
            <p:cNvPr id="52" name="Freihandform: Form 51">
              <a:extLst>
                <a:ext uri="{FF2B5EF4-FFF2-40B4-BE49-F238E27FC236}">
                  <a16:creationId xmlns:a16="http://schemas.microsoft.com/office/drawing/2014/main" xmlns="" id="{EE0FE7AE-F775-47BA-9229-CB5DDBDC9B88}"/>
                </a:ext>
              </a:extLst>
            </p:cNvPr>
            <p:cNvSpPr/>
            <p:nvPr/>
          </p:nvSpPr>
          <p:spPr>
            <a:xfrm flipV="1">
              <a:off x="4590203" y="5206256"/>
              <a:ext cx="33737" cy="36157"/>
            </a:xfrm>
            <a:custGeom>
              <a:avLst/>
              <a:gdLst>
                <a:gd name="connsiteX0" fmla="*/ 3921 w 33737"/>
                <a:gd name="connsiteY0" fmla="*/ 28275 h 36157"/>
                <a:gd name="connsiteX1" fmla="*/ -2398 w 33737"/>
                <a:gd name="connsiteY1" fmla="*/ 16720 h 36157"/>
                <a:gd name="connsiteX2" fmla="*/ 4357 w 33737"/>
                <a:gd name="connsiteY2" fmla="*/ 13668 h 36157"/>
                <a:gd name="connsiteX3" fmla="*/ 9587 w 33737"/>
                <a:gd name="connsiteY3" fmla="*/ 7128 h 36157"/>
                <a:gd name="connsiteX4" fmla="*/ 18303 w 33737"/>
                <a:gd name="connsiteY4" fmla="*/ -284 h 36157"/>
                <a:gd name="connsiteX5" fmla="*/ 27891 w 33737"/>
                <a:gd name="connsiteY5" fmla="*/ 3858 h 36157"/>
                <a:gd name="connsiteX6" fmla="*/ 23097 w 33737"/>
                <a:gd name="connsiteY6" fmla="*/ 13450 h 36157"/>
                <a:gd name="connsiteX7" fmla="*/ 14163 w 33737"/>
                <a:gd name="connsiteY7" fmla="*/ 18682 h 36157"/>
                <a:gd name="connsiteX8" fmla="*/ 11330 w 33737"/>
                <a:gd name="connsiteY8" fmla="*/ 23043 h 36157"/>
                <a:gd name="connsiteX9" fmla="*/ 21354 w 33737"/>
                <a:gd name="connsiteY9" fmla="*/ 27403 h 36157"/>
                <a:gd name="connsiteX10" fmla="*/ 30506 w 33737"/>
                <a:gd name="connsiteY10" fmla="*/ 31327 h 36157"/>
                <a:gd name="connsiteX11" fmla="*/ 21136 w 33737"/>
                <a:gd name="connsiteY11" fmla="*/ 35687 h 36157"/>
                <a:gd name="connsiteX12" fmla="*/ 3921 w 33737"/>
                <a:gd name="connsiteY12" fmla="*/ 28275 h 3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37" h="36157">
                  <a:moveTo>
                    <a:pt x="3921" y="28275"/>
                  </a:moveTo>
                  <a:cubicBezTo>
                    <a:pt x="-2834" y="21735"/>
                    <a:pt x="-4141" y="19554"/>
                    <a:pt x="-2398" y="16720"/>
                  </a:cubicBezTo>
                  <a:cubicBezTo>
                    <a:pt x="-1091" y="14758"/>
                    <a:pt x="1960" y="13450"/>
                    <a:pt x="4357" y="13668"/>
                  </a:cubicBezTo>
                  <a:cubicBezTo>
                    <a:pt x="8061" y="14104"/>
                    <a:pt x="8933" y="12796"/>
                    <a:pt x="9587" y="7128"/>
                  </a:cubicBezTo>
                  <a:cubicBezTo>
                    <a:pt x="10240" y="806"/>
                    <a:pt x="10894" y="152"/>
                    <a:pt x="18303" y="-284"/>
                  </a:cubicBezTo>
                  <a:cubicBezTo>
                    <a:pt x="24840" y="-720"/>
                    <a:pt x="26584" y="152"/>
                    <a:pt x="27891" y="3858"/>
                  </a:cubicBezTo>
                  <a:cubicBezTo>
                    <a:pt x="28763" y="7128"/>
                    <a:pt x="27673" y="9526"/>
                    <a:pt x="23097" y="13450"/>
                  </a:cubicBezTo>
                  <a:cubicBezTo>
                    <a:pt x="19610" y="16284"/>
                    <a:pt x="15470" y="18464"/>
                    <a:pt x="14163" y="18682"/>
                  </a:cubicBezTo>
                  <a:cubicBezTo>
                    <a:pt x="12637" y="18682"/>
                    <a:pt x="11330" y="20645"/>
                    <a:pt x="11330" y="23043"/>
                  </a:cubicBezTo>
                  <a:cubicBezTo>
                    <a:pt x="11330" y="26749"/>
                    <a:pt x="12855" y="27403"/>
                    <a:pt x="21354" y="27403"/>
                  </a:cubicBezTo>
                  <a:cubicBezTo>
                    <a:pt x="29634" y="27403"/>
                    <a:pt x="31160" y="28057"/>
                    <a:pt x="30506" y="31327"/>
                  </a:cubicBezTo>
                  <a:cubicBezTo>
                    <a:pt x="30070" y="33943"/>
                    <a:pt x="27455" y="35251"/>
                    <a:pt x="21136" y="35687"/>
                  </a:cubicBezTo>
                  <a:cubicBezTo>
                    <a:pt x="13727" y="36123"/>
                    <a:pt x="11112" y="35033"/>
                    <a:pt x="3921" y="28275"/>
                  </a:cubicBezTo>
                  <a:close/>
                </a:path>
              </a:pathLst>
            </a:custGeom>
            <a:grpFill/>
            <a:ln w="218" cap="flat">
              <a:noFill/>
              <a:prstDash val="solid"/>
              <a:miter/>
            </a:ln>
          </p:spPr>
          <p:txBody>
            <a:bodyPr rtlCol="0" anchor="ctr"/>
            <a:lstStyle/>
            <a:p>
              <a:endParaRPr lang="en-GB" dirty="0"/>
            </a:p>
          </p:txBody>
        </p:sp>
        <p:sp>
          <p:nvSpPr>
            <p:cNvPr id="53" name="Freihandform: Form 52">
              <a:extLst>
                <a:ext uri="{FF2B5EF4-FFF2-40B4-BE49-F238E27FC236}">
                  <a16:creationId xmlns:a16="http://schemas.microsoft.com/office/drawing/2014/main" xmlns="" id="{3B600767-2B24-484F-881A-B85249AB137C}"/>
                </a:ext>
              </a:extLst>
            </p:cNvPr>
            <p:cNvSpPr/>
            <p:nvPr/>
          </p:nvSpPr>
          <p:spPr>
            <a:xfrm flipV="1">
              <a:off x="4678718" y="5206613"/>
              <a:ext cx="4274" cy="5381"/>
            </a:xfrm>
            <a:custGeom>
              <a:avLst/>
              <a:gdLst>
                <a:gd name="connsiteX0" fmla="*/ -1876 w 4274"/>
                <a:gd name="connsiteY0" fmla="*/ 4102 h 5381"/>
                <a:gd name="connsiteX1" fmla="*/ -3402 w 4274"/>
                <a:gd name="connsiteY1" fmla="*/ 396 h 5381"/>
                <a:gd name="connsiteX2" fmla="*/ -787 w 4274"/>
                <a:gd name="connsiteY2" fmla="*/ 832 h 5381"/>
                <a:gd name="connsiteX3" fmla="*/ 738 w 4274"/>
                <a:gd name="connsiteY3" fmla="*/ 4538 h 5381"/>
                <a:gd name="connsiteX4" fmla="*/ -1876 w 4274"/>
                <a:gd name="connsiteY4" fmla="*/ 4102 h 5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4" h="5381">
                  <a:moveTo>
                    <a:pt x="-1876" y="4102"/>
                  </a:moveTo>
                  <a:cubicBezTo>
                    <a:pt x="-2748" y="3448"/>
                    <a:pt x="-3402" y="1704"/>
                    <a:pt x="-3402" y="396"/>
                  </a:cubicBezTo>
                  <a:cubicBezTo>
                    <a:pt x="-3402" y="-912"/>
                    <a:pt x="-2312" y="-694"/>
                    <a:pt x="-787" y="832"/>
                  </a:cubicBezTo>
                  <a:cubicBezTo>
                    <a:pt x="521" y="2140"/>
                    <a:pt x="1174" y="3884"/>
                    <a:pt x="738" y="4538"/>
                  </a:cubicBezTo>
                  <a:cubicBezTo>
                    <a:pt x="85" y="5192"/>
                    <a:pt x="-1223" y="4974"/>
                    <a:pt x="-1876" y="4102"/>
                  </a:cubicBezTo>
                  <a:close/>
                </a:path>
              </a:pathLst>
            </a:custGeom>
            <a:grpFill/>
            <a:ln w="218" cap="flat">
              <a:noFill/>
              <a:prstDash val="solid"/>
              <a:miter/>
            </a:ln>
          </p:spPr>
          <p:txBody>
            <a:bodyPr rtlCol="0" anchor="ctr"/>
            <a:lstStyle/>
            <a:p>
              <a:endParaRPr lang="en-GB" dirty="0"/>
            </a:p>
          </p:txBody>
        </p:sp>
        <p:sp>
          <p:nvSpPr>
            <p:cNvPr id="54" name="Freihandform: Form 53">
              <a:extLst>
                <a:ext uri="{FF2B5EF4-FFF2-40B4-BE49-F238E27FC236}">
                  <a16:creationId xmlns:a16="http://schemas.microsoft.com/office/drawing/2014/main" xmlns="" id="{11B7D67A-E0CE-4820-BC4E-BDDCA23E1129}"/>
                </a:ext>
              </a:extLst>
            </p:cNvPr>
            <p:cNvSpPr/>
            <p:nvPr/>
          </p:nvSpPr>
          <p:spPr>
            <a:xfrm flipV="1">
              <a:off x="4766552" y="5206144"/>
              <a:ext cx="18753" cy="16222"/>
            </a:xfrm>
            <a:custGeom>
              <a:avLst/>
              <a:gdLst>
                <a:gd name="connsiteX0" fmla="*/ -3158 w 18753"/>
                <a:gd name="connsiteY0" fmla="*/ 12537 h 16222"/>
                <a:gd name="connsiteX1" fmla="*/ 1200 w 18753"/>
                <a:gd name="connsiteY1" fmla="*/ 5125 h 16222"/>
                <a:gd name="connsiteX2" fmla="*/ 9699 w 18753"/>
                <a:gd name="connsiteY2" fmla="*/ 1636 h 16222"/>
                <a:gd name="connsiteX3" fmla="*/ 9263 w 18753"/>
                <a:gd name="connsiteY3" fmla="*/ 9267 h 16222"/>
                <a:gd name="connsiteX4" fmla="*/ -3158 w 18753"/>
                <a:gd name="connsiteY4" fmla="*/ 12537 h 16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53" h="16222">
                  <a:moveTo>
                    <a:pt x="-3158" y="12537"/>
                  </a:moveTo>
                  <a:cubicBezTo>
                    <a:pt x="-4901" y="8177"/>
                    <a:pt x="-2940" y="5125"/>
                    <a:pt x="1200" y="5125"/>
                  </a:cubicBezTo>
                  <a:cubicBezTo>
                    <a:pt x="2944" y="5125"/>
                    <a:pt x="6866" y="3599"/>
                    <a:pt x="9699" y="1636"/>
                  </a:cubicBezTo>
                  <a:cubicBezTo>
                    <a:pt x="16890" y="-3160"/>
                    <a:pt x="16672" y="764"/>
                    <a:pt x="9263" y="9267"/>
                  </a:cubicBezTo>
                  <a:cubicBezTo>
                    <a:pt x="2726" y="16679"/>
                    <a:pt x="-1197" y="17769"/>
                    <a:pt x="-3158" y="12537"/>
                  </a:cubicBezTo>
                  <a:close/>
                </a:path>
              </a:pathLst>
            </a:custGeom>
            <a:grpFill/>
            <a:ln w="218" cap="flat">
              <a:noFill/>
              <a:prstDash val="solid"/>
              <a:miter/>
            </a:ln>
          </p:spPr>
          <p:txBody>
            <a:bodyPr rtlCol="0" anchor="ctr"/>
            <a:lstStyle/>
            <a:p>
              <a:endParaRPr lang="en-GB" dirty="0"/>
            </a:p>
          </p:txBody>
        </p:sp>
        <p:sp>
          <p:nvSpPr>
            <p:cNvPr id="55" name="Freihandform: Form 54">
              <a:extLst>
                <a:ext uri="{FF2B5EF4-FFF2-40B4-BE49-F238E27FC236}">
                  <a16:creationId xmlns:a16="http://schemas.microsoft.com/office/drawing/2014/main" xmlns="" id="{E7792F8B-43F5-47BB-98FE-51DED565C79B}"/>
                </a:ext>
              </a:extLst>
            </p:cNvPr>
            <p:cNvSpPr/>
            <p:nvPr/>
          </p:nvSpPr>
          <p:spPr>
            <a:xfrm flipV="1">
              <a:off x="5149547" y="5205904"/>
              <a:ext cx="12337" cy="16433"/>
            </a:xfrm>
            <a:custGeom>
              <a:avLst/>
              <a:gdLst>
                <a:gd name="connsiteX0" fmla="*/ -2896 w 12337"/>
                <a:gd name="connsiteY0" fmla="*/ 13378 h 16433"/>
                <a:gd name="connsiteX1" fmla="*/ -1371 w 12337"/>
                <a:gd name="connsiteY1" fmla="*/ 2042 h 16433"/>
                <a:gd name="connsiteX2" fmla="*/ 5384 w 12337"/>
                <a:gd name="connsiteY2" fmla="*/ 1824 h 16433"/>
                <a:gd name="connsiteX3" fmla="*/ 2551 w 12337"/>
                <a:gd name="connsiteY3" fmla="*/ 15994 h 16433"/>
                <a:gd name="connsiteX4" fmla="*/ -2896 w 12337"/>
                <a:gd name="connsiteY4" fmla="*/ 13378 h 16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37" h="16433">
                  <a:moveTo>
                    <a:pt x="-2896" y="13378"/>
                  </a:moveTo>
                  <a:cubicBezTo>
                    <a:pt x="-6601" y="9672"/>
                    <a:pt x="-6165" y="6402"/>
                    <a:pt x="-1371" y="2042"/>
                  </a:cubicBezTo>
                  <a:cubicBezTo>
                    <a:pt x="2115" y="-1228"/>
                    <a:pt x="2987" y="-1228"/>
                    <a:pt x="5384" y="1824"/>
                  </a:cubicBezTo>
                  <a:cubicBezTo>
                    <a:pt x="8653" y="5748"/>
                    <a:pt x="6474" y="15994"/>
                    <a:pt x="2551" y="15994"/>
                  </a:cubicBezTo>
                  <a:cubicBezTo>
                    <a:pt x="1026" y="15994"/>
                    <a:pt x="-1371" y="14904"/>
                    <a:pt x="-2896" y="13378"/>
                  </a:cubicBezTo>
                  <a:close/>
                </a:path>
              </a:pathLst>
            </a:custGeom>
            <a:grpFill/>
            <a:ln w="218" cap="flat">
              <a:noFill/>
              <a:prstDash val="solid"/>
              <a:miter/>
            </a:ln>
          </p:spPr>
          <p:txBody>
            <a:bodyPr rtlCol="0" anchor="ctr"/>
            <a:lstStyle/>
            <a:p>
              <a:endParaRPr lang="en-GB" dirty="0"/>
            </a:p>
          </p:txBody>
        </p:sp>
        <p:sp>
          <p:nvSpPr>
            <p:cNvPr id="56" name="Freihandform: Form 55">
              <a:extLst>
                <a:ext uri="{FF2B5EF4-FFF2-40B4-BE49-F238E27FC236}">
                  <a16:creationId xmlns:a16="http://schemas.microsoft.com/office/drawing/2014/main" xmlns="" id="{7335CC64-4F1F-44C6-BF83-367C87B9B7BF}"/>
                </a:ext>
              </a:extLst>
            </p:cNvPr>
            <p:cNvSpPr/>
            <p:nvPr/>
          </p:nvSpPr>
          <p:spPr>
            <a:xfrm flipV="1">
              <a:off x="5129017" y="5210197"/>
              <a:ext cx="29005" cy="44337"/>
            </a:xfrm>
            <a:custGeom>
              <a:avLst/>
              <a:gdLst>
                <a:gd name="connsiteX0" fmla="*/ -4107 w 29005"/>
                <a:gd name="connsiteY0" fmla="*/ 41091 h 44337"/>
                <a:gd name="connsiteX1" fmla="*/ -4543 w 29005"/>
                <a:gd name="connsiteY1" fmla="*/ 35205 h 44337"/>
                <a:gd name="connsiteX2" fmla="*/ -2364 w 29005"/>
                <a:gd name="connsiteY2" fmla="*/ 27138 h 44337"/>
                <a:gd name="connsiteX3" fmla="*/ 7006 w 29005"/>
                <a:gd name="connsiteY3" fmla="*/ 21906 h 44337"/>
                <a:gd name="connsiteX4" fmla="*/ 10710 w 29005"/>
                <a:gd name="connsiteY4" fmla="*/ 20162 h 44337"/>
                <a:gd name="connsiteX5" fmla="*/ 6570 w 29005"/>
                <a:gd name="connsiteY5" fmla="*/ 17764 h 44337"/>
                <a:gd name="connsiteX6" fmla="*/ 3955 w 29005"/>
                <a:gd name="connsiteY6" fmla="*/ 11878 h 44337"/>
                <a:gd name="connsiteX7" fmla="*/ 8095 w 29005"/>
                <a:gd name="connsiteY7" fmla="*/ 4902 h 44337"/>
                <a:gd name="connsiteX8" fmla="*/ 15068 w 29005"/>
                <a:gd name="connsiteY8" fmla="*/ -113 h 44337"/>
                <a:gd name="connsiteX9" fmla="*/ 23567 w 29005"/>
                <a:gd name="connsiteY9" fmla="*/ 1632 h 44337"/>
                <a:gd name="connsiteX10" fmla="*/ 19427 w 29005"/>
                <a:gd name="connsiteY10" fmla="*/ 9480 h 44337"/>
                <a:gd name="connsiteX11" fmla="*/ 16812 w 29005"/>
                <a:gd name="connsiteY11" fmla="*/ 19944 h 44337"/>
                <a:gd name="connsiteX12" fmla="*/ 12671 w 29005"/>
                <a:gd name="connsiteY12" fmla="*/ 29536 h 44337"/>
                <a:gd name="connsiteX13" fmla="*/ 6352 w 29005"/>
                <a:gd name="connsiteY13" fmla="*/ 39565 h 44337"/>
                <a:gd name="connsiteX14" fmla="*/ -4107 w 29005"/>
                <a:gd name="connsiteY14" fmla="*/ 41091 h 44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005" h="44337">
                  <a:moveTo>
                    <a:pt x="-4107" y="41091"/>
                  </a:moveTo>
                  <a:cubicBezTo>
                    <a:pt x="-5633" y="39347"/>
                    <a:pt x="-5633" y="37167"/>
                    <a:pt x="-4543" y="35205"/>
                  </a:cubicBezTo>
                  <a:cubicBezTo>
                    <a:pt x="-3236" y="33461"/>
                    <a:pt x="-2364" y="29754"/>
                    <a:pt x="-2364" y="27138"/>
                  </a:cubicBezTo>
                  <a:cubicBezTo>
                    <a:pt x="-2364" y="22124"/>
                    <a:pt x="-621" y="21252"/>
                    <a:pt x="7006" y="21906"/>
                  </a:cubicBezTo>
                  <a:cubicBezTo>
                    <a:pt x="8967" y="22124"/>
                    <a:pt x="10710" y="21252"/>
                    <a:pt x="10710" y="20162"/>
                  </a:cubicBezTo>
                  <a:cubicBezTo>
                    <a:pt x="10710" y="18854"/>
                    <a:pt x="8749" y="17764"/>
                    <a:pt x="6570" y="17764"/>
                  </a:cubicBezTo>
                  <a:cubicBezTo>
                    <a:pt x="469" y="17764"/>
                    <a:pt x="-1493" y="13404"/>
                    <a:pt x="3955" y="11878"/>
                  </a:cubicBezTo>
                  <a:cubicBezTo>
                    <a:pt x="7442" y="11006"/>
                    <a:pt x="8531" y="9262"/>
                    <a:pt x="8095" y="4902"/>
                  </a:cubicBezTo>
                  <a:cubicBezTo>
                    <a:pt x="7442" y="-331"/>
                    <a:pt x="7878" y="-767"/>
                    <a:pt x="15068" y="-113"/>
                  </a:cubicBezTo>
                  <a:cubicBezTo>
                    <a:pt x="19209" y="323"/>
                    <a:pt x="23131" y="1195"/>
                    <a:pt x="23567" y="1632"/>
                  </a:cubicBezTo>
                  <a:cubicBezTo>
                    <a:pt x="24221" y="2068"/>
                    <a:pt x="22259" y="5556"/>
                    <a:pt x="19427" y="9480"/>
                  </a:cubicBezTo>
                  <a:cubicBezTo>
                    <a:pt x="15504" y="14712"/>
                    <a:pt x="14851" y="17110"/>
                    <a:pt x="16812" y="19944"/>
                  </a:cubicBezTo>
                  <a:cubicBezTo>
                    <a:pt x="18773" y="23214"/>
                    <a:pt x="17901" y="24958"/>
                    <a:pt x="12671" y="29536"/>
                  </a:cubicBezTo>
                  <a:cubicBezTo>
                    <a:pt x="9185" y="32589"/>
                    <a:pt x="6352" y="37167"/>
                    <a:pt x="6352" y="39565"/>
                  </a:cubicBezTo>
                  <a:cubicBezTo>
                    <a:pt x="6352" y="44579"/>
                    <a:pt x="-403" y="45669"/>
                    <a:pt x="-4107" y="41091"/>
                  </a:cubicBezTo>
                  <a:close/>
                </a:path>
              </a:pathLst>
            </a:custGeom>
            <a:grpFill/>
            <a:ln w="218" cap="flat">
              <a:noFill/>
              <a:prstDash val="solid"/>
              <a:miter/>
            </a:ln>
          </p:spPr>
          <p:txBody>
            <a:bodyPr rtlCol="0" anchor="ctr"/>
            <a:lstStyle/>
            <a:p>
              <a:endParaRPr lang="en-GB" dirty="0"/>
            </a:p>
          </p:txBody>
        </p:sp>
        <p:sp>
          <p:nvSpPr>
            <p:cNvPr id="57" name="Freihandform: Form 56">
              <a:extLst>
                <a:ext uri="{FF2B5EF4-FFF2-40B4-BE49-F238E27FC236}">
                  <a16:creationId xmlns:a16="http://schemas.microsoft.com/office/drawing/2014/main" xmlns="" id="{64D1D212-2475-428B-9EE1-DA1D7BB9A553}"/>
                </a:ext>
              </a:extLst>
            </p:cNvPr>
            <p:cNvSpPr/>
            <p:nvPr/>
          </p:nvSpPr>
          <p:spPr>
            <a:xfrm flipV="1">
              <a:off x="5206054" y="5210788"/>
              <a:ext cx="14891" cy="12555"/>
            </a:xfrm>
            <a:custGeom>
              <a:avLst/>
              <a:gdLst>
                <a:gd name="connsiteX0" fmla="*/ 1807 w 14891"/>
                <a:gd name="connsiteY0" fmla="*/ 9605 h 12555"/>
                <a:gd name="connsiteX1" fmla="*/ -2551 w 14891"/>
                <a:gd name="connsiteY1" fmla="*/ 6117 h 12555"/>
                <a:gd name="connsiteX2" fmla="*/ -5602 w 14891"/>
                <a:gd name="connsiteY2" fmla="*/ 2846 h 12555"/>
                <a:gd name="connsiteX3" fmla="*/ -3423 w 14891"/>
                <a:gd name="connsiteY3" fmla="*/ -424 h 12555"/>
                <a:gd name="connsiteX4" fmla="*/ 64 w 14891"/>
                <a:gd name="connsiteY4" fmla="*/ 2846 h 12555"/>
                <a:gd name="connsiteX5" fmla="*/ 5729 w 14891"/>
                <a:gd name="connsiteY5" fmla="*/ 6117 h 12555"/>
                <a:gd name="connsiteX6" fmla="*/ 9216 w 14891"/>
                <a:gd name="connsiteY6" fmla="*/ 8733 h 12555"/>
                <a:gd name="connsiteX7" fmla="*/ 1807 w 14891"/>
                <a:gd name="connsiteY7" fmla="*/ 9605 h 12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891" h="12555">
                  <a:moveTo>
                    <a:pt x="1807" y="9605"/>
                  </a:moveTo>
                  <a:cubicBezTo>
                    <a:pt x="1153" y="7643"/>
                    <a:pt x="-808" y="6117"/>
                    <a:pt x="-2551" y="6117"/>
                  </a:cubicBezTo>
                  <a:cubicBezTo>
                    <a:pt x="-4294" y="6117"/>
                    <a:pt x="-5602" y="4590"/>
                    <a:pt x="-5602" y="2846"/>
                  </a:cubicBezTo>
                  <a:cubicBezTo>
                    <a:pt x="-5602" y="1102"/>
                    <a:pt x="-4512" y="-424"/>
                    <a:pt x="-3423" y="-424"/>
                  </a:cubicBezTo>
                  <a:cubicBezTo>
                    <a:pt x="-2115" y="-424"/>
                    <a:pt x="-590" y="1102"/>
                    <a:pt x="64" y="2846"/>
                  </a:cubicBezTo>
                  <a:cubicBezTo>
                    <a:pt x="935" y="4590"/>
                    <a:pt x="3332" y="6117"/>
                    <a:pt x="5729" y="6117"/>
                  </a:cubicBezTo>
                  <a:cubicBezTo>
                    <a:pt x="8126" y="6117"/>
                    <a:pt x="9652" y="7207"/>
                    <a:pt x="9216" y="8733"/>
                  </a:cubicBezTo>
                  <a:cubicBezTo>
                    <a:pt x="7691" y="12875"/>
                    <a:pt x="3332" y="13311"/>
                    <a:pt x="1807" y="9605"/>
                  </a:cubicBezTo>
                  <a:close/>
                </a:path>
              </a:pathLst>
            </a:custGeom>
            <a:grpFill/>
            <a:ln w="218" cap="flat">
              <a:noFill/>
              <a:prstDash val="solid"/>
              <a:miter/>
            </a:ln>
          </p:spPr>
          <p:txBody>
            <a:bodyPr rtlCol="0" anchor="ctr"/>
            <a:lstStyle/>
            <a:p>
              <a:endParaRPr lang="en-GB" dirty="0"/>
            </a:p>
          </p:txBody>
        </p:sp>
        <p:sp>
          <p:nvSpPr>
            <p:cNvPr id="58" name="Freihandform: Form 57">
              <a:extLst>
                <a:ext uri="{FF2B5EF4-FFF2-40B4-BE49-F238E27FC236}">
                  <a16:creationId xmlns:a16="http://schemas.microsoft.com/office/drawing/2014/main" xmlns="" id="{2B12BFCB-C316-4198-AADF-881779276F27}"/>
                </a:ext>
              </a:extLst>
            </p:cNvPr>
            <p:cNvSpPr/>
            <p:nvPr/>
          </p:nvSpPr>
          <p:spPr>
            <a:xfrm flipV="1">
              <a:off x="5299754" y="5215334"/>
              <a:ext cx="4274" cy="5381"/>
            </a:xfrm>
            <a:custGeom>
              <a:avLst/>
              <a:gdLst>
                <a:gd name="connsiteX0" fmla="*/ -4441 w 4274"/>
                <a:gd name="connsiteY0" fmla="*/ 4146 h 5381"/>
                <a:gd name="connsiteX1" fmla="*/ -5967 w 4274"/>
                <a:gd name="connsiteY1" fmla="*/ 440 h 5381"/>
                <a:gd name="connsiteX2" fmla="*/ -3352 w 4274"/>
                <a:gd name="connsiteY2" fmla="*/ 876 h 5381"/>
                <a:gd name="connsiteX3" fmla="*/ -1827 w 4274"/>
                <a:gd name="connsiteY3" fmla="*/ 4582 h 5381"/>
                <a:gd name="connsiteX4" fmla="*/ -4441 w 4274"/>
                <a:gd name="connsiteY4" fmla="*/ 4146 h 5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4" h="5381">
                  <a:moveTo>
                    <a:pt x="-4441" y="4146"/>
                  </a:moveTo>
                  <a:cubicBezTo>
                    <a:pt x="-5313" y="3492"/>
                    <a:pt x="-5967" y="1748"/>
                    <a:pt x="-5967" y="440"/>
                  </a:cubicBezTo>
                  <a:cubicBezTo>
                    <a:pt x="-5967" y="-868"/>
                    <a:pt x="-4877" y="-650"/>
                    <a:pt x="-3352" y="876"/>
                  </a:cubicBezTo>
                  <a:cubicBezTo>
                    <a:pt x="-2044" y="2184"/>
                    <a:pt x="-1391" y="3928"/>
                    <a:pt x="-1827" y="4582"/>
                  </a:cubicBezTo>
                  <a:cubicBezTo>
                    <a:pt x="-2480" y="5236"/>
                    <a:pt x="-3788" y="5018"/>
                    <a:pt x="-4441" y="4146"/>
                  </a:cubicBezTo>
                  <a:close/>
                </a:path>
              </a:pathLst>
            </a:custGeom>
            <a:grpFill/>
            <a:ln w="218" cap="flat">
              <a:noFill/>
              <a:prstDash val="solid"/>
              <a:miter/>
            </a:ln>
          </p:spPr>
          <p:txBody>
            <a:bodyPr rtlCol="0" anchor="ctr"/>
            <a:lstStyle/>
            <a:p>
              <a:endParaRPr lang="en-GB" dirty="0"/>
            </a:p>
          </p:txBody>
        </p:sp>
        <p:sp>
          <p:nvSpPr>
            <p:cNvPr id="59" name="Freihandform: Form 58">
              <a:extLst>
                <a:ext uri="{FF2B5EF4-FFF2-40B4-BE49-F238E27FC236}">
                  <a16:creationId xmlns:a16="http://schemas.microsoft.com/office/drawing/2014/main" xmlns="" id="{98593BCB-60FC-4307-82A6-04D87F3F9ED5}"/>
                </a:ext>
              </a:extLst>
            </p:cNvPr>
            <p:cNvSpPr/>
            <p:nvPr/>
          </p:nvSpPr>
          <p:spPr>
            <a:xfrm flipV="1">
              <a:off x="4672393" y="5216979"/>
              <a:ext cx="10389" cy="12664"/>
            </a:xfrm>
            <a:custGeom>
              <a:avLst/>
              <a:gdLst>
                <a:gd name="connsiteX0" fmla="*/ -113 w 10389"/>
                <a:gd name="connsiteY0" fmla="*/ 7651 h 12664"/>
                <a:gd name="connsiteX1" fmla="*/ 1412 w 10389"/>
                <a:gd name="connsiteY1" fmla="*/ -198 h 12664"/>
                <a:gd name="connsiteX2" fmla="*/ 6860 w 10389"/>
                <a:gd name="connsiteY2" fmla="*/ 6561 h 12664"/>
                <a:gd name="connsiteX3" fmla="*/ -113 w 10389"/>
                <a:gd name="connsiteY3" fmla="*/ 7651 h 12664"/>
              </a:gdLst>
              <a:ahLst/>
              <a:cxnLst>
                <a:cxn ang="0">
                  <a:pos x="connsiteX0" y="connsiteY0"/>
                </a:cxn>
                <a:cxn ang="0">
                  <a:pos x="connsiteX1" y="connsiteY1"/>
                </a:cxn>
                <a:cxn ang="0">
                  <a:pos x="connsiteX2" y="connsiteY2"/>
                </a:cxn>
                <a:cxn ang="0">
                  <a:pos x="connsiteX3" y="connsiteY3"/>
                </a:cxn>
              </a:cxnLst>
              <a:rect l="l" t="t" r="r" b="b"/>
              <a:pathLst>
                <a:path w="10389" h="12664">
                  <a:moveTo>
                    <a:pt x="-113" y="7651"/>
                  </a:moveTo>
                  <a:cubicBezTo>
                    <a:pt x="-4907" y="892"/>
                    <a:pt x="-4471" y="-1070"/>
                    <a:pt x="1412" y="-198"/>
                  </a:cubicBezTo>
                  <a:cubicBezTo>
                    <a:pt x="4899" y="238"/>
                    <a:pt x="6424" y="2201"/>
                    <a:pt x="6860" y="6561"/>
                  </a:cubicBezTo>
                  <a:cubicBezTo>
                    <a:pt x="7732" y="13755"/>
                    <a:pt x="4463" y="14191"/>
                    <a:pt x="-113" y="7651"/>
                  </a:cubicBezTo>
                  <a:close/>
                </a:path>
              </a:pathLst>
            </a:custGeom>
            <a:grpFill/>
            <a:ln w="218" cap="flat">
              <a:noFill/>
              <a:prstDash val="solid"/>
              <a:miter/>
            </a:ln>
          </p:spPr>
          <p:txBody>
            <a:bodyPr rtlCol="0" anchor="ctr"/>
            <a:lstStyle/>
            <a:p>
              <a:endParaRPr lang="en-GB" dirty="0"/>
            </a:p>
          </p:txBody>
        </p:sp>
        <p:sp>
          <p:nvSpPr>
            <p:cNvPr id="60" name="Freihandform: Form 59">
              <a:extLst>
                <a:ext uri="{FF2B5EF4-FFF2-40B4-BE49-F238E27FC236}">
                  <a16:creationId xmlns:a16="http://schemas.microsoft.com/office/drawing/2014/main" xmlns="" id="{9E5A1E24-351C-417B-BCB1-A3F8F3018330}"/>
                </a:ext>
              </a:extLst>
            </p:cNvPr>
            <p:cNvSpPr/>
            <p:nvPr/>
          </p:nvSpPr>
          <p:spPr>
            <a:xfrm flipV="1">
              <a:off x="4752927" y="5216804"/>
              <a:ext cx="19491" cy="19520"/>
            </a:xfrm>
            <a:custGeom>
              <a:avLst/>
              <a:gdLst>
                <a:gd name="connsiteX0" fmla="*/ -1681 w 19491"/>
                <a:gd name="connsiteY0" fmla="*/ 16529 h 19520"/>
                <a:gd name="connsiteX1" fmla="*/ -3206 w 19491"/>
                <a:gd name="connsiteY1" fmla="*/ 8463 h 19520"/>
                <a:gd name="connsiteX2" fmla="*/ 934 w 19491"/>
                <a:gd name="connsiteY2" fmla="*/ 4538 h 19520"/>
                <a:gd name="connsiteX3" fmla="*/ 7907 w 19491"/>
                <a:gd name="connsiteY3" fmla="*/ 2794 h 19520"/>
                <a:gd name="connsiteX4" fmla="*/ 15752 w 19491"/>
                <a:gd name="connsiteY4" fmla="*/ 2358 h 19520"/>
                <a:gd name="connsiteX5" fmla="*/ -156 w 19491"/>
                <a:gd name="connsiteY5" fmla="*/ 19145 h 19520"/>
                <a:gd name="connsiteX6" fmla="*/ -1681 w 19491"/>
                <a:gd name="connsiteY6" fmla="*/ 16529 h 19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91" h="19520">
                  <a:moveTo>
                    <a:pt x="-1681" y="16529"/>
                  </a:moveTo>
                  <a:cubicBezTo>
                    <a:pt x="-1681" y="15003"/>
                    <a:pt x="-2335" y="11297"/>
                    <a:pt x="-3206" y="8463"/>
                  </a:cubicBezTo>
                  <a:cubicBezTo>
                    <a:pt x="-4296" y="3666"/>
                    <a:pt x="-4078" y="3448"/>
                    <a:pt x="934" y="4538"/>
                  </a:cubicBezTo>
                  <a:cubicBezTo>
                    <a:pt x="4856" y="5629"/>
                    <a:pt x="7035" y="4974"/>
                    <a:pt x="7907" y="2794"/>
                  </a:cubicBezTo>
                  <a:cubicBezTo>
                    <a:pt x="9432" y="-1130"/>
                    <a:pt x="15752" y="-1566"/>
                    <a:pt x="15752" y="2358"/>
                  </a:cubicBezTo>
                  <a:cubicBezTo>
                    <a:pt x="15752" y="5193"/>
                    <a:pt x="2677" y="19145"/>
                    <a:pt x="-156" y="19145"/>
                  </a:cubicBezTo>
                  <a:cubicBezTo>
                    <a:pt x="-1027" y="19145"/>
                    <a:pt x="-1681" y="17837"/>
                    <a:pt x="-1681" y="16529"/>
                  </a:cubicBezTo>
                  <a:close/>
                </a:path>
              </a:pathLst>
            </a:custGeom>
            <a:grpFill/>
            <a:ln w="218" cap="flat">
              <a:noFill/>
              <a:prstDash val="solid"/>
              <a:miter/>
            </a:ln>
          </p:spPr>
          <p:txBody>
            <a:bodyPr rtlCol="0" anchor="ctr"/>
            <a:lstStyle/>
            <a:p>
              <a:endParaRPr lang="en-GB" dirty="0"/>
            </a:p>
          </p:txBody>
        </p:sp>
        <p:sp>
          <p:nvSpPr>
            <p:cNvPr id="61" name="Freihandform: Form 60">
              <a:extLst>
                <a:ext uri="{FF2B5EF4-FFF2-40B4-BE49-F238E27FC236}">
                  <a16:creationId xmlns:a16="http://schemas.microsoft.com/office/drawing/2014/main" xmlns="" id="{1016A765-1D56-43BE-B9F1-5713DA56878B}"/>
                </a:ext>
              </a:extLst>
            </p:cNvPr>
            <p:cNvSpPr/>
            <p:nvPr/>
          </p:nvSpPr>
          <p:spPr>
            <a:xfrm flipV="1">
              <a:off x="5002298" y="5216770"/>
              <a:ext cx="9173" cy="15294"/>
            </a:xfrm>
            <a:custGeom>
              <a:avLst/>
              <a:gdLst>
                <a:gd name="connsiteX0" fmla="*/ -4518 w 9173"/>
                <a:gd name="connsiteY0" fmla="*/ 12912 h 15294"/>
                <a:gd name="connsiteX1" fmla="*/ 930 w 9173"/>
                <a:gd name="connsiteY1" fmla="*/ -387 h 15294"/>
                <a:gd name="connsiteX2" fmla="*/ 3981 w 9173"/>
                <a:gd name="connsiteY2" fmla="*/ 10732 h 15294"/>
                <a:gd name="connsiteX3" fmla="*/ -4518 w 9173"/>
                <a:gd name="connsiteY3" fmla="*/ 12912 h 15294"/>
              </a:gdLst>
              <a:ahLst/>
              <a:cxnLst>
                <a:cxn ang="0">
                  <a:pos x="connsiteX0" y="connsiteY0"/>
                </a:cxn>
                <a:cxn ang="0">
                  <a:pos x="connsiteX1" y="connsiteY1"/>
                </a:cxn>
                <a:cxn ang="0">
                  <a:pos x="connsiteX2" y="connsiteY2"/>
                </a:cxn>
                <a:cxn ang="0">
                  <a:pos x="connsiteX3" y="connsiteY3"/>
                </a:cxn>
              </a:cxnLst>
              <a:rect l="l" t="t" r="r" b="b"/>
              <a:pathLst>
                <a:path w="9173" h="15294">
                  <a:moveTo>
                    <a:pt x="-4518" y="12912"/>
                  </a:moveTo>
                  <a:cubicBezTo>
                    <a:pt x="-5825" y="10950"/>
                    <a:pt x="-1249" y="-387"/>
                    <a:pt x="930" y="-387"/>
                  </a:cubicBezTo>
                  <a:cubicBezTo>
                    <a:pt x="3545" y="-387"/>
                    <a:pt x="5288" y="6590"/>
                    <a:pt x="3981" y="10732"/>
                  </a:cubicBezTo>
                  <a:cubicBezTo>
                    <a:pt x="2455" y="15092"/>
                    <a:pt x="-2556" y="16400"/>
                    <a:pt x="-4518" y="12912"/>
                  </a:cubicBezTo>
                  <a:close/>
                </a:path>
              </a:pathLst>
            </a:custGeom>
            <a:grpFill/>
            <a:ln w="218" cap="flat">
              <a:noFill/>
              <a:prstDash val="solid"/>
              <a:miter/>
            </a:ln>
          </p:spPr>
          <p:txBody>
            <a:bodyPr rtlCol="0" anchor="ctr"/>
            <a:lstStyle/>
            <a:p>
              <a:endParaRPr lang="en-GB" dirty="0"/>
            </a:p>
          </p:txBody>
        </p:sp>
        <p:sp>
          <p:nvSpPr>
            <p:cNvPr id="62" name="Freihandform: Form 61">
              <a:extLst>
                <a:ext uri="{FF2B5EF4-FFF2-40B4-BE49-F238E27FC236}">
                  <a16:creationId xmlns:a16="http://schemas.microsoft.com/office/drawing/2014/main" xmlns="" id="{178CF280-3917-49D7-9353-482E7070C800}"/>
                </a:ext>
              </a:extLst>
            </p:cNvPr>
            <p:cNvSpPr/>
            <p:nvPr/>
          </p:nvSpPr>
          <p:spPr>
            <a:xfrm flipV="1">
              <a:off x="5171457" y="5216885"/>
              <a:ext cx="7573" cy="6275"/>
            </a:xfrm>
            <a:custGeom>
              <a:avLst/>
              <a:gdLst>
                <a:gd name="connsiteX0" fmla="*/ -4622 w 7573"/>
                <a:gd name="connsiteY0" fmla="*/ 3550 h 6275"/>
                <a:gd name="connsiteX1" fmla="*/ -264 w 7573"/>
                <a:gd name="connsiteY1" fmla="*/ 280 h 6275"/>
                <a:gd name="connsiteX2" fmla="*/ 1915 w 7573"/>
                <a:gd name="connsiteY2" fmla="*/ 3768 h 6275"/>
                <a:gd name="connsiteX3" fmla="*/ -4622 w 7573"/>
                <a:gd name="connsiteY3" fmla="*/ 3550 h 6275"/>
              </a:gdLst>
              <a:ahLst/>
              <a:cxnLst>
                <a:cxn ang="0">
                  <a:pos x="connsiteX0" y="connsiteY0"/>
                </a:cxn>
                <a:cxn ang="0">
                  <a:pos x="connsiteX1" y="connsiteY1"/>
                </a:cxn>
                <a:cxn ang="0">
                  <a:pos x="connsiteX2" y="connsiteY2"/>
                </a:cxn>
                <a:cxn ang="0">
                  <a:pos x="connsiteX3" y="connsiteY3"/>
                </a:cxn>
              </a:cxnLst>
              <a:rect l="l" t="t" r="r" b="b"/>
              <a:pathLst>
                <a:path w="7573" h="6275">
                  <a:moveTo>
                    <a:pt x="-4622" y="3550"/>
                  </a:moveTo>
                  <a:cubicBezTo>
                    <a:pt x="-6801" y="280"/>
                    <a:pt x="-4404" y="-1464"/>
                    <a:pt x="-264" y="280"/>
                  </a:cubicBezTo>
                  <a:cubicBezTo>
                    <a:pt x="1697" y="934"/>
                    <a:pt x="2569" y="2460"/>
                    <a:pt x="1915" y="3768"/>
                  </a:cubicBezTo>
                  <a:cubicBezTo>
                    <a:pt x="172" y="6602"/>
                    <a:pt x="-2879" y="6602"/>
                    <a:pt x="-4622" y="3550"/>
                  </a:cubicBezTo>
                  <a:close/>
                </a:path>
              </a:pathLst>
            </a:custGeom>
            <a:grpFill/>
            <a:ln w="218" cap="flat">
              <a:noFill/>
              <a:prstDash val="solid"/>
              <a:miter/>
            </a:ln>
          </p:spPr>
          <p:txBody>
            <a:bodyPr rtlCol="0" anchor="ctr"/>
            <a:lstStyle/>
            <a:p>
              <a:endParaRPr lang="en-GB" dirty="0"/>
            </a:p>
          </p:txBody>
        </p:sp>
        <p:sp>
          <p:nvSpPr>
            <p:cNvPr id="63" name="Freihandform: Form 62">
              <a:extLst>
                <a:ext uri="{FF2B5EF4-FFF2-40B4-BE49-F238E27FC236}">
                  <a16:creationId xmlns:a16="http://schemas.microsoft.com/office/drawing/2014/main" xmlns="" id="{E3A781AF-11A7-4E58-974A-CCA2D2E7E4E5}"/>
                </a:ext>
              </a:extLst>
            </p:cNvPr>
            <p:cNvSpPr/>
            <p:nvPr/>
          </p:nvSpPr>
          <p:spPr>
            <a:xfrm flipV="1">
              <a:off x="5055854" y="5225524"/>
              <a:ext cx="12851" cy="21855"/>
            </a:xfrm>
            <a:custGeom>
              <a:avLst/>
              <a:gdLst>
                <a:gd name="connsiteX0" fmla="*/ -1210 w 12851"/>
                <a:gd name="connsiteY0" fmla="*/ 19131 h 21855"/>
                <a:gd name="connsiteX1" fmla="*/ -1864 w 12851"/>
                <a:gd name="connsiteY1" fmla="*/ 2781 h 21855"/>
                <a:gd name="connsiteX2" fmla="*/ 4673 w 12851"/>
                <a:gd name="connsiteY2" fmla="*/ 2781 h 21855"/>
                <a:gd name="connsiteX3" fmla="*/ 5327 w 12851"/>
                <a:gd name="connsiteY3" fmla="*/ 21529 h 21855"/>
                <a:gd name="connsiteX4" fmla="*/ -1210 w 12851"/>
                <a:gd name="connsiteY4" fmla="*/ 19131 h 218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51" h="21855">
                  <a:moveTo>
                    <a:pt x="-1210" y="19131"/>
                  </a:moveTo>
                  <a:cubicBezTo>
                    <a:pt x="-6004" y="16515"/>
                    <a:pt x="-6222" y="8667"/>
                    <a:pt x="-1864" y="2781"/>
                  </a:cubicBezTo>
                  <a:cubicBezTo>
                    <a:pt x="1404" y="-1361"/>
                    <a:pt x="1404" y="-1361"/>
                    <a:pt x="4673" y="2781"/>
                  </a:cubicBezTo>
                  <a:cubicBezTo>
                    <a:pt x="8595" y="8013"/>
                    <a:pt x="9031" y="21529"/>
                    <a:pt x="5327" y="21529"/>
                  </a:cubicBezTo>
                  <a:cubicBezTo>
                    <a:pt x="3801" y="21529"/>
                    <a:pt x="751" y="20439"/>
                    <a:pt x="-1210" y="19131"/>
                  </a:cubicBezTo>
                  <a:close/>
                </a:path>
              </a:pathLst>
            </a:custGeom>
            <a:grpFill/>
            <a:ln w="218" cap="flat">
              <a:noFill/>
              <a:prstDash val="solid"/>
              <a:miter/>
            </a:ln>
          </p:spPr>
          <p:txBody>
            <a:bodyPr rtlCol="0" anchor="ctr"/>
            <a:lstStyle/>
            <a:p>
              <a:endParaRPr lang="en-GB" dirty="0"/>
            </a:p>
          </p:txBody>
        </p:sp>
        <p:sp>
          <p:nvSpPr>
            <p:cNvPr id="64" name="Freihandform: Form 63">
              <a:extLst>
                <a:ext uri="{FF2B5EF4-FFF2-40B4-BE49-F238E27FC236}">
                  <a16:creationId xmlns:a16="http://schemas.microsoft.com/office/drawing/2014/main" xmlns="" id="{3DBEAC8C-089E-4921-91A0-3D32AAEDCEE9}"/>
                </a:ext>
              </a:extLst>
            </p:cNvPr>
            <p:cNvSpPr/>
            <p:nvPr/>
          </p:nvSpPr>
          <p:spPr>
            <a:xfrm flipV="1">
              <a:off x="4683077" y="5232064"/>
              <a:ext cx="6537" cy="4360"/>
            </a:xfrm>
            <a:custGeom>
              <a:avLst/>
              <a:gdLst>
                <a:gd name="connsiteX0" fmla="*/ -3425 w 6537"/>
                <a:gd name="connsiteY0" fmla="*/ 1843 h 4360"/>
                <a:gd name="connsiteX1" fmla="*/ -156 w 6537"/>
                <a:gd name="connsiteY1" fmla="*/ -337 h 4360"/>
                <a:gd name="connsiteX2" fmla="*/ 3113 w 6537"/>
                <a:gd name="connsiteY2" fmla="*/ 1843 h 4360"/>
                <a:gd name="connsiteX3" fmla="*/ -156 w 6537"/>
                <a:gd name="connsiteY3" fmla="*/ 4023 h 4360"/>
                <a:gd name="connsiteX4" fmla="*/ -3425 w 6537"/>
                <a:gd name="connsiteY4" fmla="*/ 1843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7" h="4360">
                  <a:moveTo>
                    <a:pt x="-3425" y="1843"/>
                  </a:moveTo>
                  <a:cubicBezTo>
                    <a:pt x="-3425" y="753"/>
                    <a:pt x="-1899" y="-337"/>
                    <a:pt x="-156" y="-337"/>
                  </a:cubicBezTo>
                  <a:cubicBezTo>
                    <a:pt x="1587" y="-337"/>
                    <a:pt x="3113" y="753"/>
                    <a:pt x="3113" y="1843"/>
                  </a:cubicBezTo>
                  <a:cubicBezTo>
                    <a:pt x="3113" y="3151"/>
                    <a:pt x="1587" y="4023"/>
                    <a:pt x="-156" y="4023"/>
                  </a:cubicBezTo>
                  <a:cubicBezTo>
                    <a:pt x="-1899" y="4023"/>
                    <a:pt x="-3425" y="3151"/>
                    <a:pt x="-3425" y="1843"/>
                  </a:cubicBezTo>
                  <a:close/>
                </a:path>
              </a:pathLst>
            </a:custGeom>
            <a:grpFill/>
            <a:ln w="218" cap="flat">
              <a:noFill/>
              <a:prstDash val="solid"/>
              <a:miter/>
            </a:ln>
          </p:spPr>
          <p:txBody>
            <a:bodyPr rtlCol="0" anchor="ctr"/>
            <a:lstStyle/>
            <a:p>
              <a:endParaRPr lang="en-GB" dirty="0"/>
            </a:p>
          </p:txBody>
        </p:sp>
        <p:sp>
          <p:nvSpPr>
            <p:cNvPr id="65" name="Freihandform: Form 64">
              <a:extLst>
                <a:ext uri="{FF2B5EF4-FFF2-40B4-BE49-F238E27FC236}">
                  <a16:creationId xmlns:a16="http://schemas.microsoft.com/office/drawing/2014/main" xmlns="" id="{2B346958-7A17-462D-8CF9-9C1DEDA6B8F5}"/>
                </a:ext>
              </a:extLst>
            </p:cNvPr>
            <p:cNvSpPr/>
            <p:nvPr/>
          </p:nvSpPr>
          <p:spPr>
            <a:xfrm flipV="1">
              <a:off x="5041267" y="5238925"/>
              <a:ext cx="59020" cy="68542"/>
            </a:xfrm>
            <a:custGeom>
              <a:avLst/>
              <a:gdLst>
                <a:gd name="connsiteX0" fmla="*/ 30338 w 59020"/>
                <a:gd name="connsiteY0" fmla="*/ 61310 h 68542"/>
                <a:gd name="connsiteX1" fmla="*/ 18789 w 59020"/>
                <a:gd name="connsiteY1" fmla="*/ 53026 h 68542"/>
                <a:gd name="connsiteX2" fmla="*/ 17045 w 59020"/>
                <a:gd name="connsiteY2" fmla="*/ 42561 h 68542"/>
                <a:gd name="connsiteX3" fmla="*/ 22493 w 59020"/>
                <a:gd name="connsiteY3" fmla="*/ 28391 h 68542"/>
                <a:gd name="connsiteX4" fmla="*/ 20314 w 59020"/>
                <a:gd name="connsiteY4" fmla="*/ 19452 h 68542"/>
                <a:gd name="connsiteX5" fmla="*/ 15520 w 59020"/>
                <a:gd name="connsiteY5" fmla="*/ 13130 h 68542"/>
                <a:gd name="connsiteX6" fmla="*/ 3753 w 59020"/>
                <a:gd name="connsiteY6" fmla="*/ 21197 h 68542"/>
                <a:gd name="connsiteX7" fmla="*/ -2131 w 59020"/>
                <a:gd name="connsiteY7" fmla="*/ 17054 h 68542"/>
                <a:gd name="connsiteX8" fmla="*/ 1356 w 59020"/>
                <a:gd name="connsiteY8" fmla="*/ 10514 h 68542"/>
                <a:gd name="connsiteX9" fmla="*/ 702 w 59020"/>
                <a:gd name="connsiteY9" fmla="*/ 6372 h 68542"/>
                <a:gd name="connsiteX10" fmla="*/ 4189 w 59020"/>
                <a:gd name="connsiteY10" fmla="*/ 4192 h 68542"/>
                <a:gd name="connsiteX11" fmla="*/ 14212 w 59020"/>
                <a:gd name="connsiteY11" fmla="*/ 2012 h 68542"/>
                <a:gd name="connsiteX12" fmla="*/ 33606 w 59020"/>
                <a:gd name="connsiteY12" fmla="*/ 3756 h 68542"/>
                <a:gd name="connsiteX13" fmla="*/ 32299 w 59020"/>
                <a:gd name="connsiteY13" fmla="*/ 14438 h 68542"/>
                <a:gd name="connsiteX14" fmla="*/ 32735 w 59020"/>
                <a:gd name="connsiteY14" fmla="*/ 31661 h 68542"/>
                <a:gd name="connsiteX15" fmla="*/ 38618 w 59020"/>
                <a:gd name="connsiteY15" fmla="*/ 28391 h 68542"/>
                <a:gd name="connsiteX16" fmla="*/ 42758 w 59020"/>
                <a:gd name="connsiteY16" fmla="*/ 20106 h 68542"/>
                <a:gd name="connsiteX17" fmla="*/ 44502 w 59020"/>
                <a:gd name="connsiteY17" fmla="*/ 19670 h 68542"/>
                <a:gd name="connsiteX18" fmla="*/ 51257 w 59020"/>
                <a:gd name="connsiteY18" fmla="*/ 28609 h 68542"/>
                <a:gd name="connsiteX19" fmla="*/ 48642 w 59020"/>
                <a:gd name="connsiteY19" fmla="*/ 40381 h 68542"/>
                <a:gd name="connsiteX20" fmla="*/ 46027 w 59020"/>
                <a:gd name="connsiteY20" fmla="*/ 50192 h 68542"/>
                <a:gd name="connsiteX21" fmla="*/ 43194 w 59020"/>
                <a:gd name="connsiteY21" fmla="*/ 64362 h 68542"/>
                <a:gd name="connsiteX22" fmla="*/ 30338 w 59020"/>
                <a:gd name="connsiteY22" fmla="*/ 61310 h 68542"/>
                <a:gd name="connsiteX23" fmla="*/ 42105 w 59020"/>
                <a:gd name="connsiteY23" fmla="*/ 53244 h 68542"/>
                <a:gd name="connsiteX24" fmla="*/ 29684 w 59020"/>
                <a:gd name="connsiteY24" fmla="*/ 45613 h 68542"/>
                <a:gd name="connsiteX25" fmla="*/ 31209 w 59020"/>
                <a:gd name="connsiteY25" fmla="*/ 53244 h 68542"/>
                <a:gd name="connsiteX26" fmla="*/ 37964 w 59020"/>
                <a:gd name="connsiteY26" fmla="*/ 57168 h 68542"/>
                <a:gd name="connsiteX27" fmla="*/ 42105 w 59020"/>
                <a:gd name="connsiteY27" fmla="*/ 53244 h 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020" h="68542">
                  <a:moveTo>
                    <a:pt x="30338" y="61310"/>
                  </a:moveTo>
                  <a:cubicBezTo>
                    <a:pt x="27287" y="54988"/>
                    <a:pt x="25544" y="53680"/>
                    <a:pt x="18789" y="53026"/>
                  </a:cubicBezTo>
                  <a:cubicBezTo>
                    <a:pt x="8111" y="52154"/>
                    <a:pt x="7457" y="48447"/>
                    <a:pt x="17045" y="42561"/>
                  </a:cubicBezTo>
                  <a:cubicBezTo>
                    <a:pt x="24454" y="37983"/>
                    <a:pt x="27069" y="31225"/>
                    <a:pt x="22493" y="28391"/>
                  </a:cubicBezTo>
                  <a:cubicBezTo>
                    <a:pt x="21403" y="27737"/>
                    <a:pt x="20314" y="23595"/>
                    <a:pt x="20314" y="19452"/>
                  </a:cubicBezTo>
                  <a:cubicBezTo>
                    <a:pt x="20314" y="12476"/>
                    <a:pt x="19878" y="11822"/>
                    <a:pt x="15520" y="13130"/>
                  </a:cubicBezTo>
                  <a:cubicBezTo>
                    <a:pt x="12687" y="14002"/>
                    <a:pt x="7457" y="17708"/>
                    <a:pt x="3753" y="21197"/>
                  </a:cubicBezTo>
                  <a:cubicBezTo>
                    <a:pt x="-4310" y="28827"/>
                    <a:pt x="-8014" y="26211"/>
                    <a:pt x="-2131" y="17054"/>
                  </a:cubicBezTo>
                  <a:cubicBezTo>
                    <a:pt x="49" y="13784"/>
                    <a:pt x="1574" y="10950"/>
                    <a:pt x="1356" y="10514"/>
                  </a:cubicBezTo>
                  <a:cubicBezTo>
                    <a:pt x="920" y="10078"/>
                    <a:pt x="702" y="8334"/>
                    <a:pt x="702" y="6372"/>
                  </a:cubicBezTo>
                  <a:cubicBezTo>
                    <a:pt x="702" y="3974"/>
                    <a:pt x="1792" y="3320"/>
                    <a:pt x="4189" y="4192"/>
                  </a:cubicBezTo>
                  <a:cubicBezTo>
                    <a:pt x="5932" y="4846"/>
                    <a:pt x="10508" y="3974"/>
                    <a:pt x="14212" y="2012"/>
                  </a:cubicBezTo>
                  <a:cubicBezTo>
                    <a:pt x="20968" y="-1476"/>
                    <a:pt x="30991" y="-604"/>
                    <a:pt x="33606" y="3756"/>
                  </a:cubicBezTo>
                  <a:cubicBezTo>
                    <a:pt x="34478" y="5064"/>
                    <a:pt x="33824" y="9860"/>
                    <a:pt x="32299" y="14438"/>
                  </a:cubicBezTo>
                  <a:cubicBezTo>
                    <a:pt x="29684" y="21633"/>
                    <a:pt x="29902" y="31661"/>
                    <a:pt x="32735" y="31661"/>
                  </a:cubicBezTo>
                  <a:cubicBezTo>
                    <a:pt x="33170" y="31661"/>
                    <a:pt x="35785" y="30135"/>
                    <a:pt x="38618" y="28391"/>
                  </a:cubicBezTo>
                  <a:cubicBezTo>
                    <a:pt x="42323" y="25993"/>
                    <a:pt x="43412" y="23377"/>
                    <a:pt x="42758" y="20106"/>
                  </a:cubicBezTo>
                  <a:cubicBezTo>
                    <a:pt x="41887" y="15528"/>
                    <a:pt x="41887" y="15528"/>
                    <a:pt x="44502" y="19670"/>
                  </a:cubicBezTo>
                  <a:cubicBezTo>
                    <a:pt x="45809" y="22069"/>
                    <a:pt x="48860" y="25993"/>
                    <a:pt x="51257" y="28609"/>
                  </a:cubicBezTo>
                  <a:cubicBezTo>
                    <a:pt x="55833" y="33841"/>
                    <a:pt x="54525" y="40381"/>
                    <a:pt x="48642" y="40381"/>
                  </a:cubicBezTo>
                  <a:cubicBezTo>
                    <a:pt x="45373" y="40381"/>
                    <a:pt x="44937" y="41907"/>
                    <a:pt x="46027" y="50192"/>
                  </a:cubicBezTo>
                  <a:cubicBezTo>
                    <a:pt x="46681" y="57822"/>
                    <a:pt x="46027" y="61092"/>
                    <a:pt x="43194" y="64362"/>
                  </a:cubicBezTo>
                  <a:cubicBezTo>
                    <a:pt x="37529" y="70466"/>
                    <a:pt x="34478" y="69812"/>
                    <a:pt x="30338" y="61310"/>
                  </a:cubicBezTo>
                  <a:close/>
                  <a:moveTo>
                    <a:pt x="42105" y="53244"/>
                  </a:moveTo>
                  <a:cubicBezTo>
                    <a:pt x="42105" y="51064"/>
                    <a:pt x="30991" y="44305"/>
                    <a:pt x="29684" y="45613"/>
                  </a:cubicBezTo>
                  <a:cubicBezTo>
                    <a:pt x="29030" y="46267"/>
                    <a:pt x="29684" y="49756"/>
                    <a:pt x="31209" y="53244"/>
                  </a:cubicBezTo>
                  <a:cubicBezTo>
                    <a:pt x="33388" y="58912"/>
                    <a:pt x="34260" y="59348"/>
                    <a:pt x="37964" y="57168"/>
                  </a:cubicBezTo>
                  <a:cubicBezTo>
                    <a:pt x="40143" y="55860"/>
                    <a:pt x="42105" y="53898"/>
                    <a:pt x="42105" y="53244"/>
                  </a:cubicBezTo>
                  <a:close/>
                </a:path>
              </a:pathLst>
            </a:custGeom>
            <a:grpFill/>
            <a:ln w="218" cap="flat">
              <a:noFill/>
              <a:prstDash val="solid"/>
              <a:miter/>
            </a:ln>
          </p:spPr>
          <p:txBody>
            <a:bodyPr rtlCol="0" anchor="ctr"/>
            <a:lstStyle/>
            <a:p>
              <a:endParaRPr lang="en-GB" dirty="0"/>
            </a:p>
          </p:txBody>
        </p:sp>
        <p:sp>
          <p:nvSpPr>
            <p:cNvPr id="66" name="Freihandform: Form 65">
              <a:extLst>
                <a:ext uri="{FF2B5EF4-FFF2-40B4-BE49-F238E27FC236}">
                  <a16:creationId xmlns:a16="http://schemas.microsoft.com/office/drawing/2014/main" xmlns="" id="{3BE8537E-F770-4F2B-A116-514C09E72A9C}"/>
                </a:ext>
              </a:extLst>
            </p:cNvPr>
            <p:cNvSpPr/>
            <p:nvPr/>
          </p:nvSpPr>
          <p:spPr>
            <a:xfrm flipV="1">
              <a:off x="4800857" y="5247782"/>
              <a:ext cx="15142" cy="20293"/>
            </a:xfrm>
            <a:custGeom>
              <a:avLst/>
              <a:gdLst>
                <a:gd name="connsiteX0" fmla="*/ 2062 w 15142"/>
                <a:gd name="connsiteY0" fmla="*/ 15519 h 20293"/>
                <a:gd name="connsiteX1" fmla="*/ 754 w 15142"/>
                <a:gd name="connsiteY1" fmla="*/ 258 h 20293"/>
                <a:gd name="connsiteX2" fmla="*/ 11214 w 15142"/>
                <a:gd name="connsiteY2" fmla="*/ 12031 h 20293"/>
                <a:gd name="connsiteX3" fmla="*/ 2062 w 15142"/>
                <a:gd name="connsiteY3" fmla="*/ 15519 h 20293"/>
              </a:gdLst>
              <a:ahLst/>
              <a:cxnLst>
                <a:cxn ang="0">
                  <a:pos x="connsiteX0" y="connsiteY0"/>
                </a:cxn>
                <a:cxn ang="0">
                  <a:pos x="connsiteX1" y="connsiteY1"/>
                </a:cxn>
                <a:cxn ang="0">
                  <a:pos x="connsiteX2" y="connsiteY2"/>
                </a:cxn>
                <a:cxn ang="0">
                  <a:pos x="connsiteX3" y="connsiteY3"/>
                </a:cxn>
              </a:cxnLst>
              <a:rect l="l" t="t" r="r" b="b"/>
              <a:pathLst>
                <a:path w="15142" h="20293">
                  <a:moveTo>
                    <a:pt x="2062" y="15519"/>
                  </a:moveTo>
                  <a:cubicBezTo>
                    <a:pt x="-5347" y="9415"/>
                    <a:pt x="-6001" y="2002"/>
                    <a:pt x="754" y="258"/>
                  </a:cubicBezTo>
                  <a:cubicBezTo>
                    <a:pt x="7728" y="-1704"/>
                    <a:pt x="11214" y="2438"/>
                    <a:pt x="11214" y="12031"/>
                  </a:cubicBezTo>
                  <a:cubicBezTo>
                    <a:pt x="11214" y="21841"/>
                    <a:pt x="10124" y="22277"/>
                    <a:pt x="2062" y="15519"/>
                  </a:cubicBezTo>
                  <a:close/>
                </a:path>
              </a:pathLst>
            </a:custGeom>
            <a:grpFill/>
            <a:ln w="218" cap="flat">
              <a:noFill/>
              <a:prstDash val="solid"/>
              <a:miter/>
            </a:ln>
          </p:spPr>
          <p:txBody>
            <a:bodyPr rtlCol="0" anchor="ctr"/>
            <a:lstStyle/>
            <a:p>
              <a:endParaRPr lang="en-GB" dirty="0"/>
            </a:p>
          </p:txBody>
        </p:sp>
        <p:sp>
          <p:nvSpPr>
            <p:cNvPr id="67" name="Freihandform: Form 66">
              <a:extLst>
                <a:ext uri="{FF2B5EF4-FFF2-40B4-BE49-F238E27FC236}">
                  <a16:creationId xmlns:a16="http://schemas.microsoft.com/office/drawing/2014/main" xmlns="" id="{2A7A9936-B621-4BB5-85B7-A2111F6CBA73}"/>
                </a:ext>
              </a:extLst>
            </p:cNvPr>
            <p:cNvSpPr/>
            <p:nvPr/>
          </p:nvSpPr>
          <p:spPr>
            <a:xfrm flipV="1">
              <a:off x="4857821" y="5260860"/>
              <a:ext cx="10123" cy="10073"/>
            </a:xfrm>
            <a:custGeom>
              <a:avLst/>
              <a:gdLst>
                <a:gd name="connsiteX0" fmla="*/ -3700 w 10123"/>
                <a:gd name="connsiteY0" fmla="*/ 7081 h 10073"/>
                <a:gd name="connsiteX1" fmla="*/ -2829 w 10123"/>
                <a:gd name="connsiteY1" fmla="*/ 1195 h 10073"/>
                <a:gd name="connsiteX2" fmla="*/ 5888 w 10123"/>
                <a:gd name="connsiteY2" fmla="*/ 5337 h 10073"/>
                <a:gd name="connsiteX3" fmla="*/ -3700 w 10123"/>
                <a:gd name="connsiteY3" fmla="*/ 7081 h 10073"/>
              </a:gdLst>
              <a:ahLst/>
              <a:cxnLst>
                <a:cxn ang="0">
                  <a:pos x="connsiteX0" y="connsiteY0"/>
                </a:cxn>
                <a:cxn ang="0">
                  <a:pos x="connsiteX1" y="connsiteY1"/>
                </a:cxn>
                <a:cxn ang="0">
                  <a:pos x="connsiteX2" y="connsiteY2"/>
                </a:cxn>
                <a:cxn ang="0">
                  <a:pos x="connsiteX3" y="connsiteY3"/>
                </a:cxn>
              </a:cxnLst>
              <a:rect l="l" t="t" r="r" b="b"/>
              <a:pathLst>
                <a:path w="10123" h="10073">
                  <a:moveTo>
                    <a:pt x="-3700" y="7081"/>
                  </a:moveTo>
                  <a:cubicBezTo>
                    <a:pt x="-4572" y="5119"/>
                    <a:pt x="-4136" y="2503"/>
                    <a:pt x="-2829" y="1195"/>
                  </a:cubicBezTo>
                  <a:cubicBezTo>
                    <a:pt x="440" y="-2075"/>
                    <a:pt x="6759" y="977"/>
                    <a:pt x="5888" y="5337"/>
                  </a:cubicBezTo>
                  <a:cubicBezTo>
                    <a:pt x="5016" y="10351"/>
                    <a:pt x="-1957" y="11659"/>
                    <a:pt x="-3700" y="7081"/>
                  </a:cubicBezTo>
                  <a:close/>
                </a:path>
              </a:pathLst>
            </a:custGeom>
            <a:grpFill/>
            <a:ln w="218" cap="flat">
              <a:noFill/>
              <a:prstDash val="solid"/>
              <a:miter/>
            </a:ln>
          </p:spPr>
          <p:txBody>
            <a:bodyPr rtlCol="0" anchor="ctr"/>
            <a:lstStyle/>
            <a:p>
              <a:endParaRPr lang="en-GB" dirty="0"/>
            </a:p>
          </p:txBody>
        </p:sp>
        <p:sp>
          <p:nvSpPr>
            <p:cNvPr id="68" name="Freihandform: Form 67">
              <a:extLst>
                <a:ext uri="{FF2B5EF4-FFF2-40B4-BE49-F238E27FC236}">
                  <a16:creationId xmlns:a16="http://schemas.microsoft.com/office/drawing/2014/main" xmlns="" id="{68B5374B-8A08-46A0-A3A5-753E507E0D06}"/>
                </a:ext>
              </a:extLst>
            </p:cNvPr>
            <p:cNvSpPr/>
            <p:nvPr/>
          </p:nvSpPr>
          <p:spPr>
            <a:xfrm flipV="1">
              <a:off x="5058313" y="5263217"/>
              <a:ext cx="174844" cy="133674"/>
            </a:xfrm>
            <a:custGeom>
              <a:avLst/>
              <a:gdLst>
                <a:gd name="connsiteX0" fmla="*/ 151136 w 174844"/>
                <a:gd name="connsiteY0" fmla="*/ 129439 h 133674"/>
                <a:gd name="connsiteX1" fmla="*/ 145688 w 174844"/>
                <a:gd name="connsiteY1" fmla="*/ 122681 h 133674"/>
                <a:gd name="connsiteX2" fmla="*/ 140676 w 174844"/>
                <a:gd name="connsiteY2" fmla="*/ 113088 h 133674"/>
                <a:gd name="connsiteX3" fmla="*/ 134793 w 174844"/>
                <a:gd name="connsiteY3" fmla="*/ 105022 h 133674"/>
                <a:gd name="connsiteX4" fmla="*/ 128909 w 174844"/>
                <a:gd name="connsiteY4" fmla="*/ 102406 h 133674"/>
                <a:gd name="connsiteX5" fmla="*/ 129999 w 174844"/>
                <a:gd name="connsiteY5" fmla="*/ 96956 h 133674"/>
                <a:gd name="connsiteX6" fmla="*/ 125640 w 174844"/>
                <a:gd name="connsiteY6" fmla="*/ 94776 h 133674"/>
                <a:gd name="connsiteX7" fmla="*/ 120193 w 174844"/>
                <a:gd name="connsiteY7" fmla="*/ 88235 h 133674"/>
                <a:gd name="connsiteX8" fmla="*/ 111476 w 174844"/>
                <a:gd name="connsiteY8" fmla="*/ 87581 h 133674"/>
                <a:gd name="connsiteX9" fmla="*/ 100581 w 174844"/>
                <a:gd name="connsiteY9" fmla="*/ 99572 h 133674"/>
                <a:gd name="connsiteX10" fmla="*/ 98838 w 174844"/>
                <a:gd name="connsiteY10" fmla="*/ 89761 h 133674"/>
                <a:gd name="connsiteX11" fmla="*/ 104068 w 174844"/>
                <a:gd name="connsiteY11" fmla="*/ 79951 h 133674"/>
                <a:gd name="connsiteX12" fmla="*/ 109515 w 174844"/>
                <a:gd name="connsiteY12" fmla="*/ 68833 h 133674"/>
                <a:gd name="connsiteX13" fmla="*/ 91865 w 174844"/>
                <a:gd name="connsiteY13" fmla="*/ 70577 h 133674"/>
                <a:gd name="connsiteX14" fmla="*/ 93390 w 174844"/>
                <a:gd name="connsiteY14" fmla="*/ 62728 h 133674"/>
                <a:gd name="connsiteX15" fmla="*/ 107772 w 174844"/>
                <a:gd name="connsiteY15" fmla="*/ 53790 h 133674"/>
                <a:gd name="connsiteX16" fmla="*/ 114091 w 174844"/>
                <a:gd name="connsiteY16" fmla="*/ 49648 h 133674"/>
                <a:gd name="connsiteX17" fmla="*/ 103632 w 174844"/>
                <a:gd name="connsiteY17" fmla="*/ 42890 h 133674"/>
                <a:gd name="connsiteX18" fmla="*/ 99709 w 174844"/>
                <a:gd name="connsiteY18" fmla="*/ 37440 h 133674"/>
                <a:gd name="connsiteX19" fmla="*/ 97966 w 174844"/>
                <a:gd name="connsiteY19" fmla="*/ 28719 h 133674"/>
                <a:gd name="connsiteX20" fmla="*/ 90122 w 174844"/>
                <a:gd name="connsiteY20" fmla="*/ 29591 h 133674"/>
                <a:gd name="connsiteX21" fmla="*/ 86853 w 174844"/>
                <a:gd name="connsiteY21" fmla="*/ 35042 h 133674"/>
                <a:gd name="connsiteX22" fmla="*/ 86635 w 174844"/>
                <a:gd name="connsiteY22" fmla="*/ 42890 h 133674"/>
                <a:gd name="connsiteX23" fmla="*/ 91211 w 174844"/>
                <a:gd name="connsiteY23" fmla="*/ 44852 h 133674"/>
                <a:gd name="connsiteX24" fmla="*/ 82059 w 174844"/>
                <a:gd name="connsiteY24" fmla="*/ 61420 h 133674"/>
                <a:gd name="connsiteX25" fmla="*/ 82495 w 174844"/>
                <a:gd name="connsiteY25" fmla="*/ 77771 h 133674"/>
                <a:gd name="connsiteX26" fmla="*/ 87943 w 174844"/>
                <a:gd name="connsiteY26" fmla="*/ 81259 h 133674"/>
                <a:gd name="connsiteX27" fmla="*/ 72471 w 174844"/>
                <a:gd name="connsiteY27" fmla="*/ 92377 h 133674"/>
                <a:gd name="connsiteX28" fmla="*/ 67241 w 174844"/>
                <a:gd name="connsiteY28" fmla="*/ 108728 h 133674"/>
                <a:gd name="connsiteX29" fmla="*/ 58525 w 174844"/>
                <a:gd name="connsiteY29" fmla="*/ 120500 h 133674"/>
                <a:gd name="connsiteX30" fmla="*/ 54603 w 174844"/>
                <a:gd name="connsiteY30" fmla="*/ 113960 h 133674"/>
                <a:gd name="connsiteX31" fmla="*/ 50245 w 174844"/>
                <a:gd name="connsiteY31" fmla="*/ 114396 h 133674"/>
                <a:gd name="connsiteX32" fmla="*/ 44143 w 174844"/>
                <a:gd name="connsiteY32" fmla="*/ 111998 h 133674"/>
                <a:gd name="connsiteX33" fmla="*/ 40657 w 174844"/>
                <a:gd name="connsiteY33" fmla="*/ 103932 h 133674"/>
                <a:gd name="connsiteX34" fmla="*/ 30633 w 174844"/>
                <a:gd name="connsiteY34" fmla="*/ 100880 h 133674"/>
                <a:gd name="connsiteX35" fmla="*/ 30415 w 174844"/>
                <a:gd name="connsiteY35" fmla="*/ 94994 h 133674"/>
                <a:gd name="connsiteX36" fmla="*/ 38042 w 174844"/>
                <a:gd name="connsiteY36" fmla="*/ 94776 h 133674"/>
                <a:gd name="connsiteX37" fmla="*/ 41746 w 174844"/>
                <a:gd name="connsiteY37" fmla="*/ 93250 h 133674"/>
                <a:gd name="connsiteX38" fmla="*/ 43054 w 174844"/>
                <a:gd name="connsiteY38" fmla="*/ 84529 h 133674"/>
                <a:gd name="connsiteX39" fmla="*/ 51770 w 174844"/>
                <a:gd name="connsiteY39" fmla="*/ 79515 h 133674"/>
                <a:gd name="connsiteX40" fmla="*/ 55692 w 174844"/>
                <a:gd name="connsiteY40" fmla="*/ 75809 h 133674"/>
                <a:gd name="connsiteX41" fmla="*/ 59615 w 174844"/>
                <a:gd name="connsiteY41" fmla="*/ 64691 h 133674"/>
                <a:gd name="connsiteX42" fmla="*/ 62883 w 174844"/>
                <a:gd name="connsiteY42" fmla="*/ 69705 h 133674"/>
                <a:gd name="connsiteX43" fmla="*/ 64408 w 174844"/>
                <a:gd name="connsiteY43" fmla="*/ 74501 h 133674"/>
                <a:gd name="connsiteX44" fmla="*/ 66152 w 174844"/>
                <a:gd name="connsiteY44" fmla="*/ 69051 h 133674"/>
                <a:gd name="connsiteX45" fmla="*/ 63319 w 174844"/>
                <a:gd name="connsiteY45" fmla="*/ 55970 h 133674"/>
                <a:gd name="connsiteX46" fmla="*/ 55910 w 174844"/>
                <a:gd name="connsiteY46" fmla="*/ 53572 h 133674"/>
                <a:gd name="connsiteX47" fmla="*/ 45451 w 174844"/>
                <a:gd name="connsiteY47" fmla="*/ 62946 h 133674"/>
                <a:gd name="connsiteX48" fmla="*/ 35209 w 174844"/>
                <a:gd name="connsiteY48" fmla="*/ 72975 h 133674"/>
                <a:gd name="connsiteX49" fmla="*/ 31287 w 174844"/>
                <a:gd name="connsiteY49" fmla="*/ 66653 h 133674"/>
                <a:gd name="connsiteX50" fmla="*/ 22134 w 174844"/>
                <a:gd name="connsiteY50" fmla="*/ 61638 h 133674"/>
                <a:gd name="connsiteX51" fmla="*/ 23006 w 174844"/>
                <a:gd name="connsiteY51" fmla="*/ 55534 h 133674"/>
                <a:gd name="connsiteX52" fmla="*/ 8842 w 174844"/>
                <a:gd name="connsiteY52" fmla="*/ 56406 h 133674"/>
                <a:gd name="connsiteX53" fmla="*/ -5322 w 174844"/>
                <a:gd name="connsiteY53" fmla="*/ 57278 h 133674"/>
                <a:gd name="connsiteX54" fmla="*/ -4886 w 174844"/>
                <a:gd name="connsiteY54" fmla="*/ 48994 h 133674"/>
                <a:gd name="connsiteX55" fmla="*/ 6009 w 174844"/>
                <a:gd name="connsiteY55" fmla="*/ 43980 h 133674"/>
                <a:gd name="connsiteX56" fmla="*/ 13854 w 174844"/>
                <a:gd name="connsiteY56" fmla="*/ 43980 h 133674"/>
                <a:gd name="connsiteX57" fmla="*/ 9278 w 174844"/>
                <a:gd name="connsiteY57" fmla="*/ 36132 h 133674"/>
                <a:gd name="connsiteX58" fmla="*/ 6227 w 174844"/>
                <a:gd name="connsiteY58" fmla="*/ 26103 h 133674"/>
                <a:gd name="connsiteX59" fmla="*/ 4920 w 174844"/>
                <a:gd name="connsiteY59" fmla="*/ 17601 h 133674"/>
                <a:gd name="connsiteX60" fmla="*/ 11239 w 174844"/>
                <a:gd name="connsiteY60" fmla="*/ 13459 h 133674"/>
                <a:gd name="connsiteX61" fmla="*/ 13418 w 174844"/>
                <a:gd name="connsiteY61" fmla="*/ 22179 h 133674"/>
                <a:gd name="connsiteX62" fmla="*/ 16469 w 174844"/>
                <a:gd name="connsiteY62" fmla="*/ 28065 h 133674"/>
                <a:gd name="connsiteX63" fmla="*/ 25839 w 174844"/>
                <a:gd name="connsiteY63" fmla="*/ 40710 h 133674"/>
                <a:gd name="connsiteX64" fmla="*/ 29107 w 174844"/>
                <a:gd name="connsiteY64" fmla="*/ 54880 h 133674"/>
                <a:gd name="connsiteX65" fmla="*/ 31504 w 174844"/>
                <a:gd name="connsiteY65" fmla="*/ 61202 h 133674"/>
                <a:gd name="connsiteX66" fmla="*/ 35645 w 174844"/>
                <a:gd name="connsiteY66" fmla="*/ 54662 h 133674"/>
                <a:gd name="connsiteX67" fmla="*/ 40003 w 174844"/>
                <a:gd name="connsiteY67" fmla="*/ 45288 h 133674"/>
                <a:gd name="connsiteX68" fmla="*/ 45233 w 174844"/>
                <a:gd name="connsiteY68" fmla="*/ 43762 h 133674"/>
                <a:gd name="connsiteX69" fmla="*/ 57435 w 174844"/>
                <a:gd name="connsiteY69" fmla="*/ 33733 h 133674"/>
                <a:gd name="connsiteX70" fmla="*/ 60268 w 174844"/>
                <a:gd name="connsiteY70" fmla="*/ 26103 h 133674"/>
                <a:gd name="connsiteX71" fmla="*/ 62229 w 174844"/>
                <a:gd name="connsiteY71" fmla="*/ 32861 h 133674"/>
                <a:gd name="connsiteX72" fmla="*/ 76611 w 174844"/>
                <a:gd name="connsiteY72" fmla="*/ 50738 h 133674"/>
                <a:gd name="connsiteX73" fmla="*/ 78572 w 174844"/>
                <a:gd name="connsiteY73" fmla="*/ 40056 h 133674"/>
                <a:gd name="connsiteX74" fmla="*/ 73343 w 174844"/>
                <a:gd name="connsiteY74" fmla="*/ 30899 h 133674"/>
                <a:gd name="connsiteX75" fmla="*/ 67023 w 174844"/>
                <a:gd name="connsiteY75" fmla="*/ 20217 h 133674"/>
                <a:gd name="connsiteX76" fmla="*/ 75958 w 174844"/>
                <a:gd name="connsiteY76" fmla="*/ 16729 h 133674"/>
                <a:gd name="connsiteX77" fmla="*/ 84456 w 174844"/>
                <a:gd name="connsiteY77" fmla="*/ 18909 h 133674"/>
                <a:gd name="connsiteX78" fmla="*/ 96223 w 174844"/>
                <a:gd name="connsiteY78" fmla="*/ 8881 h 133674"/>
                <a:gd name="connsiteX79" fmla="*/ 108426 w 174844"/>
                <a:gd name="connsiteY79" fmla="*/ 4520 h 133674"/>
                <a:gd name="connsiteX80" fmla="*/ 106029 w 174844"/>
                <a:gd name="connsiteY80" fmla="*/ 12369 h 133674"/>
                <a:gd name="connsiteX81" fmla="*/ 101017 w 174844"/>
                <a:gd name="connsiteY81" fmla="*/ 20217 h 133674"/>
                <a:gd name="connsiteX82" fmla="*/ 103632 w 174844"/>
                <a:gd name="connsiteY82" fmla="*/ 21525 h 133674"/>
                <a:gd name="connsiteX83" fmla="*/ 114091 w 174844"/>
                <a:gd name="connsiteY83" fmla="*/ 21743 h 133674"/>
                <a:gd name="connsiteX84" fmla="*/ 109733 w 174844"/>
                <a:gd name="connsiteY84" fmla="*/ 28719 h 133674"/>
                <a:gd name="connsiteX85" fmla="*/ 112566 w 174844"/>
                <a:gd name="connsiteY85" fmla="*/ 36786 h 133674"/>
                <a:gd name="connsiteX86" fmla="*/ 120193 w 174844"/>
                <a:gd name="connsiteY86" fmla="*/ 42454 h 133674"/>
                <a:gd name="connsiteX87" fmla="*/ 130217 w 174844"/>
                <a:gd name="connsiteY87" fmla="*/ 43980 h 133674"/>
                <a:gd name="connsiteX88" fmla="*/ 142419 w 174844"/>
                <a:gd name="connsiteY88" fmla="*/ 45942 h 133674"/>
                <a:gd name="connsiteX89" fmla="*/ 134793 w 174844"/>
                <a:gd name="connsiteY89" fmla="*/ 51392 h 133674"/>
                <a:gd name="connsiteX90" fmla="*/ 127166 w 174844"/>
                <a:gd name="connsiteY90" fmla="*/ 56188 h 133674"/>
                <a:gd name="connsiteX91" fmla="*/ 122808 w 174844"/>
                <a:gd name="connsiteY91" fmla="*/ 57060 h 133674"/>
                <a:gd name="connsiteX92" fmla="*/ 118450 w 174844"/>
                <a:gd name="connsiteY92" fmla="*/ 59022 h 133674"/>
                <a:gd name="connsiteX93" fmla="*/ 120847 w 174844"/>
                <a:gd name="connsiteY93" fmla="*/ 62510 h 133674"/>
                <a:gd name="connsiteX94" fmla="*/ 120629 w 174844"/>
                <a:gd name="connsiteY94" fmla="*/ 65781 h 133674"/>
                <a:gd name="connsiteX95" fmla="*/ 123679 w 174844"/>
                <a:gd name="connsiteY95" fmla="*/ 75591 h 133674"/>
                <a:gd name="connsiteX96" fmla="*/ 134575 w 174844"/>
                <a:gd name="connsiteY96" fmla="*/ 84529 h 133674"/>
                <a:gd name="connsiteX97" fmla="*/ 156801 w 174844"/>
                <a:gd name="connsiteY97" fmla="*/ 99572 h 133674"/>
                <a:gd name="connsiteX98" fmla="*/ 157237 w 174844"/>
                <a:gd name="connsiteY98" fmla="*/ 103278 h 133674"/>
                <a:gd name="connsiteX99" fmla="*/ 150918 w 174844"/>
                <a:gd name="connsiteY99" fmla="*/ 105458 h 133674"/>
                <a:gd name="connsiteX100" fmla="*/ 154404 w 174844"/>
                <a:gd name="connsiteY100" fmla="*/ 117012 h 133674"/>
                <a:gd name="connsiteX101" fmla="*/ 164210 w 174844"/>
                <a:gd name="connsiteY101" fmla="*/ 106112 h 133674"/>
                <a:gd name="connsiteX102" fmla="*/ 167697 w 174844"/>
                <a:gd name="connsiteY102" fmla="*/ 106112 h 133674"/>
                <a:gd name="connsiteX103" fmla="*/ 165300 w 174844"/>
                <a:gd name="connsiteY103" fmla="*/ 114396 h 133674"/>
                <a:gd name="connsiteX104" fmla="*/ 161813 w 174844"/>
                <a:gd name="connsiteY104" fmla="*/ 122027 h 133674"/>
                <a:gd name="connsiteX105" fmla="*/ 160506 w 174844"/>
                <a:gd name="connsiteY105" fmla="*/ 130965 h 133674"/>
                <a:gd name="connsiteX106" fmla="*/ 153968 w 174844"/>
                <a:gd name="connsiteY106" fmla="*/ 133581 h 133674"/>
                <a:gd name="connsiteX107" fmla="*/ 151136 w 174844"/>
                <a:gd name="connsiteY107" fmla="*/ 129439 h 133674"/>
                <a:gd name="connsiteX108" fmla="*/ 58525 w 174844"/>
                <a:gd name="connsiteY108" fmla="*/ 101534 h 133674"/>
                <a:gd name="connsiteX109" fmla="*/ 61140 w 174844"/>
                <a:gd name="connsiteY109" fmla="*/ 92813 h 133674"/>
                <a:gd name="connsiteX110" fmla="*/ 54603 w 174844"/>
                <a:gd name="connsiteY110" fmla="*/ 91505 h 133674"/>
                <a:gd name="connsiteX111" fmla="*/ 51988 w 174844"/>
                <a:gd name="connsiteY111" fmla="*/ 100226 h 133674"/>
                <a:gd name="connsiteX112" fmla="*/ 53731 w 174844"/>
                <a:gd name="connsiteY112" fmla="*/ 103932 h 133674"/>
                <a:gd name="connsiteX113" fmla="*/ 58525 w 174844"/>
                <a:gd name="connsiteY113" fmla="*/ 101534 h 133674"/>
                <a:gd name="connsiteX114" fmla="*/ 66152 w 174844"/>
                <a:gd name="connsiteY114" fmla="*/ 79079 h 133674"/>
                <a:gd name="connsiteX115" fmla="*/ 63973 w 174844"/>
                <a:gd name="connsiteY115" fmla="*/ 76681 h 133674"/>
                <a:gd name="connsiteX116" fmla="*/ 61794 w 174844"/>
                <a:gd name="connsiteY116" fmla="*/ 77553 h 133674"/>
                <a:gd name="connsiteX117" fmla="*/ 63973 w 174844"/>
                <a:gd name="connsiteY117" fmla="*/ 79951 h 133674"/>
                <a:gd name="connsiteX118" fmla="*/ 66152 w 174844"/>
                <a:gd name="connsiteY118" fmla="*/ 79079 h 133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174844" h="133674">
                  <a:moveTo>
                    <a:pt x="151136" y="129439"/>
                  </a:moveTo>
                  <a:cubicBezTo>
                    <a:pt x="151136" y="125515"/>
                    <a:pt x="149610" y="123553"/>
                    <a:pt x="145688" y="122681"/>
                  </a:cubicBezTo>
                  <a:cubicBezTo>
                    <a:pt x="140676" y="121372"/>
                    <a:pt x="140240" y="120282"/>
                    <a:pt x="140676" y="113088"/>
                  </a:cubicBezTo>
                  <a:cubicBezTo>
                    <a:pt x="141330" y="105458"/>
                    <a:pt x="140894" y="105022"/>
                    <a:pt x="134793" y="105022"/>
                  </a:cubicBezTo>
                  <a:cubicBezTo>
                    <a:pt x="130652" y="105022"/>
                    <a:pt x="128473" y="103932"/>
                    <a:pt x="128909" y="102406"/>
                  </a:cubicBezTo>
                  <a:cubicBezTo>
                    <a:pt x="129127" y="100880"/>
                    <a:pt x="129563" y="98264"/>
                    <a:pt x="129999" y="96956"/>
                  </a:cubicBezTo>
                  <a:cubicBezTo>
                    <a:pt x="130217" y="95212"/>
                    <a:pt x="128473" y="94340"/>
                    <a:pt x="125640" y="94776"/>
                  </a:cubicBezTo>
                  <a:cubicBezTo>
                    <a:pt x="121718" y="95430"/>
                    <a:pt x="120847" y="94122"/>
                    <a:pt x="120193" y="88235"/>
                  </a:cubicBezTo>
                  <a:cubicBezTo>
                    <a:pt x="119321" y="79079"/>
                    <a:pt x="113873" y="78643"/>
                    <a:pt x="111476" y="87581"/>
                  </a:cubicBezTo>
                  <a:cubicBezTo>
                    <a:pt x="109951" y="93686"/>
                    <a:pt x="104503" y="99572"/>
                    <a:pt x="100581" y="99572"/>
                  </a:cubicBezTo>
                  <a:cubicBezTo>
                    <a:pt x="99709" y="99572"/>
                    <a:pt x="98838" y="95212"/>
                    <a:pt x="98838" y="89761"/>
                  </a:cubicBezTo>
                  <a:cubicBezTo>
                    <a:pt x="98838" y="80823"/>
                    <a:pt x="99274" y="79951"/>
                    <a:pt x="104068" y="79951"/>
                  </a:cubicBezTo>
                  <a:cubicBezTo>
                    <a:pt x="110387" y="79951"/>
                    <a:pt x="114309" y="71885"/>
                    <a:pt x="109515" y="68833"/>
                  </a:cubicBezTo>
                  <a:cubicBezTo>
                    <a:pt x="104721" y="65781"/>
                    <a:pt x="96223" y="66653"/>
                    <a:pt x="91865" y="70577"/>
                  </a:cubicBezTo>
                  <a:cubicBezTo>
                    <a:pt x="84238" y="77335"/>
                    <a:pt x="85546" y="71667"/>
                    <a:pt x="93390" y="62728"/>
                  </a:cubicBezTo>
                  <a:cubicBezTo>
                    <a:pt x="99274" y="56188"/>
                    <a:pt x="103196" y="53790"/>
                    <a:pt x="107772" y="53790"/>
                  </a:cubicBezTo>
                  <a:cubicBezTo>
                    <a:pt x="112566" y="53790"/>
                    <a:pt x="114091" y="52700"/>
                    <a:pt x="114091" y="49648"/>
                  </a:cubicBezTo>
                  <a:cubicBezTo>
                    <a:pt x="114091" y="45506"/>
                    <a:pt x="110169" y="42890"/>
                    <a:pt x="103632" y="42890"/>
                  </a:cubicBezTo>
                  <a:cubicBezTo>
                    <a:pt x="101235" y="42890"/>
                    <a:pt x="99709" y="40928"/>
                    <a:pt x="99709" y="37440"/>
                  </a:cubicBezTo>
                  <a:cubicBezTo>
                    <a:pt x="99492" y="34387"/>
                    <a:pt x="98838" y="30463"/>
                    <a:pt x="97966" y="28719"/>
                  </a:cubicBezTo>
                  <a:cubicBezTo>
                    <a:pt x="96223" y="23923"/>
                    <a:pt x="90122" y="24795"/>
                    <a:pt x="90122" y="29591"/>
                  </a:cubicBezTo>
                  <a:cubicBezTo>
                    <a:pt x="90122" y="31771"/>
                    <a:pt x="88596" y="34169"/>
                    <a:pt x="86853" y="35042"/>
                  </a:cubicBezTo>
                  <a:cubicBezTo>
                    <a:pt x="82713" y="36568"/>
                    <a:pt x="82495" y="42890"/>
                    <a:pt x="86635" y="42890"/>
                  </a:cubicBezTo>
                  <a:cubicBezTo>
                    <a:pt x="88378" y="42890"/>
                    <a:pt x="90339" y="43762"/>
                    <a:pt x="91211" y="44852"/>
                  </a:cubicBezTo>
                  <a:cubicBezTo>
                    <a:pt x="92954" y="48122"/>
                    <a:pt x="87725" y="57714"/>
                    <a:pt x="82059" y="61420"/>
                  </a:cubicBezTo>
                  <a:cubicBezTo>
                    <a:pt x="75086" y="65999"/>
                    <a:pt x="75304" y="74937"/>
                    <a:pt x="82495" y="77771"/>
                  </a:cubicBezTo>
                  <a:cubicBezTo>
                    <a:pt x="85546" y="78861"/>
                    <a:pt x="87943" y="80387"/>
                    <a:pt x="87943" y="81259"/>
                  </a:cubicBezTo>
                  <a:cubicBezTo>
                    <a:pt x="87943" y="84965"/>
                    <a:pt x="76176" y="93250"/>
                    <a:pt x="72471" y="92377"/>
                  </a:cubicBezTo>
                  <a:cubicBezTo>
                    <a:pt x="67895" y="91069"/>
                    <a:pt x="67677" y="91941"/>
                    <a:pt x="67241" y="108728"/>
                  </a:cubicBezTo>
                  <a:cubicBezTo>
                    <a:pt x="67023" y="121372"/>
                    <a:pt x="63101" y="126605"/>
                    <a:pt x="58525" y="120500"/>
                  </a:cubicBezTo>
                  <a:cubicBezTo>
                    <a:pt x="56782" y="118320"/>
                    <a:pt x="55038" y="115268"/>
                    <a:pt x="54603" y="113960"/>
                  </a:cubicBezTo>
                  <a:cubicBezTo>
                    <a:pt x="53949" y="112216"/>
                    <a:pt x="52641" y="112434"/>
                    <a:pt x="50245" y="114396"/>
                  </a:cubicBezTo>
                  <a:cubicBezTo>
                    <a:pt x="46104" y="117884"/>
                    <a:pt x="40439" y="115704"/>
                    <a:pt x="44143" y="111998"/>
                  </a:cubicBezTo>
                  <a:cubicBezTo>
                    <a:pt x="48501" y="107638"/>
                    <a:pt x="46758" y="103932"/>
                    <a:pt x="40657" y="103932"/>
                  </a:cubicBezTo>
                  <a:cubicBezTo>
                    <a:pt x="37170" y="103932"/>
                    <a:pt x="32812" y="102406"/>
                    <a:pt x="30633" y="100880"/>
                  </a:cubicBezTo>
                  <a:cubicBezTo>
                    <a:pt x="27146" y="98264"/>
                    <a:pt x="27146" y="97610"/>
                    <a:pt x="30415" y="94994"/>
                  </a:cubicBezTo>
                  <a:cubicBezTo>
                    <a:pt x="33030" y="92813"/>
                    <a:pt x="34773" y="92813"/>
                    <a:pt x="38042" y="94776"/>
                  </a:cubicBezTo>
                  <a:cubicBezTo>
                    <a:pt x="43925" y="98482"/>
                    <a:pt x="44797" y="98046"/>
                    <a:pt x="41746" y="93250"/>
                  </a:cubicBezTo>
                  <a:cubicBezTo>
                    <a:pt x="39567" y="89761"/>
                    <a:pt x="39785" y="88235"/>
                    <a:pt x="43054" y="84529"/>
                  </a:cubicBezTo>
                  <a:cubicBezTo>
                    <a:pt x="45233" y="82131"/>
                    <a:pt x="49155" y="79951"/>
                    <a:pt x="51770" y="79515"/>
                  </a:cubicBezTo>
                  <a:cubicBezTo>
                    <a:pt x="54167" y="79079"/>
                    <a:pt x="56128" y="77553"/>
                    <a:pt x="55692" y="75809"/>
                  </a:cubicBezTo>
                  <a:cubicBezTo>
                    <a:pt x="54821" y="71885"/>
                    <a:pt x="57218" y="64691"/>
                    <a:pt x="59615" y="64691"/>
                  </a:cubicBezTo>
                  <a:cubicBezTo>
                    <a:pt x="60486" y="64691"/>
                    <a:pt x="62012" y="66871"/>
                    <a:pt x="62883" y="69705"/>
                  </a:cubicBezTo>
                  <a:lnTo>
                    <a:pt x="64408" y="74501"/>
                  </a:lnTo>
                  <a:lnTo>
                    <a:pt x="66152" y="69051"/>
                  </a:lnTo>
                  <a:cubicBezTo>
                    <a:pt x="69420" y="59022"/>
                    <a:pt x="68767" y="55970"/>
                    <a:pt x="63319" y="55970"/>
                  </a:cubicBezTo>
                  <a:cubicBezTo>
                    <a:pt x="60486" y="55970"/>
                    <a:pt x="57218" y="54880"/>
                    <a:pt x="55910" y="53572"/>
                  </a:cubicBezTo>
                  <a:cubicBezTo>
                    <a:pt x="51552" y="49212"/>
                    <a:pt x="46976" y="53136"/>
                    <a:pt x="45451" y="62946"/>
                  </a:cubicBezTo>
                  <a:cubicBezTo>
                    <a:pt x="42618" y="79951"/>
                    <a:pt x="36516" y="85837"/>
                    <a:pt x="35209" y="72975"/>
                  </a:cubicBezTo>
                  <a:cubicBezTo>
                    <a:pt x="34773" y="67961"/>
                    <a:pt x="33684" y="65999"/>
                    <a:pt x="31287" y="66653"/>
                  </a:cubicBezTo>
                  <a:cubicBezTo>
                    <a:pt x="22788" y="68615"/>
                    <a:pt x="21481" y="67961"/>
                    <a:pt x="22134" y="61638"/>
                  </a:cubicBezTo>
                  <a:lnTo>
                    <a:pt x="23006" y="55534"/>
                  </a:lnTo>
                  <a:lnTo>
                    <a:pt x="8842" y="56406"/>
                  </a:lnTo>
                  <a:lnTo>
                    <a:pt x="-5322" y="57278"/>
                  </a:lnTo>
                  <a:lnTo>
                    <a:pt x="-4886" y="48994"/>
                  </a:lnTo>
                  <a:cubicBezTo>
                    <a:pt x="-4668" y="39838"/>
                    <a:pt x="-3143" y="39184"/>
                    <a:pt x="6009" y="43980"/>
                  </a:cubicBezTo>
                  <a:cubicBezTo>
                    <a:pt x="13636" y="47904"/>
                    <a:pt x="13854" y="47904"/>
                    <a:pt x="13854" y="43980"/>
                  </a:cubicBezTo>
                  <a:cubicBezTo>
                    <a:pt x="13854" y="42236"/>
                    <a:pt x="11893" y="38748"/>
                    <a:pt x="9278" y="36132"/>
                  </a:cubicBezTo>
                  <a:cubicBezTo>
                    <a:pt x="6009" y="32861"/>
                    <a:pt x="5138" y="30027"/>
                    <a:pt x="6227" y="26103"/>
                  </a:cubicBezTo>
                  <a:cubicBezTo>
                    <a:pt x="6881" y="23051"/>
                    <a:pt x="6445" y="19345"/>
                    <a:pt x="4920" y="17601"/>
                  </a:cubicBezTo>
                  <a:cubicBezTo>
                    <a:pt x="780" y="12587"/>
                    <a:pt x="5573" y="9535"/>
                    <a:pt x="11239" y="13459"/>
                  </a:cubicBezTo>
                  <a:cubicBezTo>
                    <a:pt x="15161" y="16293"/>
                    <a:pt x="15597" y="17601"/>
                    <a:pt x="13418" y="22179"/>
                  </a:cubicBezTo>
                  <a:cubicBezTo>
                    <a:pt x="10585" y="28283"/>
                    <a:pt x="12547" y="31989"/>
                    <a:pt x="16469" y="28065"/>
                  </a:cubicBezTo>
                  <a:cubicBezTo>
                    <a:pt x="21699" y="22833"/>
                    <a:pt x="24531" y="26757"/>
                    <a:pt x="25839" y="40710"/>
                  </a:cubicBezTo>
                  <a:cubicBezTo>
                    <a:pt x="26275" y="45070"/>
                    <a:pt x="27800" y="51392"/>
                    <a:pt x="29107" y="54880"/>
                  </a:cubicBezTo>
                  <a:lnTo>
                    <a:pt x="31504" y="61202"/>
                  </a:lnTo>
                  <a:lnTo>
                    <a:pt x="35645" y="54662"/>
                  </a:lnTo>
                  <a:cubicBezTo>
                    <a:pt x="38042" y="51174"/>
                    <a:pt x="40003" y="47032"/>
                    <a:pt x="40003" y="45288"/>
                  </a:cubicBezTo>
                  <a:cubicBezTo>
                    <a:pt x="40003" y="43326"/>
                    <a:pt x="41746" y="42890"/>
                    <a:pt x="45233" y="43762"/>
                  </a:cubicBezTo>
                  <a:cubicBezTo>
                    <a:pt x="54167" y="45942"/>
                    <a:pt x="57435" y="43326"/>
                    <a:pt x="57435" y="33733"/>
                  </a:cubicBezTo>
                  <a:cubicBezTo>
                    <a:pt x="57435" y="27847"/>
                    <a:pt x="58307" y="25449"/>
                    <a:pt x="60268" y="26103"/>
                  </a:cubicBezTo>
                  <a:cubicBezTo>
                    <a:pt x="61576" y="26539"/>
                    <a:pt x="62665" y="29591"/>
                    <a:pt x="62229" y="32861"/>
                  </a:cubicBezTo>
                  <a:cubicBezTo>
                    <a:pt x="61576" y="39402"/>
                    <a:pt x="72689" y="53136"/>
                    <a:pt x="76611" y="50738"/>
                  </a:cubicBezTo>
                  <a:cubicBezTo>
                    <a:pt x="77919" y="50084"/>
                    <a:pt x="78790" y="45288"/>
                    <a:pt x="78572" y="40056"/>
                  </a:cubicBezTo>
                  <a:cubicBezTo>
                    <a:pt x="78137" y="32207"/>
                    <a:pt x="77483" y="30899"/>
                    <a:pt x="73343" y="30899"/>
                  </a:cubicBezTo>
                  <a:cubicBezTo>
                    <a:pt x="65280" y="30681"/>
                    <a:pt x="62665" y="26539"/>
                    <a:pt x="67023" y="20217"/>
                  </a:cubicBezTo>
                  <a:cubicBezTo>
                    <a:pt x="70728" y="14331"/>
                    <a:pt x="73779" y="13241"/>
                    <a:pt x="75958" y="16729"/>
                  </a:cubicBezTo>
                  <a:cubicBezTo>
                    <a:pt x="76611" y="18037"/>
                    <a:pt x="80534" y="18909"/>
                    <a:pt x="84456" y="18909"/>
                  </a:cubicBezTo>
                  <a:cubicBezTo>
                    <a:pt x="90557" y="18909"/>
                    <a:pt x="92083" y="17819"/>
                    <a:pt x="96223" y="8881"/>
                  </a:cubicBezTo>
                  <a:cubicBezTo>
                    <a:pt x="101235" y="-1148"/>
                    <a:pt x="104286" y="-2456"/>
                    <a:pt x="108426" y="4520"/>
                  </a:cubicBezTo>
                  <a:cubicBezTo>
                    <a:pt x="110387" y="7573"/>
                    <a:pt x="109733" y="9099"/>
                    <a:pt x="106029" y="12369"/>
                  </a:cubicBezTo>
                  <a:cubicBezTo>
                    <a:pt x="103196" y="14549"/>
                    <a:pt x="101017" y="18037"/>
                    <a:pt x="101017" y="20217"/>
                  </a:cubicBezTo>
                  <a:cubicBezTo>
                    <a:pt x="101017" y="23269"/>
                    <a:pt x="101671" y="23487"/>
                    <a:pt x="103632" y="21525"/>
                  </a:cubicBezTo>
                  <a:cubicBezTo>
                    <a:pt x="107118" y="18037"/>
                    <a:pt x="114091" y="18255"/>
                    <a:pt x="114091" y="21743"/>
                  </a:cubicBezTo>
                  <a:cubicBezTo>
                    <a:pt x="114091" y="23487"/>
                    <a:pt x="112130" y="26539"/>
                    <a:pt x="109733" y="28719"/>
                  </a:cubicBezTo>
                  <a:cubicBezTo>
                    <a:pt x="103632" y="34169"/>
                    <a:pt x="104286" y="35914"/>
                    <a:pt x="112566" y="36786"/>
                  </a:cubicBezTo>
                  <a:cubicBezTo>
                    <a:pt x="117796" y="37222"/>
                    <a:pt x="119757" y="38530"/>
                    <a:pt x="120193" y="42454"/>
                  </a:cubicBezTo>
                  <a:cubicBezTo>
                    <a:pt x="121064" y="47904"/>
                    <a:pt x="126512" y="48776"/>
                    <a:pt x="130217" y="43980"/>
                  </a:cubicBezTo>
                  <a:cubicBezTo>
                    <a:pt x="133049" y="40274"/>
                    <a:pt x="142419" y="41800"/>
                    <a:pt x="142419" y="45942"/>
                  </a:cubicBezTo>
                  <a:cubicBezTo>
                    <a:pt x="142419" y="47468"/>
                    <a:pt x="138933" y="49866"/>
                    <a:pt x="134793" y="51392"/>
                  </a:cubicBezTo>
                  <a:cubicBezTo>
                    <a:pt x="130652" y="52918"/>
                    <a:pt x="127166" y="55098"/>
                    <a:pt x="127166" y="56188"/>
                  </a:cubicBezTo>
                  <a:cubicBezTo>
                    <a:pt x="127166" y="57496"/>
                    <a:pt x="125205" y="57714"/>
                    <a:pt x="122808" y="57060"/>
                  </a:cubicBezTo>
                  <a:cubicBezTo>
                    <a:pt x="119757" y="55970"/>
                    <a:pt x="118450" y="56624"/>
                    <a:pt x="118450" y="59022"/>
                  </a:cubicBezTo>
                  <a:cubicBezTo>
                    <a:pt x="118450" y="60984"/>
                    <a:pt x="119539" y="62510"/>
                    <a:pt x="120847" y="62510"/>
                  </a:cubicBezTo>
                  <a:cubicBezTo>
                    <a:pt x="122590" y="62510"/>
                    <a:pt x="122590" y="63600"/>
                    <a:pt x="120629" y="65781"/>
                  </a:cubicBezTo>
                  <a:cubicBezTo>
                    <a:pt x="117360" y="69705"/>
                    <a:pt x="119321" y="75591"/>
                    <a:pt x="123679" y="75591"/>
                  </a:cubicBezTo>
                  <a:cubicBezTo>
                    <a:pt x="125423" y="75591"/>
                    <a:pt x="130217" y="79733"/>
                    <a:pt x="134575" y="84529"/>
                  </a:cubicBezTo>
                  <a:cubicBezTo>
                    <a:pt x="142201" y="93468"/>
                    <a:pt x="151136" y="99572"/>
                    <a:pt x="156801" y="99572"/>
                  </a:cubicBezTo>
                  <a:cubicBezTo>
                    <a:pt x="161595" y="99572"/>
                    <a:pt x="162031" y="103060"/>
                    <a:pt x="157237" y="103278"/>
                  </a:cubicBezTo>
                  <a:cubicBezTo>
                    <a:pt x="154622" y="103496"/>
                    <a:pt x="151789" y="104586"/>
                    <a:pt x="150918" y="105458"/>
                  </a:cubicBezTo>
                  <a:cubicBezTo>
                    <a:pt x="148303" y="108074"/>
                    <a:pt x="151136" y="117012"/>
                    <a:pt x="154404" y="117012"/>
                  </a:cubicBezTo>
                  <a:cubicBezTo>
                    <a:pt x="157673" y="117012"/>
                    <a:pt x="164210" y="110036"/>
                    <a:pt x="164210" y="106112"/>
                  </a:cubicBezTo>
                  <a:cubicBezTo>
                    <a:pt x="164210" y="103932"/>
                    <a:pt x="164864" y="103932"/>
                    <a:pt x="167697" y="106112"/>
                  </a:cubicBezTo>
                  <a:cubicBezTo>
                    <a:pt x="170529" y="108728"/>
                    <a:pt x="170312" y="109600"/>
                    <a:pt x="165300" y="114396"/>
                  </a:cubicBezTo>
                  <a:cubicBezTo>
                    <a:pt x="161159" y="118102"/>
                    <a:pt x="160070" y="120282"/>
                    <a:pt x="161813" y="122027"/>
                  </a:cubicBezTo>
                  <a:cubicBezTo>
                    <a:pt x="165300" y="125515"/>
                    <a:pt x="164646" y="129439"/>
                    <a:pt x="160506" y="130965"/>
                  </a:cubicBezTo>
                  <a:cubicBezTo>
                    <a:pt x="158327" y="131619"/>
                    <a:pt x="155276" y="132927"/>
                    <a:pt x="153968" y="133581"/>
                  </a:cubicBezTo>
                  <a:cubicBezTo>
                    <a:pt x="152007" y="134453"/>
                    <a:pt x="151136" y="132927"/>
                    <a:pt x="151136" y="129439"/>
                  </a:cubicBezTo>
                  <a:close/>
                  <a:moveTo>
                    <a:pt x="58525" y="101534"/>
                  </a:moveTo>
                  <a:cubicBezTo>
                    <a:pt x="59397" y="100444"/>
                    <a:pt x="60486" y="96520"/>
                    <a:pt x="61140" y="92813"/>
                  </a:cubicBezTo>
                  <a:cubicBezTo>
                    <a:pt x="62229" y="85183"/>
                    <a:pt x="56346" y="83657"/>
                    <a:pt x="54603" y="91505"/>
                  </a:cubicBezTo>
                  <a:cubicBezTo>
                    <a:pt x="54167" y="94122"/>
                    <a:pt x="52859" y="98046"/>
                    <a:pt x="51988" y="100226"/>
                  </a:cubicBezTo>
                  <a:cubicBezTo>
                    <a:pt x="50898" y="102842"/>
                    <a:pt x="51334" y="103932"/>
                    <a:pt x="53731" y="103932"/>
                  </a:cubicBezTo>
                  <a:cubicBezTo>
                    <a:pt x="55692" y="103932"/>
                    <a:pt x="57871" y="102842"/>
                    <a:pt x="58525" y="101534"/>
                  </a:cubicBezTo>
                  <a:close/>
                  <a:moveTo>
                    <a:pt x="66152" y="79079"/>
                  </a:moveTo>
                  <a:cubicBezTo>
                    <a:pt x="66152" y="78425"/>
                    <a:pt x="65280" y="77335"/>
                    <a:pt x="63973" y="76681"/>
                  </a:cubicBezTo>
                  <a:cubicBezTo>
                    <a:pt x="62883" y="76027"/>
                    <a:pt x="61794" y="76463"/>
                    <a:pt x="61794" y="77553"/>
                  </a:cubicBezTo>
                  <a:cubicBezTo>
                    <a:pt x="61794" y="78861"/>
                    <a:pt x="62883" y="79951"/>
                    <a:pt x="63973" y="79951"/>
                  </a:cubicBezTo>
                  <a:cubicBezTo>
                    <a:pt x="65280" y="79951"/>
                    <a:pt x="66152" y="79515"/>
                    <a:pt x="66152" y="79079"/>
                  </a:cubicBezTo>
                  <a:close/>
                </a:path>
              </a:pathLst>
            </a:custGeom>
            <a:grpFill/>
            <a:ln w="218" cap="flat">
              <a:noFill/>
              <a:prstDash val="solid"/>
              <a:miter/>
            </a:ln>
          </p:spPr>
          <p:txBody>
            <a:bodyPr rtlCol="0" anchor="ctr"/>
            <a:lstStyle/>
            <a:p>
              <a:endParaRPr lang="en-GB" dirty="0"/>
            </a:p>
          </p:txBody>
        </p:sp>
        <p:sp>
          <p:nvSpPr>
            <p:cNvPr id="69" name="Freihandform: Form 68">
              <a:extLst>
                <a:ext uri="{FF2B5EF4-FFF2-40B4-BE49-F238E27FC236}">
                  <a16:creationId xmlns:a16="http://schemas.microsoft.com/office/drawing/2014/main" xmlns="" id="{69A2A0A9-4A48-4AF9-9CDF-D723D00F9EDA}"/>
                </a:ext>
              </a:extLst>
            </p:cNvPr>
            <p:cNvSpPr/>
            <p:nvPr/>
          </p:nvSpPr>
          <p:spPr>
            <a:xfrm flipV="1">
              <a:off x="4781135" y="5266946"/>
              <a:ext cx="5664" cy="4360"/>
            </a:xfrm>
            <a:custGeom>
              <a:avLst/>
              <a:gdLst>
                <a:gd name="connsiteX0" fmla="*/ -3828 w 5664"/>
                <a:gd name="connsiteY0" fmla="*/ 2019 h 4360"/>
                <a:gd name="connsiteX1" fmla="*/ -341 w 5664"/>
                <a:gd name="connsiteY1" fmla="*/ -161 h 4360"/>
                <a:gd name="connsiteX2" fmla="*/ 1620 w 5664"/>
                <a:gd name="connsiteY2" fmla="*/ 2019 h 4360"/>
                <a:gd name="connsiteX3" fmla="*/ -1867 w 5664"/>
                <a:gd name="connsiteY3" fmla="*/ 4199 h 4360"/>
                <a:gd name="connsiteX4" fmla="*/ -3828 w 5664"/>
                <a:gd name="connsiteY4" fmla="*/ 2019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 h="4360">
                  <a:moveTo>
                    <a:pt x="-3828" y="2019"/>
                  </a:moveTo>
                  <a:cubicBezTo>
                    <a:pt x="-3828" y="929"/>
                    <a:pt x="-2302" y="-161"/>
                    <a:pt x="-341" y="-161"/>
                  </a:cubicBezTo>
                  <a:cubicBezTo>
                    <a:pt x="1402" y="-161"/>
                    <a:pt x="2274" y="929"/>
                    <a:pt x="1620" y="2019"/>
                  </a:cubicBezTo>
                  <a:cubicBezTo>
                    <a:pt x="966" y="3327"/>
                    <a:pt x="-559" y="4199"/>
                    <a:pt x="-1867" y="4199"/>
                  </a:cubicBezTo>
                  <a:cubicBezTo>
                    <a:pt x="-2956" y="4199"/>
                    <a:pt x="-3828" y="3327"/>
                    <a:pt x="-3828" y="2019"/>
                  </a:cubicBezTo>
                  <a:close/>
                </a:path>
              </a:pathLst>
            </a:custGeom>
            <a:grpFill/>
            <a:ln w="218" cap="flat">
              <a:noFill/>
              <a:prstDash val="solid"/>
              <a:miter/>
            </a:ln>
          </p:spPr>
          <p:txBody>
            <a:bodyPr rtlCol="0" anchor="ctr"/>
            <a:lstStyle/>
            <a:p>
              <a:endParaRPr lang="en-GB" dirty="0"/>
            </a:p>
          </p:txBody>
        </p:sp>
        <p:sp>
          <p:nvSpPr>
            <p:cNvPr id="70" name="Freihandform: Form 69">
              <a:extLst>
                <a:ext uri="{FF2B5EF4-FFF2-40B4-BE49-F238E27FC236}">
                  <a16:creationId xmlns:a16="http://schemas.microsoft.com/office/drawing/2014/main" xmlns="" id="{BD261C57-5AE6-420C-8E9D-9B7779380860}"/>
                </a:ext>
              </a:extLst>
            </p:cNvPr>
            <p:cNvSpPr/>
            <p:nvPr/>
          </p:nvSpPr>
          <p:spPr>
            <a:xfrm flipV="1">
              <a:off x="4980180" y="5268181"/>
              <a:ext cx="8864" cy="9664"/>
            </a:xfrm>
            <a:custGeom>
              <a:avLst/>
              <a:gdLst>
                <a:gd name="connsiteX0" fmla="*/ -3227 w 8864"/>
                <a:gd name="connsiteY0" fmla="*/ 7707 h 9664"/>
                <a:gd name="connsiteX1" fmla="*/ 42 w 8864"/>
                <a:gd name="connsiteY1" fmla="*/ -141 h 9664"/>
                <a:gd name="connsiteX2" fmla="*/ 2439 w 8864"/>
                <a:gd name="connsiteY2" fmla="*/ 8361 h 9664"/>
                <a:gd name="connsiteX3" fmla="*/ -3227 w 8864"/>
                <a:gd name="connsiteY3" fmla="*/ 7707 h 9664"/>
              </a:gdLst>
              <a:ahLst/>
              <a:cxnLst>
                <a:cxn ang="0">
                  <a:pos x="connsiteX0" y="connsiteY0"/>
                </a:cxn>
                <a:cxn ang="0">
                  <a:pos x="connsiteX1" y="connsiteY1"/>
                </a:cxn>
                <a:cxn ang="0">
                  <a:pos x="connsiteX2" y="connsiteY2"/>
                </a:cxn>
                <a:cxn ang="0">
                  <a:pos x="connsiteX3" y="connsiteY3"/>
                </a:cxn>
              </a:cxnLst>
              <a:rect l="l" t="t" r="r" b="b"/>
              <a:pathLst>
                <a:path w="8864" h="9664">
                  <a:moveTo>
                    <a:pt x="-3227" y="7707"/>
                  </a:moveTo>
                  <a:cubicBezTo>
                    <a:pt x="-6060" y="4001"/>
                    <a:pt x="-4534" y="-141"/>
                    <a:pt x="42" y="-141"/>
                  </a:cubicBezTo>
                  <a:cubicBezTo>
                    <a:pt x="4182" y="-141"/>
                    <a:pt x="5707" y="5745"/>
                    <a:pt x="2439" y="8361"/>
                  </a:cubicBezTo>
                  <a:cubicBezTo>
                    <a:pt x="260" y="10105"/>
                    <a:pt x="-1266" y="9887"/>
                    <a:pt x="-3227" y="7707"/>
                  </a:cubicBezTo>
                  <a:close/>
                </a:path>
              </a:pathLst>
            </a:custGeom>
            <a:grpFill/>
            <a:ln w="218" cap="flat">
              <a:noFill/>
              <a:prstDash val="solid"/>
              <a:miter/>
            </a:ln>
          </p:spPr>
          <p:txBody>
            <a:bodyPr rtlCol="0" anchor="ctr"/>
            <a:lstStyle/>
            <a:p>
              <a:endParaRPr lang="en-GB" dirty="0"/>
            </a:p>
          </p:txBody>
        </p:sp>
        <p:sp>
          <p:nvSpPr>
            <p:cNvPr id="71" name="Freihandform: Form 70">
              <a:extLst>
                <a:ext uri="{FF2B5EF4-FFF2-40B4-BE49-F238E27FC236}">
                  <a16:creationId xmlns:a16="http://schemas.microsoft.com/office/drawing/2014/main" xmlns="" id="{E799607E-A373-42E0-9E4A-35FE3F1EB1AB}"/>
                </a:ext>
              </a:extLst>
            </p:cNvPr>
            <p:cNvSpPr/>
            <p:nvPr/>
          </p:nvSpPr>
          <p:spPr>
            <a:xfrm flipV="1">
              <a:off x="4789851" y="5269126"/>
              <a:ext cx="12817" cy="14576"/>
            </a:xfrm>
            <a:custGeom>
              <a:avLst/>
              <a:gdLst>
                <a:gd name="connsiteX0" fmla="*/ -3878 w 12817"/>
                <a:gd name="connsiteY0" fmla="*/ 12490 h 14576"/>
                <a:gd name="connsiteX1" fmla="*/ 8542 w 12817"/>
                <a:gd name="connsiteY1" fmla="*/ 63 h 14576"/>
                <a:gd name="connsiteX2" fmla="*/ 7453 w 12817"/>
                <a:gd name="connsiteY2" fmla="*/ 3988 h 14576"/>
                <a:gd name="connsiteX3" fmla="*/ 4838 w 12817"/>
                <a:gd name="connsiteY3" fmla="*/ 10528 h 14576"/>
                <a:gd name="connsiteX4" fmla="*/ 480 w 12817"/>
                <a:gd name="connsiteY4" fmla="*/ 14452 h 14576"/>
                <a:gd name="connsiteX5" fmla="*/ -3878 w 12817"/>
                <a:gd name="connsiteY5" fmla="*/ 12490 h 14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17" h="14576">
                  <a:moveTo>
                    <a:pt x="-3878" y="12490"/>
                  </a:moveTo>
                  <a:cubicBezTo>
                    <a:pt x="-3878" y="9220"/>
                    <a:pt x="6799" y="-1681"/>
                    <a:pt x="8542" y="63"/>
                  </a:cubicBezTo>
                  <a:cubicBezTo>
                    <a:pt x="9414" y="717"/>
                    <a:pt x="8760" y="2680"/>
                    <a:pt x="7453" y="3988"/>
                  </a:cubicBezTo>
                  <a:cubicBezTo>
                    <a:pt x="5927" y="5514"/>
                    <a:pt x="4838" y="8348"/>
                    <a:pt x="4838" y="10528"/>
                  </a:cubicBezTo>
                  <a:cubicBezTo>
                    <a:pt x="4838" y="12926"/>
                    <a:pt x="3312" y="14452"/>
                    <a:pt x="480" y="14452"/>
                  </a:cubicBezTo>
                  <a:cubicBezTo>
                    <a:pt x="-1917" y="14452"/>
                    <a:pt x="-3878" y="13580"/>
                    <a:pt x="-3878" y="12490"/>
                  </a:cubicBezTo>
                  <a:close/>
                </a:path>
              </a:pathLst>
            </a:custGeom>
            <a:grpFill/>
            <a:ln w="218" cap="flat">
              <a:noFill/>
              <a:prstDash val="solid"/>
              <a:miter/>
            </a:ln>
          </p:spPr>
          <p:txBody>
            <a:bodyPr rtlCol="0" anchor="ctr"/>
            <a:lstStyle/>
            <a:p>
              <a:endParaRPr lang="en-GB" dirty="0"/>
            </a:p>
          </p:txBody>
        </p:sp>
        <p:sp>
          <p:nvSpPr>
            <p:cNvPr id="72" name="Freihandform: Form 71">
              <a:extLst>
                <a:ext uri="{FF2B5EF4-FFF2-40B4-BE49-F238E27FC236}">
                  <a16:creationId xmlns:a16="http://schemas.microsoft.com/office/drawing/2014/main" xmlns="" id="{93608862-12F0-4609-924A-383C338A380B}"/>
                </a:ext>
              </a:extLst>
            </p:cNvPr>
            <p:cNvSpPr/>
            <p:nvPr/>
          </p:nvSpPr>
          <p:spPr>
            <a:xfrm flipV="1">
              <a:off x="5055924" y="5269383"/>
              <a:ext cx="6926" cy="12823"/>
            </a:xfrm>
            <a:custGeom>
              <a:avLst/>
              <a:gdLst>
                <a:gd name="connsiteX0" fmla="*/ -4537 w 6926"/>
                <a:gd name="connsiteY0" fmla="*/ 8375 h 12823"/>
                <a:gd name="connsiteX1" fmla="*/ -3012 w 6926"/>
                <a:gd name="connsiteY1" fmla="*/ 1617 h 12823"/>
                <a:gd name="connsiteX2" fmla="*/ 39 w 6926"/>
                <a:gd name="connsiteY2" fmla="*/ -127 h 12823"/>
                <a:gd name="connsiteX3" fmla="*/ -3012 w 6926"/>
                <a:gd name="connsiteY3" fmla="*/ 12517 h 12823"/>
                <a:gd name="connsiteX4" fmla="*/ -4537 w 6926"/>
                <a:gd name="connsiteY4" fmla="*/ 8375 h 128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6" h="12823">
                  <a:moveTo>
                    <a:pt x="-4537" y="8375"/>
                  </a:moveTo>
                  <a:cubicBezTo>
                    <a:pt x="-3666" y="5541"/>
                    <a:pt x="-3012" y="2489"/>
                    <a:pt x="-3012" y="1617"/>
                  </a:cubicBezTo>
                  <a:cubicBezTo>
                    <a:pt x="-3012" y="527"/>
                    <a:pt x="-1704" y="-127"/>
                    <a:pt x="39" y="-127"/>
                  </a:cubicBezTo>
                  <a:cubicBezTo>
                    <a:pt x="3961" y="-127"/>
                    <a:pt x="1346" y="11209"/>
                    <a:pt x="-3012" y="12517"/>
                  </a:cubicBezTo>
                  <a:cubicBezTo>
                    <a:pt x="-4973" y="13171"/>
                    <a:pt x="-5409" y="12081"/>
                    <a:pt x="-4537" y="8375"/>
                  </a:cubicBezTo>
                  <a:close/>
                </a:path>
              </a:pathLst>
            </a:custGeom>
            <a:grpFill/>
            <a:ln w="218" cap="flat">
              <a:noFill/>
              <a:prstDash val="solid"/>
              <a:miter/>
            </a:ln>
          </p:spPr>
          <p:txBody>
            <a:bodyPr rtlCol="0" anchor="ctr"/>
            <a:lstStyle/>
            <a:p>
              <a:endParaRPr lang="en-GB" dirty="0"/>
            </a:p>
          </p:txBody>
        </p:sp>
        <p:sp>
          <p:nvSpPr>
            <p:cNvPr id="73" name="Freihandform: Form 72">
              <a:extLst>
                <a:ext uri="{FF2B5EF4-FFF2-40B4-BE49-F238E27FC236}">
                  <a16:creationId xmlns:a16="http://schemas.microsoft.com/office/drawing/2014/main" xmlns="" id="{02B5782B-9B19-40B6-A5D9-7982581E1B0C}"/>
                </a:ext>
              </a:extLst>
            </p:cNvPr>
            <p:cNvSpPr/>
            <p:nvPr/>
          </p:nvSpPr>
          <p:spPr>
            <a:xfrm flipV="1">
              <a:off x="5029549" y="5280420"/>
              <a:ext cx="8445" cy="12186"/>
            </a:xfrm>
            <a:custGeom>
              <a:avLst/>
              <a:gdLst>
                <a:gd name="connsiteX0" fmla="*/ -4859 w 8445"/>
                <a:gd name="connsiteY0" fmla="*/ 8800 h 12186"/>
                <a:gd name="connsiteX1" fmla="*/ -2680 w 8445"/>
                <a:gd name="connsiteY1" fmla="*/ 1606 h 12186"/>
                <a:gd name="connsiteX2" fmla="*/ 3421 w 8445"/>
                <a:gd name="connsiteY2" fmla="*/ 7274 h 12186"/>
                <a:gd name="connsiteX3" fmla="*/ -4859 w 8445"/>
                <a:gd name="connsiteY3" fmla="*/ 8800 h 12186"/>
              </a:gdLst>
              <a:ahLst/>
              <a:cxnLst>
                <a:cxn ang="0">
                  <a:pos x="connsiteX0" y="connsiteY0"/>
                </a:cxn>
                <a:cxn ang="0">
                  <a:pos x="connsiteX1" y="connsiteY1"/>
                </a:cxn>
                <a:cxn ang="0">
                  <a:pos x="connsiteX2" y="connsiteY2"/>
                </a:cxn>
                <a:cxn ang="0">
                  <a:pos x="connsiteX3" y="connsiteY3"/>
                </a:cxn>
              </a:cxnLst>
              <a:rect l="l" t="t" r="r" b="b"/>
              <a:pathLst>
                <a:path w="8445" h="12186">
                  <a:moveTo>
                    <a:pt x="-4859" y="8800"/>
                  </a:moveTo>
                  <a:cubicBezTo>
                    <a:pt x="-4859" y="6620"/>
                    <a:pt x="-3770" y="3350"/>
                    <a:pt x="-2680" y="1606"/>
                  </a:cubicBezTo>
                  <a:cubicBezTo>
                    <a:pt x="-65" y="-2536"/>
                    <a:pt x="4511" y="1606"/>
                    <a:pt x="3421" y="7274"/>
                  </a:cubicBezTo>
                  <a:cubicBezTo>
                    <a:pt x="2549" y="12725"/>
                    <a:pt x="-4859" y="14033"/>
                    <a:pt x="-4859" y="8800"/>
                  </a:cubicBezTo>
                  <a:close/>
                </a:path>
              </a:pathLst>
            </a:custGeom>
            <a:grpFill/>
            <a:ln w="218" cap="flat">
              <a:noFill/>
              <a:prstDash val="solid"/>
              <a:miter/>
            </a:ln>
          </p:spPr>
          <p:txBody>
            <a:bodyPr rtlCol="0" anchor="ctr"/>
            <a:lstStyle/>
            <a:p>
              <a:endParaRPr lang="en-GB" dirty="0"/>
            </a:p>
          </p:txBody>
        </p:sp>
        <p:sp>
          <p:nvSpPr>
            <p:cNvPr id="74" name="Freihandform: Form 73">
              <a:extLst>
                <a:ext uri="{FF2B5EF4-FFF2-40B4-BE49-F238E27FC236}">
                  <a16:creationId xmlns:a16="http://schemas.microsoft.com/office/drawing/2014/main" xmlns="" id="{2D3F0CEE-0978-473F-BEE6-966DAB5EF084}"/>
                </a:ext>
              </a:extLst>
            </p:cNvPr>
            <p:cNvSpPr/>
            <p:nvPr/>
          </p:nvSpPr>
          <p:spPr>
            <a:xfrm flipV="1">
              <a:off x="4421636" y="5292218"/>
              <a:ext cx="10763" cy="11788"/>
            </a:xfrm>
            <a:custGeom>
              <a:avLst/>
              <a:gdLst>
                <a:gd name="connsiteX0" fmla="*/ 2392 w 10763"/>
                <a:gd name="connsiteY0" fmla="*/ 9796 h 11788"/>
                <a:gd name="connsiteX1" fmla="*/ 867 w 10763"/>
                <a:gd name="connsiteY1" fmla="*/ -15 h 11788"/>
                <a:gd name="connsiteX2" fmla="*/ 4136 w 10763"/>
                <a:gd name="connsiteY2" fmla="*/ 3037 h 11788"/>
                <a:gd name="connsiteX3" fmla="*/ 6751 w 10763"/>
                <a:gd name="connsiteY3" fmla="*/ 6961 h 11788"/>
                <a:gd name="connsiteX4" fmla="*/ 8276 w 10763"/>
                <a:gd name="connsiteY4" fmla="*/ 10450 h 11788"/>
                <a:gd name="connsiteX5" fmla="*/ 2392 w 10763"/>
                <a:gd name="connsiteY5" fmla="*/ 9796 h 1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63" h="11788">
                  <a:moveTo>
                    <a:pt x="2392" y="9796"/>
                  </a:moveTo>
                  <a:cubicBezTo>
                    <a:pt x="-3055" y="5871"/>
                    <a:pt x="-4145" y="-15"/>
                    <a:pt x="867" y="-15"/>
                  </a:cubicBezTo>
                  <a:cubicBezTo>
                    <a:pt x="2610" y="-15"/>
                    <a:pt x="4136" y="1293"/>
                    <a:pt x="4136" y="3037"/>
                  </a:cubicBezTo>
                  <a:cubicBezTo>
                    <a:pt x="4136" y="4781"/>
                    <a:pt x="5225" y="6525"/>
                    <a:pt x="6751" y="6961"/>
                  </a:cubicBezTo>
                  <a:cubicBezTo>
                    <a:pt x="8058" y="7398"/>
                    <a:pt x="8712" y="8924"/>
                    <a:pt x="8276" y="10450"/>
                  </a:cubicBezTo>
                  <a:cubicBezTo>
                    <a:pt x="7622" y="12412"/>
                    <a:pt x="6097" y="12194"/>
                    <a:pt x="2392" y="9796"/>
                  </a:cubicBezTo>
                  <a:close/>
                </a:path>
              </a:pathLst>
            </a:custGeom>
            <a:grpFill/>
            <a:ln w="218" cap="flat">
              <a:noFill/>
              <a:prstDash val="solid"/>
              <a:miter/>
            </a:ln>
          </p:spPr>
          <p:txBody>
            <a:bodyPr rtlCol="0" anchor="ctr"/>
            <a:lstStyle/>
            <a:p>
              <a:endParaRPr lang="en-GB" dirty="0"/>
            </a:p>
          </p:txBody>
        </p:sp>
        <p:sp>
          <p:nvSpPr>
            <p:cNvPr id="75" name="Freihandform: Form 74">
              <a:extLst>
                <a:ext uri="{FF2B5EF4-FFF2-40B4-BE49-F238E27FC236}">
                  <a16:creationId xmlns:a16="http://schemas.microsoft.com/office/drawing/2014/main" xmlns="" id="{8733AA78-276E-4AAA-861B-6B3957EED620}"/>
                </a:ext>
              </a:extLst>
            </p:cNvPr>
            <p:cNvSpPr/>
            <p:nvPr/>
          </p:nvSpPr>
          <p:spPr>
            <a:xfrm flipV="1">
              <a:off x="5262627" y="5291704"/>
              <a:ext cx="6620" cy="10122"/>
            </a:xfrm>
            <a:custGeom>
              <a:avLst/>
              <a:gdLst>
                <a:gd name="connsiteX0" fmla="*/ -4427 w 6620"/>
                <a:gd name="connsiteY0" fmla="*/ 9353 h 10122"/>
                <a:gd name="connsiteX1" fmla="*/ -2466 w 6620"/>
                <a:gd name="connsiteY1" fmla="*/ -22 h 10122"/>
                <a:gd name="connsiteX2" fmla="*/ 802 w 6620"/>
                <a:gd name="connsiteY2" fmla="*/ 4121 h 10122"/>
                <a:gd name="connsiteX3" fmla="*/ -4427 w 6620"/>
                <a:gd name="connsiteY3" fmla="*/ 9353 h 10122"/>
              </a:gdLst>
              <a:ahLst/>
              <a:cxnLst>
                <a:cxn ang="0">
                  <a:pos x="connsiteX0" y="connsiteY0"/>
                </a:cxn>
                <a:cxn ang="0">
                  <a:pos x="connsiteX1" y="connsiteY1"/>
                </a:cxn>
                <a:cxn ang="0">
                  <a:pos x="connsiteX2" y="connsiteY2"/>
                </a:cxn>
                <a:cxn ang="0">
                  <a:pos x="connsiteX3" y="connsiteY3"/>
                </a:cxn>
              </a:cxnLst>
              <a:rect l="l" t="t" r="r" b="b"/>
              <a:pathLst>
                <a:path w="6620" h="10122">
                  <a:moveTo>
                    <a:pt x="-4427" y="9353"/>
                  </a:moveTo>
                  <a:cubicBezTo>
                    <a:pt x="-7042" y="6737"/>
                    <a:pt x="-5735" y="-22"/>
                    <a:pt x="-2466" y="-22"/>
                  </a:cubicBezTo>
                  <a:cubicBezTo>
                    <a:pt x="-723" y="-22"/>
                    <a:pt x="802" y="1941"/>
                    <a:pt x="802" y="4121"/>
                  </a:cubicBezTo>
                  <a:cubicBezTo>
                    <a:pt x="802" y="8699"/>
                    <a:pt x="-2030" y="11533"/>
                    <a:pt x="-4427" y="9353"/>
                  </a:cubicBezTo>
                  <a:close/>
                </a:path>
              </a:pathLst>
            </a:custGeom>
            <a:grpFill/>
            <a:ln w="218" cap="flat">
              <a:noFill/>
              <a:prstDash val="solid"/>
              <a:miter/>
            </a:ln>
          </p:spPr>
          <p:txBody>
            <a:bodyPr rtlCol="0" anchor="ctr"/>
            <a:lstStyle/>
            <a:p>
              <a:endParaRPr lang="en-GB" dirty="0"/>
            </a:p>
          </p:txBody>
        </p:sp>
        <p:sp>
          <p:nvSpPr>
            <p:cNvPr id="76" name="Freihandform: Form 75">
              <a:extLst>
                <a:ext uri="{FF2B5EF4-FFF2-40B4-BE49-F238E27FC236}">
                  <a16:creationId xmlns:a16="http://schemas.microsoft.com/office/drawing/2014/main" xmlns="" id="{0169E8B0-9F12-4506-BAD0-4F834253F67A}"/>
                </a:ext>
              </a:extLst>
            </p:cNvPr>
            <p:cNvSpPr/>
            <p:nvPr/>
          </p:nvSpPr>
          <p:spPr>
            <a:xfrm flipV="1">
              <a:off x="4404218" y="5299692"/>
              <a:ext cx="8609" cy="16213"/>
            </a:xfrm>
            <a:custGeom>
              <a:avLst/>
              <a:gdLst>
                <a:gd name="connsiteX0" fmla="*/ 275 w 8609"/>
                <a:gd name="connsiteY0" fmla="*/ 13676 h 16213"/>
                <a:gd name="connsiteX1" fmla="*/ -379 w 8609"/>
                <a:gd name="connsiteY1" fmla="*/ 160 h 16213"/>
                <a:gd name="connsiteX2" fmla="*/ 3979 w 8609"/>
                <a:gd name="connsiteY2" fmla="*/ 4520 h 16213"/>
                <a:gd name="connsiteX3" fmla="*/ 275 w 8609"/>
                <a:gd name="connsiteY3" fmla="*/ 13676 h 16213"/>
              </a:gdLst>
              <a:ahLst/>
              <a:cxnLst>
                <a:cxn ang="0">
                  <a:pos x="connsiteX0" y="connsiteY0"/>
                </a:cxn>
                <a:cxn ang="0">
                  <a:pos x="connsiteX1" y="connsiteY1"/>
                </a:cxn>
                <a:cxn ang="0">
                  <a:pos x="connsiteX2" y="connsiteY2"/>
                </a:cxn>
                <a:cxn ang="0">
                  <a:pos x="connsiteX3" y="connsiteY3"/>
                </a:cxn>
              </a:cxnLst>
              <a:rect l="l" t="t" r="r" b="b"/>
              <a:pathLst>
                <a:path w="8609" h="16213">
                  <a:moveTo>
                    <a:pt x="275" y="13676"/>
                  </a:moveTo>
                  <a:cubicBezTo>
                    <a:pt x="-2776" y="10624"/>
                    <a:pt x="-3212" y="1904"/>
                    <a:pt x="-379" y="160"/>
                  </a:cubicBezTo>
                  <a:cubicBezTo>
                    <a:pt x="493" y="-494"/>
                    <a:pt x="2454" y="1468"/>
                    <a:pt x="3979" y="4520"/>
                  </a:cubicBezTo>
                  <a:cubicBezTo>
                    <a:pt x="8338" y="14330"/>
                    <a:pt x="6376" y="19781"/>
                    <a:pt x="275" y="13676"/>
                  </a:cubicBezTo>
                  <a:close/>
                </a:path>
              </a:pathLst>
            </a:custGeom>
            <a:grpFill/>
            <a:ln w="218" cap="flat">
              <a:noFill/>
              <a:prstDash val="solid"/>
              <a:miter/>
            </a:ln>
          </p:spPr>
          <p:txBody>
            <a:bodyPr rtlCol="0" anchor="ctr"/>
            <a:lstStyle/>
            <a:p>
              <a:endParaRPr lang="en-GB" dirty="0"/>
            </a:p>
          </p:txBody>
        </p:sp>
        <p:sp>
          <p:nvSpPr>
            <p:cNvPr id="77" name="Freihandform: Form 76">
              <a:extLst>
                <a:ext uri="{FF2B5EF4-FFF2-40B4-BE49-F238E27FC236}">
                  <a16:creationId xmlns:a16="http://schemas.microsoft.com/office/drawing/2014/main" xmlns="" id="{3F085BCD-D245-4D69-80D6-2F05BD51ECFB}"/>
                </a:ext>
              </a:extLst>
            </p:cNvPr>
            <p:cNvSpPr/>
            <p:nvPr/>
          </p:nvSpPr>
          <p:spPr>
            <a:xfrm flipV="1">
              <a:off x="5288859" y="5299647"/>
              <a:ext cx="4358" cy="4360"/>
            </a:xfrm>
            <a:custGeom>
              <a:avLst/>
              <a:gdLst>
                <a:gd name="connsiteX0" fmla="*/ -5922 w 4358"/>
                <a:gd name="connsiteY0" fmla="*/ 2184 h 4360"/>
                <a:gd name="connsiteX1" fmla="*/ -3743 w 4358"/>
                <a:gd name="connsiteY1" fmla="*/ 4 h 4360"/>
                <a:gd name="connsiteX2" fmla="*/ -1564 w 4358"/>
                <a:gd name="connsiteY2" fmla="*/ 2184 h 4360"/>
                <a:gd name="connsiteX3" fmla="*/ -3743 w 4358"/>
                <a:gd name="connsiteY3" fmla="*/ 4364 h 4360"/>
                <a:gd name="connsiteX4" fmla="*/ -5922 w 4358"/>
                <a:gd name="connsiteY4" fmla="*/ 2184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5922" y="2184"/>
                  </a:moveTo>
                  <a:cubicBezTo>
                    <a:pt x="-5922" y="1094"/>
                    <a:pt x="-4832" y="4"/>
                    <a:pt x="-3743" y="4"/>
                  </a:cubicBezTo>
                  <a:cubicBezTo>
                    <a:pt x="-2435" y="4"/>
                    <a:pt x="-1564" y="1094"/>
                    <a:pt x="-1564" y="2184"/>
                  </a:cubicBezTo>
                  <a:cubicBezTo>
                    <a:pt x="-1564" y="3492"/>
                    <a:pt x="-2435" y="4364"/>
                    <a:pt x="-3743" y="4364"/>
                  </a:cubicBezTo>
                  <a:cubicBezTo>
                    <a:pt x="-4832" y="4364"/>
                    <a:pt x="-5922" y="3492"/>
                    <a:pt x="-5922" y="2184"/>
                  </a:cubicBezTo>
                  <a:close/>
                </a:path>
              </a:pathLst>
            </a:custGeom>
            <a:grpFill/>
            <a:ln w="218" cap="flat">
              <a:noFill/>
              <a:prstDash val="solid"/>
              <a:miter/>
            </a:ln>
          </p:spPr>
          <p:txBody>
            <a:bodyPr rtlCol="0" anchor="ctr"/>
            <a:lstStyle/>
            <a:p>
              <a:endParaRPr lang="en-GB" dirty="0"/>
            </a:p>
          </p:txBody>
        </p:sp>
        <p:sp>
          <p:nvSpPr>
            <p:cNvPr id="78" name="Freihandform: Form 77">
              <a:extLst>
                <a:ext uri="{FF2B5EF4-FFF2-40B4-BE49-F238E27FC236}">
                  <a16:creationId xmlns:a16="http://schemas.microsoft.com/office/drawing/2014/main" xmlns="" id="{89CDA929-A6A6-45E4-9D5D-922F75A2C03F}"/>
                </a:ext>
              </a:extLst>
            </p:cNvPr>
            <p:cNvSpPr/>
            <p:nvPr/>
          </p:nvSpPr>
          <p:spPr>
            <a:xfrm flipV="1">
              <a:off x="4307327" y="5301876"/>
              <a:ext cx="32829" cy="55626"/>
            </a:xfrm>
            <a:custGeom>
              <a:avLst/>
              <a:gdLst>
                <a:gd name="connsiteX0" fmla="*/ -325 w 32829"/>
                <a:gd name="connsiteY0" fmla="*/ 51460 h 55626"/>
                <a:gd name="connsiteX1" fmla="*/ 1637 w 32829"/>
                <a:gd name="connsiteY1" fmla="*/ 40559 h 55626"/>
                <a:gd name="connsiteX2" fmla="*/ 2508 w 32829"/>
                <a:gd name="connsiteY2" fmla="*/ 33801 h 55626"/>
                <a:gd name="connsiteX3" fmla="*/ 5123 w 32829"/>
                <a:gd name="connsiteY3" fmla="*/ 27697 h 55626"/>
                <a:gd name="connsiteX4" fmla="*/ 9699 w 32829"/>
                <a:gd name="connsiteY4" fmla="*/ 15270 h 55626"/>
                <a:gd name="connsiteX5" fmla="*/ 5123 w 32829"/>
                <a:gd name="connsiteY5" fmla="*/ 10474 h 55626"/>
                <a:gd name="connsiteX6" fmla="*/ 9917 w 32829"/>
                <a:gd name="connsiteY6" fmla="*/ 5678 h 55626"/>
                <a:gd name="connsiteX7" fmla="*/ 18851 w 32829"/>
                <a:gd name="connsiteY7" fmla="*/ 2408 h 55626"/>
                <a:gd name="connsiteX8" fmla="*/ 26260 w 32829"/>
                <a:gd name="connsiteY8" fmla="*/ 1318 h 55626"/>
                <a:gd name="connsiteX9" fmla="*/ 30400 w 32829"/>
                <a:gd name="connsiteY9" fmla="*/ 1100 h 55626"/>
                <a:gd name="connsiteX10" fmla="*/ 24081 w 32829"/>
                <a:gd name="connsiteY10" fmla="*/ 15270 h 55626"/>
                <a:gd name="connsiteX11" fmla="*/ 21684 w 32829"/>
                <a:gd name="connsiteY11" fmla="*/ 21811 h 55626"/>
                <a:gd name="connsiteX12" fmla="*/ 17544 w 32829"/>
                <a:gd name="connsiteY12" fmla="*/ 34891 h 55626"/>
                <a:gd name="connsiteX13" fmla="*/ 12096 w 32829"/>
                <a:gd name="connsiteY13" fmla="*/ 46009 h 55626"/>
                <a:gd name="connsiteX14" fmla="*/ -325 w 32829"/>
                <a:gd name="connsiteY14" fmla="*/ 51460 h 55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829" h="55626">
                  <a:moveTo>
                    <a:pt x="-325" y="51460"/>
                  </a:moveTo>
                  <a:cubicBezTo>
                    <a:pt x="-3157" y="47100"/>
                    <a:pt x="-2068" y="40559"/>
                    <a:pt x="1637" y="40559"/>
                  </a:cubicBezTo>
                  <a:cubicBezTo>
                    <a:pt x="2944" y="40559"/>
                    <a:pt x="3380" y="37943"/>
                    <a:pt x="2508" y="33801"/>
                  </a:cubicBezTo>
                  <a:cubicBezTo>
                    <a:pt x="1419" y="28351"/>
                    <a:pt x="1855" y="27261"/>
                    <a:pt x="5123" y="27697"/>
                  </a:cubicBezTo>
                  <a:cubicBezTo>
                    <a:pt x="15583" y="28569"/>
                    <a:pt x="17544" y="23555"/>
                    <a:pt x="9699" y="15270"/>
                  </a:cubicBezTo>
                  <a:lnTo>
                    <a:pt x="5123" y="10474"/>
                  </a:lnTo>
                  <a:lnTo>
                    <a:pt x="9917" y="5678"/>
                  </a:lnTo>
                  <a:cubicBezTo>
                    <a:pt x="12968" y="2626"/>
                    <a:pt x="16019" y="1536"/>
                    <a:pt x="18851" y="2408"/>
                  </a:cubicBezTo>
                  <a:cubicBezTo>
                    <a:pt x="21248" y="3280"/>
                    <a:pt x="24517" y="2844"/>
                    <a:pt x="26260" y="1318"/>
                  </a:cubicBezTo>
                  <a:cubicBezTo>
                    <a:pt x="28003" y="-208"/>
                    <a:pt x="29529" y="-208"/>
                    <a:pt x="30400" y="1100"/>
                  </a:cubicBezTo>
                  <a:cubicBezTo>
                    <a:pt x="32362" y="4152"/>
                    <a:pt x="28221" y="13526"/>
                    <a:pt x="24081" y="15270"/>
                  </a:cubicBezTo>
                  <a:cubicBezTo>
                    <a:pt x="21466" y="16142"/>
                    <a:pt x="20812" y="18105"/>
                    <a:pt x="21684" y="21811"/>
                  </a:cubicBezTo>
                  <a:cubicBezTo>
                    <a:pt x="22556" y="25299"/>
                    <a:pt x="21248" y="29441"/>
                    <a:pt x="17544" y="34891"/>
                  </a:cubicBezTo>
                  <a:cubicBezTo>
                    <a:pt x="14493" y="39251"/>
                    <a:pt x="12096" y="44265"/>
                    <a:pt x="12096" y="46009"/>
                  </a:cubicBezTo>
                  <a:cubicBezTo>
                    <a:pt x="12096" y="55820"/>
                    <a:pt x="4469" y="59308"/>
                    <a:pt x="-325" y="51460"/>
                  </a:cubicBezTo>
                  <a:close/>
                </a:path>
              </a:pathLst>
            </a:custGeom>
            <a:grpFill/>
            <a:ln w="218" cap="flat">
              <a:noFill/>
              <a:prstDash val="solid"/>
              <a:miter/>
            </a:ln>
          </p:spPr>
          <p:txBody>
            <a:bodyPr rtlCol="0" anchor="ctr"/>
            <a:lstStyle/>
            <a:p>
              <a:endParaRPr lang="en-GB" dirty="0"/>
            </a:p>
          </p:txBody>
        </p:sp>
        <p:sp>
          <p:nvSpPr>
            <p:cNvPr id="79" name="Freihandform: Form 78">
              <a:extLst>
                <a:ext uri="{FF2B5EF4-FFF2-40B4-BE49-F238E27FC236}">
                  <a16:creationId xmlns:a16="http://schemas.microsoft.com/office/drawing/2014/main" xmlns="" id="{D4C94C71-CF9D-42D9-A6FD-8A03BBF1458D}"/>
                </a:ext>
              </a:extLst>
            </p:cNvPr>
            <p:cNvSpPr/>
            <p:nvPr/>
          </p:nvSpPr>
          <p:spPr>
            <a:xfrm flipV="1">
              <a:off x="5047000" y="5313594"/>
              <a:ext cx="33430" cy="20451"/>
            </a:xfrm>
            <a:custGeom>
              <a:avLst/>
              <a:gdLst>
                <a:gd name="connsiteX0" fmla="*/ -3476 w 33430"/>
                <a:gd name="connsiteY0" fmla="*/ 20125 h 20451"/>
                <a:gd name="connsiteX1" fmla="*/ -3040 w 33430"/>
                <a:gd name="connsiteY1" fmla="*/ 3120 h 20451"/>
                <a:gd name="connsiteX2" fmla="*/ 5676 w 33430"/>
                <a:gd name="connsiteY2" fmla="*/ 4646 h 20451"/>
                <a:gd name="connsiteX3" fmla="*/ 15918 w 33430"/>
                <a:gd name="connsiteY3" fmla="*/ 3120 h 20451"/>
                <a:gd name="connsiteX4" fmla="*/ 24198 w 33430"/>
                <a:gd name="connsiteY4" fmla="*/ 3992 h 20451"/>
                <a:gd name="connsiteX5" fmla="*/ 26377 w 33430"/>
                <a:gd name="connsiteY5" fmla="*/ 15329 h 20451"/>
                <a:gd name="connsiteX6" fmla="*/ 19840 w 33430"/>
                <a:gd name="connsiteY6" fmla="*/ 19035 h 20451"/>
                <a:gd name="connsiteX7" fmla="*/ 13738 w 33430"/>
                <a:gd name="connsiteY7" fmla="*/ 19035 h 20451"/>
                <a:gd name="connsiteX8" fmla="*/ 6330 w 33430"/>
                <a:gd name="connsiteY8" fmla="*/ 19471 h 20451"/>
                <a:gd name="connsiteX9" fmla="*/ 10 w 33430"/>
                <a:gd name="connsiteY9" fmla="*/ 19471 h 20451"/>
                <a:gd name="connsiteX10" fmla="*/ -3476 w 33430"/>
                <a:gd name="connsiteY10" fmla="*/ 20125 h 20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430" h="20451">
                  <a:moveTo>
                    <a:pt x="-3476" y="20125"/>
                  </a:moveTo>
                  <a:cubicBezTo>
                    <a:pt x="-5655" y="17945"/>
                    <a:pt x="-5437" y="4428"/>
                    <a:pt x="-3040" y="3120"/>
                  </a:cubicBezTo>
                  <a:cubicBezTo>
                    <a:pt x="-2169" y="2466"/>
                    <a:pt x="1971" y="3120"/>
                    <a:pt x="5676" y="4646"/>
                  </a:cubicBezTo>
                  <a:cubicBezTo>
                    <a:pt x="11995" y="7045"/>
                    <a:pt x="13085" y="6826"/>
                    <a:pt x="15918" y="3120"/>
                  </a:cubicBezTo>
                  <a:cubicBezTo>
                    <a:pt x="18968" y="-1022"/>
                    <a:pt x="18968" y="-1022"/>
                    <a:pt x="24198" y="3992"/>
                  </a:cubicBezTo>
                  <a:cubicBezTo>
                    <a:pt x="29428" y="8571"/>
                    <a:pt x="29428" y="9225"/>
                    <a:pt x="26377" y="15329"/>
                  </a:cubicBezTo>
                  <a:cubicBezTo>
                    <a:pt x="23762" y="20561"/>
                    <a:pt x="22455" y="21215"/>
                    <a:pt x="19840" y="19035"/>
                  </a:cubicBezTo>
                  <a:cubicBezTo>
                    <a:pt x="17443" y="17073"/>
                    <a:pt x="16135" y="17073"/>
                    <a:pt x="13738" y="19035"/>
                  </a:cubicBezTo>
                  <a:cubicBezTo>
                    <a:pt x="11341" y="20997"/>
                    <a:pt x="9380" y="20997"/>
                    <a:pt x="6330" y="19471"/>
                  </a:cubicBezTo>
                  <a:cubicBezTo>
                    <a:pt x="3715" y="18163"/>
                    <a:pt x="1536" y="17945"/>
                    <a:pt x="10" y="19471"/>
                  </a:cubicBezTo>
                  <a:cubicBezTo>
                    <a:pt x="-1079" y="20561"/>
                    <a:pt x="-2605" y="20779"/>
                    <a:pt x="-3476" y="20125"/>
                  </a:cubicBezTo>
                  <a:close/>
                </a:path>
              </a:pathLst>
            </a:custGeom>
            <a:grpFill/>
            <a:ln w="218" cap="flat">
              <a:noFill/>
              <a:prstDash val="solid"/>
              <a:miter/>
            </a:ln>
          </p:spPr>
          <p:txBody>
            <a:bodyPr rtlCol="0" anchor="ctr"/>
            <a:lstStyle/>
            <a:p>
              <a:endParaRPr lang="en-GB" dirty="0"/>
            </a:p>
          </p:txBody>
        </p:sp>
        <p:sp>
          <p:nvSpPr>
            <p:cNvPr id="80" name="Freihandform: Form 79">
              <a:extLst>
                <a:ext uri="{FF2B5EF4-FFF2-40B4-BE49-F238E27FC236}">
                  <a16:creationId xmlns:a16="http://schemas.microsoft.com/office/drawing/2014/main" xmlns="" id="{B82D459B-81B3-41E8-A1C8-E157E80620A6}"/>
                </a:ext>
              </a:extLst>
            </p:cNvPr>
            <p:cNvSpPr/>
            <p:nvPr/>
          </p:nvSpPr>
          <p:spPr>
            <a:xfrm flipV="1">
              <a:off x="4662130" y="5319368"/>
              <a:ext cx="8833" cy="10187"/>
            </a:xfrm>
            <a:custGeom>
              <a:avLst/>
              <a:gdLst>
                <a:gd name="connsiteX0" fmla="*/ -2879 w 8833"/>
                <a:gd name="connsiteY0" fmla="*/ 6700 h 10187"/>
                <a:gd name="connsiteX1" fmla="*/ -2225 w 8833"/>
                <a:gd name="connsiteY1" fmla="*/ 1032 h 10187"/>
                <a:gd name="connsiteX2" fmla="*/ 5184 w 8833"/>
                <a:gd name="connsiteY2" fmla="*/ 7354 h 10187"/>
                <a:gd name="connsiteX3" fmla="*/ -2879 w 8833"/>
                <a:gd name="connsiteY3" fmla="*/ 6700 h 10187"/>
              </a:gdLst>
              <a:ahLst/>
              <a:cxnLst>
                <a:cxn ang="0">
                  <a:pos x="connsiteX0" y="connsiteY0"/>
                </a:cxn>
                <a:cxn ang="0">
                  <a:pos x="connsiteX1" y="connsiteY1"/>
                </a:cxn>
                <a:cxn ang="0">
                  <a:pos x="connsiteX2" y="connsiteY2"/>
                </a:cxn>
                <a:cxn ang="0">
                  <a:pos x="connsiteX3" y="connsiteY3"/>
                </a:cxn>
              </a:cxnLst>
              <a:rect l="l" t="t" r="r" b="b"/>
              <a:pathLst>
                <a:path w="8833" h="10187">
                  <a:moveTo>
                    <a:pt x="-2879" y="6700"/>
                  </a:moveTo>
                  <a:cubicBezTo>
                    <a:pt x="-3751" y="4738"/>
                    <a:pt x="-3315" y="2122"/>
                    <a:pt x="-2225" y="1032"/>
                  </a:cubicBezTo>
                  <a:cubicBezTo>
                    <a:pt x="825" y="-2020"/>
                    <a:pt x="6927" y="3212"/>
                    <a:pt x="5184" y="7354"/>
                  </a:cubicBezTo>
                  <a:cubicBezTo>
                    <a:pt x="3658" y="11496"/>
                    <a:pt x="-1136" y="11278"/>
                    <a:pt x="-2879" y="6700"/>
                  </a:cubicBezTo>
                  <a:close/>
                </a:path>
              </a:pathLst>
            </a:custGeom>
            <a:grpFill/>
            <a:ln w="218" cap="flat">
              <a:noFill/>
              <a:prstDash val="solid"/>
              <a:miter/>
            </a:ln>
          </p:spPr>
          <p:txBody>
            <a:bodyPr rtlCol="0" anchor="ctr"/>
            <a:lstStyle/>
            <a:p>
              <a:endParaRPr lang="en-GB" dirty="0"/>
            </a:p>
          </p:txBody>
        </p:sp>
        <p:sp>
          <p:nvSpPr>
            <p:cNvPr id="81" name="Freihandform: Form 80">
              <a:extLst>
                <a:ext uri="{FF2B5EF4-FFF2-40B4-BE49-F238E27FC236}">
                  <a16:creationId xmlns:a16="http://schemas.microsoft.com/office/drawing/2014/main" xmlns="" id="{542F09FA-5060-4B03-9358-1B71C539C811}"/>
                </a:ext>
              </a:extLst>
            </p:cNvPr>
            <p:cNvSpPr/>
            <p:nvPr/>
          </p:nvSpPr>
          <p:spPr>
            <a:xfrm flipV="1">
              <a:off x="4509271" y="5323728"/>
              <a:ext cx="31528" cy="32957"/>
            </a:xfrm>
            <a:custGeom>
              <a:avLst/>
              <a:gdLst>
                <a:gd name="connsiteX0" fmla="*/ 4130 w 31528"/>
                <a:gd name="connsiteY0" fmla="*/ 25625 h 32957"/>
                <a:gd name="connsiteX1" fmla="*/ -446 w 31528"/>
                <a:gd name="connsiteY1" fmla="*/ 14289 h 32957"/>
                <a:gd name="connsiteX2" fmla="*/ 5873 w 31528"/>
                <a:gd name="connsiteY2" fmla="*/ 13199 h 32957"/>
                <a:gd name="connsiteX3" fmla="*/ 11321 w 31528"/>
                <a:gd name="connsiteY3" fmla="*/ 7749 h 32957"/>
                <a:gd name="connsiteX4" fmla="*/ 14154 w 31528"/>
                <a:gd name="connsiteY4" fmla="*/ 336 h 32957"/>
                <a:gd name="connsiteX5" fmla="*/ 23524 w 31528"/>
                <a:gd name="connsiteY5" fmla="*/ 1208 h 32957"/>
                <a:gd name="connsiteX6" fmla="*/ 28535 w 31528"/>
                <a:gd name="connsiteY6" fmla="*/ 4261 h 32957"/>
                <a:gd name="connsiteX7" fmla="*/ 27228 w 31528"/>
                <a:gd name="connsiteY7" fmla="*/ 11891 h 32957"/>
                <a:gd name="connsiteX8" fmla="*/ 23959 w 31528"/>
                <a:gd name="connsiteY8" fmla="*/ 13635 h 32957"/>
                <a:gd name="connsiteX9" fmla="*/ 21345 w 31528"/>
                <a:gd name="connsiteY9" fmla="*/ 17559 h 32957"/>
                <a:gd name="connsiteX10" fmla="*/ 20691 w 31528"/>
                <a:gd name="connsiteY10" fmla="*/ 28895 h 32957"/>
                <a:gd name="connsiteX11" fmla="*/ 16333 w 31528"/>
                <a:gd name="connsiteY11" fmla="*/ 31075 h 32957"/>
                <a:gd name="connsiteX12" fmla="*/ 4130 w 31528"/>
                <a:gd name="connsiteY12" fmla="*/ 25625 h 32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528" h="32957">
                  <a:moveTo>
                    <a:pt x="4130" y="25625"/>
                  </a:moveTo>
                  <a:cubicBezTo>
                    <a:pt x="-3933" y="18431"/>
                    <a:pt x="-4151" y="17777"/>
                    <a:pt x="-446" y="14289"/>
                  </a:cubicBezTo>
                  <a:cubicBezTo>
                    <a:pt x="2387" y="11455"/>
                    <a:pt x="3912" y="11237"/>
                    <a:pt x="5873" y="13199"/>
                  </a:cubicBezTo>
                  <a:cubicBezTo>
                    <a:pt x="10231" y="17559"/>
                    <a:pt x="11757" y="16033"/>
                    <a:pt x="11321" y="7749"/>
                  </a:cubicBezTo>
                  <a:cubicBezTo>
                    <a:pt x="10885" y="1208"/>
                    <a:pt x="11539" y="-318"/>
                    <a:pt x="14154" y="336"/>
                  </a:cubicBezTo>
                  <a:cubicBezTo>
                    <a:pt x="15897" y="990"/>
                    <a:pt x="20255" y="1426"/>
                    <a:pt x="23524" y="1208"/>
                  </a:cubicBezTo>
                  <a:cubicBezTo>
                    <a:pt x="27882" y="1208"/>
                    <a:pt x="29407" y="2080"/>
                    <a:pt x="28535" y="4261"/>
                  </a:cubicBezTo>
                  <a:cubicBezTo>
                    <a:pt x="27664" y="6005"/>
                    <a:pt x="27228" y="9493"/>
                    <a:pt x="27228" y="11891"/>
                  </a:cubicBezTo>
                  <a:cubicBezTo>
                    <a:pt x="27228" y="15597"/>
                    <a:pt x="26792" y="15815"/>
                    <a:pt x="23959" y="13635"/>
                  </a:cubicBezTo>
                  <a:cubicBezTo>
                    <a:pt x="19165" y="9711"/>
                    <a:pt x="17204" y="12763"/>
                    <a:pt x="21345" y="17559"/>
                  </a:cubicBezTo>
                  <a:cubicBezTo>
                    <a:pt x="26356" y="23227"/>
                    <a:pt x="26139" y="28895"/>
                    <a:pt x="20691" y="28895"/>
                  </a:cubicBezTo>
                  <a:cubicBezTo>
                    <a:pt x="18294" y="28895"/>
                    <a:pt x="16333" y="29985"/>
                    <a:pt x="16333" y="31075"/>
                  </a:cubicBezTo>
                  <a:cubicBezTo>
                    <a:pt x="16333" y="35000"/>
                    <a:pt x="13064" y="33474"/>
                    <a:pt x="4130" y="25625"/>
                  </a:cubicBezTo>
                  <a:close/>
                </a:path>
              </a:pathLst>
            </a:custGeom>
            <a:grpFill/>
            <a:ln w="218" cap="flat">
              <a:noFill/>
              <a:prstDash val="solid"/>
              <a:miter/>
            </a:ln>
          </p:spPr>
          <p:txBody>
            <a:bodyPr rtlCol="0" anchor="ctr"/>
            <a:lstStyle/>
            <a:p>
              <a:endParaRPr lang="en-GB" dirty="0"/>
            </a:p>
          </p:txBody>
        </p:sp>
        <p:sp>
          <p:nvSpPr>
            <p:cNvPr id="82" name="Freihandform: Form 81">
              <a:extLst>
                <a:ext uri="{FF2B5EF4-FFF2-40B4-BE49-F238E27FC236}">
                  <a16:creationId xmlns:a16="http://schemas.microsoft.com/office/drawing/2014/main" xmlns="" id="{361D8FD5-551C-42A9-9EDC-1B42611B0E74}"/>
                </a:ext>
              </a:extLst>
            </p:cNvPr>
            <p:cNvSpPr/>
            <p:nvPr/>
          </p:nvSpPr>
          <p:spPr>
            <a:xfrm flipV="1">
              <a:off x="4994684" y="5327988"/>
              <a:ext cx="4358" cy="4360"/>
            </a:xfrm>
            <a:custGeom>
              <a:avLst/>
              <a:gdLst>
                <a:gd name="connsiteX0" fmla="*/ -4707 w 4358"/>
                <a:gd name="connsiteY0" fmla="*/ 2327 h 4360"/>
                <a:gd name="connsiteX1" fmla="*/ -2528 w 4358"/>
                <a:gd name="connsiteY1" fmla="*/ 147 h 4360"/>
                <a:gd name="connsiteX2" fmla="*/ -349 w 4358"/>
                <a:gd name="connsiteY2" fmla="*/ 2327 h 4360"/>
                <a:gd name="connsiteX3" fmla="*/ -2528 w 4358"/>
                <a:gd name="connsiteY3" fmla="*/ 4507 h 4360"/>
                <a:gd name="connsiteX4" fmla="*/ -4707 w 4358"/>
                <a:gd name="connsiteY4" fmla="*/ 2327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4707" y="2327"/>
                  </a:moveTo>
                  <a:cubicBezTo>
                    <a:pt x="-4707" y="1237"/>
                    <a:pt x="-3617" y="147"/>
                    <a:pt x="-2528" y="147"/>
                  </a:cubicBezTo>
                  <a:cubicBezTo>
                    <a:pt x="-1220" y="147"/>
                    <a:pt x="-349" y="1237"/>
                    <a:pt x="-349" y="2327"/>
                  </a:cubicBezTo>
                  <a:cubicBezTo>
                    <a:pt x="-349" y="3635"/>
                    <a:pt x="-1220" y="4507"/>
                    <a:pt x="-2528" y="4507"/>
                  </a:cubicBezTo>
                  <a:cubicBezTo>
                    <a:pt x="-3617" y="4507"/>
                    <a:pt x="-4707" y="3635"/>
                    <a:pt x="-4707" y="2327"/>
                  </a:cubicBezTo>
                  <a:close/>
                </a:path>
              </a:pathLst>
            </a:custGeom>
            <a:grpFill/>
            <a:ln w="218" cap="flat">
              <a:noFill/>
              <a:prstDash val="solid"/>
              <a:miter/>
            </a:ln>
          </p:spPr>
          <p:txBody>
            <a:bodyPr rtlCol="0" anchor="ctr"/>
            <a:lstStyle/>
            <a:p>
              <a:endParaRPr lang="en-GB" dirty="0"/>
            </a:p>
          </p:txBody>
        </p:sp>
        <p:sp>
          <p:nvSpPr>
            <p:cNvPr id="83" name="Freihandform: Form 82">
              <a:extLst>
                <a:ext uri="{FF2B5EF4-FFF2-40B4-BE49-F238E27FC236}">
                  <a16:creationId xmlns:a16="http://schemas.microsoft.com/office/drawing/2014/main" xmlns="" id="{74BD8EAA-BA28-4D93-A646-D8506875D667}"/>
                </a:ext>
              </a:extLst>
            </p:cNvPr>
            <p:cNvSpPr/>
            <p:nvPr/>
          </p:nvSpPr>
          <p:spPr>
            <a:xfrm flipV="1">
              <a:off x="4546252" y="5339111"/>
              <a:ext cx="16630" cy="15341"/>
            </a:xfrm>
            <a:custGeom>
              <a:avLst/>
              <a:gdLst>
                <a:gd name="connsiteX0" fmla="*/ -2029 w 16630"/>
                <a:gd name="connsiteY0" fmla="*/ 10999 h 15341"/>
                <a:gd name="connsiteX1" fmla="*/ 9302 w 16630"/>
                <a:gd name="connsiteY1" fmla="*/ 4023 h 15341"/>
                <a:gd name="connsiteX2" fmla="*/ 8212 w 16630"/>
                <a:gd name="connsiteY2" fmla="*/ 13179 h 15341"/>
                <a:gd name="connsiteX3" fmla="*/ -2029 w 16630"/>
                <a:gd name="connsiteY3" fmla="*/ 10999 h 15341"/>
              </a:gdLst>
              <a:ahLst/>
              <a:cxnLst>
                <a:cxn ang="0">
                  <a:pos x="connsiteX0" y="connsiteY0"/>
                </a:cxn>
                <a:cxn ang="0">
                  <a:pos x="connsiteX1" y="connsiteY1"/>
                </a:cxn>
                <a:cxn ang="0">
                  <a:pos x="connsiteX2" y="connsiteY2"/>
                </a:cxn>
                <a:cxn ang="0">
                  <a:pos x="connsiteX3" y="connsiteY3"/>
                </a:cxn>
              </a:cxnLst>
              <a:rect l="l" t="t" r="r" b="b"/>
              <a:pathLst>
                <a:path w="16630" h="15341">
                  <a:moveTo>
                    <a:pt x="-2029" y="10999"/>
                  </a:moveTo>
                  <a:cubicBezTo>
                    <a:pt x="-4862" y="-119"/>
                    <a:pt x="-504" y="-2953"/>
                    <a:pt x="9302" y="4023"/>
                  </a:cubicBezTo>
                  <a:cubicBezTo>
                    <a:pt x="15403" y="8383"/>
                    <a:pt x="15403" y="9691"/>
                    <a:pt x="8212" y="13179"/>
                  </a:cubicBezTo>
                  <a:cubicBezTo>
                    <a:pt x="368" y="16668"/>
                    <a:pt x="-504" y="16668"/>
                    <a:pt x="-2029" y="10999"/>
                  </a:cubicBezTo>
                  <a:close/>
                </a:path>
              </a:pathLst>
            </a:custGeom>
            <a:grpFill/>
            <a:ln w="218" cap="flat">
              <a:noFill/>
              <a:prstDash val="solid"/>
              <a:miter/>
            </a:ln>
          </p:spPr>
          <p:txBody>
            <a:bodyPr rtlCol="0" anchor="ctr"/>
            <a:lstStyle/>
            <a:p>
              <a:endParaRPr lang="en-GB" dirty="0"/>
            </a:p>
          </p:txBody>
        </p:sp>
        <p:sp>
          <p:nvSpPr>
            <p:cNvPr id="84" name="Freihandform: Form 83">
              <a:extLst>
                <a:ext uri="{FF2B5EF4-FFF2-40B4-BE49-F238E27FC236}">
                  <a16:creationId xmlns:a16="http://schemas.microsoft.com/office/drawing/2014/main" xmlns="" id="{30A6AEAC-A198-48C3-8DA8-02C661D469A6}"/>
                </a:ext>
              </a:extLst>
            </p:cNvPr>
            <p:cNvSpPr/>
            <p:nvPr/>
          </p:nvSpPr>
          <p:spPr>
            <a:xfrm flipV="1">
              <a:off x="4605121" y="5339052"/>
              <a:ext cx="3721" cy="6371"/>
            </a:xfrm>
            <a:custGeom>
              <a:avLst/>
              <a:gdLst>
                <a:gd name="connsiteX0" fmla="*/ -2281 w 3721"/>
                <a:gd name="connsiteY0" fmla="*/ 4780 h 6371"/>
                <a:gd name="connsiteX1" fmla="*/ -2717 w 3721"/>
                <a:gd name="connsiteY1" fmla="*/ 856 h 6371"/>
                <a:gd name="connsiteX2" fmla="*/ 334 w 3721"/>
                <a:gd name="connsiteY2" fmla="*/ 4780 h 6371"/>
                <a:gd name="connsiteX3" fmla="*/ -2281 w 3721"/>
                <a:gd name="connsiteY3" fmla="*/ 4780 h 6371"/>
              </a:gdLst>
              <a:ahLst/>
              <a:cxnLst>
                <a:cxn ang="0">
                  <a:pos x="connsiteX0" y="connsiteY0"/>
                </a:cxn>
                <a:cxn ang="0">
                  <a:pos x="connsiteX1" y="connsiteY1"/>
                </a:cxn>
                <a:cxn ang="0">
                  <a:pos x="connsiteX2" y="connsiteY2"/>
                </a:cxn>
                <a:cxn ang="0">
                  <a:pos x="connsiteX3" y="connsiteY3"/>
                </a:cxn>
              </a:cxnLst>
              <a:rect l="l" t="t" r="r" b="b"/>
              <a:pathLst>
                <a:path w="3721" h="6371">
                  <a:moveTo>
                    <a:pt x="-2281" y="4780"/>
                  </a:moveTo>
                  <a:cubicBezTo>
                    <a:pt x="-3152" y="3254"/>
                    <a:pt x="-3370" y="1510"/>
                    <a:pt x="-2717" y="856"/>
                  </a:cubicBezTo>
                  <a:cubicBezTo>
                    <a:pt x="-755" y="-1106"/>
                    <a:pt x="1424" y="1728"/>
                    <a:pt x="334" y="4780"/>
                  </a:cubicBezTo>
                  <a:cubicBezTo>
                    <a:pt x="-538" y="7178"/>
                    <a:pt x="-973" y="7178"/>
                    <a:pt x="-2281" y="4780"/>
                  </a:cubicBezTo>
                  <a:close/>
                </a:path>
              </a:pathLst>
            </a:custGeom>
            <a:grpFill/>
            <a:ln w="218" cap="flat">
              <a:noFill/>
              <a:prstDash val="solid"/>
              <a:miter/>
            </a:ln>
          </p:spPr>
          <p:txBody>
            <a:bodyPr rtlCol="0" anchor="ctr"/>
            <a:lstStyle/>
            <a:p>
              <a:endParaRPr lang="en-GB" dirty="0"/>
            </a:p>
          </p:txBody>
        </p:sp>
        <p:sp>
          <p:nvSpPr>
            <p:cNvPr id="85" name="Freihandform: Form 84">
              <a:extLst>
                <a:ext uri="{FF2B5EF4-FFF2-40B4-BE49-F238E27FC236}">
                  <a16:creationId xmlns:a16="http://schemas.microsoft.com/office/drawing/2014/main" xmlns="" id="{955BD18A-2A65-4CDB-A790-1D3EC814D7D3}"/>
                </a:ext>
              </a:extLst>
            </p:cNvPr>
            <p:cNvSpPr/>
            <p:nvPr/>
          </p:nvSpPr>
          <p:spPr>
            <a:xfrm flipV="1">
              <a:off x="4674360" y="5338888"/>
              <a:ext cx="4358" cy="4360"/>
            </a:xfrm>
            <a:custGeom>
              <a:avLst/>
              <a:gdLst>
                <a:gd name="connsiteX0" fmla="*/ -3384 w 4358"/>
                <a:gd name="connsiteY0" fmla="*/ 2382 h 4360"/>
                <a:gd name="connsiteX1" fmla="*/ -1205 w 4358"/>
                <a:gd name="connsiteY1" fmla="*/ 202 h 4360"/>
                <a:gd name="connsiteX2" fmla="*/ 974 w 4358"/>
                <a:gd name="connsiteY2" fmla="*/ 2382 h 4360"/>
                <a:gd name="connsiteX3" fmla="*/ -1205 w 4358"/>
                <a:gd name="connsiteY3" fmla="*/ 4562 h 4360"/>
                <a:gd name="connsiteX4" fmla="*/ -3384 w 4358"/>
                <a:gd name="connsiteY4" fmla="*/ 2382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3384" y="2382"/>
                  </a:moveTo>
                  <a:cubicBezTo>
                    <a:pt x="-3384" y="1292"/>
                    <a:pt x="-2294" y="202"/>
                    <a:pt x="-1205" y="202"/>
                  </a:cubicBezTo>
                  <a:cubicBezTo>
                    <a:pt x="103" y="202"/>
                    <a:pt x="974" y="1292"/>
                    <a:pt x="974" y="2382"/>
                  </a:cubicBezTo>
                  <a:cubicBezTo>
                    <a:pt x="974" y="3690"/>
                    <a:pt x="103" y="4562"/>
                    <a:pt x="-1205" y="4562"/>
                  </a:cubicBezTo>
                  <a:cubicBezTo>
                    <a:pt x="-2294" y="4562"/>
                    <a:pt x="-3384" y="3690"/>
                    <a:pt x="-3384" y="2382"/>
                  </a:cubicBezTo>
                  <a:close/>
                </a:path>
              </a:pathLst>
            </a:custGeom>
            <a:grpFill/>
            <a:ln w="218" cap="flat">
              <a:noFill/>
              <a:prstDash val="solid"/>
              <a:miter/>
            </a:ln>
          </p:spPr>
          <p:txBody>
            <a:bodyPr rtlCol="0" anchor="ctr"/>
            <a:lstStyle/>
            <a:p>
              <a:endParaRPr lang="en-GB" dirty="0"/>
            </a:p>
          </p:txBody>
        </p:sp>
        <p:sp>
          <p:nvSpPr>
            <p:cNvPr id="86" name="Freihandform: Form 85">
              <a:extLst>
                <a:ext uri="{FF2B5EF4-FFF2-40B4-BE49-F238E27FC236}">
                  <a16:creationId xmlns:a16="http://schemas.microsoft.com/office/drawing/2014/main" xmlns="" id="{A86B1241-B26C-41C1-B63E-0EEB870A3BFC}"/>
                </a:ext>
              </a:extLst>
            </p:cNvPr>
            <p:cNvSpPr/>
            <p:nvPr/>
          </p:nvSpPr>
          <p:spPr>
            <a:xfrm flipV="1">
              <a:off x="4922121" y="5341807"/>
              <a:ext cx="21769" cy="38076"/>
            </a:xfrm>
            <a:custGeom>
              <a:avLst/>
              <a:gdLst>
                <a:gd name="connsiteX0" fmla="*/ 4055 w 21769"/>
                <a:gd name="connsiteY0" fmla="*/ 37591 h 38076"/>
                <a:gd name="connsiteX1" fmla="*/ 4055 w 21769"/>
                <a:gd name="connsiteY1" fmla="*/ 31487 h 38076"/>
                <a:gd name="connsiteX2" fmla="*/ 351 w 21769"/>
                <a:gd name="connsiteY2" fmla="*/ 24729 h 38076"/>
                <a:gd name="connsiteX3" fmla="*/ -4443 w 21769"/>
                <a:gd name="connsiteY3" fmla="*/ 22549 h 38076"/>
                <a:gd name="connsiteX4" fmla="*/ 2094 w 21769"/>
                <a:gd name="connsiteY4" fmla="*/ 14919 h 38076"/>
                <a:gd name="connsiteX5" fmla="*/ 10157 w 21769"/>
                <a:gd name="connsiteY5" fmla="*/ 3364 h 38076"/>
                <a:gd name="connsiteX6" fmla="*/ 14951 w 21769"/>
                <a:gd name="connsiteY6" fmla="*/ 2492 h 38076"/>
                <a:gd name="connsiteX7" fmla="*/ 16040 w 21769"/>
                <a:gd name="connsiteY7" fmla="*/ 10558 h 38076"/>
                <a:gd name="connsiteX8" fmla="*/ 14951 w 21769"/>
                <a:gd name="connsiteY8" fmla="*/ 20369 h 38076"/>
                <a:gd name="connsiteX9" fmla="*/ 13861 w 21769"/>
                <a:gd name="connsiteY9" fmla="*/ 26909 h 38076"/>
                <a:gd name="connsiteX10" fmla="*/ 11464 w 21769"/>
                <a:gd name="connsiteY10" fmla="*/ 32577 h 38076"/>
                <a:gd name="connsiteX11" fmla="*/ 4055 w 21769"/>
                <a:gd name="connsiteY11" fmla="*/ 37591 h 38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769" h="38076">
                  <a:moveTo>
                    <a:pt x="4055" y="37591"/>
                  </a:moveTo>
                  <a:cubicBezTo>
                    <a:pt x="3401" y="36937"/>
                    <a:pt x="3401" y="34103"/>
                    <a:pt x="4055" y="31487"/>
                  </a:cubicBezTo>
                  <a:cubicBezTo>
                    <a:pt x="4927" y="27999"/>
                    <a:pt x="3837" y="26255"/>
                    <a:pt x="351" y="24729"/>
                  </a:cubicBezTo>
                  <a:lnTo>
                    <a:pt x="-4443" y="22549"/>
                  </a:lnTo>
                  <a:lnTo>
                    <a:pt x="2094" y="14919"/>
                  </a:lnTo>
                  <a:cubicBezTo>
                    <a:pt x="5580" y="10994"/>
                    <a:pt x="9285" y="5544"/>
                    <a:pt x="10157" y="3364"/>
                  </a:cubicBezTo>
                  <a:cubicBezTo>
                    <a:pt x="11464" y="-560"/>
                    <a:pt x="11900" y="-560"/>
                    <a:pt x="14951" y="2492"/>
                  </a:cubicBezTo>
                  <a:cubicBezTo>
                    <a:pt x="17783" y="5108"/>
                    <a:pt x="18001" y="6852"/>
                    <a:pt x="16040" y="10558"/>
                  </a:cubicBezTo>
                  <a:cubicBezTo>
                    <a:pt x="14733" y="12956"/>
                    <a:pt x="14079" y="17317"/>
                    <a:pt x="14951" y="20369"/>
                  </a:cubicBezTo>
                  <a:cubicBezTo>
                    <a:pt x="15604" y="23203"/>
                    <a:pt x="15168" y="26255"/>
                    <a:pt x="13861" y="26909"/>
                  </a:cubicBezTo>
                  <a:cubicBezTo>
                    <a:pt x="12554" y="27781"/>
                    <a:pt x="11464" y="30179"/>
                    <a:pt x="11464" y="32577"/>
                  </a:cubicBezTo>
                  <a:cubicBezTo>
                    <a:pt x="11464" y="36501"/>
                    <a:pt x="6452" y="39989"/>
                    <a:pt x="4055" y="37591"/>
                  </a:cubicBezTo>
                  <a:close/>
                </a:path>
              </a:pathLst>
            </a:custGeom>
            <a:grpFill/>
            <a:ln w="218" cap="flat">
              <a:noFill/>
              <a:prstDash val="solid"/>
              <a:miter/>
            </a:ln>
          </p:spPr>
          <p:txBody>
            <a:bodyPr rtlCol="0" anchor="ctr"/>
            <a:lstStyle/>
            <a:p>
              <a:endParaRPr lang="en-GB" dirty="0"/>
            </a:p>
          </p:txBody>
        </p:sp>
        <p:sp>
          <p:nvSpPr>
            <p:cNvPr id="87" name="Freihandform: Form 86">
              <a:extLst>
                <a:ext uri="{FF2B5EF4-FFF2-40B4-BE49-F238E27FC236}">
                  <a16:creationId xmlns:a16="http://schemas.microsoft.com/office/drawing/2014/main" xmlns="" id="{3E304CB1-F179-4DD4-89A0-64E8CFF8CD5F}"/>
                </a:ext>
              </a:extLst>
            </p:cNvPr>
            <p:cNvSpPr/>
            <p:nvPr/>
          </p:nvSpPr>
          <p:spPr>
            <a:xfrm flipV="1">
              <a:off x="4942386" y="5341068"/>
              <a:ext cx="55648" cy="75333"/>
            </a:xfrm>
            <a:custGeom>
              <a:avLst/>
              <a:gdLst>
                <a:gd name="connsiteX0" fmla="*/ -4597 w 55648"/>
                <a:gd name="connsiteY0" fmla="*/ 73546 h 75333"/>
                <a:gd name="connsiteX1" fmla="*/ -1546 w 55648"/>
                <a:gd name="connsiteY1" fmla="*/ 69840 h 75333"/>
                <a:gd name="connsiteX2" fmla="*/ 6081 w 55648"/>
                <a:gd name="connsiteY2" fmla="*/ 51091 h 75333"/>
                <a:gd name="connsiteX3" fmla="*/ 10657 w 55648"/>
                <a:gd name="connsiteY3" fmla="*/ 40191 h 75333"/>
                <a:gd name="connsiteX4" fmla="*/ 15015 w 55648"/>
                <a:gd name="connsiteY4" fmla="*/ 37138 h 75333"/>
                <a:gd name="connsiteX5" fmla="*/ 8042 w 55648"/>
                <a:gd name="connsiteY5" fmla="*/ 33650 h 75333"/>
                <a:gd name="connsiteX6" fmla="*/ 4119 w 55648"/>
                <a:gd name="connsiteY6" fmla="*/ 33650 h 75333"/>
                <a:gd name="connsiteX7" fmla="*/ 6516 w 55648"/>
                <a:gd name="connsiteY7" fmla="*/ 29944 h 75333"/>
                <a:gd name="connsiteX8" fmla="*/ 8042 w 55648"/>
                <a:gd name="connsiteY8" fmla="*/ 25802 h 75333"/>
                <a:gd name="connsiteX9" fmla="*/ 30268 w 55648"/>
                <a:gd name="connsiteY9" fmla="*/ 513 h 75333"/>
                <a:gd name="connsiteX10" fmla="*/ 29179 w 55648"/>
                <a:gd name="connsiteY10" fmla="*/ 11850 h 75333"/>
                <a:gd name="connsiteX11" fmla="*/ 28961 w 55648"/>
                <a:gd name="connsiteY11" fmla="*/ 34304 h 75333"/>
                <a:gd name="connsiteX12" fmla="*/ 48572 w 55648"/>
                <a:gd name="connsiteY12" fmla="*/ 52399 h 75333"/>
                <a:gd name="connsiteX13" fmla="*/ 48790 w 55648"/>
                <a:gd name="connsiteY13" fmla="*/ 61773 h 75333"/>
                <a:gd name="connsiteX14" fmla="*/ 46611 w 55648"/>
                <a:gd name="connsiteY14" fmla="*/ 69404 h 75333"/>
                <a:gd name="connsiteX15" fmla="*/ 42471 w 55648"/>
                <a:gd name="connsiteY15" fmla="*/ 73546 h 75333"/>
                <a:gd name="connsiteX16" fmla="*/ 36370 w 55648"/>
                <a:gd name="connsiteY16" fmla="*/ 67005 h 75333"/>
                <a:gd name="connsiteX17" fmla="*/ 35716 w 55648"/>
                <a:gd name="connsiteY17" fmla="*/ 53925 h 75333"/>
                <a:gd name="connsiteX18" fmla="*/ 29179 w 55648"/>
                <a:gd name="connsiteY18" fmla="*/ 46077 h 75333"/>
                <a:gd name="connsiteX19" fmla="*/ 27000 w 55648"/>
                <a:gd name="connsiteY19" fmla="*/ 51527 h 75333"/>
                <a:gd name="connsiteX20" fmla="*/ 25910 w 55648"/>
                <a:gd name="connsiteY20" fmla="*/ 61555 h 75333"/>
                <a:gd name="connsiteX21" fmla="*/ 20245 w 55648"/>
                <a:gd name="connsiteY21" fmla="*/ 64607 h 75333"/>
                <a:gd name="connsiteX22" fmla="*/ 14797 w 55648"/>
                <a:gd name="connsiteY22" fmla="*/ 65261 h 75333"/>
                <a:gd name="connsiteX23" fmla="*/ 633 w 55648"/>
                <a:gd name="connsiteY23" fmla="*/ 75726 h 75333"/>
                <a:gd name="connsiteX24" fmla="*/ -4597 w 55648"/>
                <a:gd name="connsiteY24" fmla="*/ 73546 h 75333"/>
                <a:gd name="connsiteX25" fmla="*/ 15451 w 55648"/>
                <a:gd name="connsiteY25" fmla="*/ 53489 h 75333"/>
                <a:gd name="connsiteX26" fmla="*/ 12836 w 55648"/>
                <a:gd name="connsiteY26" fmla="*/ 53053 h 75333"/>
                <a:gd name="connsiteX27" fmla="*/ 16976 w 55648"/>
                <a:gd name="connsiteY27" fmla="*/ 57195 h 75333"/>
                <a:gd name="connsiteX28" fmla="*/ 15451 w 55648"/>
                <a:gd name="connsiteY28" fmla="*/ 53489 h 75333"/>
                <a:gd name="connsiteX29" fmla="*/ 25910 w 55648"/>
                <a:gd name="connsiteY29" fmla="*/ 39973 h 75333"/>
                <a:gd name="connsiteX30" fmla="*/ 23731 w 55648"/>
                <a:gd name="connsiteY30" fmla="*/ 37574 h 75333"/>
                <a:gd name="connsiteX31" fmla="*/ 21552 w 55648"/>
                <a:gd name="connsiteY31" fmla="*/ 38446 h 75333"/>
                <a:gd name="connsiteX32" fmla="*/ 23731 w 55648"/>
                <a:gd name="connsiteY32" fmla="*/ 40845 h 75333"/>
                <a:gd name="connsiteX33" fmla="*/ 25910 w 55648"/>
                <a:gd name="connsiteY33" fmla="*/ 39973 h 75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5648" h="75333">
                  <a:moveTo>
                    <a:pt x="-4597" y="73546"/>
                  </a:moveTo>
                  <a:cubicBezTo>
                    <a:pt x="-4597" y="72456"/>
                    <a:pt x="-3289" y="70712"/>
                    <a:pt x="-1546" y="69840"/>
                  </a:cubicBezTo>
                  <a:cubicBezTo>
                    <a:pt x="3684" y="66787"/>
                    <a:pt x="8260" y="55233"/>
                    <a:pt x="6081" y="51091"/>
                  </a:cubicBezTo>
                  <a:cubicBezTo>
                    <a:pt x="2812" y="45423"/>
                    <a:pt x="5645" y="38883"/>
                    <a:pt x="10657" y="40191"/>
                  </a:cubicBezTo>
                  <a:cubicBezTo>
                    <a:pt x="13925" y="41063"/>
                    <a:pt x="15015" y="40191"/>
                    <a:pt x="15015" y="37138"/>
                  </a:cubicBezTo>
                  <a:cubicBezTo>
                    <a:pt x="15015" y="30816"/>
                    <a:pt x="12618" y="29508"/>
                    <a:pt x="8042" y="33650"/>
                  </a:cubicBezTo>
                  <a:cubicBezTo>
                    <a:pt x="4337" y="36920"/>
                    <a:pt x="4119" y="36920"/>
                    <a:pt x="4119" y="33650"/>
                  </a:cubicBezTo>
                  <a:cubicBezTo>
                    <a:pt x="4119" y="31470"/>
                    <a:pt x="5209" y="29944"/>
                    <a:pt x="6516" y="29944"/>
                  </a:cubicBezTo>
                  <a:cubicBezTo>
                    <a:pt x="7606" y="29944"/>
                    <a:pt x="8478" y="28200"/>
                    <a:pt x="8042" y="25802"/>
                  </a:cubicBezTo>
                  <a:cubicBezTo>
                    <a:pt x="7170" y="21006"/>
                    <a:pt x="27000" y="-1449"/>
                    <a:pt x="30268" y="513"/>
                  </a:cubicBezTo>
                  <a:cubicBezTo>
                    <a:pt x="33537" y="2475"/>
                    <a:pt x="32883" y="9888"/>
                    <a:pt x="29179" y="11850"/>
                  </a:cubicBezTo>
                  <a:cubicBezTo>
                    <a:pt x="23949" y="14902"/>
                    <a:pt x="23731" y="34304"/>
                    <a:pt x="28961" y="34304"/>
                  </a:cubicBezTo>
                  <a:cubicBezTo>
                    <a:pt x="32883" y="34304"/>
                    <a:pt x="43343" y="44115"/>
                    <a:pt x="48572" y="52399"/>
                  </a:cubicBezTo>
                  <a:cubicBezTo>
                    <a:pt x="51841" y="57849"/>
                    <a:pt x="51841" y="58721"/>
                    <a:pt x="48790" y="61773"/>
                  </a:cubicBezTo>
                  <a:cubicBezTo>
                    <a:pt x="46829" y="63735"/>
                    <a:pt x="45958" y="67005"/>
                    <a:pt x="46611" y="69404"/>
                  </a:cubicBezTo>
                  <a:cubicBezTo>
                    <a:pt x="47701" y="72674"/>
                    <a:pt x="46829" y="73546"/>
                    <a:pt x="42471" y="73546"/>
                  </a:cubicBezTo>
                  <a:cubicBezTo>
                    <a:pt x="37677" y="73546"/>
                    <a:pt x="36805" y="72456"/>
                    <a:pt x="36370" y="67005"/>
                  </a:cubicBezTo>
                  <a:cubicBezTo>
                    <a:pt x="36152" y="63517"/>
                    <a:pt x="35934" y="57413"/>
                    <a:pt x="35716" y="53925"/>
                  </a:cubicBezTo>
                  <a:cubicBezTo>
                    <a:pt x="35280" y="45859"/>
                    <a:pt x="33755" y="44333"/>
                    <a:pt x="29179" y="46077"/>
                  </a:cubicBezTo>
                  <a:cubicBezTo>
                    <a:pt x="26782" y="46949"/>
                    <a:pt x="26128" y="48911"/>
                    <a:pt x="27000" y="51527"/>
                  </a:cubicBezTo>
                  <a:cubicBezTo>
                    <a:pt x="27653" y="53707"/>
                    <a:pt x="27218" y="58285"/>
                    <a:pt x="25910" y="61555"/>
                  </a:cubicBezTo>
                  <a:cubicBezTo>
                    <a:pt x="23949" y="66569"/>
                    <a:pt x="23077" y="67005"/>
                    <a:pt x="20245" y="64607"/>
                  </a:cubicBezTo>
                  <a:cubicBezTo>
                    <a:pt x="17412" y="62209"/>
                    <a:pt x="16540" y="62427"/>
                    <a:pt x="14797" y="65261"/>
                  </a:cubicBezTo>
                  <a:cubicBezTo>
                    <a:pt x="11092" y="72020"/>
                    <a:pt x="6081" y="75726"/>
                    <a:pt x="633" y="75726"/>
                  </a:cubicBezTo>
                  <a:cubicBezTo>
                    <a:pt x="-2200" y="75726"/>
                    <a:pt x="-4597" y="74854"/>
                    <a:pt x="-4597" y="73546"/>
                  </a:cubicBezTo>
                  <a:close/>
                  <a:moveTo>
                    <a:pt x="15451" y="53489"/>
                  </a:moveTo>
                  <a:cubicBezTo>
                    <a:pt x="13925" y="51963"/>
                    <a:pt x="12836" y="51745"/>
                    <a:pt x="12836" y="53053"/>
                  </a:cubicBezTo>
                  <a:cubicBezTo>
                    <a:pt x="12836" y="56105"/>
                    <a:pt x="15451" y="58721"/>
                    <a:pt x="16976" y="57195"/>
                  </a:cubicBezTo>
                  <a:cubicBezTo>
                    <a:pt x="17412" y="56541"/>
                    <a:pt x="16758" y="54797"/>
                    <a:pt x="15451" y="53489"/>
                  </a:cubicBezTo>
                  <a:close/>
                  <a:moveTo>
                    <a:pt x="25910" y="39973"/>
                  </a:moveTo>
                  <a:cubicBezTo>
                    <a:pt x="25910" y="39319"/>
                    <a:pt x="25038" y="38228"/>
                    <a:pt x="23731" y="37574"/>
                  </a:cubicBezTo>
                  <a:cubicBezTo>
                    <a:pt x="22642" y="36920"/>
                    <a:pt x="21552" y="37356"/>
                    <a:pt x="21552" y="38446"/>
                  </a:cubicBezTo>
                  <a:cubicBezTo>
                    <a:pt x="21552" y="39755"/>
                    <a:pt x="22642" y="40845"/>
                    <a:pt x="23731" y="40845"/>
                  </a:cubicBezTo>
                  <a:cubicBezTo>
                    <a:pt x="25038" y="40845"/>
                    <a:pt x="25910" y="40409"/>
                    <a:pt x="25910" y="39973"/>
                  </a:cubicBezTo>
                  <a:close/>
                </a:path>
              </a:pathLst>
            </a:custGeom>
            <a:grpFill/>
            <a:ln w="218" cap="flat">
              <a:noFill/>
              <a:prstDash val="solid"/>
              <a:miter/>
            </a:ln>
          </p:spPr>
          <p:txBody>
            <a:bodyPr rtlCol="0" anchor="ctr"/>
            <a:lstStyle/>
            <a:p>
              <a:endParaRPr lang="en-GB" dirty="0"/>
            </a:p>
          </p:txBody>
        </p:sp>
        <p:sp>
          <p:nvSpPr>
            <p:cNvPr id="88" name="Freihandform: Form 87">
              <a:extLst>
                <a:ext uri="{FF2B5EF4-FFF2-40B4-BE49-F238E27FC236}">
                  <a16:creationId xmlns:a16="http://schemas.microsoft.com/office/drawing/2014/main" xmlns="" id="{CB3FCB7A-7153-4BEB-B62E-80A28D31D330}"/>
                </a:ext>
              </a:extLst>
            </p:cNvPr>
            <p:cNvSpPr/>
            <p:nvPr/>
          </p:nvSpPr>
          <p:spPr>
            <a:xfrm flipV="1">
              <a:off x="5258352" y="5341420"/>
              <a:ext cx="4793" cy="5836"/>
            </a:xfrm>
            <a:custGeom>
              <a:avLst/>
              <a:gdLst>
                <a:gd name="connsiteX0" fmla="*/ -5797 w 4793"/>
                <a:gd name="connsiteY0" fmla="*/ 3137 h 5836"/>
                <a:gd name="connsiteX1" fmla="*/ -3400 w 4793"/>
                <a:gd name="connsiteY1" fmla="*/ 303 h 5836"/>
                <a:gd name="connsiteX2" fmla="*/ -1003 w 4793"/>
                <a:gd name="connsiteY2" fmla="*/ 3137 h 5836"/>
                <a:gd name="connsiteX3" fmla="*/ -3400 w 4793"/>
                <a:gd name="connsiteY3" fmla="*/ 5971 h 5836"/>
                <a:gd name="connsiteX4" fmla="*/ -5797 w 4793"/>
                <a:gd name="connsiteY4" fmla="*/ 3137 h 5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3" h="5836">
                  <a:moveTo>
                    <a:pt x="-5797" y="3137"/>
                  </a:moveTo>
                  <a:cubicBezTo>
                    <a:pt x="-5797" y="1175"/>
                    <a:pt x="-4707" y="-133"/>
                    <a:pt x="-3400" y="303"/>
                  </a:cubicBezTo>
                  <a:cubicBezTo>
                    <a:pt x="-2092" y="739"/>
                    <a:pt x="-1003" y="2047"/>
                    <a:pt x="-1003" y="3137"/>
                  </a:cubicBezTo>
                  <a:cubicBezTo>
                    <a:pt x="-1003" y="4227"/>
                    <a:pt x="-2092" y="5535"/>
                    <a:pt x="-3400" y="5971"/>
                  </a:cubicBezTo>
                  <a:cubicBezTo>
                    <a:pt x="-4707" y="6407"/>
                    <a:pt x="-5797" y="5099"/>
                    <a:pt x="-5797" y="3137"/>
                  </a:cubicBezTo>
                  <a:close/>
                </a:path>
              </a:pathLst>
            </a:custGeom>
            <a:grpFill/>
            <a:ln w="218" cap="flat">
              <a:noFill/>
              <a:prstDash val="solid"/>
              <a:miter/>
            </a:ln>
          </p:spPr>
          <p:txBody>
            <a:bodyPr rtlCol="0" anchor="ctr"/>
            <a:lstStyle/>
            <a:p>
              <a:endParaRPr lang="en-GB" dirty="0"/>
            </a:p>
          </p:txBody>
        </p:sp>
        <p:sp>
          <p:nvSpPr>
            <p:cNvPr id="89" name="Freihandform: Form 88">
              <a:extLst>
                <a:ext uri="{FF2B5EF4-FFF2-40B4-BE49-F238E27FC236}">
                  <a16:creationId xmlns:a16="http://schemas.microsoft.com/office/drawing/2014/main" xmlns="" id="{31A0F093-95B8-4A40-B18A-D338EAEF9481}"/>
                </a:ext>
              </a:extLst>
            </p:cNvPr>
            <p:cNvSpPr/>
            <p:nvPr/>
          </p:nvSpPr>
          <p:spPr>
            <a:xfrm flipV="1">
              <a:off x="4657597" y="5343691"/>
              <a:ext cx="13920" cy="22387"/>
            </a:xfrm>
            <a:custGeom>
              <a:avLst/>
              <a:gdLst>
                <a:gd name="connsiteX0" fmla="*/ -2043 w 13920"/>
                <a:gd name="connsiteY0" fmla="*/ 17869 h 22387"/>
                <a:gd name="connsiteX1" fmla="*/ 354 w 13920"/>
                <a:gd name="connsiteY1" fmla="*/ 5661 h 22387"/>
                <a:gd name="connsiteX2" fmla="*/ 8635 w 13920"/>
                <a:gd name="connsiteY2" fmla="*/ 1954 h 22387"/>
                <a:gd name="connsiteX3" fmla="*/ 7763 w 13920"/>
                <a:gd name="connsiteY3" fmla="*/ 14163 h 22387"/>
                <a:gd name="connsiteX4" fmla="*/ -2043 w 13920"/>
                <a:gd name="connsiteY4" fmla="*/ 17869 h 2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20" h="22387">
                  <a:moveTo>
                    <a:pt x="-2043" y="17869"/>
                  </a:moveTo>
                  <a:cubicBezTo>
                    <a:pt x="-4222" y="13509"/>
                    <a:pt x="-3786" y="11329"/>
                    <a:pt x="354" y="5661"/>
                  </a:cubicBezTo>
                  <a:cubicBezTo>
                    <a:pt x="4713" y="-444"/>
                    <a:pt x="5584" y="-880"/>
                    <a:pt x="8635" y="1954"/>
                  </a:cubicBezTo>
                  <a:cubicBezTo>
                    <a:pt x="11468" y="5006"/>
                    <a:pt x="11250" y="6315"/>
                    <a:pt x="7763" y="14163"/>
                  </a:cubicBezTo>
                  <a:cubicBezTo>
                    <a:pt x="2969" y="24409"/>
                    <a:pt x="1226" y="25063"/>
                    <a:pt x="-2043" y="17869"/>
                  </a:cubicBezTo>
                  <a:close/>
                </a:path>
              </a:pathLst>
            </a:custGeom>
            <a:grpFill/>
            <a:ln w="218" cap="flat">
              <a:noFill/>
              <a:prstDash val="solid"/>
              <a:miter/>
            </a:ln>
          </p:spPr>
          <p:txBody>
            <a:bodyPr rtlCol="0" anchor="ctr"/>
            <a:lstStyle/>
            <a:p>
              <a:endParaRPr lang="en-GB" dirty="0"/>
            </a:p>
          </p:txBody>
        </p:sp>
        <p:sp>
          <p:nvSpPr>
            <p:cNvPr id="90" name="Freihandform: Form 89">
              <a:extLst>
                <a:ext uri="{FF2B5EF4-FFF2-40B4-BE49-F238E27FC236}">
                  <a16:creationId xmlns:a16="http://schemas.microsoft.com/office/drawing/2014/main" xmlns="" id="{8E155F77-45C8-4A80-85AF-641AE15AC1B7}"/>
                </a:ext>
              </a:extLst>
            </p:cNvPr>
            <p:cNvSpPr/>
            <p:nvPr/>
          </p:nvSpPr>
          <p:spPr>
            <a:xfrm flipV="1">
              <a:off x="5232848" y="5352589"/>
              <a:ext cx="26792" cy="27938"/>
            </a:xfrm>
            <a:custGeom>
              <a:avLst/>
              <a:gdLst>
                <a:gd name="connsiteX0" fmla="*/ 6693 w 26792"/>
                <a:gd name="connsiteY0" fmla="*/ 26492 h 27938"/>
                <a:gd name="connsiteX1" fmla="*/ 1463 w 26792"/>
                <a:gd name="connsiteY1" fmla="*/ 24529 h 27938"/>
                <a:gd name="connsiteX2" fmla="*/ -3549 w 26792"/>
                <a:gd name="connsiteY2" fmla="*/ 16245 h 27938"/>
                <a:gd name="connsiteX3" fmla="*/ 2989 w 26792"/>
                <a:gd name="connsiteY3" fmla="*/ 15591 h 27938"/>
                <a:gd name="connsiteX4" fmla="*/ 7565 w 26792"/>
                <a:gd name="connsiteY4" fmla="*/ 9269 h 27938"/>
                <a:gd name="connsiteX5" fmla="*/ 8872 w 26792"/>
                <a:gd name="connsiteY5" fmla="*/ 331 h 27938"/>
                <a:gd name="connsiteX6" fmla="*/ 14320 w 26792"/>
                <a:gd name="connsiteY6" fmla="*/ 4255 h 27938"/>
                <a:gd name="connsiteX7" fmla="*/ 19767 w 26792"/>
                <a:gd name="connsiteY7" fmla="*/ 15155 h 27938"/>
                <a:gd name="connsiteX8" fmla="*/ 20857 w 26792"/>
                <a:gd name="connsiteY8" fmla="*/ 24965 h 27938"/>
                <a:gd name="connsiteX9" fmla="*/ 14320 w 26792"/>
                <a:gd name="connsiteY9" fmla="*/ 28236 h 27938"/>
                <a:gd name="connsiteX10" fmla="*/ 6693 w 26792"/>
                <a:gd name="connsiteY10" fmla="*/ 26492 h 27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792" h="27938">
                  <a:moveTo>
                    <a:pt x="6693" y="26492"/>
                  </a:moveTo>
                  <a:cubicBezTo>
                    <a:pt x="6693" y="25401"/>
                    <a:pt x="4296" y="24529"/>
                    <a:pt x="1463" y="24529"/>
                  </a:cubicBezTo>
                  <a:cubicBezTo>
                    <a:pt x="-5510" y="24529"/>
                    <a:pt x="-7907" y="20605"/>
                    <a:pt x="-3549" y="16245"/>
                  </a:cubicBezTo>
                  <a:cubicBezTo>
                    <a:pt x="-716" y="13629"/>
                    <a:pt x="592" y="13411"/>
                    <a:pt x="2989" y="15591"/>
                  </a:cubicBezTo>
                  <a:cubicBezTo>
                    <a:pt x="5603" y="17553"/>
                    <a:pt x="6475" y="16463"/>
                    <a:pt x="7565" y="9269"/>
                  </a:cubicBezTo>
                  <a:lnTo>
                    <a:pt x="8872" y="331"/>
                  </a:lnTo>
                  <a:lnTo>
                    <a:pt x="14320" y="4255"/>
                  </a:lnTo>
                  <a:cubicBezTo>
                    <a:pt x="18024" y="6871"/>
                    <a:pt x="19550" y="10359"/>
                    <a:pt x="19767" y="15155"/>
                  </a:cubicBezTo>
                  <a:cubicBezTo>
                    <a:pt x="19767" y="18861"/>
                    <a:pt x="20203" y="23221"/>
                    <a:pt x="20857" y="24965"/>
                  </a:cubicBezTo>
                  <a:cubicBezTo>
                    <a:pt x="21729" y="26928"/>
                    <a:pt x="19767" y="28018"/>
                    <a:pt x="14320" y="28236"/>
                  </a:cubicBezTo>
                  <a:cubicBezTo>
                    <a:pt x="10179" y="28454"/>
                    <a:pt x="6693" y="27582"/>
                    <a:pt x="6693" y="26492"/>
                  </a:cubicBezTo>
                  <a:close/>
                </a:path>
              </a:pathLst>
            </a:custGeom>
            <a:grpFill/>
            <a:ln w="218" cap="flat">
              <a:noFill/>
              <a:prstDash val="solid"/>
              <a:miter/>
            </a:ln>
          </p:spPr>
          <p:txBody>
            <a:bodyPr rtlCol="0" anchor="ctr"/>
            <a:lstStyle/>
            <a:p>
              <a:endParaRPr lang="en-GB" dirty="0"/>
            </a:p>
          </p:txBody>
        </p:sp>
        <p:sp>
          <p:nvSpPr>
            <p:cNvPr id="91" name="Freihandform: Form 90">
              <a:extLst>
                <a:ext uri="{FF2B5EF4-FFF2-40B4-BE49-F238E27FC236}">
                  <a16:creationId xmlns:a16="http://schemas.microsoft.com/office/drawing/2014/main" xmlns="" id="{27026273-3AC6-4EA7-85D1-AEB19E89F1C7}"/>
                </a:ext>
              </a:extLst>
            </p:cNvPr>
            <p:cNvSpPr/>
            <p:nvPr/>
          </p:nvSpPr>
          <p:spPr>
            <a:xfrm flipV="1">
              <a:off x="4589376" y="5362869"/>
              <a:ext cx="4358" cy="4360"/>
            </a:xfrm>
            <a:custGeom>
              <a:avLst/>
              <a:gdLst>
                <a:gd name="connsiteX0" fmla="*/ -3033 w 4358"/>
                <a:gd name="connsiteY0" fmla="*/ 2503 h 4360"/>
                <a:gd name="connsiteX1" fmla="*/ -854 w 4358"/>
                <a:gd name="connsiteY1" fmla="*/ 323 h 4360"/>
                <a:gd name="connsiteX2" fmla="*/ 1325 w 4358"/>
                <a:gd name="connsiteY2" fmla="*/ 2503 h 4360"/>
                <a:gd name="connsiteX3" fmla="*/ -854 w 4358"/>
                <a:gd name="connsiteY3" fmla="*/ 4683 h 4360"/>
                <a:gd name="connsiteX4" fmla="*/ -3033 w 4358"/>
                <a:gd name="connsiteY4" fmla="*/ 2503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3033" y="2503"/>
                  </a:moveTo>
                  <a:cubicBezTo>
                    <a:pt x="-3033" y="1413"/>
                    <a:pt x="-1943" y="323"/>
                    <a:pt x="-854" y="323"/>
                  </a:cubicBezTo>
                  <a:cubicBezTo>
                    <a:pt x="454" y="323"/>
                    <a:pt x="1325" y="1413"/>
                    <a:pt x="1325" y="2503"/>
                  </a:cubicBezTo>
                  <a:cubicBezTo>
                    <a:pt x="1325" y="3811"/>
                    <a:pt x="454" y="4683"/>
                    <a:pt x="-854" y="4683"/>
                  </a:cubicBezTo>
                  <a:cubicBezTo>
                    <a:pt x="-1943" y="4683"/>
                    <a:pt x="-3033" y="3811"/>
                    <a:pt x="-3033" y="2503"/>
                  </a:cubicBezTo>
                  <a:close/>
                </a:path>
              </a:pathLst>
            </a:custGeom>
            <a:grpFill/>
            <a:ln w="218" cap="flat">
              <a:noFill/>
              <a:prstDash val="solid"/>
              <a:miter/>
            </a:ln>
          </p:spPr>
          <p:txBody>
            <a:bodyPr rtlCol="0" anchor="ctr"/>
            <a:lstStyle/>
            <a:p>
              <a:endParaRPr lang="en-GB" dirty="0"/>
            </a:p>
          </p:txBody>
        </p:sp>
        <p:sp>
          <p:nvSpPr>
            <p:cNvPr id="92" name="Freihandform: Form 91">
              <a:extLst>
                <a:ext uri="{FF2B5EF4-FFF2-40B4-BE49-F238E27FC236}">
                  <a16:creationId xmlns:a16="http://schemas.microsoft.com/office/drawing/2014/main" xmlns="" id="{C8475D75-2414-454D-B552-199C6B2697FD}"/>
                </a:ext>
              </a:extLst>
            </p:cNvPr>
            <p:cNvSpPr/>
            <p:nvPr/>
          </p:nvSpPr>
          <p:spPr>
            <a:xfrm flipV="1">
              <a:off x="4285599" y="5365049"/>
              <a:ext cx="82289" cy="67049"/>
            </a:xfrm>
            <a:custGeom>
              <a:avLst/>
              <a:gdLst>
                <a:gd name="connsiteX0" fmla="*/ 12021 w 82289"/>
                <a:gd name="connsiteY0" fmla="*/ 61001 h 67049"/>
                <a:gd name="connsiteX1" fmla="*/ 6573 w 82289"/>
                <a:gd name="connsiteY1" fmla="*/ 54461 h 67049"/>
                <a:gd name="connsiteX2" fmla="*/ 1561 w 82289"/>
                <a:gd name="connsiteY2" fmla="*/ 46395 h 67049"/>
                <a:gd name="connsiteX3" fmla="*/ 12021 w 82289"/>
                <a:gd name="connsiteY3" fmla="*/ 41381 h 67049"/>
                <a:gd name="connsiteX4" fmla="*/ 21391 w 82289"/>
                <a:gd name="connsiteY4" fmla="*/ 47921 h 67049"/>
                <a:gd name="connsiteX5" fmla="*/ 22045 w 82289"/>
                <a:gd name="connsiteY5" fmla="*/ 39201 h 67049"/>
                <a:gd name="connsiteX6" fmla="*/ 8534 w 82289"/>
                <a:gd name="connsiteY6" fmla="*/ 26556 h 67049"/>
                <a:gd name="connsiteX7" fmla="*/ -1054 w 82289"/>
                <a:gd name="connsiteY7" fmla="*/ 21760 h 67049"/>
                <a:gd name="connsiteX8" fmla="*/ 20737 w 82289"/>
                <a:gd name="connsiteY8" fmla="*/ 14348 h 67049"/>
                <a:gd name="connsiteX9" fmla="*/ 26838 w 82289"/>
                <a:gd name="connsiteY9" fmla="*/ 16964 h 67049"/>
                <a:gd name="connsiteX10" fmla="*/ 33376 w 82289"/>
                <a:gd name="connsiteY10" fmla="*/ 9552 h 67049"/>
                <a:gd name="connsiteX11" fmla="*/ 43617 w 82289"/>
                <a:gd name="connsiteY11" fmla="*/ 3011 h 67049"/>
                <a:gd name="connsiteX12" fmla="*/ 56474 w 82289"/>
                <a:gd name="connsiteY12" fmla="*/ 6281 h 67049"/>
                <a:gd name="connsiteX13" fmla="*/ 64319 w 82289"/>
                <a:gd name="connsiteY13" fmla="*/ 3011 h 67049"/>
                <a:gd name="connsiteX14" fmla="*/ 71509 w 82289"/>
                <a:gd name="connsiteY14" fmla="*/ 1049 h 67049"/>
                <a:gd name="connsiteX15" fmla="*/ 77829 w 82289"/>
                <a:gd name="connsiteY15" fmla="*/ 11950 h 67049"/>
                <a:gd name="connsiteX16" fmla="*/ 69766 w 82289"/>
                <a:gd name="connsiteY16" fmla="*/ 18708 h 67049"/>
                <a:gd name="connsiteX17" fmla="*/ 59525 w 82289"/>
                <a:gd name="connsiteY17" fmla="*/ 25030 h 67049"/>
                <a:gd name="connsiteX18" fmla="*/ 54513 w 82289"/>
                <a:gd name="connsiteY18" fmla="*/ 29390 h 67049"/>
                <a:gd name="connsiteX19" fmla="*/ 47322 w 82289"/>
                <a:gd name="connsiteY19" fmla="*/ 31352 h 67049"/>
                <a:gd name="connsiteX20" fmla="*/ 43182 w 82289"/>
                <a:gd name="connsiteY20" fmla="*/ 28736 h 67049"/>
                <a:gd name="connsiteX21" fmla="*/ 33812 w 82289"/>
                <a:gd name="connsiteY21" fmla="*/ 23286 h 67049"/>
                <a:gd name="connsiteX22" fmla="*/ 33376 w 82289"/>
                <a:gd name="connsiteY22" fmla="*/ 34404 h 67049"/>
                <a:gd name="connsiteX23" fmla="*/ 39041 w 82289"/>
                <a:gd name="connsiteY23" fmla="*/ 43343 h 67049"/>
                <a:gd name="connsiteX24" fmla="*/ 45796 w 82289"/>
                <a:gd name="connsiteY24" fmla="*/ 50319 h 67049"/>
                <a:gd name="connsiteX25" fmla="*/ 42964 w 82289"/>
                <a:gd name="connsiteY25" fmla="*/ 61655 h 67049"/>
                <a:gd name="connsiteX26" fmla="*/ 27928 w 82289"/>
                <a:gd name="connsiteY26" fmla="*/ 66888 h 67049"/>
                <a:gd name="connsiteX27" fmla="*/ 12021 w 82289"/>
                <a:gd name="connsiteY27" fmla="*/ 67542 h 67049"/>
                <a:gd name="connsiteX28" fmla="*/ 12021 w 82289"/>
                <a:gd name="connsiteY28" fmla="*/ 61001 h 67049"/>
                <a:gd name="connsiteX29" fmla="*/ 34465 w 82289"/>
                <a:gd name="connsiteY29" fmla="*/ 59475 h 67049"/>
                <a:gd name="connsiteX30" fmla="*/ 26185 w 82289"/>
                <a:gd name="connsiteY30" fmla="*/ 50101 h 67049"/>
                <a:gd name="connsiteX31" fmla="*/ 22045 w 82289"/>
                <a:gd name="connsiteY31" fmla="*/ 59039 h 67049"/>
                <a:gd name="connsiteX32" fmla="*/ 34465 w 82289"/>
                <a:gd name="connsiteY32" fmla="*/ 59475 h 67049"/>
                <a:gd name="connsiteX33" fmla="*/ 52987 w 82289"/>
                <a:gd name="connsiteY33" fmla="*/ 17836 h 67049"/>
                <a:gd name="connsiteX34" fmla="*/ 44489 w 82289"/>
                <a:gd name="connsiteY34" fmla="*/ 12386 h 67049"/>
                <a:gd name="connsiteX35" fmla="*/ 45143 w 82289"/>
                <a:gd name="connsiteY35" fmla="*/ 19362 h 67049"/>
                <a:gd name="connsiteX36" fmla="*/ 52987 w 82289"/>
                <a:gd name="connsiteY36" fmla="*/ 17836 h 67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2289" h="67049">
                  <a:moveTo>
                    <a:pt x="12021" y="61001"/>
                  </a:moveTo>
                  <a:cubicBezTo>
                    <a:pt x="12021" y="55551"/>
                    <a:pt x="11149" y="54461"/>
                    <a:pt x="6573" y="54461"/>
                  </a:cubicBezTo>
                  <a:cubicBezTo>
                    <a:pt x="1779" y="54461"/>
                    <a:pt x="1343" y="53589"/>
                    <a:pt x="1561" y="46395"/>
                  </a:cubicBezTo>
                  <a:cubicBezTo>
                    <a:pt x="1779" y="34404"/>
                    <a:pt x="2651" y="33968"/>
                    <a:pt x="12021" y="41381"/>
                  </a:cubicBezTo>
                  <a:cubicBezTo>
                    <a:pt x="16597" y="44869"/>
                    <a:pt x="20737" y="47921"/>
                    <a:pt x="21391" y="47921"/>
                  </a:cubicBezTo>
                  <a:cubicBezTo>
                    <a:pt x="22045" y="47921"/>
                    <a:pt x="22262" y="43997"/>
                    <a:pt x="22045" y="39201"/>
                  </a:cubicBezTo>
                  <a:cubicBezTo>
                    <a:pt x="21609" y="28518"/>
                    <a:pt x="15943" y="23286"/>
                    <a:pt x="8534" y="26556"/>
                  </a:cubicBezTo>
                  <a:cubicBezTo>
                    <a:pt x="1125" y="30044"/>
                    <a:pt x="-4104" y="27428"/>
                    <a:pt x="-1054" y="21760"/>
                  </a:cubicBezTo>
                  <a:cubicBezTo>
                    <a:pt x="3522" y="13476"/>
                    <a:pt x="20737" y="7372"/>
                    <a:pt x="20737" y="14348"/>
                  </a:cubicBezTo>
                  <a:cubicBezTo>
                    <a:pt x="20737" y="16746"/>
                    <a:pt x="22480" y="17400"/>
                    <a:pt x="26838" y="16964"/>
                  </a:cubicBezTo>
                  <a:cubicBezTo>
                    <a:pt x="31632" y="16528"/>
                    <a:pt x="32940" y="15002"/>
                    <a:pt x="33376" y="9552"/>
                  </a:cubicBezTo>
                  <a:cubicBezTo>
                    <a:pt x="34029" y="3011"/>
                    <a:pt x="34465" y="2793"/>
                    <a:pt x="43617" y="3011"/>
                  </a:cubicBezTo>
                  <a:cubicBezTo>
                    <a:pt x="48847" y="3229"/>
                    <a:pt x="54513" y="4755"/>
                    <a:pt x="56474" y="6281"/>
                  </a:cubicBezTo>
                  <a:cubicBezTo>
                    <a:pt x="60178" y="9552"/>
                    <a:pt x="64319" y="7808"/>
                    <a:pt x="64319" y="3011"/>
                  </a:cubicBezTo>
                  <a:cubicBezTo>
                    <a:pt x="64319" y="395"/>
                    <a:pt x="65844" y="-41"/>
                    <a:pt x="71509" y="1049"/>
                  </a:cubicBezTo>
                  <a:cubicBezTo>
                    <a:pt x="81751" y="3447"/>
                    <a:pt x="81969" y="3665"/>
                    <a:pt x="77829" y="11950"/>
                  </a:cubicBezTo>
                  <a:cubicBezTo>
                    <a:pt x="74996" y="17836"/>
                    <a:pt x="73035" y="19362"/>
                    <a:pt x="69766" y="18708"/>
                  </a:cubicBezTo>
                  <a:cubicBezTo>
                    <a:pt x="64101" y="17400"/>
                    <a:pt x="60614" y="19580"/>
                    <a:pt x="59525" y="25030"/>
                  </a:cubicBezTo>
                  <a:cubicBezTo>
                    <a:pt x="59089" y="27646"/>
                    <a:pt x="57128" y="29390"/>
                    <a:pt x="54513" y="29390"/>
                  </a:cubicBezTo>
                  <a:cubicBezTo>
                    <a:pt x="52116" y="29390"/>
                    <a:pt x="48847" y="30262"/>
                    <a:pt x="47322" y="31352"/>
                  </a:cubicBezTo>
                  <a:cubicBezTo>
                    <a:pt x="45361" y="32442"/>
                    <a:pt x="44053" y="31788"/>
                    <a:pt x="43182" y="28736"/>
                  </a:cubicBezTo>
                  <a:cubicBezTo>
                    <a:pt x="42092" y="23940"/>
                    <a:pt x="36208" y="20670"/>
                    <a:pt x="33812" y="23286"/>
                  </a:cubicBezTo>
                  <a:cubicBezTo>
                    <a:pt x="32940" y="24158"/>
                    <a:pt x="32722" y="29172"/>
                    <a:pt x="33376" y="34404"/>
                  </a:cubicBezTo>
                  <a:cubicBezTo>
                    <a:pt x="34247" y="42471"/>
                    <a:pt x="34901" y="43779"/>
                    <a:pt x="39041" y="43343"/>
                  </a:cubicBezTo>
                  <a:cubicBezTo>
                    <a:pt x="48847" y="42689"/>
                    <a:pt x="49283" y="43125"/>
                    <a:pt x="45796" y="50319"/>
                  </a:cubicBezTo>
                  <a:cubicBezTo>
                    <a:pt x="43835" y="53807"/>
                    <a:pt x="42528" y="59039"/>
                    <a:pt x="42964" y="61655"/>
                  </a:cubicBezTo>
                  <a:cubicBezTo>
                    <a:pt x="43617" y="66016"/>
                    <a:pt x="42528" y="66234"/>
                    <a:pt x="27928" y="66888"/>
                  </a:cubicBezTo>
                  <a:lnTo>
                    <a:pt x="12021" y="67542"/>
                  </a:lnTo>
                  <a:lnTo>
                    <a:pt x="12021" y="61001"/>
                  </a:lnTo>
                  <a:close/>
                  <a:moveTo>
                    <a:pt x="34465" y="59475"/>
                  </a:moveTo>
                  <a:cubicBezTo>
                    <a:pt x="36426" y="57731"/>
                    <a:pt x="29671" y="50101"/>
                    <a:pt x="26185" y="50101"/>
                  </a:cubicBezTo>
                  <a:cubicBezTo>
                    <a:pt x="22916" y="50101"/>
                    <a:pt x="20083" y="56205"/>
                    <a:pt x="22045" y="59039"/>
                  </a:cubicBezTo>
                  <a:cubicBezTo>
                    <a:pt x="23352" y="61219"/>
                    <a:pt x="32286" y="61655"/>
                    <a:pt x="34465" y="59475"/>
                  </a:cubicBezTo>
                  <a:close/>
                  <a:moveTo>
                    <a:pt x="52987" y="17836"/>
                  </a:moveTo>
                  <a:cubicBezTo>
                    <a:pt x="53859" y="12386"/>
                    <a:pt x="47975" y="8898"/>
                    <a:pt x="44489" y="12386"/>
                  </a:cubicBezTo>
                  <a:cubicBezTo>
                    <a:pt x="42964" y="13912"/>
                    <a:pt x="43182" y="16310"/>
                    <a:pt x="45143" y="19362"/>
                  </a:cubicBezTo>
                  <a:cubicBezTo>
                    <a:pt x="48629" y="24812"/>
                    <a:pt x="52116" y="24158"/>
                    <a:pt x="52987" y="17836"/>
                  </a:cubicBezTo>
                  <a:close/>
                </a:path>
              </a:pathLst>
            </a:custGeom>
            <a:grpFill/>
            <a:ln w="218" cap="flat">
              <a:noFill/>
              <a:prstDash val="solid"/>
              <a:miter/>
            </a:ln>
          </p:spPr>
          <p:txBody>
            <a:bodyPr rtlCol="0" anchor="ctr"/>
            <a:lstStyle/>
            <a:p>
              <a:endParaRPr lang="en-GB" dirty="0"/>
            </a:p>
          </p:txBody>
        </p:sp>
        <p:sp>
          <p:nvSpPr>
            <p:cNvPr id="93" name="Freihandform: Form 92">
              <a:extLst>
                <a:ext uri="{FF2B5EF4-FFF2-40B4-BE49-F238E27FC236}">
                  <a16:creationId xmlns:a16="http://schemas.microsoft.com/office/drawing/2014/main" xmlns="" id="{6B6C18DF-80FE-478D-B3C8-30CD5E8F9D07}"/>
                </a:ext>
              </a:extLst>
            </p:cNvPr>
            <p:cNvSpPr/>
            <p:nvPr/>
          </p:nvSpPr>
          <p:spPr>
            <a:xfrm flipV="1">
              <a:off x="4336604" y="5365458"/>
              <a:ext cx="10605" cy="25751"/>
            </a:xfrm>
            <a:custGeom>
              <a:avLst/>
              <a:gdLst>
                <a:gd name="connsiteX0" fmla="*/ -2002 w 10605"/>
                <a:gd name="connsiteY0" fmla="*/ 22409 h 25751"/>
                <a:gd name="connsiteX1" fmla="*/ 177 w 10605"/>
                <a:gd name="connsiteY1" fmla="*/ 16741 h 25751"/>
                <a:gd name="connsiteX2" fmla="*/ 2356 w 10605"/>
                <a:gd name="connsiteY2" fmla="*/ 7802 h 25751"/>
                <a:gd name="connsiteX3" fmla="*/ 5843 w 10605"/>
                <a:gd name="connsiteY3" fmla="*/ 390 h 25751"/>
                <a:gd name="connsiteX4" fmla="*/ 8240 w 10605"/>
                <a:gd name="connsiteY4" fmla="*/ 5404 h 25751"/>
                <a:gd name="connsiteX5" fmla="*/ 5189 w 10605"/>
                <a:gd name="connsiteY5" fmla="*/ 17613 h 25751"/>
                <a:gd name="connsiteX6" fmla="*/ -2002 w 10605"/>
                <a:gd name="connsiteY6" fmla="*/ 22409 h 25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05" h="25751">
                  <a:moveTo>
                    <a:pt x="-2002" y="22409"/>
                  </a:moveTo>
                  <a:cubicBezTo>
                    <a:pt x="-2002" y="20011"/>
                    <a:pt x="-912" y="17395"/>
                    <a:pt x="177" y="16741"/>
                  </a:cubicBezTo>
                  <a:cubicBezTo>
                    <a:pt x="1485" y="16087"/>
                    <a:pt x="2356" y="11944"/>
                    <a:pt x="2356" y="7802"/>
                  </a:cubicBezTo>
                  <a:cubicBezTo>
                    <a:pt x="2356" y="2352"/>
                    <a:pt x="3228" y="390"/>
                    <a:pt x="5843" y="390"/>
                  </a:cubicBezTo>
                  <a:cubicBezTo>
                    <a:pt x="8458" y="390"/>
                    <a:pt x="9111" y="1698"/>
                    <a:pt x="8240" y="5404"/>
                  </a:cubicBezTo>
                  <a:cubicBezTo>
                    <a:pt x="7586" y="8020"/>
                    <a:pt x="6061" y="13470"/>
                    <a:pt x="5189" y="17613"/>
                  </a:cubicBezTo>
                  <a:cubicBezTo>
                    <a:pt x="3228" y="25897"/>
                    <a:pt x="-2002" y="29385"/>
                    <a:pt x="-2002" y="22409"/>
                  </a:cubicBezTo>
                  <a:close/>
                </a:path>
              </a:pathLst>
            </a:custGeom>
            <a:grpFill/>
            <a:ln w="218" cap="flat">
              <a:noFill/>
              <a:prstDash val="solid"/>
              <a:miter/>
            </a:ln>
          </p:spPr>
          <p:txBody>
            <a:bodyPr rtlCol="0" anchor="ctr"/>
            <a:lstStyle/>
            <a:p>
              <a:endParaRPr lang="en-GB" dirty="0"/>
            </a:p>
          </p:txBody>
        </p:sp>
        <p:sp>
          <p:nvSpPr>
            <p:cNvPr id="94" name="Freihandform: Form 93">
              <a:extLst>
                <a:ext uri="{FF2B5EF4-FFF2-40B4-BE49-F238E27FC236}">
                  <a16:creationId xmlns:a16="http://schemas.microsoft.com/office/drawing/2014/main" xmlns="" id="{17F88BC7-65BD-466B-8095-E6105B079F5C}"/>
                </a:ext>
              </a:extLst>
            </p:cNvPr>
            <p:cNvSpPr/>
            <p:nvPr/>
          </p:nvSpPr>
          <p:spPr>
            <a:xfrm flipV="1">
              <a:off x="4532720" y="5365049"/>
              <a:ext cx="3575" cy="4360"/>
            </a:xfrm>
            <a:custGeom>
              <a:avLst/>
              <a:gdLst>
                <a:gd name="connsiteX0" fmla="*/ -2797 w 3575"/>
                <a:gd name="connsiteY0" fmla="*/ 2514 h 4360"/>
                <a:gd name="connsiteX1" fmla="*/ -400 w 3575"/>
                <a:gd name="connsiteY1" fmla="*/ 334 h 4360"/>
                <a:gd name="connsiteX2" fmla="*/ 471 w 3575"/>
                <a:gd name="connsiteY2" fmla="*/ 2514 h 4360"/>
                <a:gd name="connsiteX3" fmla="*/ -1926 w 3575"/>
                <a:gd name="connsiteY3" fmla="*/ 4694 h 4360"/>
                <a:gd name="connsiteX4" fmla="*/ -2797 w 3575"/>
                <a:gd name="connsiteY4" fmla="*/ 2514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2797" y="2514"/>
                  </a:moveTo>
                  <a:cubicBezTo>
                    <a:pt x="-2797" y="1424"/>
                    <a:pt x="-1708" y="334"/>
                    <a:pt x="-400" y="334"/>
                  </a:cubicBezTo>
                  <a:cubicBezTo>
                    <a:pt x="689" y="334"/>
                    <a:pt x="1125" y="1424"/>
                    <a:pt x="471" y="2514"/>
                  </a:cubicBezTo>
                  <a:cubicBezTo>
                    <a:pt x="-182" y="3822"/>
                    <a:pt x="-1272" y="4694"/>
                    <a:pt x="-1926" y="4694"/>
                  </a:cubicBezTo>
                  <a:cubicBezTo>
                    <a:pt x="-2362" y="4694"/>
                    <a:pt x="-2797" y="3822"/>
                    <a:pt x="-2797" y="2514"/>
                  </a:cubicBezTo>
                  <a:close/>
                </a:path>
              </a:pathLst>
            </a:custGeom>
            <a:grpFill/>
            <a:ln w="218" cap="flat">
              <a:noFill/>
              <a:prstDash val="solid"/>
              <a:miter/>
            </a:ln>
          </p:spPr>
          <p:txBody>
            <a:bodyPr rtlCol="0" anchor="ctr"/>
            <a:lstStyle/>
            <a:p>
              <a:endParaRPr lang="en-GB" dirty="0"/>
            </a:p>
          </p:txBody>
        </p:sp>
        <p:sp>
          <p:nvSpPr>
            <p:cNvPr id="95" name="Freihandform: Form 94">
              <a:extLst>
                <a:ext uri="{FF2B5EF4-FFF2-40B4-BE49-F238E27FC236}">
                  <a16:creationId xmlns:a16="http://schemas.microsoft.com/office/drawing/2014/main" xmlns="" id="{2B59E7A0-A7C5-4CB4-96D7-8705F0F17FA3}"/>
                </a:ext>
              </a:extLst>
            </p:cNvPr>
            <p:cNvSpPr/>
            <p:nvPr/>
          </p:nvSpPr>
          <p:spPr>
            <a:xfrm flipV="1">
              <a:off x="4561668" y="5370592"/>
              <a:ext cx="78450" cy="96492"/>
            </a:xfrm>
            <a:custGeom>
              <a:avLst/>
              <a:gdLst>
                <a:gd name="connsiteX0" fmla="*/ 19625 w 78450"/>
                <a:gd name="connsiteY0" fmla="*/ 96962 h 96492"/>
                <a:gd name="connsiteX1" fmla="*/ 18100 w 78450"/>
                <a:gd name="connsiteY1" fmla="*/ 88242 h 96492"/>
                <a:gd name="connsiteX2" fmla="*/ 23112 w 78450"/>
                <a:gd name="connsiteY2" fmla="*/ 80394 h 96492"/>
                <a:gd name="connsiteX3" fmla="*/ 27906 w 78450"/>
                <a:gd name="connsiteY3" fmla="*/ 73199 h 96492"/>
                <a:gd name="connsiteX4" fmla="*/ 30739 w 78450"/>
                <a:gd name="connsiteY4" fmla="*/ 61645 h 96492"/>
                <a:gd name="connsiteX5" fmla="*/ 23766 w 78450"/>
                <a:gd name="connsiteY5" fmla="*/ 50745 h 96492"/>
                <a:gd name="connsiteX6" fmla="*/ 18754 w 78450"/>
                <a:gd name="connsiteY6" fmla="*/ 49219 h 96492"/>
                <a:gd name="connsiteX7" fmla="*/ 23112 w 78450"/>
                <a:gd name="connsiteY7" fmla="*/ 47038 h 96492"/>
                <a:gd name="connsiteX8" fmla="*/ 25727 w 78450"/>
                <a:gd name="connsiteY8" fmla="*/ 37228 h 96492"/>
                <a:gd name="connsiteX9" fmla="*/ 19843 w 78450"/>
                <a:gd name="connsiteY9" fmla="*/ 36792 h 96492"/>
                <a:gd name="connsiteX10" fmla="*/ 15049 w 78450"/>
                <a:gd name="connsiteY10" fmla="*/ 39408 h 96492"/>
                <a:gd name="connsiteX11" fmla="*/ 15485 w 78450"/>
                <a:gd name="connsiteY11" fmla="*/ 36792 h 96492"/>
                <a:gd name="connsiteX12" fmla="*/ 13742 w 78450"/>
                <a:gd name="connsiteY12" fmla="*/ 26328 h 96492"/>
                <a:gd name="connsiteX13" fmla="*/ 9384 w 78450"/>
                <a:gd name="connsiteY13" fmla="*/ 21532 h 96492"/>
                <a:gd name="connsiteX14" fmla="*/ 2411 w 78450"/>
                <a:gd name="connsiteY14" fmla="*/ 10631 h 96492"/>
                <a:gd name="connsiteX15" fmla="*/ -2165 w 78450"/>
                <a:gd name="connsiteY15" fmla="*/ 2129 h 96492"/>
                <a:gd name="connsiteX16" fmla="*/ 5897 w 78450"/>
                <a:gd name="connsiteY16" fmla="*/ 1039 h 96492"/>
                <a:gd name="connsiteX17" fmla="*/ 11563 w 78450"/>
                <a:gd name="connsiteY17" fmla="*/ 8887 h 96492"/>
                <a:gd name="connsiteX18" fmla="*/ 18972 w 78450"/>
                <a:gd name="connsiteY18" fmla="*/ 13465 h 96492"/>
                <a:gd name="connsiteX19" fmla="*/ 29431 w 78450"/>
                <a:gd name="connsiteY19" fmla="*/ 12593 h 96492"/>
                <a:gd name="connsiteX20" fmla="*/ 43595 w 78450"/>
                <a:gd name="connsiteY20" fmla="*/ 13247 h 96492"/>
                <a:gd name="connsiteX21" fmla="*/ 47300 w 78450"/>
                <a:gd name="connsiteY21" fmla="*/ 18915 h 96492"/>
                <a:gd name="connsiteX22" fmla="*/ 40109 w 78450"/>
                <a:gd name="connsiteY22" fmla="*/ 33304 h 96492"/>
                <a:gd name="connsiteX23" fmla="*/ 40544 w 78450"/>
                <a:gd name="connsiteY23" fmla="*/ 40934 h 96492"/>
                <a:gd name="connsiteX24" fmla="*/ 41852 w 78450"/>
                <a:gd name="connsiteY24" fmla="*/ 45948 h 96492"/>
                <a:gd name="connsiteX25" fmla="*/ 44467 w 78450"/>
                <a:gd name="connsiteY25" fmla="*/ 42242 h 96492"/>
                <a:gd name="connsiteX26" fmla="*/ 51440 w 78450"/>
                <a:gd name="connsiteY26" fmla="*/ 26764 h 96492"/>
                <a:gd name="connsiteX27" fmla="*/ 60592 w 78450"/>
                <a:gd name="connsiteY27" fmla="*/ 28508 h 96492"/>
                <a:gd name="connsiteX28" fmla="*/ 68219 w 78450"/>
                <a:gd name="connsiteY28" fmla="*/ 28508 h 96492"/>
                <a:gd name="connsiteX29" fmla="*/ 75192 w 78450"/>
                <a:gd name="connsiteY29" fmla="*/ 33086 h 96492"/>
                <a:gd name="connsiteX30" fmla="*/ 63425 w 78450"/>
                <a:gd name="connsiteY30" fmla="*/ 38318 h 96492"/>
                <a:gd name="connsiteX31" fmla="*/ 50350 w 78450"/>
                <a:gd name="connsiteY31" fmla="*/ 44858 h 96492"/>
                <a:gd name="connsiteX32" fmla="*/ 45120 w 78450"/>
                <a:gd name="connsiteY32" fmla="*/ 50963 h 96492"/>
                <a:gd name="connsiteX33" fmla="*/ 40544 w 78450"/>
                <a:gd name="connsiteY33" fmla="*/ 60119 h 96492"/>
                <a:gd name="connsiteX34" fmla="*/ 46428 w 78450"/>
                <a:gd name="connsiteY34" fmla="*/ 67313 h 96492"/>
                <a:gd name="connsiteX35" fmla="*/ 51658 w 78450"/>
                <a:gd name="connsiteY35" fmla="*/ 73853 h 96492"/>
                <a:gd name="connsiteX36" fmla="*/ 44249 w 78450"/>
                <a:gd name="connsiteY36" fmla="*/ 78650 h 96492"/>
                <a:gd name="connsiteX37" fmla="*/ 36186 w 78450"/>
                <a:gd name="connsiteY37" fmla="*/ 79958 h 96492"/>
                <a:gd name="connsiteX38" fmla="*/ 19625 w 78450"/>
                <a:gd name="connsiteY38" fmla="*/ 96962 h 96492"/>
                <a:gd name="connsiteX39" fmla="*/ 33353 w 78450"/>
                <a:gd name="connsiteY39" fmla="*/ 25456 h 96492"/>
                <a:gd name="connsiteX40" fmla="*/ 31174 w 78450"/>
                <a:gd name="connsiteY40" fmla="*/ 23058 h 96492"/>
                <a:gd name="connsiteX41" fmla="*/ 28995 w 78450"/>
                <a:gd name="connsiteY41" fmla="*/ 23930 h 96492"/>
                <a:gd name="connsiteX42" fmla="*/ 31174 w 78450"/>
                <a:gd name="connsiteY42" fmla="*/ 26328 h 96492"/>
                <a:gd name="connsiteX43" fmla="*/ 33353 w 78450"/>
                <a:gd name="connsiteY43" fmla="*/ 25456 h 96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8450" h="96492">
                  <a:moveTo>
                    <a:pt x="19625" y="96962"/>
                  </a:moveTo>
                  <a:cubicBezTo>
                    <a:pt x="18754" y="96090"/>
                    <a:pt x="18100" y="92166"/>
                    <a:pt x="18100" y="88242"/>
                  </a:cubicBezTo>
                  <a:cubicBezTo>
                    <a:pt x="18100" y="82574"/>
                    <a:pt x="18972" y="81048"/>
                    <a:pt x="23112" y="80394"/>
                  </a:cubicBezTo>
                  <a:cubicBezTo>
                    <a:pt x="26816" y="79958"/>
                    <a:pt x="27906" y="78214"/>
                    <a:pt x="27906" y="73199"/>
                  </a:cubicBezTo>
                  <a:cubicBezTo>
                    <a:pt x="27906" y="69711"/>
                    <a:pt x="29213" y="64479"/>
                    <a:pt x="30739" y="61645"/>
                  </a:cubicBezTo>
                  <a:cubicBezTo>
                    <a:pt x="34225" y="55323"/>
                    <a:pt x="30739" y="49873"/>
                    <a:pt x="23766" y="50745"/>
                  </a:cubicBezTo>
                  <a:cubicBezTo>
                    <a:pt x="21369" y="51181"/>
                    <a:pt x="18972" y="50527"/>
                    <a:pt x="18754" y="49219"/>
                  </a:cubicBezTo>
                  <a:cubicBezTo>
                    <a:pt x="18318" y="48128"/>
                    <a:pt x="20279" y="47038"/>
                    <a:pt x="23112" y="47038"/>
                  </a:cubicBezTo>
                  <a:cubicBezTo>
                    <a:pt x="28777" y="47038"/>
                    <a:pt x="30521" y="41152"/>
                    <a:pt x="25727" y="37228"/>
                  </a:cubicBezTo>
                  <a:cubicBezTo>
                    <a:pt x="23112" y="35048"/>
                    <a:pt x="21586" y="35048"/>
                    <a:pt x="19843" y="36792"/>
                  </a:cubicBezTo>
                  <a:cubicBezTo>
                    <a:pt x="18318" y="38318"/>
                    <a:pt x="16357" y="39408"/>
                    <a:pt x="15049" y="39408"/>
                  </a:cubicBezTo>
                  <a:cubicBezTo>
                    <a:pt x="13742" y="39408"/>
                    <a:pt x="13960" y="38318"/>
                    <a:pt x="15485" y="36792"/>
                  </a:cubicBezTo>
                  <a:cubicBezTo>
                    <a:pt x="19625" y="32650"/>
                    <a:pt x="18754" y="26328"/>
                    <a:pt x="13742" y="26328"/>
                  </a:cubicBezTo>
                  <a:cubicBezTo>
                    <a:pt x="10691" y="26328"/>
                    <a:pt x="9384" y="24802"/>
                    <a:pt x="9384" y="21532"/>
                  </a:cubicBezTo>
                  <a:cubicBezTo>
                    <a:pt x="9384" y="18479"/>
                    <a:pt x="6551" y="14119"/>
                    <a:pt x="2411" y="10631"/>
                  </a:cubicBezTo>
                  <a:cubicBezTo>
                    <a:pt x="-3037" y="6053"/>
                    <a:pt x="-4127" y="4091"/>
                    <a:pt x="-2165" y="2129"/>
                  </a:cubicBezTo>
                  <a:cubicBezTo>
                    <a:pt x="-640" y="603"/>
                    <a:pt x="2628" y="167"/>
                    <a:pt x="5897" y="1039"/>
                  </a:cubicBezTo>
                  <a:cubicBezTo>
                    <a:pt x="10473" y="2129"/>
                    <a:pt x="11563" y="3873"/>
                    <a:pt x="11563" y="8887"/>
                  </a:cubicBezTo>
                  <a:cubicBezTo>
                    <a:pt x="11563" y="15209"/>
                    <a:pt x="16139" y="18043"/>
                    <a:pt x="18972" y="13465"/>
                  </a:cubicBezTo>
                  <a:cubicBezTo>
                    <a:pt x="19625" y="12593"/>
                    <a:pt x="24419" y="11939"/>
                    <a:pt x="29431" y="12593"/>
                  </a:cubicBezTo>
                  <a:cubicBezTo>
                    <a:pt x="34661" y="13029"/>
                    <a:pt x="40980" y="13465"/>
                    <a:pt x="43595" y="13247"/>
                  </a:cubicBezTo>
                  <a:cubicBezTo>
                    <a:pt x="49696" y="13247"/>
                    <a:pt x="52529" y="17607"/>
                    <a:pt x="47300" y="18915"/>
                  </a:cubicBezTo>
                  <a:cubicBezTo>
                    <a:pt x="42070" y="20224"/>
                    <a:pt x="37712" y="29380"/>
                    <a:pt x="40109" y="33304"/>
                  </a:cubicBezTo>
                  <a:cubicBezTo>
                    <a:pt x="40980" y="34830"/>
                    <a:pt x="41416" y="38318"/>
                    <a:pt x="40544" y="40934"/>
                  </a:cubicBezTo>
                  <a:cubicBezTo>
                    <a:pt x="39891" y="43986"/>
                    <a:pt x="40326" y="45948"/>
                    <a:pt x="41852" y="45948"/>
                  </a:cubicBezTo>
                  <a:cubicBezTo>
                    <a:pt x="43159" y="45948"/>
                    <a:pt x="44249" y="44204"/>
                    <a:pt x="44467" y="42242"/>
                  </a:cubicBezTo>
                  <a:cubicBezTo>
                    <a:pt x="45338" y="27418"/>
                    <a:pt x="45338" y="27418"/>
                    <a:pt x="51440" y="26764"/>
                  </a:cubicBezTo>
                  <a:cubicBezTo>
                    <a:pt x="54926" y="26328"/>
                    <a:pt x="58849" y="27200"/>
                    <a:pt x="60592" y="28508"/>
                  </a:cubicBezTo>
                  <a:cubicBezTo>
                    <a:pt x="62771" y="30470"/>
                    <a:pt x="64732" y="30470"/>
                    <a:pt x="68219" y="28508"/>
                  </a:cubicBezTo>
                  <a:cubicBezTo>
                    <a:pt x="73884" y="25456"/>
                    <a:pt x="74538" y="25892"/>
                    <a:pt x="75192" y="33086"/>
                  </a:cubicBezTo>
                  <a:cubicBezTo>
                    <a:pt x="75845" y="38100"/>
                    <a:pt x="75410" y="38318"/>
                    <a:pt x="63425" y="38318"/>
                  </a:cubicBezTo>
                  <a:cubicBezTo>
                    <a:pt x="51222" y="38318"/>
                    <a:pt x="51004" y="38318"/>
                    <a:pt x="50350" y="44858"/>
                  </a:cubicBezTo>
                  <a:cubicBezTo>
                    <a:pt x="49914" y="50091"/>
                    <a:pt x="48825" y="51399"/>
                    <a:pt x="45120" y="50963"/>
                  </a:cubicBezTo>
                  <a:cubicBezTo>
                    <a:pt x="41198" y="50527"/>
                    <a:pt x="40544" y="51617"/>
                    <a:pt x="40544" y="60119"/>
                  </a:cubicBezTo>
                  <a:cubicBezTo>
                    <a:pt x="40544" y="71019"/>
                    <a:pt x="40544" y="71019"/>
                    <a:pt x="46428" y="67313"/>
                  </a:cubicBezTo>
                  <a:cubicBezTo>
                    <a:pt x="51876" y="63825"/>
                    <a:pt x="53401" y="65569"/>
                    <a:pt x="51658" y="73853"/>
                  </a:cubicBezTo>
                  <a:cubicBezTo>
                    <a:pt x="50350" y="80176"/>
                    <a:pt x="44249" y="84100"/>
                    <a:pt x="44249" y="78650"/>
                  </a:cubicBezTo>
                  <a:cubicBezTo>
                    <a:pt x="44249" y="75161"/>
                    <a:pt x="37712" y="76251"/>
                    <a:pt x="36186" y="79958"/>
                  </a:cubicBezTo>
                  <a:cubicBezTo>
                    <a:pt x="34007" y="85626"/>
                    <a:pt x="21369" y="98488"/>
                    <a:pt x="19625" y="96962"/>
                  </a:cubicBezTo>
                  <a:close/>
                  <a:moveTo>
                    <a:pt x="33353" y="25456"/>
                  </a:moveTo>
                  <a:cubicBezTo>
                    <a:pt x="33353" y="24802"/>
                    <a:pt x="32482" y="23712"/>
                    <a:pt x="31174" y="23058"/>
                  </a:cubicBezTo>
                  <a:cubicBezTo>
                    <a:pt x="30085" y="22404"/>
                    <a:pt x="28995" y="22840"/>
                    <a:pt x="28995" y="23930"/>
                  </a:cubicBezTo>
                  <a:cubicBezTo>
                    <a:pt x="28995" y="25238"/>
                    <a:pt x="30085" y="26328"/>
                    <a:pt x="31174" y="26328"/>
                  </a:cubicBezTo>
                  <a:cubicBezTo>
                    <a:pt x="32482" y="26328"/>
                    <a:pt x="33353" y="25892"/>
                    <a:pt x="33353" y="25456"/>
                  </a:cubicBezTo>
                  <a:close/>
                </a:path>
              </a:pathLst>
            </a:custGeom>
            <a:grpFill/>
            <a:ln w="218" cap="flat">
              <a:noFill/>
              <a:prstDash val="solid"/>
              <a:miter/>
            </a:ln>
          </p:spPr>
          <p:txBody>
            <a:bodyPr rtlCol="0" anchor="ctr"/>
            <a:lstStyle/>
            <a:p>
              <a:endParaRPr lang="en-GB" dirty="0"/>
            </a:p>
          </p:txBody>
        </p:sp>
        <p:sp>
          <p:nvSpPr>
            <p:cNvPr id="96" name="Freihandform: Form 95">
              <a:extLst>
                <a:ext uri="{FF2B5EF4-FFF2-40B4-BE49-F238E27FC236}">
                  <a16:creationId xmlns:a16="http://schemas.microsoft.com/office/drawing/2014/main" xmlns="" id="{E8733B41-FF3E-4F09-A397-8D0326EA2BB6}"/>
                </a:ext>
              </a:extLst>
            </p:cNvPr>
            <p:cNvSpPr/>
            <p:nvPr/>
          </p:nvSpPr>
          <p:spPr>
            <a:xfrm flipV="1">
              <a:off x="4781754" y="5373769"/>
              <a:ext cx="23350" cy="37876"/>
            </a:xfrm>
            <a:custGeom>
              <a:avLst/>
              <a:gdLst>
                <a:gd name="connsiteX0" fmla="*/ 8588 w 23350"/>
                <a:gd name="connsiteY0" fmla="*/ 35069 h 37876"/>
                <a:gd name="connsiteX1" fmla="*/ 2051 w 23350"/>
                <a:gd name="connsiteY1" fmla="*/ 31799 h 37876"/>
                <a:gd name="connsiteX2" fmla="*/ -2089 w 23350"/>
                <a:gd name="connsiteY2" fmla="*/ 20027 h 37876"/>
                <a:gd name="connsiteX3" fmla="*/ -2089 w 23350"/>
                <a:gd name="connsiteY3" fmla="*/ 10217 h 37876"/>
                <a:gd name="connsiteX4" fmla="*/ -3614 w 23350"/>
                <a:gd name="connsiteY4" fmla="*/ 3676 h 37876"/>
                <a:gd name="connsiteX5" fmla="*/ 7717 w 23350"/>
                <a:gd name="connsiteY5" fmla="*/ 1496 h 37876"/>
                <a:gd name="connsiteX6" fmla="*/ 14254 w 23350"/>
                <a:gd name="connsiteY6" fmla="*/ 3458 h 37876"/>
                <a:gd name="connsiteX7" fmla="*/ 17523 w 23350"/>
                <a:gd name="connsiteY7" fmla="*/ 9781 h 37876"/>
                <a:gd name="connsiteX8" fmla="*/ 12075 w 23350"/>
                <a:gd name="connsiteY8" fmla="*/ 11525 h 37876"/>
                <a:gd name="connsiteX9" fmla="*/ 9896 w 23350"/>
                <a:gd name="connsiteY9" fmla="*/ 15449 h 37876"/>
                <a:gd name="connsiteX10" fmla="*/ 7717 w 23350"/>
                <a:gd name="connsiteY10" fmla="*/ 20899 h 37876"/>
                <a:gd name="connsiteX11" fmla="*/ 6191 w 23350"/>
                <a:gd name="connsiteY11" fmla="*/ 29401 h 37876"/>
                <a:gd name="connsiteX12" fmla="*/ 9460 w 23350"/>
                <a:gd name="connsiteY12" fmla="*/ 29837 h 37876"/>
                <a:gd name="connsiteX13" fmla="*/ 19484 w 23350"/>
                <a:gd name="connsiteY13" fmla="*/ 30273 h 37876"/>
                <a:gd name="connsiteX14" fmla="*/ 12729 w 23350"/>
                <a:gd name="connsiteY14" fmla="*/ 38339 h 37876"/>
                <a:gd name="connsiteX15" fmla="*/ 8588 w 23350"/>
                <a:gd name="connsiteY15" fmla="*/ 35069 h 37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350" h="37876">
                  <a:moveTo>
                    <a:pt x="8588" y="35069"/>
                  </a:moveTo>
                  <a:cubicBezTo>
                    <a:pt x="7063" y="33325"/>
                    <a:pt x="4230" y="31799"/>
                    <a:pt x="2051" y="31799"/>
                  </a:cubicBezTo>
                  <a:cubicBezTo>
                    <a:pt x="-3179" y="31799"/>
                    <a:pt x="-4922" y="26349"/>
                    <a:pt x="-2089" y="20027"/>
                  </a:cubicBezTo>
                  <a:cubicBezTo>
                    <a:pt x="-346" y="16321"/>
                    <a:pt x="-346" y="13705"/>
                    <a:pt x="-2089" y="10217"/>
                  </a:cubicBezTo>
                  <a:cubicBezTo>
                    <a:pt x="-3614" y="7600"/>
                    <a:pt x="-4268" y="4766"/>
                    <a:pt x="-3614" y="3676"/>
                  </a:cubicBezTo>
                  <a:cubicBezTo>
                    <a:pt x="-1871" y="842"/>
                    <a:pt x="6191" y="-684"/>
                    <a:pt x="7717" y="1496"/>
                  </a:cubicBezTo>
                  <a:cubicBezTo>
                    <a:pt x="8371" y="2586"/>
                    <a:pt x="11203" y="3458"/>
                    <a:pt x="14254" y="3458"/>
                  </a:cubicBezTo>
                  <a:cubicBezTo>
                    <a:pt x="19920" y="3458"/>
                    <a:pt x="20573" y="4984"/>
                    <a:pt x="17523" y="9781"/>
                  </a:cubicBezTo>
                  <a:cubicBezTo>
                    <a:pt x="16433" y="11525"/>
                    <a:pt x="14036" y="12179"/>
                    <a:pt x="12075" y="11525"/>
                  </a:cubicBezTo>
                  <a:cubicBezTo>
                    <a:pt x="9242" y="10435"/>
                    <a:pt x="8806" y="11089"/>
                    <a:pt x="9896" y="15449"/>
                  </a:cubicBezTo>
                  <a:cubicBezTo>
                    <a:pt x="10985" y="19591"/>
                    <a:pt x="10332" y="20899"/>
                    <a:pt x="7717" y="20899"/>
                  </a:cubicBezTo>
                  <a:cubicBezTo>
                    <a:pt x="4012" y="20899"/>
                    <a:pt x="3141" y="24605"/>
                    <a:pt x="6191" y="29401"/>
                  </a:cubicBezTo>
                  <a:cubicBezTo>
                    <a:pt x="7499" y="31363"/>
                    <a:pt x="8588" y="31581"/>
                    <a:pt x="9460" y="29837"/>
                  </a:cubicBezTo>
                  <a:cubicBezTo>
                    <a:pt x="11639" y="26567"/>
                    <a:pt x="19484" y="26785"/>
                    <a:pt x="19484" y="30273"/>
                  </a:cubicBezTo>
                  <a:cubicBezTo>
                    <a:pt x="19484" y="33325"/>
                    <a:pt x="15344" y="38339"/>
                    <a:pt x="12729" y="38339"/>
                  </a:cubicBezTo>
                  <a:cubicBezTo>
                    <a:pt x="11857" y="38339"/>
                    <a:pt x="10114" y="36813"/>
                    <a:pt x="8588" y="35069"/>
                  </a:cubicBezTo>
                  <a:close/>
                </a:path>
              </a:pathLst>
            </a:custGeom>
            <a:grpFill/>
            <a:ln w="218" cap="flat">
              <a:noFill/>
              <a:prstDash val="solid"/>
              <a:miter/>
            </a:ln>
          </p:spPr>
          <p:txBody>
            <a:bodyPr rtlCol="0" anchor="ctr"/>
            <a:lstStyle/>
            <a:p>
              <a:endParaRPr lang="en-GB" dirty="0"/>
            </a:p>
          </p:txBody>
        </p:sp>
        <p:sp>
          <p:nvSpPr>
            <p:cNvPr id="97" name="Freihandform: Form 96">
              <a:extLst>
                <a:ext uri="{FF2B5EF4-FFF2-40B4-BE49-F238E27FC236}">
                  <a16:creationId xmlns:a16="http://schemas.microsoft.com/office/drawing/2014/main" xmlns="" id="{60A98ECB-91A5-4ECE-8A55-B002DD5EEFDC}"/>
                </a:ext>
              </a:extLst>
            </p:cNvPr>
            <p:cNvSpPr/>
            <p:nvPr/>
          </p:nvSpPr>
          <p:spPr>
            <a:xfrm flipV="1">
              <a:off x="5009824" y="5373981"/>
              <a:ext cx="18436" cy="21171"/>
            </a:xfrm>
            <a:custGeom>
              <a:avLst/>
              <a:gdLst>
                <a:gd name="connsiteX0" fmla="*/ 1416 w 18436"/>
                <a:gd name="connsiteY0" fmla="*/ 18099 h 21171"/>
                <a:gd name="connsiteX1" fmla="*/ 763 w 18436"/>
                <a:gd name="connsiteY1" fmla="*/ 1749 h 21171"/>
                <a:gd name="connsiteX2" fmla="*/ 10133 w 18436"/>
                <a:gd name="connsiteY2" fmla="*/ 4583 h 21171"/>
                <a:gd name="connsiteX3" fmla="*/ 13619 w 18436"/>
                <a:gd name="connsiteY3" fmla="*/ 10905 h 21171"/>
                <a:gd name="connsiteX4" fmla="*/ 8607 w 18436"/>
                <a:gd name="connsiteY4" fmla="*/ 21587 h 21171"/>
                <a:gd name="connsiteX5" fmla="*/ 1416 w 18436"/>
                <a:gd name="connsiteY5" fmla="*/ 18099 h 21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436" h="21171">
                  <a:moveTo>
                    <a:pt x="1416" y="18099"/>
                  </a:moveTo>
                  <a:cubicBezTo>
                    <a:pt x="-6646" y="13957"/>
                    <a:pt x="-6864" y="5237"/>
                    <a:pt x="763" y="1749"/>
                  </a:cubicBezTo>
                  <a:cubicBezTo>
                    <a:pt x="5774" y="-431"/>
                    <a:pt x="6864" y="-213"/>
                    <a:pt x="10133" y="4583"/>
                  </a:cubicBezTo>
                  <a:cubicBezTo>
                    <a:pt x="12094" y="7417"/>
                    <a:pt x="13837" y="10251"/>
                    <a:pt x="13619" y="10905"/>
                  </a:cubicBezTo>
                  <a:cubicBezTo>
                    <a:pt x="12530" y="15919"/>
                    <a:pt x="9697" y="21805"/>
                    <a:pt x="8607" y="21587"/>
                  </a:cubicBezTo>
                  <a:cubicBezTo>
                    <a:pt x="7954" y="21369"/>
                    <a:pt x="4685" y="19843"/>
                    <a:pt x="1416" y="18099"/>
                  </a:cubicBezTo>
                  <a:close/>
                </a:path>
              </a:pathLst>
            </a:custGeom>
            <a:grpFill/>
            <a:ln w="218" cap="flat">
              <a:noFill/>
              <a:prstDash val="solid"/>
              <a:miter/>
            </a:ln>
          </p:spPr>
          <p:txBody>
            <a:bodyPr rtlCol="0" anchor="ctr"/>
            <a:lstStyle/>
            <a:p>
              <a:endParaRPr lang="en-GB" dirty="0"/>
            </a:p>
          </p:txBody>
        </p:sp>
        <p:sp>
          <p:nvSpPr>
            <p:cNvPr id="98" name="Freihandform: Form 97">
              <a:extLst>
                <a:ext uri="{FF2B5EF4-FFF2-40B4-BE49-F238E27FC236}">
                  <a16:creationId xmlns:a16="http://schemas.microsoft.com/office/drawing/2014/main" xmlns="" id="{0798079A-68CF-4B4B-B040-84E9151369AF}"/>
                </a:ext>
              </a:extLst>
            </p:cNvPr>
            <p:cNvSpPr/>
            <p:nvPr/>
          </p:nvSpPr>
          <p:spPr>
            <a:xfrm flipV="1">
              <a:off x="5034997" y="5373769"/>
              <a:ext cx="22880" cy="45781"/>
            </a:xfrm>
            <a:custGeom>
              <a:avLst/>
              <a:gdLst>
                <a:gd name="connsiteX0" fmla="*/ 8599 w 22880"/>
                <a:gd name="connsiteY0" fmla="*/ 44738 h 45781"/>
                <a:gd name="connsiteX1" fmla="*/ 7073 w 22880"/>
                <a:gd name="connsiteY1" fmla="*/ 38198 h 45781"/>
                <a:gd name="connsiteX2" fmla="*/ 536 w 22880"/>
                <a:gd name="connsiteY2" fmla="*/ 36454 h 45781"/>
                <a:gd name="connsiteX3" fmla="*/ -4912 w 22880"/>
                <a:gd name="connsiteY3" fmla="*/ 22719 h 45781"/>
                <a:gd name="connsiteX4" fmla="*/ 1843 w 22880"/>
                <a:gd name="connsiteY4" fmla="*/ 483 h 45781"/>
                <a:gd name="connsiteX5" fmla="*/ 7291 w 22880"/>
                <a:gd name="connsiteY5" fmla="*/ 16179 h 45781"/>
                <a:gd name="connsiteX6" fmla="*/ 7509 w 22880"/>
                <a:gd name="connsiteY6" fmla="*/ 22501 h 45781"/>
                <a:gd name="connsiteX7" fmla="*/ 12739 w 22880"/>
                <a:gd name="connsiteY7" fmla="*/ 24463 h 45781"/>
                <a:gd name="connsiteX8" fmla="*/ 17969 w 22880"/>
                <a:gd name="connsiteY8" fmla="*/ 38852 h 45781"/>
                <a:gd name="connsiteX9" fmla="*/ 14046 w 22880"/>
                <a:gd name="connsiteY9" fmla="*/ 46264 h 45781"/>
                <a:gd name="connsiteX10" fmla="*/ 8599 w 22880"/>
                <a:gd name="connsiteY10" fmla="*/ 44738 h 45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880" h="45781">
                  <a:moveTo>
                    <a:pt x="8599" y="44738"/>
                  </a:moveTo>
                  <a:cubicBezTo>
                    <a:pt x="7727" y="44084"/>
                    <a:pt x="7073" y="41032"/>
                    <a:pt x="7073" y="38198"/>
                  </a:cubicBezTo>
                  <a:cubicBezTo>
                    <a:pt x="7073" y="32530"/>
                    <a:pt x="4458" y="31658"/>
                    <a:pt x="536" y="36454"/>
                  </a:cubicBezTo>
                  <a:cubicBezTo>
                    <a:pt x="-4258" y="42122"/>
                    <a:pt x="-4912" y="40160"/>
                    <a:pt x="-4912" y="22719"/>
                  </a:cubicBezTo>
                  <a:cubicBezTo>
                    <a:pt x="-4912" y="5061"/>
                    <a:pt x="-3386" y="483"/>
                    <a:pt x="1843" y="483"/>
                  </a:cubicBezTo>
                  <a:cubicBezTo>
                    <a:pt x="7073" y="483"/>
                    <a:pt x="10560" y="10729"/>
                    <a:pt x="7291" y="16179"/>
                  </a:cubicBezTo>
                  <a:cubicBezTo>
                    <a:pt x="4894" y="19885"/>
                    <a:pt x="5112" y="20975"/>
                    <a:pt x="7509" y="22501"/>
                  </a:cubicBezTo>
                  <a:cubicBezTo>
                    <a:pt x="9034" y="23591"/>
                    <a:pt x="11431" y="24463"/>
                    <a:pt x="12739" y="24463"/>
                  </a:cubicBezTo>
                  <a:cubicBezTo>
                    <a:pt x="16225" y="24463"/>
                    <a:pt x="17969" y="29696"/>
                    <a:pt x="17969" y="38852"/>
                  </a:cubicBezTo>
                  <a:cubicBezTo>
                    <a:pt x="17969" y="44520"/>
                    <a:pt x="17097" y="46264"/>
                    <a:pt x="14046" y="46264"/>
                  </a:cubicBezTo>
                  <a:cubicBezTo>
                    <a:pt x="11867" y="46264"/>
                    <a:pt x="9252" y="45610"/>
                    <a:pt x="8599" y="44738"/>
                  </a:cubicBezTo>
                  <a:close/>
                </a:path>
              </a:pathLst>
            </a:custGeom>
            <a:grpFill/>
            <a:ln w="218" cap="flat">
              <a:noFill/>
              <a:prstDash val="solid"/>
              <a:miter/>
            </a:ln>
          </p:spPr>
          <p:txBody>
            <a:bodyPr rtlCol="0" anchor="ctr"/>
            <a:lstStyle/>
            <a:p>
              <a:endParaRPr lang="en-GB" dirty="0"/>
            </a:p>
          </p:txBody>
        </p:sp>
        <p:sp>
          <p:nvSpPr>
            <p:cNvPr id="99" name="Freihandform: Form 98">
              <a:extLst>
                <a:ext uri="{FF2B5EF4-FFF2-40B4-BE49-F238E27FC236}">
                  <a16:creationId xmlns:a16="http://schemas.microsoft.com/office/drawing/2014/main" xmlns="" id="{4EEEBBD5-266E-4FD7-833E-FA8F0DE20B3C}"/>
                </a:ext>
              </a:extLst>
            </p:cNvPr>
            <p:cNvSpPr/>
            <p:nvPr/>
          </p:nvSpPr>
          <p:spPr>
            <a:xfrm flipV="1">
              <a:off x="4608988" y="5375949"/>
              <a:ext cx="4358" cy="4360"/>
            </a:xfrm>
            <a:custGeom>
              <a:avLst/>
              <a:gdLst>
                <a:gd name="connsiteX0" fmla="*/ -3114 w 4358"/>
                <a:gd name="connsiteY0" fmla="*/ 2569 h 4360"/>
                <a:gd name="connsiteX1" fmla="*/ -935 w 4358"/>
                <a:gd name="connsiteY1" fmla="*/ 389 h 4360"/>
                <a:gd name="connsiteX2" fmla="*/ 1244 w 4358"/>
                <a:gd name="connsiteY2" fmla="*/ 2569 h 4360"/>
                <a:gd name="connsiteX3" fmla="*/ -935 w 4358"/>
                <a:gd name="connsiteY3" fmla="*/ 4749 h 4360"/>
                <a:gd name="connsiteX4" fmla="*/ -3114 w 4358"/>
                <a:gd name="connsiteY4" fmla="*/ 2569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3114" y="2569"/>
                  </a:moveTo>
                  <a:cubicBezTo>
                    <a:pt x="-3114" y="1479"/>
                    <a:pt x="-2024" y="389"/>
                    <a:pt x="-935" y="389"/>
                  </a:cubicBezTo>
                  <a:cubicBezTo>
                    <a:pt x="373" y="389"/>
                    <a:pt x="1244" y="1479"/>
                    <a:pt x="1244" y="2569"/>
                  </a:cubicBezTo>
                  <a:cubicBezTo>
                    <a:pt x="1244" y="3877"/>
                    <a:pt x="373" y="4749"/>
                    <a:pt x="-935" y="4749"/>
                  </a:cubicBezTo>
                  <a:cubicBezTo>
                    <a:pt x="-2024" y="4749"/>
                    <a:pt x="-3114" y="3877"/>
                    <a:pt x="-3114" y="2569"/>
                  </a:cubicBezTo>
                  <a:close/>
                </a:path>
              </a:pathLst>
            </a:custGeom>
            <a:grpFill/>
            <a:ln w="218" cap="flat">
              <a:noFill/>
              <a:prstDash val="solid"/>
              <a:miter/>
            </a:ln>
          </p:spPr>
          <p:txBody>
            <a:bodyPr rtlCol="0" anchor="ctr"/>
            <a:lstStyle/>
            <a:p>
              <a:endParaRPr lang="en-GB" dirty="0"/>
            </a:p>
          </p:txBody>
        </p:sp>
        <p:sp>
          <p:nvSpPr>
            <p:cNvPr id="100" name="Freihandform: Form 99">
              <a:extLst>
                <a:ext uri="{FF2B5EF4-FFF2-40B4-BE49-F238E27FC236}">
                  <a16:creationId xmlns:a16="http://schemas.microsoft.com/office/drawing/2014/main" xmlns="" id="{21EC4B36-07CA-42C9-AFD5-8B2652780B75}"/>
                </a:ext>
              </a:extLst>
            </p:cNvPr>
            <p:cNvSpPr/>
            <p:nvPr/>
          </p:nvSpPr>
          <p:spPr>
            <a:xfrm flipV="1">
              <a:off x="5136324" y="5387686"/>
              <a:ext cx="14987" cy="24914"/>
            </a:xfrm>
            <a:custGeom>
              <a:avLst/>
              <a:gdLst>
                <a:gd name="connsiteX0" fmla="*/ -520 w 14987"/>
                <a:gd name="connsiteY0" fmla="*/ 21237 h 24914"/>
                <a:gd name="connsiteX1" fmla="*/ -5314 w 14987"/>
                <a:gd name="connsiteY1" fmla="*/ 16222 h 24914"/>
                <a:gd name="connsiteX2" fmla="*/ 352 w 14987"/>
                <a:gd name="connsiteY2" fmla="*/ 8156 h 24914"/>
                <a:gd name="connsiteX3" fmla="*/ 9504 w 14987"/>
                <a:gd name="connsiteY3" fmla="*/ 12516 h 24914"/>
                <a:gd name="connsiteX4" fmla="*/ -520 w 14987"/>
                <a:gd name="connsiteY4" fmla="*/ 21237 h 24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7" h="24914">
                  <a:moveTo>
                    <a:pt x="-520" y="21237"/>
                  </a:moveTo>
                  <a:lnTo>
                    <a:pt x="-5314" y="16222"/>
                  </a:lnTo>
                  <a:lnTo>
                    <a:pt x="352" y="8156"/>
                  </a:lnTo>
                  <a:cubicBezTo>
                    <a:pt x="7978" y="-3180"/>
                    <a:pt x="10375" y="-2090"/>
                    <a:pt x="9504" y="12516"/>
                  </a:cubicBezTo>
                  <a:cubicBezTo>
                    <a:pt x="8850" y="26469"/>
                    <a:pt x="6453" y="28649"/>
                    <a:pt x="-520" y="21237"/>
                  </a:cubicBezTo>
                  <a:close/>
                </a:path>
              </a:pathLst>
            </a:custGeom>
            <a:grpFill/>
            <a:ln w="218" cap="flat">
              <a:noFill/>
              <a:prstDash val="solid"/>
              <a:miter/>
            </a:ln>
          </p:spPr>
          <p:txBody>
            <a:bodyPr rtlCol="0" anchor="ctr"/>
            <a:lstStyle/>
            <a:p>
              <a:endParaRPr lang="en-GB" dirty="0"/>
            </a:p>
          </p:txBody>
        </p:sp>
        <p:sp>
          <p:nvSpPr>
            <p:cNvPr id="101" name="Freihandform: Form 100">
              <a:extLst>
                <a:ext uri="{FF2B5EF4-FFF2-40B4-BE49-F238E27FC236}">
                  <a16:creationId xmlns:a16="http://schemas.microsoft.com/office/drawing/2014/main" xmlns="" id="{984731CE-4A57-4533-8EE7-6E5C64285F3F}"/>
                </a:ext>
              </a:extLst>
            </p:cNvPr>
            <p:cNvSpPr/>
            <p:nvPr/>
          </p:nvSpPr>
          <p:spPr>
            <a:xfrm flipV="1">
              <a:off x="5299754" y="5389030"/>
              <a:ext cx="4358" cy="5667"/>
            </a:xfrm>
            <a:custGeom>
              <a:avLst/>
              <a:gdLst>
                <a:gd name="connsiteX0" fmla="*/ -5967 w 4358"/>
                <a:gd name="connsiteY0" fmla="*/ 2638 h 5667"/>
                <a:gd name="connsiteX1" fmla="*/ -3788 w 4358"/>
                <a:gd name="connsiteY1" fmla="*/ 675 h 5667"/>
                <a:gd name="connsiteX2" fmla="*/ -1609 w 4358"/>
                <a:gd name="connsiteY2" fmla="*/ 4164 h 5667"/>
                <a:gd name="connsiteX3" fmla="*/ -3788 w 4358"/>
                <a:gd name="connsiteY3" fmla="*/ 6126 h 5667"/>
                <a:gd name="connsiteX4" fmla="*/ -5967 w 4358"/>
                <a:gd name="connsiteY4" fmla="*/ 2638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5967" y="2638"/>
                  </a:moveTo>
                  <a:cubicBezTo>
                    <a:pt x="-5967" y="893"/>
                    <a:pt x="-4877" y="21"/>
                    <a:pt x="-3788" y="675"/>
                  </a:cubicBezTo>
                  <a:cubicBezTo>
                    <a:pt x="-2480" y="1329"/>
                    <a:pt x="-1609" y="2856"/>
                    <a:pt x="-1609" y="4164"/>
                  </a:cubicBezTo>
                  <a:cubicBezTo>
                    <a:pt x="-1609" y="5254"/>
                    <a:pt x="-2480" y="6126"/>
                    <a:pt x="-3788" y="6126"/>
                  </a:cubicBezTo>
                  <a:cubicBezTo>
                    <a:pt x="-4877" y="6126"/>
                    <a:pt x="-5967" y="4600"/>
                    <a:pt x="-5967" y="2638"/>
                  </a:cubicBezTo>
                  <a:close/>
                </a:path>
              </a:pathLst>
            </a:custGeom>
            <a:grpFill/>
            <a:ln w="218" cap="flat">
              <a:noFill/>
              <a:prstDash val="solid"/>
              <a:miter/>
            </a:ln>
          </p:spPr>
          <p:txBody>
            <a:bodyPr rtlCol="0" anchor="ctr"/>
            <a:lstStyle/>
            <a:p>
              <a:endParaRPr lang="en-GB" dirty="0"/>
            </a:p>
          </p:txBody>
        </p:sp>
        <p:sp>
          <p:nvSpPr>
            <p:cNvPr id="102" name="Freihandform: Form 101">
              <a:extLst>
                <a:ext uri="{FF2B5EF4-FFF2-40B4-BE49-F238E27FC236}">
                  <a16:creationId xmlns:a16="http://schemas.microsoft.com/office/drawing/2014/main" xmlns="" id="{C3C19794-829C-46C7-B884-4B8E575446B0}"/>
                </a:ext>
              </a:extLst>
            </p:cNvPr>
            <p:cNvSpPr/>
            <p:nvPr/>
          </p:nvSpPr>
          <p:spPr>
            <a:xfrm flipV="1">
              <a:off x="4770240" y="5392083"/>
              <a:ext cx="4358" cy="5667"/>
            </a:xfrm>
            <a:custGeom>
              <a:avLst/>
              <a:gdLst>
                <a:gd name="connsiteX0" fmla="*/ -3780 w 4358"/>
                <a:gd name="connsiteY0" fmla="*/ 3962 h 5667"/>
                <a:gd name="connsiteX1" fmla="*/ -1601 w 4358"/>
                <a:gd name="connsiteY1" fmla="*/ 474 h 5667"/>
                <a:gd name="connsiteX2" fmla="*/ 578 w 4358"/>
                <a:gd name="connsiteY2" fmla="*/ 2436 h 5667"/>
                <a:gd name="connsiteX3" fmla="*/ -1601 w 4358"/>
                <a:gd name="connsiteY3" fmla="*/ 5924 h 5667"/>
                <a:gd name="connsiteX4" fmla="*/ -3780 w 4358"/>
                <a:gd name="connsiteY4" fmla="*/ 3962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3780" y="3962"/>
                  </a:moveTo>
                  <a:cubicBezTo>
                    <a:pt x="-3780" y="2000"/>
                    <a:pt x="-2690" y="474"/>
                    <a:pt x="-1601" y="474"/>
                  </a:cubicBezTo>
                  <a:cubicBezTo>
                    <a:pt x="-293" y="474"/>
                    <a:pt x="578" y="1346"/>
                    <a:pt x="578" y="2436"/>
                  </a:cubicBezTo>
                  <a:cubicBezTo>
                    <a:pt x="578" y="3744"/>
                    <a:pt x="-293" y="5270"/>
                    <a:pt x="-1601" y="5924"/>
                  </a:cubicBezTo>
                  <a:cubicBezTo>
                    <a:pt x="-2690" y="6578"/>
                    <a:pt x="-3780" y="5706"/>
                    <a:pt x="-3780" y="3962"/>
                  </a:cubicBezTo>
                  <a:close/>
                </a:path>
              </a:pathLst>
            </a:custGeom>
            <a:grpFill/>
            <a:ln w="218" cap="flat">
              <a:noFill/>
              <a:prstDash val="solid"/>
              <a:miter/>
            </a:ln>
          </p:spPr>
          <p:txBody>
            <a:bodyPr rtlCol="0" anchor="ctr"/>
            <a:lstStyle/>
            <a:p>
              <a:endParaRPr lang="en-GB" dirty="0"/>
            </a:p>
          </p:txBody>
        </p:sp>
        <p:sp>
          <p:nvSpPr>
            <p:cNvPr id="103" name="Freihandform: Form 102">
              <a:extLst>
                <a:ext uri="{FF2B5EF4-FFF2-40B4-BE49-F238E27FC236}">
                  <a16:creationId xmlns:a16="http://schemas.microsoft.com/office/drawing/2014/main" xmlns="" id="{3EC4D0E6-FBBD-444F-920D-A5469A9FD414}"/>
                </a:ext>
              </a:extLst>
            </p:cNvPr>
            <p:cNvSpPr/>
            <p:nvPr/>
          </p:nvSpPr>
          <p:spPr>
            <a:xfrm flipV="1">
              <a:off x="5073131" y="5391210"/>
              <a:ext cx="4358" cy="4360"/>
            </a:xfrm>
            <a:custGeom>
              <a:avLst/>
              <a:gdLst>
                <a:gd name="connsiteX0" fmla="*/ -5031 w 4358"/>
                <a:gd name="connsiteY0" fmla="*/ 2646 h 4360"/>
                <a:gd name="connsiteX1" fmla="*/ -2852 w 4358"/>
                <a:gd name="connsiteY1" fmla="*/ 466 h 4360"/>
                <a:gd name="connsiteX2" fmla="*/ -673 w 4358"/>
                <a:gd name="connsiteY2" fmla="*/ 2646 h 4360"/>
                <a:gd name="connsiteX3" fmla="*/ -2852 w 4358"/>
                <a:gd name="connsiteY3" fmla="*/ 4826 h 4360"/>
                <a:gd name="connsiteX4" fmla="*/ -5031 w 4358"/>
                <a:gd name="connsiteY4" fmla="*/ 2646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5031" y="2646"/>
                  </a:moveTo>
                  <a:cubicBezTo>
                    <a:pt x="-5031" y="1556"/>
                    <a:pt x="-3941" y="466"/>
                    <a:pt x="-2852" y="466"/>
                  </a:cubicBezTo>
                  <a:cubicBezTo>
                    <a:pt x="-1544" y="466"/>
                    <a:pt x="-673" y="1556"/>
                    <a:pt x="-673" y="2646"/>
                  </a:cubicBezTo>
                  <a:cubicBezTo>
                    <a:pt x="-673" y="3954"/>
                    <a:pt x="-1544" y="4826"/>
                    <a:pt x="-2852" y="4826"/>
                  </a:cubicBezTo>
                  <a:cubicBezTo>
                    <a:pt x="-3941" y="4826"/>
                    <a:pt x="-5031" y="3954"/>
                    <a:pt x="-5031" y="2646"/>
                  </a:cubicBezTo>
                  <a:close/>
                </a:path>
              </a:pathLst>
            </a:custGeom>
            <a:grpFill/>
            <a:ln w="218" cap="flat">
              <a:noFill/>
              <a:prstDash val="solid"/>
              <a:miter/>
            </a:ln>
          </p:spPr>
          <p:txBody>
            <a:bodyPr rtlCol="0" anchor="ctr"/>
            <a:lstStyle/>
            <a:p>
              <a:endParaRPr lang="en-GB" dirty="0"/>
            </a:p>
          </p:txBody>
        </p:sp>
        <p:sp>
          <p:nvSpPr>
            <p:cNvPr id="104" name="Freihandform: Form 103">
              <a:extLst>
                <a:ext uri="{FF2B5EF4-FFF2-40B4-BE49-F238E27FC236}">
                  <a16:creationId xmlns:a16="http://schemas.microsoft.com/office/drawing/2014/main" xmlns="" id="{B5944EDB-7CCD-4EC3-8647-A5EE786EFE83}"/>
                </a:ext>
              </a:extLst>
            </p:cNvPr>
            <p:cNvSpPr/>
            <p:nvPr/>
          </p:nvSpPr>
          <p:spPr>
            <a:xfrm flipV="1">
              <a:off x="4434662" y="5400146"/>
              <a:ext cx="29417" cy="113147"/>
            </a:xfrm>
            <a:custGeom>
              <a:avLst/>
              <a:gdLst>
                <a:gd name="connsiteX0" fmla="*/ 9103 w 29417"/>
                <a:gd name="connsiteY0" fmla="*/ 111533 h 113147"/>
                <a:gd name="connsiteX1" fmla="*/ 6706 w 29417"/>
                <a:gd name="connsiteY1" fmla="*/ 103031 h 113147"/>
                <a:gd name="connsiteX2" fmla="*/ 10847 w 29417"/>
                <a:gd name="connsiteY2" fmla="*/ 96709 h 113147"/>
                <a:gd name="connsiteX3" fmla="*/ 12808 w 29417"/>
                <a:gd name="connsiteY3" fmla="*/ 91041 h 113147"/>
                <a:gd name="connsiteX4" fmla="*/ 5181 w 29417"/>
                <a:gd name="connsiteY4" fmla="*/ 86681 h 113147"/>
                <a:gd name="connsiteX5" fmla="*/ -2446 w 29417"/>
                <a:gd name="connsiteY5" fmla="*/ 88207 h 113147"/>
                <a:gd name="connsiteX6" fmla="*/ -2010 w 29417"/>
                <a:gd name="connsiteY6" fmla="*/ 65316 h 113147"/>
                <a:gd name="connsiteX7" fmla="*/ 2566 w 29417"/>
                <a:gd name="connsiteY7" fmla="*/ 42207 h 113147"/>
                <a:gd name="connsiteX8" fmla="*/ 9975 w 29417"/>
                <a:gd name="connsiteY8" fmla="*/ 34359 h 113147"/>
                <a:gd name="connsiteX9" fmla="*/ 9975 w 29417"/>
                <a:gd name="connsiteY9" fmla="*/ 23676 h 113147"/>
                <a:gd name="connsiteX10" fmla="*/ 10193 w 29417"/>
                <a:gd name="connsiteY10" fmla="*/ 8634 h 113147"/>
                <a:gd name="connsiteX11" fmla="*/ 18909 w 29417"/>
                <a:gd name="connsiteY11" fmla="*/ 786 h 113147"/>
                <a:gd name="connsiteX12" fmla="*/ 21742 w 29417"/>
                <a:gd name="connsiteY12" fmla="*/ 8198 h 113147"/>
                <a:gd name="connsiteX13" fmla="*/ 18255 w 29417"/>
                <a:gd name="connsiteY13" fmla="*/ 15392 h 113147"/>
                <a:gd name="connsiteX14" fmla="*/ 21960 w 29417"/>
                <a:gd name="connsiteY14" fmla="*/ 25202 h 113147"/>
                <a:gd name="connsiteX15" fmla="*/ 26972 w 29417"/>
                <a:gd name="connsiteY15" fmla="*/ 29127 h 113147"/>
                <a:gd name="connsiteX16" fmla="*/ 17820 w 29417"/>
                <a:gd name="connsiteY16" fmla="*/ 37411 h 113147"/>
                <a:gd name="connsiteX17" fmla="*/ 19127 w 29417"/>
                <a:gd name="connsiteY17" fmla="*/ 49837 h 113147"/>
                <a:gd name="connsiteX18" fmla="*/ 22614 w 29417"/>
                <a:gd name="connsiteY18" fmla="*/ 55287 h 113147"/>
                <a:gd name="connsiteX19" fmla="*/ 19345 w 29417"/>
                <a:gd name="connsiteY19" fmla="*/ 61610 h 113147"/>
                <a:gd name="connsiteX20" fmla="*/ 16076 w 29417"/>
                <a:gd name="connsiteY20" fmla="*/ 69240 h 113147"/>
                <a:gd name="connsiteX21" fmla="*/ 18909 w 29417"/>
                <a:gd name="connsiteY21" fmla="*/ 75780 h 113147"/>
                <a:gd name="connsiteX22" fmla="*/ 21960 w 29417"/>
                <a:gd name="connsiteY22" fmla="*/ 77524 h 113147"/>
                <a:gd name="connsiteX23" fmla="*/ 20652 w 29417"/>
                <a:gd name="connsiteY23" fmla="*/ 87553 h 113147"/>
                <a:gd name="connsiteX24" fmla="*/ 16512 w 29417"/>
                <a:gd name="connsiteY24" fmla="*/ 113931 h 113147"/>
                <a:gd name="connsiteX25" fmla="*/ 9103 w 29417"/>
                <a:gd name="connsiteY25" fmla="*/ 111533 h 113147"/>
                <a:gd name="connsiteX26" fmla="*/ 8450 w 29417"/>
                <a:gd name="connsiteY26" fmla="*/ 61828 h 113147"/>
                <a:gd name="connsiteX27" fmla="*/ 6053 w 29417"/>
                <a:gd name="connsiteY27" fmla="*/ 59648 h 113147"/>
                <a:gd name="connsiteX28" fmla="*/ 5181 w 29417"/>
                <a:gd name="connsiteY28" fmla="*/ 61828 h 113147"/>
                <a:gd name="connsiteX29" fmla="*/ 7578 w 29417"/>
                <a:gd name="connsiteY29" fmla="*/ 64008 h 113147"/>
                <a:gd name="connsiteX30" fmla="*/ 8450 w 29417"/>
                <a:gd name="connsiteY30" fmla="*/ 61828 h 11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9417" h="113147">
                  <a:moveTo>
                    <a:pt x="9103" y="111533"/>
                  </a:moveTo>
                  <a:cubicBezTo>
                    <a:pt x="5181" y="109571"/>
                    <a:pt x="4745" y="108481"/>
                    <a:pt x="6706" y="103031"/>
                  </a:cubicBezTo>
                  <a:cubicBezTo>
                    <a:pt x="7796" y="99543"/>
                    <a:pt x="9757" y="96709"/>
                    <a:pt x="10847" y="96709"/>
                  </a:cubicBezTo>
                  <a:cubicBezTo>
                    <a:pt x="11936" y="96709"/>
                    <a:pt x="12808" y="94093"/>
                    <a:pt x="12808" y="91041"/>
                  </a:cubicBezTo>
                  <a:cubicBezTo>
                    <a:pt x="12808" y="85590"/>
                    <a:pt x="12372" y="85372"/>
                    <a:pt x="5181" y="86681"/>
                  </a:cubicBezTo>
                  <a:lnTo>
                    <a:pt x="-2446" y="88207"/>
                  </a:lnTo>
                  <a:lnTo>
                    <a:pt x="-2010" y="65316"/>
                  </a:lnTo>
                  <a:cubicBezTo>
                    <a:pt x="-1356" y="44823"/>
                    <a:pt x="-920" y="42207"/>
                    <a:pt x="2566" y="42207"/>
                  </a:cubicBezTo>
                  <a:cubicBezTo>
                    <a:pt x="4745" y="42207"/>
                    <a:pt x="7796" y="38937"/>
                    <a:pt x="9975" y="34359"/>
                  </a:cubicBezTo>
                  <a:cubicBezTo>
                    <a:pt x="13679" y="26946"/>
                    <a:pt x="13679" y="26292"/>
                    <a:pt x="9975" y="23676"/>
                  </a:cubicBezTo>
                  <a:cubicBezTo>
                    <a:pt x="5399" y="20406"/>
                    <a:pt x="5399" y="18226"/>
                    <a:pt x="10193" y="8634"/>
                  </a:cubicBezTo>
                  <a:cubicBezTo>
                    <a:pt x="12808" y="3184"/>
                    <a:pt x="15423" y="786"/>
                    <a:pt x="18909" y="786"/>
                  </a:cubicBezTo>
                  <a:cubicBezTo>
                    <a:pt x="23703" y="786"/>
                    <a:pt x="25664" y="5800"/>
                    <a:pt x="21742" y="8198"/>
                  </a:cubicBezTo>
                  <a:cubicBezTo>
                    <a:pt x="20652" y="8852"/>
                    <a:pt x="19127" y="12122"/>
                    <a:pt x="18255" y="15392"/>
                  </a:cubicBezTo>
                  <a:cubicBezTo>
                    <a:pt x="17166" y="19970"/>
                    <a:pt x="18038" y="22150"/>
                    <a:pt x="21960" y="25202"/>
                  </a:cubicBezTo>
                  <a:lnTo>
                    <a:pt x="26972" y="29127"/>
                  </a:lnTo>
                  <a:lnTo>
                    <a:pt x="17820" y="37411"/>
                  </a:lnTo>
                  <a:cubicBezTo>
                    <a:pt x="7360" y="47003"/>
                    <a:pt x="7796" y="52453"/>
                    <a:pt x="19127" y="49837"/>
                  </a:cubicBezTo>
                  <a:cubicBezTo>
                    <a:pt x="26318" y="48311"/>
                    <a:pt x="28061" y="50709"/>
                    <a:pt x="22614" y="55287"/>
                  </a:cubicBezTo>
                  <a:cubicBezTo>
                    <a:pt x="20870" y="56813"/>
                    <a:pt x="19345" y="59648"/>
                    <a:pt x="19345" y="61610"/>
                  </a:cubicBezTo>
                  <a:cubicBezTo>
                    <a:pt x="19345" y="63572"/>
                    <a:pt x="17820" y="67060"/>
                    <a:pt x="16076" y="69240"/>
                  </a:cubicBezTo>
                  <a:cubicBezTo>
                    <a:pt x="11282" y="75562"/>
                    <a:pt x="12154" y="77306"/>
                    <a:pt x="18909" y="75780"/>
                  </a:cubicBezTo>
                  <a:cubicBezTo>
                    <a:pt x="23921" y="74472"/>
                    <a:pt x="24357" y="74690"/>
                    <a:pt x="21960" y="77524"/>
                  </a:cubicBezTo>
                  <a:cubicBezTo>
                    <a:pt x="20435" y="79486"/>
                    <a:pt x="19781" y="83410"/>
                    <a:pt x="20652" y="87553"/>
                  </a:cubicBezTo>
                  <a:cubicBezTo>
                    <a:pt x="22614" y="96709"/>
                    <a:pt x="19781" y="114149"/>
                    <a:pt x="16512" y="113931"/>
                  </a:cubicBezTo>
                  <a:cubicBezTo>
                    <a:pt x="14987" y="113931"/>
                    <a:pt x="11718" y="112841"/>
                    <a:pt x="9103" y="111533"/>
                  </a:cubicBezTo>
                  <a:close/>
                  <a:moveTo>
                    <a:pt x="8450" y="61828"/>
                  </a:moveTo>
                  <a:cubicBezTo>
                    <a:pt x="8450" y="60738"/>
                    <a:pt x="7360" y="59648"/>
                    <a:pt x="6053" y="59648"/>
                  </a:cubicBezTo>
                  <a:cubicBezTo>
                    <a:pt x="4963" y="59648"/>
                    <a:pt x="4527" y="60738"/>
                    <a:pt x="5181" y="61828"/>
                  </a:cubicBezTo>
                  <a:cubicBezTo>
                    <a:pt x="5835" y="63136"/>
                    <a:pt x="6924" y="64008"/>
                    <a:pt x="7578" y="64008"/>
                  </a:cubicBezTo>
                  <a:cubicBezTo>
                    <a:pt x="8014" y="64008"/>
                    <a:pt x="8450" y="63136"/>
                    <a:pt x="8450" y="61828"/>
                  </a:cubicBezTo>
                  <a:close/>
                </a:path>
              </a:pathLst>
            </a:custGeom>
            <a:grpFill/>
            <a:ln w="218" cap="flat">
              <a:noFill/>
              <a:prstDash val="solid"/>
              <a:miter/>
            </a:ln>
          </p:spPr>
          <p:txBody>
            <a:bodyPr rtlCol="0" anchor="ctr"/>
            <a:lstStyle/>
            <a:p>
              <a:endParaRPr lang="en-GB" dirty="0"/>
            </a:p>
          </p:txBody>
        </p:sp>
        <p:sp>
          <p:nvSpPr>
            <p:cNvPr id="105" name="Freihandform: Form 104">
              <a:extLst>
                <a:ext uri="{FF2B5EF4-FFF2-40B4-BE49-F238E27FC236}">
                  <a16:creationId xmlns:a16="http://schemas.microsoft.com/office/drawing/2014/main" xmlns="" id="{7911777E-F84E-44A4-83B7-0108FFA0AF1F}"/>
                </a:ext>
              </a:extLst>
            </p:cNvPr>
            <p:cNvSpPr/>
            <p:nvPr/>
          </p:nvSpPr>
          <p:spPr>
            <a:xfrm flipV="1">
              <a:off x="5117250" y="5402274"/>
              <a:ext cx="11991" cy="12916"/>
            </a:xfrm>
            <a:custGeom>
              <a:avLst/>
              <a:gdLst>
                <a:gd name="connsiteX0" fmla="*/ -3588 w 11991"/>
                <a:gd name="connsiteY0" fmla="*/ 10354 h 12916"/>
                <a:gd name="connsiteX1" fmla="*/ -755 w 11991"/>
                <a:gd name="connsiteY1" fmla="*/ 543 h 12916"/>
                <a:gd name="connsiteX2" fmla="*/ 5128 w 11991"/>
                <a:gd name="connsiteY2" fmla="*/ 3814 h 12916"/>
                <a:gd name="connsiteX3" fmla="*/ 5128 w 11991"/>
                <a:gd name="connsiteY3" fmla="*/ 10354 h 12916"/>
                <a:gd name="connsiteX4" fmla="*/ -3588 w 11991"/>
                <a:gd name="connsiteY4" fmla="*/ 10354 h 12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91" h="12916">
                  <a:moveTo>
                    <a:pt x="-3588" y="10354"/>
                  </a:moveTo>
                  <a:cubicBezTo>
                    <a:pt x="-6857" y="6430"/>
                    <a:pt x="-4895" y="543"/>
                    <a:pt x="-755" y="543"/>
                  </a:cubicBezTo>
                  <a:cubicBezTo>
                    <a:pt x="988" y="543"/>
                    <a:pt x="3603" y="2069"/>
                    <a:pt x="5128" y="3814"/>
                  </a:cubicBezTo>
                  <a:cubicBezTo>
                    <a:pt x="7307" y="6430"/>
                    <a:pt x="7307" y="7738"/>
                    <a:pt x="5128" y="10354"/>
                  </a:cubicBezTo>
                  <a:cubicBezTo>
                    <a:pt x="1642" y="14496"/>
                    <a:pt x="-102" y="14496"/>
                    <a:pt x="-3588" y="10354"/>
                  </a:cubicBezTo>
                  <a:close/>
                </a:path>
              </a:pathLst>
            </a:custGeom>
            <a:grpFill/>
            <a:ln w="218" cap="flat">
              <a:noFill/>
              <a:prstDash val="solid"/>
              <a:miter/>
            </a:ln>
          </p:spPr>
          <p:txBody>
            <a:bodyPr rtlCol="0" anchor="ctr"/>
            <a:lstStyle/>
            <a:p>
              <a:endParaRPr lang="en-GB" dirty="0"/>
            </a:p>
          </p:txBody>
        </p:sp>
        <p:sp>
          <p:nvSpPr>
            <p:cNvPr id="106" name="Freihandform: Form 105">
              <a:extLst>
                <a:ext uri="{FF2B5EF4-FFF2-40B4-BE49-F238E27FC236}">
                  <a16:creationId xmlns:a16="http://schemas.microsoft.com/office/drawing/2014/main" xmlns="" id="{FBEC37F7-08ED-497A-827D-BF5D23408A63}"/>
                </a:ext>
              </a:extLst>
            </p:cNvPr>
            <p:cNvSpPr/>
            <p:nvPr/>
          </p:nvSpPr>
          <p:spPr>
            <a:xfrm flipV="1">
              <a:off x="5164652" y="5404290"/>
              <a:ext cx="8716" cy="6540"/>
            </a:xfrm>
            <a:custGeom>
              <a:avLst/>
              <a:gdLst>
                <a:gd name="connsiteX0" fmla="*/ -5418 w 8716"/>
                <a:gd name="connsiteY0" fmla="*/ 3808 h 6540"/>
                <a:gd name="connsiteX1" fmla="*/ -1060 w 8716"/>
                <a:gd name="connsiteY1" fmla="*/ 538 h 6540"/>
                <a:gd name="connsiteX2" fmla="*/ 3298 w 8716"/>
                <a:gd name="connsiteY2" fmla="*/ 3808 h 6540"/>
                <a:gd name="connsiteX3" fmla="*/ -1060 w 8716"/>
                <a:gd name="connsiteY3" fmla="*/ 7078 h 6540"/>
                <a:gd name="connsiteX4" fmla="*/ -5418 w 8716"/>
                <a:gd name="connsiteY4" fmla="*/ 3808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6" h="6540">
                  <a:moveTo>
                    <a:pt x="-5418" y="3808"/>
                  </a:moveTo>
                  <a:cubicBezTo>
                    <a:pt x="-5418" y="2064"/>
                    <a:pt x="-3457" y="538"/>
                    <a:pt x="-1060" y="538"/>
                  </a:cubicBezTo>
                  <a:cubicBezTo>
                    <a:pt x="1337" y="538"/>
                    <a:pt x="3298" y="2064"/>
                    <a:pt x="3298" y="3808"/>
                  </a:cubicBezTo>
                  <a:cubicBezTo>
                    <a:pt x="3298" y="5552"/>
                    <a:pt x="1337" y="7078"/>
                    <a:pt x="-1060" y="7078"/>
                  </a:cubicBezTo>
                  <a:cubicBezTo>
                    <a:pt x="-3457" y="7078"/>
                    <a:pt x="-5418" y="5552"/>
                    <a:pt x="-5418" y="3808"/>
                  </a:cubicBezTo>
                  <a:close/>
                </a:path>
              </a:pathLst>
            </a:custGeom>
            <a:grpFill/>
            <a:ln w="218" cap="flat">
              <a:noFill/>
              <a:prstDash val="solid"/>
              <a:miter/>
            </a:ln>
          </p:spPr>
          <p:txBody>
            <a:bodyPr rtlCol="0" anchor="ctr"/>
            <a:lstStyle/>
            <a:p>
              <a:endParaRPr lang="en-GB" dirty="0"/>
            </a:p>
          </p:txBody>
        </p:sp>
        <p:sp>
          <p:nvSpPr>
            <p:cNvPr id="107" name="Freihandform: Form 106">
              <a:extLst>
                <a:ext uri="{FF2B5EF4-FFF2-40B4-BE49-F238E27FC236}">
                  <a16:creationId xmlns:a16="http://schemas.microsoft.com/office/drawing/2014/main" xmlns="" id="{67D99705-87A2-4F2B-83C0-2EA2D6B7B4AE}"/>
                </a:ext>
              </a:extLst>
            </p:cNvPr>
            <p:cNvSpPr/>
            <p:nvPr/>
          </p:nvSpPr>
          <p:spPr>
            <a:xfrm flipV="1">
              <a:off x="5179905" y="5408650"/>
              <a:ext cx="4358" cy="6540"/>
            </a:xfrm>
            <a:custGeom>
              <a:avLst/>
              <a:gdLst>
                <a:gd name="connsiteX0" fmla="*/ -5472 w 4358"/>
                <a:gd name="connsiteY0" fmla="*/ 3830 h 6540"/>
                <a:gd name="connsiteX1" fmla="*/ -3293 w 4358"/>
                <a:gd name="connsiteY1" fmla="*/ 560 h 6540"/>
                <a:gd name="connsiteX2" fmla="*/ -1114 w 4358"/>
                <a:gd name="connsiteY2" fmla="*/ 3830 h 6540"/>
                <a:gd name="connsiteX3" fmla="*/ -3293 w 4358"/>
                <a:gd name="connsiteY3" fmla="*/ 7100 h 6540"/>
                <a:gd name="connsiteX4" fmla="*/ -5472 w 4358"/>
                <a:gd name="connsiteY4" fmla="*/ 3830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6540">
                  <a:moveTo>
                    <a:pt x="-5472" y="3830"/>
                  </a:moveTo>
                  <a:cubicBezTo>
                    <a:pt x="-5472" y="2086"/>
                    <a:pt x="-4382" y="560"/>
                    <a:pt x="-3293" y="560"/>
                  </a:cubicBezTo>
                  <a:cubicBezTo>
                    <a:pt x="-1985" y="560"/>
                    <a:pt x="-1114" y="2086"/>
                    <a:pt x="-1114" y="3830"/>
                  </a:cubicBezTo>
                  <a:cubicBezTo>
                    <a:pt x="-1114" y="5574"/>
                    <a:pt x="-1985" y="7100"/>
                    <a:pt x="-3293" y="7100"/>
                  </a:cubicBezTo>
                  <a:cubicBezTo>
                    <a:pt x="-4382" y="7100"/>
                    <a:pt x="-5472" y="5574"/>
                    <a:pt x="-5472" y="3830"/>
                  </a:cubicBezTo>
                  <a:close/>
                </a:path>
              </a:pathLst>
            </a:custGeom>
            <a:grpFill/>
            <a:ln w="218" cap="flat">
              <a:noFill/>
              <a:prstDash val="solid"/>
              <a:miter/>
            </a:ln>
          </p:spPr>
          <p:txBody>
            <a:bodyPr rtlCol="0" anchor="ctr"/>
            <a:lstStyle/>
            <a:p>
              <a:endParaRPr lang="en-GB" dirty="0"/>
            </a:p>
          </p:txBody>
        </p:sp>
        <p:sp>
          <p:nvSpPr>
            <p:cNvPr id="108" name="Freihandform: Form 107">
              <a:extLst>
                <a:ext uri="{FF2B5EF4-FFF2-40B4-BE49-F238E27FC236}">
                  <a16:creationId xmlns:a16="http://schemas.microsoft.com/office/drawing/2014/main" xmlns="" id="{18D39E9A-E54D-4E99-85F0-31CAA577ED11}"/>
                </a:ext>
              </a:extLst>
            </p:cNvPr>
            <p:cNvSpPr/>
            <p:nvPr/>
          </p:nvSpPr>
          <p:spPr>
            <a:xfrm flipV="1">
              <a:off x="4833433" y="5410831"/>
              <a:ext cx="3575" cy="4360"/>
            </a:xfrm>
            <a:custGeom>
              <a:avLst/>
              <a:gdLst>
                <a:gd name="connsiteX0" fmla="*/ -4039 w 3575"/>
                <a:gd name="connsiteY0" fmla="*/ 2745 h 4360"/>
                <a:gd name="connsiteX1" fmla="*/ -1642 w 3575"/>
                <a:gd name="connsiteY1" fmla="*/ 565 h 4360"/>
                <a:gd name="connsiteX2" fmla="*/ -771 w 3575"/>
                <a:gd name="connsiteY2" fmla="*/ 2745 h 4360"/>
                <a:gd name="connsiteX3" fmla="*/ -3168 w 3575"/>
                <a:gd name="connsiteY3" fmla="*/ 4925 h 4360"/>
                <a:gd name="connsiteX4" fmla="*/ -4039 w 3575"/>
                <a:gd name="connsiteY4" fmla="*/ 2745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4039" y="2745"/>
                  </a:moveTo>
                  <a:cubicBezTo>
                    <a:pt x="-4039" y="1655"/>
                    <a:pt x="-2950" y="565"/>
                    <a:pt x="-1642" y="565"/>
                  </a:cubicBezTo>
                  <a:cubicBezTo>
                    <a:pt x="-553" y="565"/>
                    <a:pt x="-117" y="1655"/>
                    <a:pt x="-771" y="2745"/>
                  </a:cubicBezTo>
                  <a:cubicBezTo>
                    <a:pt x="-1424" y="4053"/>
                    <a:pt x="-2514" y="4925"/>
                    <a:pt x="-3168" y="4925"/>
                  </a:cubicBezTo>
                  <a:cubicBezTo>
                    <a:pt x="-3604" y="4925"/>
                    <a:pt x="-4039" y="4053"/>
                    <a:pt x="-4039" y="2745"/>
                  </a:cubicBezTo>
                  <a:close/>
                </a:path>
              </a:pathLst>
            </a:custGeom>
            <a:grpFill/>
            <a:ln w="218" cap="flat">
              <a:noFill/>
              <a:prstDash val="solid"/>
              <a:miter/>
            </a:ln>
          </p:spPr>
          <p:txBody>
            <a:bodyPr rtlCol="0" anchor="ctr"/>
            <a:lstStyle/>
            <a:p>
              <a:endParaRPr lang="en-GB" dirty="0"/>
            </a:p>
          </p:txBody>
        </p:sp>
        <p:sp>
          <p:nvSpPr>
            <p:cNvPr id="109" name="Freihandform: Form 108">
              <a:extLst>
                <a:ext uri="{FF2B5EF4-FFF2-40B4-BE49-F238E27FC236}">
                  <a16:creationId xmlns:a16="http://schemas.microsoft.com/office/drawing/2014/main" xmlns="" id="{F67FC13B-67FD-4EA2-BA38-32D70A4A82B3}"/>
                </a:ext>
              </a:extLst>
            </p:cNvPr>
            <p:cNvSpPr/>
            <p:nvPr/>
          </p:nvSpPr>
          <p:spPr>
            <a:xfrm flipV="1">
              <a:off x="4840842" y="5415191"/>
              <a:ext cx="5664" cy="4360"/>
            </a:xfrm>
            <a:custGeom>
              <a:avLst/>
              <a:gdLst>
                <a:gd name="connsiteX0" fmla="*/ -3857 w 5664"/>
                <a:gd name="connsiteY0" fmla="*/ 2767 h 4360"/>
                <a:gd name="connsiteX1" fmla="*/ -371 w 5664"/>
                <a:gd name="connsiteY1" fmla="*/ 587 h 4360"/>
                <a:gd name="connsiteX2" fmla="*/ 1590 w 5664"/>
                <a:gd name="connsiteY2" fmla="*/ 2767 h 4360"/>
                <a:gd name="connsiteX3" fmla="*/ -1896 w 5664"/>
                <a:gd name="connsiteY3" fmla="*/ 4947 h 4360"/>
                <a:gd name="connsiteX4" fmla="*/ -3857 w 5664"/>
                <a:gd name="connsiteY4" fmla="*/ 2767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 h="4360">
                  <a:moveTo>
                    <a:pt x="-3857" y="2767"/>
                  </a:moveTo>
                  <a:cubicBezTo>
                    <a:pt x="-3204" y="1677"/>
                    <a:pt x="-1678" y="587"/>
                    <a:pt x="-371" y="587"/>
                  </a:cubicBezTo>
                  <a:cubicBezTo>
                    <a:pt x="719" y="587"/>
                    <a:pt x="1590" y="1677"/>
                    <a:pt x="1590" y="2767"/>
                  </a:cubicBezTo>
                  <a:cubicBezTo>
                    <a:pt x="1590" y="4075"/>
                    <a:pt x="65" y="4947"/>
                    <a:pt x="-1896" y="4947"/>
                  </a:cubicBezTo>
                  <a:cubicBezTo>
                    <a:pt x="-3639" y="4947"/>
                    <a:pt x="-4511" y="4075"/>
                    <a:pt x="-3857" y="2767"/>
                  </a:cubicBezTo>
                  <a:close/>
                </a:path>
              </a:pathLst>
            </a:custGeom>
            <a:grpFill/>
            <a:ln w="218" cap="flat">
              <a:noFill/>
              <a:prstDash val="solid"/>
              <a:miter/>
            </a:ln>
          </p:spPr>
          <p:txBody>
            <a:bodyPr rtlCol="0" anchor="ctr"/>
            <a:lstStyle/>
            <a:p>
              <a:endParaRPr lang="en-GB" dirty="0"/>
            </a:p>
          </p:txBody>
        </p:sp>
        <p:sp>
          <p:nvSpPr>
            <p:cNvPr id="110" name="Freihandform: Form 109">
              <a:extLst>
                <a:ext uri="{FF2B5EF4-FFF2-40B4-BE49-F238E27FC236}">
                  <a16:creationId xmlns:a16="http://schemas.microsoft.com/office/drawing/2014/main" xmlns="" id="{25A58E28-50EF-4AC2-8DFB-9AE53AB537C7}"/>
                </a:ext>
              </a:extLst>
            </p:cNvPr>
            <p:cNvSpPr/>
            <p:nvPr/>
          </p:nvSpPr>
          <p:spPr>
            <a:xfrm flipV="1">
              <a:off x="4801619" y="5417371"/>
              <a:ext cx="5619" cy="3570"/>
            </a:xfrm>
            <a:custGeom>
              <a:avLst/>
              <a:gdLst>
                <a:gd name="connsiteX0" fmla="*/ -3695 w 5619"/>
                <a:gd name="connsiteY0" fmla="*/ 1987 h 3570"/>
                <a:gd name="connsiteX1" fmla="*/ -209 w 5619"/>
                <a:gd name="connsiteY1" fmla="*/ 896 h 3570"/>
                <a:gd name="connsiteX2" fmla="*/ -1734 w 5619"/>
                <a:gd name="connsiteY2" fmla="*/ 4167 h 3570"/>
                <a:gd name="connsiteX3" fmla="*/ -3695 w 5619"/>
                <a:gd name="connsiteY3" fmla="*/ 1987 h 3570"/>
              </a:gdLst>
              <a:ahLst/>
              <a:cxnLst>
                <a:cxn ang="0">
                  <a:pos x="connsiteX0" y="connsiteY0"/>
                </a:cxn>
                <a:cxn ang="0">
                  <a:pos x="connsiteX1" y="connsiteY1"/>
                </a:cxn>
                <a:cxn ang="0">
                  <a:pos x="connsiteX2" y="connsiteY2"/>
                </a:cxn>
                <a:cxn ang="0">
                  <a:pos x="connsiteX3" y="connsiteY3"/>
                </a:cxn>
              </a:cxnLst>
              <a:rect l="l" t="t" r="r" b="b"/>
              <a:pathLst>
                <a:path w="5619" h="3570">
                  <a:moveTo>
                    <a:pt x="-3695" y="1987"/>
                  </a:moveTo>
                  <a:cubicBezTo>
                    <a:pt x="-2824" y="678"/>
                    <a:pt x="-1298" y="242"/>
                    <a:pt x="-209" y="896"/>
                  </a:cubicBezTo>
                  <a:cubicBezTo>
                    <a:pt x="2842" y="2859"/>
                    <a:pt x="2188" y="4167"/>
                    <a:pt x="-1734" y="4167"/>
                  </a:cubicBezTo>
                  <a:cubicBezTo>
                    <a:pt x="-3477" y="4167"/>
                    <a:pt x="-4349" y="3077"/>
                    <a:pt x="-3695" y="1987"/>
                  </a:cubicBezTo>
                  <a:close/>
                </a:path>
              </a:pathLst>
            </a:custGeom>
            <a:grpFill/>
            <a:ln w="218" cap="flat">
              <a:noFill/>
              <a:prstDash val="solid"/>
              <a:miter/>
            </a:ln>
          </p:spPr>
          <p:txBody>
            <a:bodyPr rtlCol="0" anchor="ctr"/>
            <a:lstStyle/>
            <a:p>
              <a:endParaRPr lang="en-GB" dirty="0"/>
            </a:p>
          </p:txBody>
        </p:sp>
        <p:sp>
          <p:nvSpPr>
            <p:cNvPr id="111" name="Freihandform: Form 110">
              <a:extLst>
                <a:ext uri="{FF2B5EF4-FFF2-40B4-BE49-F238E27FC236}">
                  <a16:creationId xmlns:a16="http://schemas.microsoft.com/office/drawing/2014/main" xmlns="" id="{1393A23C-B21C-483B-A005-01F0E875357F}"/>
                </a:ext>
              </a:extLst>
            </p:cNvPr>
            <p:cNvSpPr/>
            <p:nvPr/>
          </p:nvSpPr>
          <p:spPr>
            <a:xfrm flipV="1">
              <a:off x="4199322" y="5424636"/>
              <a:ext cx="58592" cy="106098"/>
            </a:xfrm>
            <a:custGeom>
              <a:avLst/>
              <a:gdLst>
                <a:gd name="connsiteX0" fmla="*/ 23090 w 58592"/>
                <a:gd name="connsiteY0" fmla="*/ 104881 h 106098"/>
                <a:gd name="connsiteX1" fmla="*/ 17206 w 58592"/>
                <a:gd name="connsiteY1" fmla="*/ 96379 h 106098"/>
                <a:gd name="connsiteX2" fmla="*/ 12412 w 58592"/>
                <a:gd name="connsiteY2" fmla="*/ 90710 h 106098"/>
                <a:gd name="connsiteX3" fmla="*/ 7836 w 58592"/>
                <a:gd name="connsiteY3" fmla="*/ 88748 h 106098"/>
                <a:gd name="connsiteX4" fmla="*/ 8708 w 58592"/>
                <a:gd name="connsiteY4" fmla="*/ 85914 h 106098"/>
                <a:gd name="connsiteX5" fmla="*/ 13502 w 58592"/>
                <a:gd name="connsiteY5" fmla="*/ 83952 h 106098"/>
                <a:gd name="connsiteX6" fmla="*/ 13937 w 58592"/>
                <a:gd name="connsiteY6" fmla="*/ 78502 h 106098"/>
                <a:gd name="connsiteX7" fmla="*/ 13937 w 58592"/>
                <a:gd name="connsiteY7" fmla="*/ 71526 h 106098"/>
                <a:gd name="connsiteX8" fmla="*/ 4567 w 58592"/>
                <a:gd name="connsiteY8" fmla="*/ 64986 h 106098"/>
                <a:gd name="connsiteX9" fmla="*/ -1534 w 58592"/>
                <a:gd name="connsiteY9" fmla="*/ 63023 h 106098"/>
                <a:gd name="connsiteX10" fmla="*/ 7836 w 58592"/>
                <a:gd name="connsiteY10" fmla="*/ 52995 h 106098"/>
                <a:gd name="connsiteX11" fmla="*/ 24615 w 58592"/>
                <a:gd name="connsiteY11" fmla="*/ 39479 h 106098"/>
                <a:gd name="connsiteX12" fmla="*/ 19167 w 58592"/>
                <a:gd name="connsiteY12" fmla="*/ 31412 h 106098"/>
                <a:gd name="connsiteX13" fmla="*/ 13720 w 58592"/>
                <a:gd name="connsiteY13" fmla="*/ 25962 h 106098"/>
                <a:gd name="connsiteX14" fmla="*/ 18731 w 58592"/>
                <a:gd name="connsiteY14" fmla="*/ 25526 h 106098"/>
                <a:gd name="connsiteX15" fmla="*/ 28973 w 58592"/>
                <a:gd name="connsiteY15" fmla="*/ 5251 h 106098"/>
                <a:gd name="connsiteX16" fmla="*/ 31370 w 58592"/>
                <a:gd name="connsiteY16" fmla="*/ 891 h 106098"/>
                <a:gd name="connsiteX17" fmla="*/ 32677 w 58592"/>
                <a:gd name="connsiteY17" fmla="*/ 5687 h 106098"/>
                <a:gd name="connsiteX18" fmla="*/ 35510 w 58592"/>
                <a:gd name="connsiteY18" fmla="*/ 15716 h 106098"/>
                <a:gd name="connsiteX19" fmla="*/ 37036 w 58592"/>
                <a:gd name="connsiteY19" fmla="*/ 25744 h 106098"/>
                <a:gd name="connsiteX20" fmla="*/ 34421 w 58592"/>
                <a:gd name="connsiteY20" fmla="*/ 38825 h 106098"/>
                <a:gd name="connsiteX21" fmla="*/ 27230 w 58592"/>
                <a:gd name="connsiteY21" fmla="*/ 52995 h 106098"/>
                <a:gd name="connsiteX22" fmla="*/ 22218 w 58592"/>
                <a:gd name="connsiteY22" fmla="*/ 66294 h 106098"/>
                <a:gd name="connsiteX23" fmla="*/ 31152 w 58592"/>
                <a:gd name="connsiteY23" fmla="*/ 57573 h 106098"/>
                <a:gd name="connsiteX24" fmla="*/ 35510 w 58592"/>
                <a:gd name="connsiteY24" fmla="*/ 53213 h 106098"/>
                <a:gd name="connsiteX25" fmla="*/ 48585 w 58592"/>
                <a:gd name="connsiteY25" fmla="*/ 59099 h 106098"/>
                <a:gd name="connsiteX26" fmla="*/ 52071 w 58592"/>
                <a:gd name="connsiteY26" fmla="*/ 72834 h 106098"/>
                <a:gd name="connsiteX27" fmla="*/ 45970 w 58592"/>
                <a:gd name="connsiteY27" fmla="*/ 82208 h 106098"/>
                <a:gd name="connsiteX28" fmla="*/ 41176 w 58592"/>
                <a:gd name="connsiteY28" fmla="*/ 91364 h 106098"/>
                <a:gd name="connsiteX29" fmla="*/ 36382 w 58592"/>
                <a:gd name="connsiteY29" fmla="*/ 83080 h 106098"/>
                <a:gd name="connsiteX30" fmla="*/ 40304 w 58592"/>
                <a:gd name="connsiteY30" fmla="*/ 73052 h 106098"/>
                <a:gd name="connsiteX31" fmla="*/ 45534 w 58592"/>
                <a:gd name="connsiteY31" fmla="*/ 65640 h 106098"/>
                <a:gd name="connsiteX32" fmla="*/ 46188 w 58592"/>
                <a:gd name="connsiteY32" fmla="*/ 59971 h 106098"/>
                <a:gd name="connsiteX33" fmla="*/ 38561 w 58592"/>
                <a:gd name="connsiteY33" fmla="*/ 63459 h 106098"/>
                <a:gd name="connsiteX34" fmla="*/ 31152 w 58592"/>
                <a:gd name="connsiteY34" fmla="*/ 69564 h 106098"/>
                <a:gd name="connsiteX35" fmla="*/ 26794 w 58592"/>
                <a:gd name="connsiteY35" fmla="*/ 76104 h 106098"/>
                <a:gd name="connsiteX36" fmla="*/ 28537 w 58592"/>
                <a:gd name="connsiteY36" fmla="*/ 90710 h 106098"/>
                <a:gd name="connsiteX37" fmla="*/ 34421 w 58592"/>
                <a:gd name="connsiteY37" fmla="*/ 100085 h 106098"/>
                <a:gd name="connsiteX38" fmla="*/ 23090 w 58592"/>
                <a:gd name="connsiteY38" fmla="*/ 104881 h 10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8592" h="106098">
                  <a:moveTo>
                    <a:pt x="23090" y="104881"/>
                  </a:moveTo>
                  <a:cubicBezTo>
                    <a:pt x="20475" y="103573"/>
                    <a:pt x="17860" y="99649"/>
                    <a:pt x="17206" y="96379"/>
                  </a:cubicBezTo>
                  <a:cubicBezTo>
                    <a:pt x="16334" y="92018"/>
                    <a:pt x="14809" y="90274"/>
                    <a:pt x="12412" y="90710"/>
                  </a:cubicBezTo>
                  <a:cubicBezTo>
                    <a:pt x="10451" y="91146"/>
                    <a:pt x="8272" y="90056"/>
                    <a:pt x="7836" y="88748"/>
                  </a:cubicBezTo>
                  <a:cubicBezTo>
                    <a:pt x="7182" y="87222"/>
                    <a:pt x="7618" y="85914"/>
                    <a:pt x="8708" y="85914"/>
                  </a:cubicBezTo>
                  <a:cubicBezTo>
                    <a:pt x="9579" y="85914"/>
                    <a:pt x="11758" y="85042"/>
                    <a:pt x="13502" y="83952"/>
                  </a:cubicBezTo>
                  <a:cubicBezTo>
                    <a:pt x="16117" y="82208"/>
                    <a:pt x="16117" y="81336"/>
                    <a:pt x="13937" y="78502"/>
                  </a:cubicBezTo>
                  <a:cubicBezTo>
                    <a:pt x="11540" y="75668"/>
                    <a:pt x="11540" y="74360"/>
                    <a:pt x="13937" y="71526"/>
                  </a:cubicBezTo>
                  <a:cubicBezTo>
                    <a:pt x="17642" y="66948"/>
                    <a:pt x="12848" y="63677"/>
                    <a:pt x="4567" y="64986"/>
                  </a:cubicBezTo>
                  <a:cubicBezTo>
                    <a:pt x="209" y="65858"/>
                    <a:pt x="-1534" y="65204"/>
                    <a:pt x="-1534" y="63023"/>
                  </a:cubicBezTo>
                  <a:cubicBezTo>
                    <a:pt x="-1534" y="59535"/>
                    <a:pt x="4350" y="53213"/>
                    <a:pt x="7836" y="52995"/>
                  </a:cubicBezTo>
                  <a:cubicBezTo>
                    <a:pt x="22000" y="52123"/>
                    <a:pt x="24615" y="49943"/>
                    <a:pt x="24615" y="39479"/>
                  </a:cubicBezTo>
                  <a:cubicBezTo>
                    <a:pt x="24615" y="35119"/>
                    <a:pt x="23090" y="32938"/>
                    <a:pt x="19167" y="31412"/>
                  </a:cubicBezTo>
                  <a:cubicBezTo>
                    <a:pt x="16117" y="30322"/>
                    <a:pt x="13720" y="27924"/>
                    <a:pt x="13720" y="25962"/>
                  </a:cubicBezTo>
                  <a:cubicBezTo>
                    <a:pt x="13720" y="22038"/>
                    <a:pt x="17424" y="21602"/>
                    <a:pt x="18731" y="25526"/>
                  </a:cubicBezTo>
                  <a:cubicBezTo>
                    <a:pt x="19821" y="29014"/>
                    <a:pt x="28973" y="11138"/>
                    <a:pt x="28973" y="5251"/>
                  </a:cubicBezTo>
                  <a:cubicBezTo>
                    <a:pt x="28973" y="2853"/>
                    <a:pt x="30063" y="891"/>
                    <a:pt x="31370" y="891"/>
                  </a:cubicBezTo>
                  <a:cubicBezTo>
                    <a:pt x="32895" y="891"/>
                    <a:pt x="33331" y="2853"/>
                    <a:pt x="32677" y="5687"/>
                  </a:cubicBezTo>
                  <a:cubicBezTo>
                    <a:pt x="31806" y="8522"/>
                    <a:pt x="32895" y="12446"/>
                    <a:pt x="35510" y="15716"/>
                  </a:cubicBezTo>
                  <a:cubicBezTo>
                    <a:pt x="38997" y="20076"/>
                    <a:pt x="39433" y="21820"/>
                    <a:pt x="37036" y="25744"/>
                  </a:cubicBezTo>
                  <a:cubicBezTo>
                    <a:pt x="35728" y="28142"/>
                    <a:pt x="34421" y="34028"/>
                    <a:pt x="34421" y="38825"/>
                  </a:cubicBezTo>
                  <a:cubicBezTo>
                    <a:pt x="34203" y="45583"/>
                    <a:pt x="32677" y="48417"/>
                    <a:pt x="27230" y="52995"/>
                  </a:cubicBezTo>
                  <a:cubicBezTo>
                    <a:pt x="20693" y="58227"/>
                    <a:pt x="17642" y="66294"/>
                    <a:pt x="22218" y="66294"/>
                  </a:cubicBezTo>
                  <a:cubicBezTo>
                    <a:pt x="24833" y="66294"/>
                    <a:pt x="31152" y="59971"/>
                    <a:pt x="31152" y="57573"/>
                  </a:cubicBezTo>
                  <a:cubicBezTo>
                    <a:pt x="31152" y="56483"/>
                    <a:pt x="33113" y="54521"/>
                    <a:pt x="35510" y="53213"/>
                  </a:cubicBezTo>
                  <a:cubicBezTo>
                    <a:pt x="38997" y="51251"/>
                    <a:pt x="41176" y="52341"/>
                    <a:pt x="48585" y="59099"/>
                  </a:cubicBezTo>
                  <a:cubicBezTo>
                    <a:pt x="58608" y="68474"/>
                    <a:pt x="59698" y="72834"/>
                    <a:pt x="52071" y="72834"/>
                  </a:cubicBezTo>
                  <a:cubicBezTo>
                    <a:pt x="47277" y="72834"/>
                    <a:pt x="46624" y="73924"/>
                    <a:pt x="45970" y="82208"/>
                  </a:cubicBezTo>
                  <a:cubicBezTo>
                    <a:pt x="45534" y="89402"/>
                    <a:pt x="44444" y="91364"/>
                    <a:pt x="41176" y="91364"/>
                  </a:cubicBezTo>
                  <a:cubicBezTo>
                    <a:pt x="38125" y="91364"/>
                    <a:pt x="37036" y="89402"/>
                    <a:pt x="36382" y="83080"/>
                  </a:cubicBezTo>
                  <a:cubicBezTo>
                    <a:pt x="35728" y="76322"/>
                    <a:pt x="36600" y="74578"/>
                    <a:pt x="40304" y="73052"/>
                  </a:cubicBezTo>
                  <a:cubicBezTo>
                    <a:pt x="43137" y="72180"/>
                    <a:pt x="45098" y="69128"/>
                    <a:pt x="45534" y="65640"/>
                  </a:cubicBezTo>
                  <a:lnTo>
                    <a:pt x="46188" y="59971"/>
                  </a:lnTo>
                  <a:lnTo>
                    <a:pt x="38561" y="63459"/>
                  </a:lnTo>
                  <a:cubicBezTo>
                    <a:pt x="34421" y="65422"/>
                    <a:pt x="31152" y="68256"/>
                    <a:pt x="31152" y="69564"/>
                  </a:cubicBezTo>
                  <a:cubicBezTo>
                    <a:pt x="31152" y="71090"/>
                    <a:pt x="29191" y="73924"/>
                    <a:pt x="26794" y="76104"/>
                  </a:cubicBezTo>
                  <a:cubicBezTo>
                    <a:pt x="20693" y="81554"/>
                    <a:pt x="21346" y="87440"/>
                    <a:pt x="28537" y="90710"/>
                  </a:cubicBezTo>
                  <a:cubicBezTo>
                    <a:pt x="32895" y="92890"/>
                    <a:pt x="34421" y="95071"/>
                    <a:pt x="34421" y="100085"/>
                  </a:cubicBezTo>
                  <a:cubicBezTo>
                    <a:pt x="34421" y="107279"/>
                    <a:pt x="30934" y="108805"/>
                    <a:pt x="23090" y="104881"/>
                  </a:cubicBezTo>
                  <a:close/>
                </a:path>
              </a:pathLst>
            </a:custGeom>
            <a:grpFill/>
            <a:ln w="218" cap="flat">
              <a:noFill/>
              <a:prstDash val="solid"/>
              <a:miter/>
            </a:ln>
          </p:spPr>
          <p:txBody>
            <a:bodyPr rtlCol="0" anchor="ctr"/>
            <a:lstStyle/>
            <a:p>
              <a:endParaRPr lang="en-GB" dirty="0"/>
            </a:p>
          </p:txBody>
        </p:sp>
        <p:sp>
          <p:nvSpPr>
            <p:cNvPr id="112" name="Freihandform: Form 111">
              <a:extLst>
                <a:ext uri="{FF2B5EF4-FFF2-40B4-BE49-F238E27FC236}">
                  <a16:creationId xmlns:a16="http://schemas.microsoft.com/office/drawing/2014/main" xmlns="" id="{C619EB62-49FA-4F01-B8FC-F173002C2161}"/>
                </a:ext>
              </a:extLst>
            </p:cNvPr>
            <p:cNvSpPr/>
            <p:nvPr/>
          </p:nvSpPr>
          <p:spPr>
            <a:xfrm flipV="1">
              <a:off x="4309148" y="5423911"/>
              <a:ext cx="5664" cy="4360"/>
            </a:xfrm>
            <a:custGeom>
              <a:avLst/>
              <a:gdLst>
                <a:gd name="connsiteX0" fmla="*/ -1661 w 5664"/>
                <a:gd name="connsiteY0" fmla="*/ 2811 h 4360"/>
                <a:gd name="connsiteX1" fmla="*/ 1825 w 5664"/>
                <a:gd name="connsiteY1" fmla="*/ 631 h 4360"/>
                <a:gd name="connsiteX2" fmla="*/ 3786 w 5664"/>
                <a:gd name="connsiteY2" fmla="*/ 2811 h 4360"/>
                <a:gd name="connsiteX3" fmla="*/ 300 w 5664"/>
                <a:gd name="connsiteY3" fmla="*/ 4991 h 4360"/>
                <a:gd name="connsiteX4" fmla="*/ -1661 w 5664"/>
                <a:gd name="connsiteY4" fmla="*/ 2811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 h="4360">
                  <a:moveTo>
                    <a:pt x="-1661" y="2811"/>
                  </a:moveTo>
                  <a:cubicBezTo>
                    <a:pt x="-1008" y="1721"/>
                    <a:pt x="518" y="631"/>
                    <a:pt x="1825" y="631"/>
                  </a:cubicBezTo>
                  <a:cubicBezTo>
                    <a:pt x="2915" y="631"/>
                    <a:pt x="3786" y="1721"/>
                    <a:pt x="3786" y="2811"/>
                  </a:cubicBezTo>
                  <a:cubicBezTo>
                    <a:pt x="3786" y="4119"/>
                    <a:pt x="2261" y="4991"/>
                    <a:pt x="300" y="4991"/>
                  </a:cubicBezTo>
                  <a:cubicBezTo>
                    <a:pt x="-1443" y="4991"/>
                    <a:pt x="-2315" y="4119"/>
                    <a:pt x="-1661" y="2811"/>
                  </a:cubicBezTo>
                  <a:close/>
                </a:path>
              </a:pathLst>
            </a:custGeom>
            <a:grpFill/>
            <a:ln w="218" cap="flat">
              <a:noFill/>
              <a:prstDash val="solid"/>
              <a:miter/>
            </a:ln>
          </p:spPr>
          <p:txBody>
            <a:bodyPr rtlCol="0" anchor="ctr"/>
            <a:lstStyle/>
            <a:p>
              <a:endParaRPr lang="en-GB" dirty="0"/>
            </a:p>
          </p:txBody>
        </p:sp>
        <p:sp>
          <p:nvSpPr>
            <p:cNvPr id="113" name="Freihandform: Form 112">
              <a:extLst>
                <a:ext uri="{FF2B5EF4-FFF2-40B4-BE49-F238E27FC236}">
                  <a16:creationId xmlns:a16="http://schemas.microsoft.com/office/drawing/2014/main" xmlns="" id="{DD710383-F081-411A-9436-79CF654130CB}"/>
                </a:ext>
              </a:extLst>
            </p:cNvPr>
            <p:cNvSpPr/>
            <p:nvPr/>
          </p:nvSpPr>
          <p:spPr>
            <a:xfrm flipV="1">
              <a:off x="4460811" y="5423911"/>
              <a:ext cx="4358" cy="5667"/>
            </a:xfrm>
            <a:custGeom>
              <a:avLst/>
              <a:gdLst>
                <a:gd name="connsiteX0" fmla="*/ -2502 w 4358"/>
                <a:gd name="connsiteY0" fmla="*/ 4340 h 5667"/>
                <a:gd name="connsiteX1" fmla="*/ -323 w 4358"/>
                <a:gd name="connsiteY1" fmla="*/ 851 h 5667"/>
                <a:gd name="connsiteX2" fmla="*/ 1856 w 4358"/>
                <a:gd name="connsiteY2" fmla="*/ 2814 h 5667"/>
                <a:gd name="connsiteX3" fmla="*/ -323 w 4358"/>
                <a:gd name="connsiteY3" fmla="*/ 6302 h 5667"/>
                <a:gd name="connsiteX4" fmla="*/ -2502 w 4358"/>
                <a:gd name="connsiteY4" fmla="*/ 4340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2502" y="4340"/>
                  </a:moveTo>
                  <a:cubicBezTo>
                    <a:pt x="-2502" y="3032"/>
                    <a:pt x="-1412" y="1505"/>
                    <a:pt x="-323" y="851"/>
                  </a:cubicBezTo>
                  <a:cubicBezTo>
                    <a:pt x="985" y="197"/>
                    <a:pt x="1856" y="1069"/>
                    <a:pt x="1856" y="2814"/>
                  </a:cubicBezTo>
                  <a:cubicBezTo>
                    <a:pt x="1856" y="4776"/>
                    <a:pt x="985" y="6302"/>
                    <a:pt x="-323" y="6302"/>
                  </a:cubicBezTo>
                  <a:cubicBezTo>
                    <a:pt x="-1412" y="6302"/>
                    <a:pt x="-2502" y="5430"/>
                    <a:pt x="-2502" y="4340"/>
                  </a:cubicBezTo>
                  <a:close/>
                </a:path>
              </a:pathLst>
            </a:custGeom>
            <a:grpFill/>
            <a:ln w="218" cap="flat">
              <a:noFill/>
              <a:prstDash val="solid"/>
              <a:miter/>
            </a:ln>
          </p:spPr>
          <p:txBody>
            <a:bodyPr rtlCol="0" anchor="ctr"/>
            <a:lstStyle/>
            <a:p>
              <a:endParaRPr lang="en-GB" dirty="0"/>
            </a:p>
          </p:txBody>
        </p:sp>
        <p:sp>
          <p:nvSpPr>
            <p:cNvPr id="114" name="Freihandform: Form 113">
              <a:extLst>
                <a:ext uri="{FF2B5EF4-FFF2-40B4-BE49-F238E27FC236}">
                  <a16:creationId xmlns:a16="http://schemas.microsoft.com/office/drawing/2014/main" xmlns="" id="{117EBB8E-9F5E-4BE4-AD59-F2774F616CC9}"/>
                </a:ext>
              </a:extLst>
            </p:cNvPr>
            <p:cNvSpPr/>
            <p:nvPr/>
          </p:nvSpPr>
          <p:spPr>
            <a:xfrm flipV="1">
              <a:off x="4255484" y="5428347"/>
              <a:ext cx="17926" cy="26100"/>
            </a:xfrm>
            <a:custGeom>
              <a:avLst/>
              <a:gdLst>
                <a:gd name="connsiteX0" fmla="*/ -752 w 17926"/>
                <a:gd name="connsiteY0" fmla="*/ 24051 h 26100"/>
                <a:gd name="connsiteX1" fmla="*/ 6221 w 17926"/>
                <a:gd name="connsiteY1" fmla="*/ 1814 h 26100"/>
                <a:gd name="connsiteX2" fmla="*/ 12105 w 17926"/>
                <a:gd name="connsiteY2" fmla="*/ 10970 h 26100"/>
                <a:gd name="connsiteX3" fmla="*/ 12758 w 17926"/>
                <a:gd name="connsiteY3" fmla="*/ 19473 h 26100"/>
                <a:gd name="connsiteX4" fmla="*/ 16245 w 17926"/>
                <a:gd name="connsiteY4" fmla="*/ 24487 h 26100"/>
                <a:gd name="connsiteX5" fmla="*/ -752 w 17926"/>
                <a:gd name="connsiteY5" fmla="*/ 24051 h 2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26" h="26100">
                  <a:moveTo>
                    <a:pt x="-752" y="24051"/>
                  </a:moveTo>
                  <a:cubicBezTo>
                    <a:pt x="-3803" y="20563"/>
                    <a:pt x="1209" y="5084"/>
                    <a:pt x="6221" y="1814"/>
                  </a:cubicBezTo>
                  <a:cubicBezTo>
                    <a:pt x="11887" y="-1674"/>
                    <a:pt x="15373" y="3558"/>
                    <a:pt x="12105" y="10970"/>
                  </a:cubicBezTo>
                  <a:cubicBezTo>
                    <a:pt x="9708" y="15984"/>
                    <a:pt x="9925" y="17292"/>
                    <a:pt x="12758" y="19473"/>
                  </a:cubicBezTo>
                  <a:cubicBezTo>
                    <a:pt x="14719" y="20781"/>
                    <a:pt x="16245" y="22961"/>
                    <a:pt x="16245" y="24487"/>
                  </a:cubicBezTo>
                  <a:cubicBezTo>
                    <a:pt x="16245" y="27757"/>
                    <a:pt x="2081" y="27539"/>
                    <a:pt x="-752" y="24051"/>
                  </a:cubicBezTo>
                  <a:close/>
                </a:path>
              </a:pathLst>
            </a:custGeom>
            <a:grpFill/>
            <a:ln w="218" cap="flat">
              <a:noFill/>
              <a:prstDash val="solid"/>
              <a:miter/>
            </a:ln>
          </p:spPr>
          <p:txBody>
            <a:bodyPr rtlCol="0" anchor="ctr"/>
            <a:lstStyle/>
            <a:p>
              <a:endParaRPr lang="en-GB" dirty="0"/>
            </a:p>
          </p:txBody>
        </p:sp>
        <p:sp>
          <p:nvSpPr>
            <p:cNvPr id="115" name="Freihandform: Form 114">
              <a:extLst>
                <a:ext uri="{FF2B5EF4-FFF2-40B4-BE49-F238E27FC236}">
                  <a16:creationId xmlns:a16="http://schemas.microsoft.com/office/drawing/2014/main" xmlns="" id="{CD2BB05D-C250-45FE-BB6A-B87DC9087912}"/>
                </a:ext>
              </a:extLst>
            </p:cNvPr>
            <p:cNvSpPr/>
            <p:nvPr/>
          </p:nvSpPr>
          <p:spPr>
            <a:xfrm flipV="1">
              <a:off x="5094922" y="5430451"/>
              <a:ext cx="4358" cy="4360"/>
            </a:xfrm>
            <a:custGeom>
              <a:avLst/>
              <a:gdLst>
                <a:gd name="connsiteX0" fmla="*/ -5121 w 4358"/>
                <a:gd name="connsiteY0" fmla="*/ 2844 h 4360"/>
                <a:gd name="connsiteX1" fmla="*/ -2942 w 4358"/>
                <a:gd name="connsiteY1" fmla="*/ 664 h 4360"/>
                <a:gd name="connsiteX2" fmla="*/ -763 w 4358"/>
                <a:gd name="connsiteY2" fmla="*/ 2844 h 4360"/>
                <a:gd name="connsiteX3" fmla="*/ -2942 w 4358"/>
                <a:gd name="connsiteY3" fmla="*/ 5024 h 4360"/>
                <a:gd name="connsiteX4" fmla="*/ -5121 w 4358"/>
                <a:gd name="connsiteY4" fmla="*/ 2844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5121" y="2844"/>
                  </a:moveTo>
                  <a:cubicBezTo>
                    <a:pt x="-5121" y="1754"/>
                    <a:pt x="-4031" y="664"/>
                    <a:pt x="-2942" y="664"/>
                  </a:cubicBezTo>
                  <a:cubicBezTo>
                    <a:pt x="-1634" y="664"/>
                    <a:pt x="-763" y="1754"/>
                    <a:pt x="-763" y="2844"/>
                  </a:cubicBezTo>
                  <a:cubicBezTo>
                    <a:pt x="-763" y="4152"/>
                    <a:pt x="-1634" y="5024"/>
                    <a:pt x="-2942" y="5024"/>
                  </a:cubicBezTo>
                  <a:cubicBezTo>
                    <a:pt x="-4031" y="5024"/>
                    <a:pt x="-5121" y="4152"/>
                    <a:pt x="-5121" y="2844"/>
                  </a:cubicBezTo>
                  <a:close/>
                </a:path>
              </a:pathLst>
            </a:custGeom>
            <a:grpFill/>
            <a:ln w="218" cap="flat">
              <a:noFill/>
              <a:prstDash val="solid"/>
              <a:miter/>
            </a:ln>
          </p:spPr>
          <p:txBody>
            <a:bodyPr rtlCol="0" anchor="ctr"/>
            <a:lstStyle/>
            <a:p>
              <a:endParaRPr lang="en-GB" dirty="0"/>
            </a:p>
          </p:txBody>
        </p:sp>
        <p:sp>
          <p:nvSpPr>
            <p:cNvPr id="116" name="Freihandform: Form 115">
              <a:extLst>
                <a:ext uri="{FF2B5EF4-FFF2-40B4-BE49-F238E27FC236}">
                  <a16:creationId xmlns:a16="http://schemas.microsoft.com/office/drawing/2014/main" xmlns="" id="{47F36F52-CFAB-4D33-8502-1B04FFC86D9F}"/>
                </a:ext>
              </a:extLst>
            </p:cNvPr>
            <p:cNvSpPr/>
            <p:nvPr/>
          </p:nvSpPr>
          <p:spPr>
            <a:xfrm flipV="1">
              <a:off x="4300107" y="5434811"/>
              <a:ext cx="38189" cy="39387"/>
            </a:xfrm>
            <a:custGeom>
              <a:avLst/>
              <a:gdLst>
                <a:gd name="connsiteX0" fmla="*/ 29141 w 38189"/>
                <a:gd name="connsiteY0" fmla="*/ 36892 h 39387"/>
                <a:gd name="connsiteX1" fmla="*/ 26962 w 38189"/>
                <a:gd name="connsiteY1" fmla="*/ 30352 h 39387"/>
                <a:gd name="connsiteX2" fmla="*/ 21732 w 38189"/>
                <a:gd name="connsiteY2" fmla="*/ 29262 h 39387"/>
                <a:gd name="connsiteX3" fmla="*/ 16503 w 38189"/>
                <a:gd name="connsiteY3" fmla="*/ 26646 h 39387"/>
                <a:gd name="connsiteX4" fmla="*/ 14977 w 38189"/>
                <a:gd name="connsiteY4" fmla="*/ 25556 h 39387"/>
                <a:gd name="connsiteX5" fmla="*/ 7568 w 38189"/>
                <a:gd name="connsiteY5" fmla="*/ 21413 h 39387"/>
                <a:gd name="connsiteX6" fmla="*/ 2774 w 38189"/>
                <a:gd name="connsiteY6" fmla="*/ 14873 h 39387"/>
                <a:gd name="connsiteX7" fmla="*/ -276 w 38189"/>
                <a:gd name="connsiteY7" fmla="*/ 6371 h 39387"/>
                <a:gd name="connsiteX8" fmla="*/ 8658 w 38189"/>
                <a:gd name="connsiteY8" fmla="*/ 10077 h 39387"/>
                <a:gd name="connsiteX9" fmla="*/ 16721 w 38189"/>
                <a:gd name="connsiteY9" fmla="*/ 14437 h 39387"/>
                <a:gd name="connsiteX10" fmla="*/ 17592 w 38189"/>
                <a:gd name="connsiteY10" fmla="*/ 6153 h 39387"/>
                <a:gd name="connsiteX11" fmla="*/ 26744 w 38189"/>
                <a:gd name="connsiteY11" fmla="*/ 2229 h 39387"/>
                <a:gd name="connsiteX12" fmla="*/ 28923 w 38189"/>
                <a:gd name="connsiteY12" fmla="*/ 12911 h 39387"/>
                <a:gd name="connsiteX13" fmla="*/ 30013 w 38189"/>
                <a:gd name="connsiteY13" fmla="*/ 23593 h 39387"/>
                <a:gd name="connsiteX14" fmla="*/ 32410 w 38189"/>
                <a:gd name="connsiteY14" fmla="*/ 29262 h 39387"/>
                <a:gd name="connsiteX15" fmla="*/ 35025 w 38189"/>
                <a:gd name="connsiteY15" fmla="*/ 34058 h 39387"/>
                <a:gd name="connsiteX16" fmla="*/ 32192 w 38189"/>
                <a:gd name="connsiteY16" fmla="*/ 40162 h 39387"/>
                <a:gd name="connsiteX17" fmla="*/ 29141 w 38189"/>
                <a:gd name="connsiteY17" fmla="*/ 36892 h 39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89" h="39387">
                  <a:moveTo>
                    <a:pt x="29141" y="36892"/>
                  </a:moveTo>
                  <a:cubicBezTo>
                    <a:pt x="28488" y="35148"/>
                    <a:pt x="27616" y="32096"/>
                    <a:pt x="26962" y="30352"/>
                  </a:cubicBezTo>
                  <a:cubicBezTo>
                    <a:pt x="26091" y="27736"/>
                    <a:pt x="25001" y="27300"/>
                    <a:pt x="21732" y="29262"/>
                  </a:cubicBezTo>
                  <a:cubicBezTo>
                    <a:pt x="15849" y="32314"/>
                    <a:pt x="15195" y="32096"/>
                    <a:pt x="16503" y="26646"/>
                  </a:cubicBezTo>
                  <a:cubicBezTo>
                    <a:pt x="17374" y="22285"/>
                    <a:pt x="17156" y="22067"/>
                    <a:pt x="14977" y="25556"/>
                  </a:cubicBezTo>
                  <a:cubicBezTo>
                    <a:pt x="11273" y="31224"/>
                    <a:pt x="9094" y="30134"/>
                    <a:pt x="7568" y="21413"/>
                  </a:cubicBezTo>
                  <a:cubicBezTo>
                    <a:pt x="6479" y="15745"/>
                    <a:pt x="5171" y="14001"/>
                    <a:pt x="2774" y="14873"/>
                  </a:cubicBezTo>
                  <a:cubicBezTo>
                    <a:pt x="-1584" y="16617"/>
                    <a:pt x="-3545" y="10513"/>
                    <a:pt x="-276" y="6371"/>
                  </a:cubicBezTo>
                  <a:cubicBezTo>
                    <a:pt x="2121" y="3319"/>
                    <a:pt x="3428" y="3973"/>
                    <a:pt x="8658" y="10077"/>
                  </a:cubicBezTo>
                  <a:cubicBezTo>
                    <a:pt x="13452" y="15527"/>
                    <a:pt x="15413" y="16617"/>
                    <a:pt x="16721" y="14437"/>
                  </a:cubicBezTo>
                  <a:cubicBezTo>
                    <a:pt x="17810" y="12911"/>
                    <a:pt x="18246" y="9205"/>
                    <a:pt x="17592" y="6153"/>
                  </a:cubicBezTo>
                  <a:cubicBezTo>
                    <a:pt x="16721" y="703"/>
                    <a:pt x="19553" y="-605"/>
                    <a:pt x="26744" y="2229"/>
                  </a:cubicBezTo>
                  <a:cubicBezTo>
                    <a:pt x="29359" y="3319"/>
                    <a:pt x="29795" y="5499"/>
                    <a:pt x="28923" y="12911"/>
                  </a:cubicBezTo>
                  <a:cubicBezTo>
                    <a:pt x="28052" y="18579"/>
                    <a:pt x="28488" y="22721"/>
                    <a:pt x="30013" y="23593"/>
                  </a:cubicBezTo>
                  <a:cubicBezTo>
                    <a:pt x="31320" y="24465"/>
                    <a:pt x="32410" y="27082"/>
                    <a:pt x="32410" y="29262"/>
                  </a:cubicBezTo>
                  <a:cubicBezTo>
                    <a:pt x="32410" y="31442"/>
                    <a:pt x="33499" y="33622"/>
                    <a:pt x="35025" y="34058"/>
                  </a:cubicBezTo>
                  <a:cubicBezTo>
                    <a:pt x="37858" y="35148"/>
                    <a:pt x="35461" y="40162"/>
                    <a:pt x="32192" y="40162"/>
                  </a:cubicBezTo>
                  <a:cubicBezTo>
                    <a:pt x="31102" y="40162"/>
                    <a:pt x="29577" y="38636"/>
                    <a:pt x="29141" y="36892"/>
                  </a:cubicBezTo>
                  <a:close/>
                </a:path>
              </a:pathLst>
            </a:custGeom>
            <a:grpFill/>
            <a:ln w="218" cap="flat">
              <a:noFill/>
              <a:prstDash val="solid"/>
              <a:miter/>
            </a:ln>
          </p:spPr>
          <p:txBody>
            <a:bodyPr rtlCol="0" anchor="ctr"/>
            <a:lstStyle/>
            <a:p>
              <a:endParaRPr lang="en-GB" dirty="0"/>
            </a:p>
          </p:txBody>
        </p:sp>
        <p:sp>
          <p:nvSpPr>
            <p:cNvPr id="117" name="Freihandform: Form 116">
              <a:extLst>
                <a:ext uri="{FF2B5EF4-FFF2-40B4-BE49-F238E27FC236}">
                  <a16:creationId xmlns:a16="http://schemas.microsoft.com/office/drawing/2014/main" xmlns="" id="{B7DD62A9-038F-482A-8FF1-A29B77D54416}"/>
                </a:ext>
              </a:extLst>
            </p:cNvPr>
            <p:cNvSpPr/>
            <p:nvPr/>
          </p:nvSpPr>
          <p:spPr>
            <a:xfrm flipV="1">
              <a:off x="4935849" y="5441352"/>
              <a:ext cx="4358" cy="4360"/>
            </a:xfrm>
            <a:custGeom>
              <a:avLst/>
              <a:gdLst>
                <a:gd name="connsiteX0" fmla="*/ -4464 w 4358"/>
                <a:gd name="connsiteY0" fmla="*/ 2899 h 4360"/>
                <a:gd name="connsiteX1" fmla="*/ -2285 w 4358"/>
                <a:gd name="connsiteY1" fmla="*/ 719 h 4360"/>
                <a:gd name="connsiteX2" fmla="*/ -106 w 4358"/>
                <a:gd name="connsiteY2" fmla="*/ 2899 h 4360"/>
                <a:gd name="connsiteX3" fmla="*/ -2285 w 4358"/>
                <a:gd name="connsiteY3" fmla="*/ 5079 h 4360"/>
                <a:gd name="connsiteX4" fmla="*/ -4464 w 4358"/>
                <a:gd name="connsiteY4" fmla="*/ 2899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4464" y="2899"/>
                  </a:moveTo>
                  <a:cubicBezTo>
                    <a:pt x="-4464" y="1809"/>
                    <a:pt x="-3374" y="719"/>
                    <a:pt x="-2285" y="719"/>
                  </a:cubicBezTo>
                  <a:cubicBezTo>
                    <a:pt x="-977" y="719"/>
                    <a:pt x="-106" y="1809"/>
                    <a:pt x="-106" y="2899"/>
                  </a:cubicBezTo>
                  <a:cubicBezTo>
                    <a:pt x="-106" y="4207"/>
                    <a:pt x="-977" y="5079"/>
                    <a:pt x="-2285" y="5079"/>
                  </a:cubicBezTo>
                  <a:cubicBezTo>
                    <a:pt x="-3374" y="5079"/>
                    <a:pt x="-4464" y="4207"/>
                    <a:pt x="-4464" y="2899"/>
                  </a:cubicBezTo>
                  <a:close/>
                </a:path>
              </a:pathLst>
            </a:custGeom>
            <a:grpFill/>
            <a:ln w="218" cap="flat">
              <a:noFill/>
              <a:prstDash val="solid"/>
              <a:miter/>
            </a:ln>
          </p:spPr>
          <p:txBody>
            <a:bodyPr rtlCol="0" anchor="ctr"/>
            <a:lstStyle/>
            <a:p>
              <a:endParaRPr lang="en-GB" dirty="0"/>
            </a:p>
          </p:txBody>
        </p:sp>
        <p:sp>
          <p:nvSpPr>
            <p:cNvPr id="118" name="Freihandform: Form 117">
              <a:extLst>
                <a:ext uri="{FF2B5EF4-FFF2-40B4-BE49-F238E27FC236}">
                  <a16:creationId xmlns:a16="http://schemas.microsoft.com/office/drawing/2014/main" xmlns="" id="{A7CF6F81-6141-432B-9132-826BD00E6FDE}"/>
                </a:ext>
              </a:extLst>
            </p:cNvPr>
            <p:cNvSpPr/>
            <p:nvPr/>
          </p:nvSpPr>
          <p:spPr>
            <a:xfrm flipV="1">
              <a:off x="4940996" y="5452297"/>
              <a:ext cx="3568" cy="5621"/>
            </a:xfrm>
            <a:custGeom>
              <a:avLst/>
              <a:gdLst>
                <a:gd name="connsiteX0" fmla="*/ -4183 w 3568"/>
                <a:gd name="connsiteY0" fmla="*/ 4483 h 5621"/>
                <a:gd name="connsiteX1" fmla="*/ -3094 w 3568"/>
                <a:gd name="connsiteY1" fmla="*/ 995 h 5621"/>
                <a:gd name="connsiteX2" fmla="*/ -915 w 3568"/>
                <a:gd name="connsiteY2" fmla="*/ 2957 h 5621"/>
                <a:gd name="connsiteX3" fmla="*/ -4183 w 3568"/>
                <a:gd name="connsiteY3" fmla="*/ 4483 h 5621"/>
              </a:gdLst>
              <a:ahLst/>
              <a:cxnLst>
                <a:cxn ang="0">
                  <a:pos x="connsiteX0" y="connsiteY0"/>
                </a:cxn>
                <a:cxn ang="0">
                  <a:pos x="connsiteX1" y="connsiteY1"/>
                </a:cxn>
                <a:cxn ang="0">
                  <a:pos x="connsiteX2" y="connsiteY2"/>
                </a:cxn>
                <a:cxn ang="0">
                  <a:pos x="connsiteX3" y="connsiteY3"/>
                </a:cxn>
              </a:cxnLst>
              <a:rect l="l" t="t" r="r" b="b"/>
              <a:pathLst>
                <a:path w="3568" h="5621">
                  <a:moveTo>
                    <a:pt x="-4183" y="4483"/>
                  </a:moveTo>
                  <a:cubicBezTo>
                    <a:pt x="-4837" y="3393"/>
                    <a:pt x="-4401" y="1867"/>
                    <a:pt x="-3094" y="995"/>
                  </a:cubicBezTo>
                  <a:cubicBezTo>
                    <a:pt x="-2004" y="341"/>
                    <a:pt x="-915" y="1213"/>
                    <a:pt x="-915" y="2957"/>
                  </a:cubicBezTo>
                  <a:cubicBezTo>
                    <a:pt x="-915" y="6881"/>
                    <a:pt x="-2222" y="7535"/>
                    <a:pt x="-4183" y="4483"/>
                  </a:cubicBezTo>
                  <a:close/>
                </a:path>
              </a:pathLst>
            </a:custGeom>
            <a:grpFill/>
            <a:ln w="218" cap="flat">
              <a:noFill/>
              <a:prstDash val="solid"/>
              <a:miter/>
            </a:ln>
          </p:spPr>
          <p:txBody>
            <a:bodyPr rtlCol="0" anchor="ctr"/>
            <a:lstStyle/>
            <a:p>
              <a:endParaRPr lang="en-GB" dirty="0"/>
            </a:p>
          </p:txBody>
        </p:sp>
        <p:sp>
          <p:nvSpPr>
            <p:cNvPr id="119" name="Freihandform: Form 118">
              <a:extLst>
                <a:ext uri="{FF2B5EF4-FFF2-40B4-BE49-F238E27FC236}">
                  <a16:creationId xmlns:a16="http://schemas.microsoft.com/office/drawing/2014/main" xmlns="" id="{DF8BCDB9-314A-4761-9BB4-150C0EF7D7EF}"/>
                </a:ext>
              </a:extLst>
            </p:cNvPr>
            <p:cNvSpPr/>
            <p:nvPr/>
          </p:nvSpPr>
          <p:spPr>
            <a:xfrm flipV="1">
              <a:off x="4334780" y="5463768"/>
              <a:ext cx="112956" cy="74692"/>
            </a:xfrm>
            <a:custGeom>
              <a:avLst/>
              <a:gdLst>
                <a:gd name="connsiteX0" fmla="*/ 15961 w 112956"/>
                <a:gd name="connsiteY0" fmla="*/ 74137 h 74692"/>
                <a:gd name="connsiteX1" fmla="*/ 9642 w 112956"/>
                <a:gd name="connsiteY1" fmla="*/ 72829 h 74692"/>
                <a:gd name="connsiteX2" fmla="*/ 489 w 112956"/>
                <a:gd name="connsiteY2" fmla="*/ 70867 h 74692"/>
                <a:gd name="connsiteX3" fmla="*/ 2886 w 112956"/>
                <a:gd name="connsiteY3" fmla="*/ 62365 h 74692"/>
                <a:gd name="connsiteX4" fmla="*/ 6155 w 112956"/>
                <a:gd name="connsiteY4" fmla="*/ 51247 h 74692"/>
                <a:gd name="connsiteX5" fmla="*/ 6155 w 112956"/>
                <a:gd name="connsiteY5" fmla="*/ 43616 h 74692"/>
                <a:gd name="connsiteX6" fmla="*/ 14000 w 112956"/>
                <a:gd name="connsiteY6" fmla="*/ 41436 h 74692"/>
                <a:gd name="connsiteX7" fmla="*/ 20973 w 112956"/>
                <a:gd name="connsiteY7" fmla="*/ 38820 h 74692"/>
                <a:gd name="connsiteX8" fmla="*/ 27292 w 112956"/>
                <a:gd name="connsiteY8" fmla="*/ 39692 h 74692"/>
                <a:gd name="connsiteX9" fmla="*/ 19012 w 112956"/>
                <a:gd name="connsiteY9" fmla="*/ 50157 h 74692"/>
                <a:gd name="connsiteX10" fmla="*/ 12692 w 112956"/>
                <a:gd name="connsiteY10" fmla="*/ 52337 h 74692"/>
                <a:gd name="connsiteX11" fmla="*/ 16833 w 112956"/>
                <a:gd name="connsiteY11" fmla="*/ 54517 h 74692"/>
                <a:gd name="connsiteX12" fmla="*/ 24459 w 112956"/>
                <a:gd name="connsiteY12" fmla="*/ 59095 h 74692"/>
                <a:gd name="connsiteX13" fmla="*/ 32304 w 112956"/>
                <a:gd name="connsiteY13" fmla="*/ 56261 h 74692"/>
                <a:gd name="connsiteX14" fmla="*/ 36662 w 112956"/>
                <a:gd name="connsiteY14" fmla="*/ 50811 h 74692"/>
                <a:gd name="connsiteX15" fmla="*/ 38841 w 112956"/>
                <a:gd name="connsiteY15" fmla="*/ 40346 h 74692"/>
                <a:gd name="connsiteX16" fmla="*/ 33176 w 112956"/>
                <a:gd name="connsiteY16" fmla="*/ 30536 h 74692"/>
                <a:gd name="connsiteX17" fmla="*/ 25549 w 112956"/>
                <a:gd name="connsiteY17" fmla="*/ 23342 h 74692"/>
                <a:gd name="connsiteX18" fmla="*/ 21409 w 112956"/>
                <a:gd name="connsiteY18" fmla="*/ 20944 h 74692"/>
                <a:gd name="connsiteX19" fmla="*/ 18140 w 112956"/>
                <a:gd name="connsiteY19" fmla="*/ 17456 h 74692"/>
                <a:gd name="connsiteX20" fmla="*/ 14871 w 112956"/>
                <a:gd name="connsiteY20" fmla="*/ 12659 h 74692"/>
                <a:gd name="connsiteX21" fmla="*/ 16179 w 112956"/>
                <a:gd name="connsiteY21" fmla="*/ 9389 h 74692"/>
                <a:gd name="connsiteX22" fmla="*/ 24459 w 112956"/>
                <a:gd name="connsiteY22" fmla="*/ 6773 h 74692"/>
                <a:gd name="connsiteX23" fmla="*/ 35355 w 112956"/>
                <a:gd name="connsiteY23" fmla="*/ 5683 h 74692"/>
                <a:gd name="connsiteX24" fmla="*/ 31432 w 112956"/>
                <a:gd name="connsiteY24" fmla="*/ 12223 h 74692"/>
                <a:gd name="connsiteX25" fmla="*/ 27946 w 112956"/>
                <a:gd name="connsiteY25" fmla="*/ 19418 h 74692"/>
                <a:gd name="connsiteX26" fmla="*/ 41238 w 112956"/>
                <a:gd name="connsiteY26" fmla="*/ 21380 h 74692"/>
                <a:gd name="connsiteX27" fmla="*/ 46904 w 112956"/>
                <a:gd name="connsiteY27" fmla="*/ 13749 h 74692"/>
                <a:gd name="connsiteX28" fmla="*/ 58453 w 112956"/>
                <a:gd name="connsiteY28" fmla="*/ 12441 h 74692"/>
                <a:gd name="connsiteX29" fmla="*/ 66515 w 112956"/>
                <a:gd name="connsiteY29" fmla="*/ 13749 h 74692"/>
                <a:gd name="connsiteX30" fmla="*/ 78065 w 112956"/>
                <a:gd name="connsiteY30" fmla="*/ 1105 h 74692"/>
                <a:gd name="connsiteX31" fmla="*/ 78718 w 112956"/>
                <a:gd name="connsiteY31" fmla="*/ 8953 h 74692"/>
                <a:gd name="connsiteX32" fmla="*/ 77411 w 112956"/>
                <a:gd name="connsiteY32" fmla="*/ 15493 h 74692"/>
                <a:gd name="connsiteX33" fmla="*/ 85909 w 112956"/>
                <a:gd name="connsiteY33" fmla="*/ 14185 h 74692"/>
                <a:gd name="connsiteX34" fmla="*/ 98112 w 112956"/>
                <a:gd name="connsiteY34" fmla="*/ 11787 h 74692"/>
                <a:gd name="connsiteX35" fmla="*/ 110751 w 112956"/>
                <a:gd name="connsiteY35" fmla="*/ 22034 h 74692"/>
                <a:gd name="connsiteX36" fmla="*/ 92446 w 112956"/>
                <a:gd name="connsiteY36" fmla="*/ 39256 h 74692"/>
                <a:gd name="connsiteX37" fmla="*/ 94408 w 112956"/>
                <a:gd name="connsiteY37" fmla="*/ 30536 h 74692"/>
                <a:gd name="connsiteX38" fmla="*/ 97022 w 112956"/>
                <a:gd name="connsiteY38" fmla="*/ 24432 h 74692"/>
                <a:gd name="connsiteX39" fmla="*/ 89178 w 112956"/>
                <a:gd name="connsiteY39" fmla="*/ 24214 h 74692"/>
                <a:gd name="connsiteX40" fmla="*/ 77193 w 112956"/>
                <a:gd name="connsiteY40" fmla="*/ 23124 h 74692"/>
                <a:gd name="connsiteX41" fmla="*/ 65426 w 112956"/>
                <a:gd name="connsiteY41" fmla="*/ 23560 h 74692"/>
                <a:gd name="connsiteX42" fmla="*/ 62157 w 112956"/>
                <a:gd name="connsiteY42" fmla="*/ 32716 h 74692"/>
                <a:gd name="connsiteX43" fmla="*/ 58235 w 112956"/>
                <a:gd name="connsiteY43" fmla="*/ 36640 h 74692"/>
                <a:gd name="connsiteX44" fmla="*/ 52351 w 112956"/>
                <a:gd name="connsiteY44" fmla="*/ 29010 h 74692"/>
                <a:gd name="connsiteX45" fmla="*/ 45814 w 112956"/>
                <a:gd name="connsiteY45" fmla="*/ 24432 h 74692"/>
                <a:gd name="connsiteX46" fmla="*/ 46032 w 112956"/>
                <a:gd name="connsiteY46" fmla="*/ 35986 h 74692"/>
                <a:gd name="connsiteX47" fmla="*/ 54966 w 112956"/>
                <a:gd name="connsiteY47" fmla="*/ 40564 h 74692"/>
                <a:gd name="connsiteX48" fmla="*/ 57581 w 112956"/>
                <a:gd name="connsiteY48" fmla="*/ 49285 h 74692"/>
                <a:gd name="connsiteX49" fmla="*/ 47340 w 112956"/>
                <a:gd name="connsiteY49" fmla="*/ 50811 h 74692"/>
                <a:gd name="connsiteX50" fmla="*/ 41020 w 112956"/>
                <a:gd name="connsiteY50" fmla="*/ 51901 h 74692"/>
                <a:gd name="connsiteX51" fmla="*/ 25549 w 112956"/>
                <a:gd name="connsiteY51" fmla="*/ 74137 h 74692"/>
                <a:gd name="connsiteX52" fmla="*/ 20755 w 112956"/>
                <a:gd name="connsiteY52" fmla="*/ 75446 h 74692"/>
                <a:gd name="connsiteX53" fmla="*/ 15961 w 112956"/>
                <a:gd name="connsiteY53" fmla="*/ 74137 h 74692"/>
                <a:gd name="connsiteX54" fmla="*/ 16615 w 112956"/>
                <a:gd name="connsiteY54" fmla="*/ 65853 h 74692"/>
                <a:gd name="connsiteX55" fmla="*/ 14000 w 112956"/>
                <a:gd name="connsiteY55" fmla="*/ 63237 h 74692"/>
                <a:gd name="connsiteX56" fmla="*/ 10513 w 112956"/>
                <a:gd name="connsiteY56" fmla="*/ 66725 h 74692"/>
                <a:gd name="connsiteX57" fmla="*/ 16615 w 112956"/>
                <a:gd name="connsiteY57" fmla="*/ 65853 h 74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12956" h="74692">
                  <a:moveTo>
                    <a:pt x="15961" y="74137"/>
                  </a:moveTo>
                  <a:cubicBezTo>
                    <a:pt x="15089" y="72829"/>
                    <a:pt x="12256" y="72175"/>
                    <a:pt x="9642" y="72829"/>
                  </a:cubicBezTo>
                  <a:cubicBezTo>
                    <a:pt x="6809" y="73483"/>
                    <a:pt x="2886" y="72611"/>
                    <a:pt x="489" y="70867"/>
                  </a:cubicBezTo>
                  <a:cubicBezTo>
                    <a:pt x="-3433" y="67815"/>
                    <a:pt x="-3433" y="67597"/>
                    <a:pt x="2886" y="62365"/>
                  </a:cubicBezTo>
                  <a:cubicBezTo>
                    <a:pt x="8988" y="57569"/>
                    <a:pt x="9206" y="56915"/>
                    <a:pt x="6155" y="51247"/>
                  </a:cubicBezTo>
                  <a:cubicBezTo>
                    <a:pt x="3540" y="46233"/>
                    <a:pt x="3540" y="45360"/>
                    <a:pt x="6155" y="43616"/>
                  </a:cubicBezTo>
                  <a:cubicBezTo>
                    <a:pt x="7898" y="42308"/>
                    <a:pt x="11385" y="41436"/>
                    <a:pt x="14000" y="41436"/>
                  </a:cubicBezTo>
                  <a:cubicBezTo>
                    <a:pt x="16397" y="41436"/>
                    <a:pt x="19447" y="40346"/>
                    <a:pt x="20973" y="38820"/>
                  </a:cubicBezTo>
                  <a:cubicBezTo>
                    <a:pt x="23152" y="36858"/>
                    <a:pt x="24459" y="36858"/>
                    <a:pt x="27292" y="39692"/>
                  </a:cubicBezTo>
                  <a:cubicBezTo>
                    <a:pt x="32086" y="44706"/>
                    <a:pt x="27728" y="50157"/>
                    <a:pt x="19012" y="50157"/>
                  </a:cubicBezTo>
                  <a:cubicBezTo>
                    <a:pt x="15525" y="50157"/>
                    <a:pt x="12692" y="51247"/>
                    <a:pt x="12692" y="52337"/>
                  </a:cubicBezTo>
                  <a:cubicBezTo>
                    <a:pt x="12692" y="53645"/>
                    <a:pt x="14653" y="54517"/>
                    <a:pt x="16833" y="54517"/>
                  </a:cubicBezTo>
                  <a:cubicBezTo>
                    <a:pt x="19230" y="54517"/>
                    <a:pt x="22716" y="56479"/>
                    <a:pt x="24459" y="59095"/>
                  </a:cubicBezTo>
                  <a:cubicBezTo>
                    <a:pt x="28164" y="64327"/>
                    <a:pt x="32304" y="62801"/>
                    <a:pt x="32304" y="56261"/>
                  </a:cubicBezTo>
                  <a:cubicBezTo>
                    <a:pt x="32304" y="53863"/>
                    <a:pt x="34047" y="51465"/>
                    <a:pt x="36662" y="50811"/>
                  </a:cubicBezTo>
                  <a:cubicBezTo>
                    <a:pt x="41238" y="49503"/>
                    <a:pt x="42546" y="42744"/>
                    <a:pt x="38841" y="40346"/>
                  </a:cubicBezTo>
                  <a:cubicBezTo>
                    <a:pt x="37534" y="39474"/>
                    <a:pt x="34919" y="35114"/>
                    <a:pt x="33176" y="30536"/>
                  </a:cubicBezTo>
                  <a:cubicBezTo>
                    <a:pt x="30561" y="24214"/>
                    <a:pt x="28817" y="22470"/>
                    <a:pt x="25549" y="23342"/>
                  </a:cubicBezTo>
                  <a:cubicBezTo>
                    <a:pt x="22716" y="24214"/>
                    <a:pt x="21409" y="23342"/>
                    <a:pt x="21409" y="20944"/>
                  </a:cubicBezTo>
                  <a:cubicBezTo>
                    <a:pt x="21409" y="18982"/>
                    <a:pt x="19883" y="17456"/>
                    <a:pt x="18140" y="17456"/>
                  </a:cubicBezTo>
                  <a:cubicBezTo>
                    <a:pt x="16179" y="17456"/>
                    <a:pt x="14871" y="15493"/>
                    <a:pt x="14871" y="12659"/>
                  </a:cubicBezTo>
                  <a:cubicBezTo>
                    <a:pt x="14871" y="10043"/>
                    <a:pt x="15525" y="8517"/>
                    <a:pt x="16179" y="9389"/>
                  </a:cubicBezTo>
                  <a:cubicBezTo>
                    <a:pt x="16833" y="10043"/>
                    <a:pt x="20537" y="8735"/>
                    <a:pt x="24459" y="6773"/>
                  </a:cubicBezTo>
                  <a:cubicBezTo>
                    <a:pt x="30343" y="3285"/>
                    <a:pt x="32086" y="3285"/>
                    <a:pt x="35355" y="5683"/>
                  </a:cubicBezTo>
                  <a:cubicBezTo>
                    <a:pt x="40367" y="9171"/>
                    <a:pt x="37752" y="13749"/>
                    <a:pt x="31432" y="12223"/>
                  </a:cubicBezTo>
                  <a:cubicBezTo>
                    <a:pt x="22716" y="10043"/>
                    <a:pt x="20755" y="13967"/>
                    <a:pt x="27946" y="19418"/>
                  </a:cubicBezTo>
                  <a:cubicBezTo>
                    <a:pt x="34047" y="23778"/>
                    <a:pt x="35355" y="23996"/>
                    <a:pt x="41238" y="21380"/>
                  </a:cubicBezTo>
                  <a:cubicBezTo>
                    <a:pt x="46250" y="19200"/>
                    <a:pt x="47557" y="17456"/>
                    <a:pt x="46904" y="13749"/>
                  </a:cubicBezTo>
                  <a:cubicBezTo>
                    <a:pt x="45814" y="7645"/>
                    <a:pt x="49083" y="7427"/>
                    <a:pt x="58453" y="12441"/>
                  </a:cubicBezTo>
                  <a:cubicBezTo>
                    <a:pt x="63683" y="15275"/>
                    <a:pt x="65862" y="15711"/>
                    <a:pt x="66515" y="13749"/>
                  </a:cubicBezTo>
                  <a:cubicBezTo>
                    <a:pt x="68477" y="8517"/>
                    <a:pt x="76321" y="15"/>
                    <a:pt x="78065" y="1105"/>
                  </a:cubicBezTo>
                  <a:cubicBezTo>
                    <a:pt x="79154" y="1759"/>
                    <a:pt x="79590" y="5247"/>
                    <a:pt x="78718" y="8953"/>
                  </a:cubicBezTo>
                  <a:lnTo>
                    <a:pt x="77411" y="15493"/>
                  </a:lnTo>
                  <a:lnTo>
                    <a:pt x="85909" y="14185"/>
                  </a:lnTo>
                  <a:cubicBezTo>
                    <a:pt x="90485" y="13313"/>
                    <a:pt x="96151" y="12223"/>
                    <a:pt x="98112" y="11787"/>
                  </a:cubicBezTo>
                  <a:cubicBezTo>
                    <a:pt x="102034" y="10697"/>
                    <a:pt x="110751" y="17892"/>
                    <a:pt x="110751" y="22034"/>
                  </a:cubicBezTo>
                  <a:cubicBezTo>
                    <a:pt x="110751" y="25740"/>
                    <a:pt x="96369" y="39256"/>
                    <a:pt x="92446" y="39256"/>
                  </a:cubicBezTo>
                  <a:cubicBezTo>
                    <a:pt x="86999" y="39256"/>
                    <a:pt x="88306" y="33806"/>
                    <a:pt x="94408" y="30536"/>
                  </a:cubicBezTo>
                  <a:cubicBezTo>
                    <a:pt x="99202" y="27920"/>
                    <a:pt x="99637" y="27048"/>
                    <a:pt x="97022" y="24432"/>
                  </a:cubicBezTo>
                  <a:cubicBezTo>
                    <a:pt x="94408" y="22034"/>
                    <a:pt x="93100" y="21816"/>
                    <a:pt x="89178" y="24214"/>
                  </a:cubicBezTo>
                  <a:cubicBezTo>
                    <a:pt x="85255" y="26830"/>
                    <a:pt x="83512" y="26612"/>
                    <a:pt x="77193" y="23124"/>
                  </a:cubicBezTo>
                  <a:cubicBezTo>
                    <a:pt x="70002" y="19200"/>
                    <a:pt x="69784" y="19200"/>
                    <a:pt x="65426" y="23560"/>
                  </a:cubicBezTo>
                  <a:cubicBezTo>
                    <a:pt x="62593" y="26394"/>
                    <a:pt x="61286" y="29664"/>
                    <a:pt x="62157" y="32716"/>
                  </a:cubicBezTo>
                  <a:cubicBezTo>
                    <a:pt x="63247" y="36640"/>
                    <a:pt x="62593" y="37294"/>
                    <a:pt x="58235" y="36640"/>
                  </a:cubicBezTo>
                  <a:cubicBezTo>
                    <a:pt x="54095" y="36204"/>
                    <a:pt x="52787" y="34460"/>
                    <a:pt x="52351" y="29010"/>
                  </a:cubicBezTo>
                  <a:cubicBezTo>
                    <a:pt x="51698" y="21380"/>
                    <a:pt x="49954" y="20290"/>
                    <a:pt x="45814" y="24432"/>
                  </a:cubicBezTo>
                  <a:cubicBezTo>
                    <a:pt x="42328" y="27920"/>
                    <a:pt x="42328" y="37294"/>
                    <a:pt x="46032" y="35986"/>
                  </a:cubicBezTo>
                  <a:cubicBezTo>
                    <a:pt x="47340" y="35550"/>
                    <a:pt x="51480" y="37512"/>
                    <a:pt x="54966" y="40564"/>
                  </a:cubicBezTo>
                  <a:cubicBezTo>
                    <a:pt x="61068" y="46014"/>
                    <a:pt x="61286" y="46451"/>
                    <a:pt x="57581" y="49285"/>
                  </a:cubicBezTo>
                  <a:cubicBezTo>
                    <a:pt x="55184" y="51029"/>
                    <a:pt x="51044" y="51683"/>
                    <a:pt x="47340" y="50811"/>
                  </a:cubicBezTo>
                  <a:cubicBezTo>
                    <a:pt x="43417" y="50157"/>
                    <a:pt x="41020" y="50593"/>
                    <a:pt x="41020" y="51901"/>
                  </a:cubicBezTo>
                  <a:cubicBezTo>
                    <a:pt x="41020" y="54953"/>
                    <a:pt x="27728" y="74137"/>
                    <a:pt x="25549" y="74137"/>
                  </a:cubicBezTo>
                  <a:cubicBezTo>
                    <a:pt x="24677" y="74137"/>
                    <a:pt x="22498" y="74791"/>
                    <a:pt x="20755" y="75446"/>
                  </a:cubicBezTo>
                  <a:cubicBezTo>
                    <a:pt x="19012" y="76100"/>
                    <a:pt x="16833" y="75446"/>
                    <a:pt x="15961" y="74137"/>
                  </a:cubicBezTo>
                  <a:close/>
                  <a:moveTo>
                    <a:pt x="16615" y="65853"/>
                  </a:moveTo>
                  <a:cubicBezTo>
                    <a:pt x="17050" y="64327"/>
                    <a:pt x="15961" y="63237"/>
                    <a:pt x="14000" y="63237"/>
                  </a:cubicBezTo>
                  <a:cubicBezTo>
                    <a:pt x="12039" y="63237"/>
                    <a:pt x="10513" y="64763"/>
                    <a:pt x="10513" y="66725"/>
                  </a:cubicBezTo>
                  <a:cubicBezTo>
                    <a:pt x="10513" y="70431"/>
                    <a:pt x="15307" y="69777"/>
                    <a:pt x="16615" y="65853"/>
                  </a:cubicBezTo>
                  <a:close/>
                </a:path>
              </a:pathLst>
            </a:custGeom>
            <a:grpFill/>
            <a:ln w="218" cap="flat">
              <a:noFill/>
              <a:prstDash val="solid"/>
              <a:miter/>
            </a:ln>
          </p:spPr>
          <p:txBody>
            <a:bodyPr rtlCol="0" anchor="ctr"/>
            <a:lstStyle/>
            <a:p>
              <a:endParaRPr lang="en-GB" dirty="0"/>
            </a:p>
          </p:txBody>
        </p:sp>
        <p:sp>
          <p:nvSpPr>
            <p:cNvPr id="120" name="Freihandform: Form 119">
              <a:extLst>
                <a:ext uri="{FF2B5EF4-FFF2-40B4-BE49-F238E27FC236}">
                  <a16:creationId xmlns:a16="http://schemas.microsoft.com/office/drawing/2014/main" xmlns="" id="{76EFBBD0-39B5-48C7-92F4-46B1DAC182E0}"/>
                </a:ext>
              </a:extLst>
            </p:cNvPr>
            <p:cNvSpPr/>
            <p:nvPr/>
          </p:nvSpPr>
          <p:spPr>
            <a:xfrm flipV="1">
              <a:off x="4920596" y="5463456"/>
              <a:ext cx="30326" cy="35006"/>
            </a:xfrm>
            <a:custGeom>
              <a:avLst/>
              <a:gdLst>
                <a:gd name="connsiteX0" fmla="*/ -532 w 30326"/>
                <a:gd name="connsiteY0" fmla="*/ 32731 h 35006"/>
                <a:gd name="connsiteX1" fmla="*/ 4262 w 30326"/>
                <a:gd name="connsiteY1" fmla="*/ 25318 h 35006"/>
                <a:gd name="connsiteX2" fmla="*/ 6441 w 30326"/>
                <a:gd name="connsiteY2" fmla="*/ 19868 h 35006"/>
                <a:gd name="connsiteX3" fmla="*/ 2083 w 30326"/>
                <a:gd name="connsiteY3" fmla="*/ 9840 h 35006"/>
                <a:gd name="connsiteX4" fmla="*/ -4455 w 30326"/>
                <a:gd name="connsiteY4" fmla="*/ 4172 h 35006"/>
                <a:gd name="connsiteX5" fmla="*/ -968 w 30326"/>
                <a:gd name="connsiteY5" fmla="*/ 2210 h 35006"/>
                <a:gd name="connsiteX6" fmla="*/ 6223 w 30326"/>
                <a:gd name="connsiteY6" fmla="*/ 1338 h 35006"/>
                <a:gd name="connsiteX7" fmla="*/ 19515 w 30326"/>
                <a:gd name="connsiteY7" fmla="*/ 11366 h 35006"/>
                <a:gd name="connsiteX8" fmla="*/ 22784 w 30326"/>
                <a:gd name="connsiteY8" fmla="*/ 15726 h 35006"/>
                <a:gd name="connsiteX9" fmla="*/ 8402 w 30326"/>
                <a:gd name="connsiteY9" fmla="*/ 33821 h 35006"/>
                <a:gd name="connsiteX10" fmla="*/ -532 w 30326"/>
                <a:gd name="connsiteY10" fmla="*/ 32731 h 3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326" h="35006">
                  <a:moveTo>
                    <a:pt x="-532" y="32731"/>
                  </a:moveTo>
                  <a:cubicBezTo>
                    <a:pt x="2083" y="30987"/>
                    <a:pt x="4262" y="27499"/>
                    <a:pt x="4262" y="25318"/>
                  </a:cubicBezTo>
                  <a:cubicBezTo>
                    <a:pt x="4262" y="23138"/>
                    <a:pt x="5351" y="20522"/>
                    <a:pt x="6441" y="19868"/>
                  </a:cubicBezTo>
                  <a:cubicBezTo>
                    <a:pt x="10799" y="17252"/>
                    <a:pt x="8402" y="12020"/>
                    <a:pt x="2083" y="9840"/>
                  </a:cubicBezTo>
                  <a:cubicBezTo>
                    <a:pt x="-1404" y="8532"/>
                    <a:pt x="-4455" y="5916"/>
                    <a:pt x="-4455" y="4172"/>
                  </a:cubicBezTo>
                  <a:cubicBezTo>
                    <a:pt x="-4455" y="1992"/>
                    <a:pt x="-3147" y="1338"/>
                    <a:pt x="-968" y="2210"/>
                  </a:cubicBezTo>
                  <a:cubicBezTo>
                    <a:pt x="775" y="2864"/>
                    <a:pt x="4044" y="2646"/>
                    <a:pt x="6223" y="1338"/>
                  </a:cubicBezTo>
                  <a:cubicBezTo>
                    <a:pt x="10799" y="-842"/>
                    <a:pt x="19515" y="5698"/>
                    <a:pt x="19515" y="11366"/>
                  </a:cubicBezTo>
                  <a:cubicBezTo>
                    <a:pt x="19515" y="13110"/>
                    <a:pt x="21041" y="15072"/>
                    <a:pt x="22784" y="15726"/>
                  </a:cubicBezTo>
                  <a:cubicBezTo>
                    <a:pt x="31064" y="18996"/>
                    <a:pt x="21476" y="30769"/>
                    <a:pt x="8402" y="33821"/>
                  </a:cubicBezTo>
                  <a:cubicBezTo>
                    <a:pt x="-4673" y="36873"/>
                    <a:pt x="-6198" y="36655"/>
                    <a:pt x="-532" y="32731"/>
                  </a:cubicBezTo>
                  <a:close/>
                </a:path>
              </a:pathLst>
            </a:custGeom>
            <a:grpFill/>
            <a:ln w="218" cap="flat">
              <a:noFill/>
              <a:prstDash val="solid"/>
              <a:miter/>
            </a:ln>
          </p:spPr>
          <p:txBody>
            <a:bodyPr rtlCol="0" anchor="ctr"/>
            <a:lstStyle/>
            <a:p>
              <a:endParaRPr lang="en-GB" dirty="0"/>
            </a:p>
          </p:txBody>
        </p:sp>
        <p:sp>
          <p:nvSpPr>
            <p:cNvPr id="121" name="Freihandform: Form 120">
              <a:extLst>
                <a:ext uri="{FF2B5EF4-FFF2-40B4-BE49-F238E27FC236}">
                  <a16:creationId xmlns:a16="http://schemas.microsoft.com/office/drawing/2014/main" xmlns="" id="{E0436AD5-F645-487F-8B06-8ABBD51FD5EF}"/>
                </a:ext>
              </a:extLst>
            </p:cNvPr>
            <p:cNvSpPr/>
            <p:nvPr/>
          </p:nvSpPr>
          <p:spPr>
            <a:xfrm flipV="1">
              <a:off x="4727440" y="5465332"/>
              <a:ext cx="3575" cy="4360"/>
            </a:xfrm>
            <a:custGeom>
              <a:avLst/>
              <a:gdLst>
                <a:gd name="connsiteX0" fmla="*/ -3294 w 3575"/>
                <a:gd name="connsiteY0" fmla="*/ 3020 h 4360"/>
                <a:gd name="connsiteX1" fmla="*/ -897 w 3575"/>
                <a:gd name="connsiteY1" fmla="*/ 840 h 4360"/>
                <a:gd name="connsiteX2" fmla="*/ -26 w 3575"/>
                <a:gd name="connsiteY2" fmla="*/ 3020 h 4360"/>
                <a:gd name="connsiteX3" fmla="*/ -2423 w 3575"/>
                <a:gd name="connsiteY3" fmla="*/ 5200 h 4360"/>
                <a:gd name="connsiteX4" fmla="*/ -3294 w 3575"/>
                <a:gd name="connsiteY4" fmla="*/ 3020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3294" y="3020"/>
                  </a:moveTo>
                  <a:cubicBezTo>
                    <a:pt x="-2641" y="1930"/>
                    <a:pt x="-1551" y="840"/>
                    <a:pt x="-897" y="840"/>
                  </a:cubicBezTo>
                  <a:cubicBezTo>
                    <a:pt x="-462" y="840"/>
                    <a:pt x="-26" y="1930"/>
                    <a:pt x="-26" y="3020"/>
                  </a:cubicBezTo>
                  <a:cubicBezTo>
                    <a:pt x="-26" y="4328"/>
                    <a:pt x="-1115" y="5200"/>
                    <a:pt x="-2423" y="5200"/>
                  </a:cubicBezTo>
                  <a:cubicBezTo>
                    <a:pt x="-3512" y="5200"/>
                    <a:pt x="-3948" y="4328"/>
                    <a:pt x="-3294" y="3020"/>
                  </a:cubicBezTo>
                  <a:close/>
                </a:path>
              </a:pathLst>
            </a:custGeom>
            <a:grpFill/>
            <a:ln w="218" cap="flat">
              <a:noFill/>
              <a:prstDash val="solid"/>
              <a:miter/>
            </a:ln>
          </p:spPr>
          <p:txBody>
            <a:bodyPr rtlCol="0" anchor="ctr"/>
            <a:lstStyle/>
            <a:p>
              <a:endParaRPr lang="en-GB" dirty="0"/>
            </a:p>
          </p:txBody>
        </p:sp>
        <p:sp>
          <p:nvSpPr>
            <p:cNvPr id="122" name="Freihandform: Form 121">
              <a:extLst>
                <a:ext uri="{FF2B5EF4-FFF2-40B4-BE49-F238E27FC236}">
                  <a16:creationId xmlns:a16="http://schemas.microsoft.com/office/drawing/2014/main" xmlns="" id="{C126D425-7E67-4C99-9E48-D74DF6BB696A}"/>
                </a:ext>
              </a:extLst>
            </p:cNvPr>
            <p:cNvSpPr/>
            <p:nvPr/>
          </p:nvSpPr>
          <p:spPr>
            <a:xfrm flipV="1">
              <a:off x="4759927" y="5465330"/>
              <a:ext cx="12491" cy="7161"/>
            </a:xfrm>
            <a:custGeom>
              <a:avLst/>
              <a:gdLst>
                <a:gd name="connsiteX0" fmla="*/ -3466 w 12491"/>
                <a:gd name="connsiteY0" fmla="*/ 5607 h 7161"/>
                <a:gd name="connsiteX1" fmla="*/ -1940 w 12491"/>
                <a:gd name="connsiteY1" fmla="*/ 1465 h 7161"/>
                <a:gd name="connsiteX2" fmla="*/ 8737 w 12491"/>
                <a:gd name="connsiteY2" fmla="*/ 5825 h 7161"/>
                <a:gd name="connsiteX3" fmla="*/ -3466 w 12491"/>
                <a:gd name="connsiteY3" fmla="*/ 5607 h 7161"/>
              </a:gdLst>
              <a:ahLst/>
              <a:cxnLst>
                <a:cxn ang="0">
                  <a:pos x="connsiteX0" y="connsiteY0"/>
                </a:cxn>
                <a:cxn ang="0">
                  <a:pos x="connsiteX1" y="connsiteY1"/>
                </a:cxn>
                <a:cxn ang="0">
                  <a:pos x="connsiteX2" y="connsiteY2"/>
                </a:cxn>
                <a:cxn ang="0">
                  <a:pos x="connsiteX3" y="connsiteY3"/>
                </a:cxn>
              </a:cxnLst>
              <a:rect l="l" t="t" r="r" b="b"/>
              <a:pathLst>
                <a:path w="12491" h="7161">
                  <a:moveTo>
                    <a:pt x="-3466" y="5607"/>
                  </a:moveTo>
                  <a:cubicBezTo>
                    <a:pt x="-4119" y="4299"/>
                    <a:pt x="-3684" y="2337"/>
                    <a:pt x="-1940" y="1465"/>
                  </a:cubicBezTo>
                  <a:cubicBezTo>
                    <a:pt x="1110" y="-497"/>
                    <a:pt x="8737" y="2555"/>
                    <a:pt x="8737" y="5825"/>
                  </a:cubicBezTo>
                  <a:cubicBezTo>
                    <a:pt x="8737" y="8877"/>
                    <a:pt x="-1504" y="8659"/>
                    <a:pt x="-3466" y="5607"/>
                  </a:cubicBezTo>
                  <a:close/>
                </a:path>
              </a:pathLst>
            </a:custGeom>
            <a:grpFill/>
            <a:ln w="218" cap="flat">
              <a:noFill/>
              <a:prstDash val="solid"/>
              <a:miter/>
            </a:ln>
          </p:spPr>
          <p:txBody>
            <a:bodyPr rtlCol="0" anchor="ctr"/>
            <a:lstStyle/>
            <a:p>
              <a:endParaRPr lang="en-GB" dirty="0"/>
            </a:p>
          </p:txBody>
        </p:sp>
        <p:sp>
          <p:nvSpPr>
            <p:cNvPr id="123" name="Freihandform: Form 122">
              <a:extLst>
                <a:ext uri="{FF2B5EF4-FFF2-40B4-BE49-F238E27FC236}">
                  <a16:creationId xmlns:a16="http://schemas.microsoft.com/office/drawing/2014/main" xmlns="" id="{F8E3C5E3-4772-42B0-A5D1-1ED2C907BA06}"/>
                </a:ext>
              </a:extLst>
            </p:cNvPr>
            <p:cNvSpPr/>
            <p:nvPr/>
          </p:nvSpPr>
          <p:spPr>
            <a:xfrm flipV="1">
              <a:off x="4949706" y="5465332"/>
              <a:ext cx="3575" cy="4360"/>
            </a:xfrm>
            <a:custGeom>
              <a:avLst/>
              <a:gdLst>
                <a:gd name="connsiteX0" fmla="*/ -4212 w 3575"/>
                <a:gd name="connsiteY0" fmla="*/ 3020 h 4360"/>
                <a:gd name="connsiteX1" fmla="*/ -3341 w 3575"/>
                <a:gd name="connsiteY1" fmla="*/ 840 h 4360"/>
                <a:gd name="connsiteX2" fmla="*/ -944 w 3575"/>
                <a:gd name="connsiteY2" fmla="*/ 3020 h 4360"/>
                <a:gd name="connsiteX3" fmla="*/ -1815 w 3575"/>
                <a:gd name="connsiteY3" fmla="*/ 5200 h 4360"/>
                <a:gd name="connsiteX4" fmla="*/ -4212 w 3575"/>
                <a:gd name="connsiteY4" fmla="*/ 3020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4212" y="3020"/>
                  </a:moveTo>
                  <a:cubicBezTo>
                    <a:pt x="-4866" y="1930"/>
                    <a:pt x="-4430" y="840"/>
                    <a:pt x="-3341" y="840"/>
                  </a:cubicBezTo>
                  <a:cubicBezTo>
                    <a:pt x="-2033" y="840"/>
                    <a:pt x="-944" y="1930"/>
                    <a:pt x="-944" y="3020"/>
                  </a:cubicBezTo>
                  <a:cubicBezTo>
                    <a:pt x="-944" y="4328"/>
                    <a:pt x="-1380" y="5200"/>
                    <a:pt x="-1815" y="5200"/>
                  </a:cubicBezTo>
                  <a:cubicBezTo>
                    <a:pt x="-2469" y="5200"/>
                    <a:pt x="-3559" y="4328"/>
                    <a:pt x="-4212" y="3020"/>
                  </a:cubicBezTo>
                  <a:close/>
                </a:path>
              </a:pathLst>
            </a:custGeom>
            <a:grpFill/>
            <a:ln w="218" cap="flat">
              <a:noFill/>
              <a:prstDash val="solid"/>
              <a:miter/>
            </a:ln>
          </p:spPr>
          <p:txBody>
            <a:bodyPr rtlCol="0" anchor="ctr"/>
            <a:lstStyle/>
            <a:p>
              <a:endParaRPr lang="en-GB" dirty="0"/>
            </a:p>
          </p:txBody>
        </p:sp>
        <p:sp>
          <p:nvSpPr>
            <p:cNvPr id="124" name="Freihandform: Form 123">
              <a:extLst>
                <a:ext uri="{FF2B5EF4-FFF2-40B4-BE49-F238E27FC236}">
                  <a16:creationId xmlns:a16="http://schemas.microsoft.com/office/drawing/2014/main" xmlns="" id="{86A6164B-8C4D-437F-B790-44AE507E7609}"/>
                </a:ext>
              </a:extLst>
            </p:cNvPr>
            <p:cNvSpPr/>
            <p:nvPr/>
          </p:nvSpPr>
          <p:spPr>
            <a:xfrm flipV="1">
              <a:off x="4552563" y="5467513"/>
              <a:ext cx="76040" cy="41080"/>
            </a:xfrm>
            <a:custGeom>
              <a:avLst/>
              <a:gdLst>
                <a:gd name="connsiteX0" fmla="*/ 19185 w 76040"/>
                <a:gd name="connsiteY0" fmla="*/ 34394 h 41080"/>
                <a:gd name="connsiteX1" fmla="*/ 8290 w 76040"/>
                <a:gd name="connsiteY1" fmla="*/ 30034 h 41080"/>
                <a:gd name="connsiteX2" fmla="*/ -645 w 76040"/>
                <a:gd name="connsiteY2" fmla="*/ 33304 h 41080"/>
                <a:gd name="connsiteX3" fmla="*/ 3060 w 76040"/>
                <a:gd name="connsiteY3" fmla="*/ 26764 h 41080"/>
                <a:gd name="connsiteX4" fmla="*/ 3932 w 76040"/>
                <a:gd name="connsiteY4" fmla="*/ 19134 h 41080"/>
                <a:gd name="connsiteX5" fmla="*/ 2188 w 76040"/>
                <a:gd name="connsiteY5" fmla="*/ 12812 h 41080"/>
                <a:gd name="connsiteX6" fmla="*/ 5457 w 76040"/>
                <a:gd name="connsiteY6" fmla="*/ 6053 h 41080"/>
                <a:gd name="connsiteX7" fmla="*/ 13084 w 76040"/>
                <a:gd name="connsiteY7" fmla="*/ 4091 h 41080"/>
                <a:gd name="connsiteX8" fmla="*/ 20710 w 76040"/>
                <a:gd name="connsiteY8" fmla="*/ 6053 h 41080"/>
                <a:gd name="connsiteX9" fmla="*/ 26158 w 76040"/>
                <a:gd name="connsiteY9" fmla="*/ 7143 h 41080"/>
                <a:gd name="connsiteX10" fmla="*/ 26812 w 76040"/>
                <a:gd name="connsiteY10" fmla="*/ 13684 h 41080"/>
                <a:gd name="connsiteX11" fmla="*/ 21800 w 76040"/>
                <a:gd name="connsiteY11" fmla="*/ 16518 h 41080"/>
                <a:gd name="connsiteX12" fmla="*/ 17660 w 76040"/>
                <a:gd name="connsiteY12" fmla="*/ 19352 h 41080"/>
                <a:gd name="connsiteX13" fmla="*/ 22889 w 76040"/>
                <a:gd name="connsiteY13" fmla="*/ 21314 h 41080"/>
                <a:gd name="connsiteX14" fmla="*/ 30516 w 76040"/>
                <a:gd name="connsiteY14" fmla="*/ 20224 h 41080"/>
                <a:gd name="connsiteX15" fmla="*/ 36400 w 76040"/>
                <a:gd name="connsiteY15" fmla="*/ 20660 h 41080"/>
                <a:gd name="connsiteX16" fmla="*/ 44680 w 76040"/>
                <a:gd name="connsiteY16" fmla="*/ 18044 h 41080"/>
                <a:gd name="connsiteX17" fmla="*/ 55793 w 76040"/>
                <a:gd name="connsiteY17" fmla="*/ 11286 h 41080"/>
                <a:gd name="connsiteX18" fmla="*/ 67125 w 76040"/>
                <a:gd name="connsiteY18" fmla="*/ 5835 h 41080"/>
                <a:gd name="connsiteX19" fmla="*/ 62984 w 76040"/>
                <a:gd name="connsiteY19" fmla="*/ 20224 h 41080"/>
                <a:gd name="connsiteX20" fmla="*/ 53396 w 76040"/>
                <a:gd name="connsiteY20" fmla="*/ 26764 h 41080"/>
                <a:gd name="connsiteX21" fmla="*/ 38143 w 76040"/>
                <a:gd name="connsiteY21" fmla="*/ 31996 h 41080"/>
                <a:gd name="connsiteX22" fmla="*/ 27248 w 76040"/>
                <a:gd name="connsiteY22" fmla="*/ 36574 h 41080"/>
                <a:gd name="connsiteX23" fmla="*/ 26812 w 76040"/>
                <a:gd name="connsiteY23" fmla="*/ 42025 h 41080"/>
                <a:gd name="connsiteX24" fmla="*/ 19185 w 76040"/>
                <a:gd name="connsiteY24" fmla="*/ 34394 h 41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6040" h="41080">
                  <a:moveTo>
                    <a:pt x="19185" y="34394"/>
                  </a:moveTo>
                  <a:cubicBezTo>
                    <a:pt x="14391" y="27200"/>
                    <a:pt x="14173" y="26982"/>
                    <a:pt x="8290" y="30034"/>
                  </a:cubicBezTo>
                  <a:cubicBezTo>
                    <a:pt x="4803" y="31778"/>
                    <a:pt x="881" y="33304"/>
                    <a:pt x="-645" y="33304"/>
                  </a:cubicBezTo>
                  <a:cubicBezTo>
                    <a:pt x="-5439" y="33304"/>
                    <a:pt x="-2388" y="28072"/>
                    <a:pt x="3060" y="26764"/>
                  </a:cubicBezTo>
                  <a:cubicBezTo>
                    <a:pt x="9597" y="25238"/>
                    <a:pt x="9815" y="21750"/>
                    <a:pt x="3932" y="19134"/>
                  </a:cubicBezTo>
                  <a:cubicBezTo>
                    <a:pt x="-1952" y="16736"/>
                    <a:pt x="-2388" y="14556"/>
                    <a:pt x="2188" y="12812"/>
                  </a:cubicBezTo>
                  <a:cubicBezTo>
                    <a:pt x="3932" y="12158"/>
                    <a:pt x="5457" y="9105"/>
                    <a:pt x="5457" y="6053"/>
                  </a:cubicBezTo>
                  <a:cubicBezTo>
                    <a:pt x="5457" y="-269"/>
                    <a:pt x="6111" y="-487"/>
                    <a:pt x="13084" y="4091"/>
                  </a:cubicBezTo>
                  <a:cubicBezTo>
                    <a:pt x="15916" y="6053"/>
                    <a:pt x="19403" y="6925"/>
                    <a:pt x="20710" y="6053"/>
                  </a:cubicBezTo>
                  <a:cubicBezTo>
                    <a:pt x="22018" y="5181"/>
                    <a:pt x="24415" y="5835"/>
                    <a:pt x="26158" y="7143"/>
                  </a:cubicBezTo>
                  <a:cubicBezTo>
                    <a:pt x="28555" y="9105"/>
                    <a:pt x="28773" y="10632"/>
                    <a:pt x="26812" y="13684"/>
                  </a:cubicBezTo>
                  <a:cubicBezTo>
                    <a:pt x="25504" y="15864"/>
                    <a:pt x="23107" y="17172"/>
                    <a:pt x="21800" y="16518"/>
                  </a:cubicBezTo>
                  <a:cubicBezTo>
                    <a:pt x="20275" y="16082"/>
                    <a:pt x="18531" y="17390"/>
                    <a:pt x="17660" y="19352"/>
                  </a:cubicBezTo>
                  <a:cubicBezTo>
                    <a:pt x="15481" y="24802"/>
                    <a:pt x="17878" y="25892"/>
                    <a:pt x="22889" y="21314"/>
                  </a:cubicBezTo>
                  <a:cubicBezTo>
                    <a:pt x="26376" y="18044"/>
                    <a:pt x="27683" y="17826"/>
                    <a:pt x="30516" y="20224"/>
                  </a:cubicBezTo>
                  <a:cubicBezTo>
                    <a:pt x="33131" y="22404"/>
                    <a:pt x="34656" y="22404"/>
                    <a:pt x="36400" y="20660"/>
                  </a:cubicBezTo>
                  <a:cubicBezTo>
                    <a:pt x="37925" y="19134"/>
                    <a:pt x="41412" y="18044"/>
                    <a:pt x="44680" y="18044"/>
                  </a:cubicBezTo>
                  <a:cubicBezTo>
                    <a:pt x="48167" y="18044"/>
                    <a:pt x="52089" y="15646"/>
                    <a:pt x="55793" y="11286"/>
                  </a:cubicBezTo>
                  <a:cubicBezTo>
                    <a:pt x="60370" y="5617"/>
                    <a:pt x="62549" y="4527"/>
                    <a:pt x="67125" y="5835"/>
                  </a:cubicBezTo>
                  <a:cubicBezTo>
                    <a:pt x="77148" y="8233"/>
                    <a:pt x="73444" y="20224"/>
                    <a:pt x="62984" y="20224"/>
                  </a:cubicBezTo>
                  <a:cubicBezTo>
                    <a:pt x="59934" y="20224"/>
                    <a:pt x="56229" y="22840"/>
                    <a:pt x="53396" y="26764"/>
                  </a:cubicBezTo>
                  <a:cubicBezTo>
                    <a:pt x="49038" y="33086"/>
                    <a:pt x="47949" y="33304"/>
                    <a:pt x="38143" y="31996"/>
                  </a:cubicBezTo>
                  <a:cubicBezTo>
                    <a:pt x="28337" y="30688"/>
                    <a:pt x="22018" y="33304"/>
                    <a:pt x="27248" y="36574"/>
                  </a:cubicBezTo>
                  <a:cubicBezTo>
                    <a:pt x="30298" y="38536"/>
                    <a:pt x="30080" y="42025"/>
                    <a:pt x="26812" y="42025"/>
                  </a:cubicBezTo>
                  <a:cubicBezTo>
                    <a:pt x="25286" y="42025"/>
                    <a:pt x="21800" y="38536"/>
                    <a:pt x="19185" y="34394"/>
                  </a:cubicBezTo>
                  <a:close/>
                </a:path>
              </a:pathLst>
            </a:custGeom>
            <a:grpFill/>
            <a:ln w="218" cap="flat">
              <a:noFill/>
              <a:prstDash val="solid"/>
              <a:miter/>
            </a:ln>
          </p:spPr>
          <p:txBody>
            <a:bodyPr rtlCol="0" anchor="ctr"/>
            <a:lstStyle/>
            <a:p>
              <a:endParaRPr lang="en-GB" dirty="0"/>
            </a:p>
          </p:txBody>
        </p:sp>
        <p:sp>
          <p:nvSpPr>
            <p:cNvPr id="125" name="Freihandform: Form 124">
              <a:extLst>
                <a:ext uri="{FF2B5EF4-FFF2-40B4-BE49-F238E27FC236}">
                  <a16:creationId xmlns:a16="http://schemas.microsoft.com/office/drawing/2014/main" xmlns="" id="{79EAB95C-2109-4F61-A811-C5ECD435C30C}"/>
                </a:ext>
              </a:extLst>
            </p:cNvPr>
            <p:cNvSpPr/>
            <p:nvPr/>
          </p:nvSpPr>
          <p:spPr>
            <a:xfrm flipV="1">
              <a:off x="4718189" y="5472094"/>
              <a:ext cx="6507" cy="5198"/>
            </a:xfrm>
            <a:custGeom>
              <a:avLst/>
              <a:gdLst>
                <a:gd name="connsiteX0" fmla="*/ -3381 w 6507"/>
                <a:gd name="connsiteY0" fmla="*/ 3680 h 5198"/>
                <a:gd name="connsiteX1" fmla="*/ 2938 w 6507"/>
                <a:gd name="connsiteY1" fmla="*/ 3026 h 5198"/>
                <a:gd name="connsiteX2" fmla="*/ -766 w 6507"/>
                <a:gd name="connsiteY2" fmla="*/ 5860 h 5198"/>
                <a:gd name="connsiteX3" fmla="*/ -3381 w 6507"/>
                <a:gd name="connsiteY3" fmla="*/ 3680 h 5198"/>
              </a:gdLst>
              <a:ahLst/>
              <a:cxnLst>
                <a:cxn ang="0">
                  <a:pos x="connsiteX0" y="connsiteY0"/>
                </a:cxn>
                <a:cxn ang="0">
                  <a:pos x="connsiteX1" y="connsiteY1"/>
                </a:cxn>
                <a:cxn ang="0">
                  <a:pos x="connsiteX2" y="connsiteY2"/>
                </a:cxn>
                <a:cxn ang="0">
                  <a:pos x="connsiteX3" y="connsiteY3"/>
                </a:cxn>
              </a:cxnLst>
              <a:rect l="l" t="t" r="r" b="b"/>
              <a:pathLst>
                <a:path w="6507" h="5198">
                  <a:moveTo>
                    <a:pt x="-3381" y="3680"/>
                  </a:moveTo>
                  <a:cubicBezTo>
                    <a:pt x="-2292" y="410"/>
                    <a:pt x="2720" y="-244"/>
                    <a:pt x="2938" y="3026"/>
                  </a:cubicBezTo>
                  <a:cubicBezTo>
                    <a:pt x="2938" y="4334"/>
                    <a:pt x="1413" y="5642"/>
                    <a:pt x="-766" y="5860"/>
                  </a:cubicBezTo>
                  <a:cubicBezTo>
                    <a:pt x="-2945" y="6514"/>
                    <a:pt x="-4035" y="5642"/>
                    <a:pt x="-3381" y="3680"/>
                  </a:cubicBezTo>
                  <a:close/>
                </a:path>
              </a:pathLst>
            </a:custGeom>
            <a:grpFill/>
            <a:ln w="218" cap="flat">
              <a:noFill/>
              <a:prstDash val="solid"/>
              <a:miter/>
            </a:ln>
          </p:spPr>
          <p:txBody>
            <a:bodyPr rtlCol="0" anchor="ctr"/>
            <a:lstStyle/>
            <a:p>
              <a:endParaRPr lang="en-GB" dirty="0"/>
            </a:p>
          </p:txBody>
        </p:sp>
        <p:sp>
          <p:nvSpPr>
            <p:cNvPr id="126" name="Freihandform: Form 125">
              <a:extLst>
                <a:ext uri="{FF2B5EF4-FFF2-40B4-BE49-F238E27FC236}">
                  <a16:creationId xmlns:a16="http://schemas.microsoft.com/office/drawing/2014/main" xmlns="" id="{D32B30F7-A15A-4CE0-9633-AC82A22EB750}"/>
                </a:ext>
              </a:extLst>
            </p:cNvPr>
            <p:cNvSpPr/>
            <p:nvPr/>
          </p:nvSpPr>
          <p:spPr>
            <a:xfrm flipV="1">
              <a:off x="4728215" y="5474053"/>
              <a:ext cx="85356" cy="41199"/>
            </a:xfrm>
            <a:custGeom>
              <a:avLst/>
              <a:gdLst>
                <a:gd name="connsiteX0" fmla="*/ -2716 w 85356"/>
                <a:gd name="connsiteY0" fmla="*/ 35200 h 41199"/>
                <a:gd name="connsiteX1" fmla="*/ 6219 w 85356"/>
                <a:gd name="connsiteY1" fmla="*/ 16451 h 41199"/>
                <a:gd name="connsiteX2" fmla="*/ 12102 w 85356"/>
                <a:gd name="connsiteY2" fmla="*/ 8167 h 41199"/>
                <a:gd name="connsiteX3" fmla="*/ 26702 w 85356"/>
                <a:gd name="connsiteY3" fmla="*/ 6205 h 41199"/>
                <a:gd name="connsiteX4" fmla="*/ 30188 w 85356"/>
                <a:gd name="connsiteY4" fmla="*/ 13835 h 41199"/>
                <a:gd name="connsiteX5" fmla="*/ 33239 w 85356"/>
                <a:gd name="connsiteY5" fmla="*/ 18195 h 41199"/>
                <a:gd name="connsiteX6" fmla="*/ 39776 w 85356"/>
                <a:gd name="connsiteY6" fmla="*/ 15797 h 41199"/>
                <a:gd name="connsiteX7" fmla="*/ 62003 w 85356"/>
                <a:gd name="connsiteY7" fmla="*/ 25607 h 41199"/>
                <a:gd name="connsiteX8" fmla="*/ 67451 w 85356"/>
                <a:gd name="connsiteY8" fmla="*/ 30186 h 41199"/>
                <a:gd name="connsiteX9" fmla="*/ 63746 w 85356"/>
                <a:gd name="connsiteY9" fmla="*/ 24299 h 41199"/>
                <a:gd name="connsiteX10" fmla="*/ 63964 w 85356"/>
                <a:gd name="connsiteY10" fmla="*/ 2499 h 41199"/>
                <a:gd name="connsiteX11" fmla="*/ 73116 w 85356"/>
                <a:gd name="connsiteY11" fmla="*/ 8385 h 41199"/>
                <a:gd name="connsiteX12" fmla="*/ 77474 w 85356"/>
                <a:gd name="connsiteY12" fmla="*/ 12745 h 41199"/>
                <a:gd name="connsiteX13" fmla="*/ 76167 w 85356"/>
                <a:gd name="connsiteY13" fmla="*/ 21901 h 41199"/>
                <a:gd name="connsiteX14" fmla="*/ 72027 w 85356"/>
                <a:gd name="connsiteY14" fmla="*/ 31494 h 41199"/>
                <a:gd name="connsiteX15" fmla="*/ 63964 w 85356"/>
                <a:gd name="connsiteY15" fmla="*/ 42176 h 41199"/>
                <a:gd name="connsiteX16" fmla="*/ 62221 w 85356"/>
                <a:gd name="connsiteY16" fmla="*/ 38470 h 41199"/>
                <a:gd name="connsiteX17" fmla="*/ 57863 w 85356"/>
                <a:gd name="connsiteY17" fmla="*/ 29096 h 41199"/>
                <a:gd name="connsiteX18" fmla="*/ 51543 w 85356"/>
                <a:gd name="connsiteY18" fmla="*/ 26697 h 41199"/>
                <a:gd name="connsiteX19" fmla="*/ 50672 w 85356"/>
                <a:gd name="connsiteY19" fmla="*/ 33238 h 41199"/>
                <a:gd name="connsiteX20" fmla="*/ 38905 w 85356"/>
                <a:gd name="connsiteY20" fmla="*/ 40650 h 41199"/>
                <a:gd name="connsiteX21" fmla="*/ 31714 w 85356"/>
                <a:gd name="connsiteY21" fmla="*/ 35418 h 41199"/>
                <a:gd name="connsiteX22" fmla="*/ 36072 w 85356"/>
                <a:gd name="connsiteY22" fmla="*/ 31276 h 41199"/>
                <a:gd name="connsiteX23" fmla="*/ 40430 w 85356"/>
                <a:gd name="connsiteY23" fmla="*/ 27788 h 41199"/>
                <a:gd name="connsiteX24" fmla="*/ 33457 w 85356"/>
                <a:gd name="connsiteY24" fmla="*/ 25171 h 41199"/>
                <a:gd name="connsiteX25" fmla="*/ 26920 w 85356"/>
                <a:gd name="connsiteY25" fmla="*/ 19721 h 41199"/>
                <a:gd name="connsiteX26" fmla="*/ 23651 w 85356"/>
                <a:gd name="connsiteY26" fmla="*/ 14271 h 41199"/>
                <a:gd name="connsiteX27" fmla="*/ 19075 w 85356"/>
                <a:gd name="connsiteY27" fmla="*/ 22119 h 41199"/>
                <a:gd name="connsiteX28" fmla="*/ 13410 w 85356"/>
                <a:gd name="connsiteY28" fmla="*/ 27788 h 41199"/>
                <a:gd name="connsiteX29" fmla="*/ 4693 w 85356"/>
                <a:gd name="connsiteY29" fmla="*/ 34328 h 41199"/>
                <a:gd name="connsiteX30" fmla="*/ 553 w 85356"/>
                <a:gd name="connsiteY30" fmla="*/ 42176 h 41199"/>
                <a:gd name="connsiteX31" fmla="*/ -2716 w 85356"/>
                <a:gd name="connsiteY31" fmla="*/ 35200 h 41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5356" h="41199">
                  <a:moveTo>
                    <a:pt x="-2716" y="35200"/>
                  </a:moveTo>
                  <a:cubicBezTo>
                    <a:pt x="-5330" y="27788"/>
                    <a:pt x="-3369" y="23645"/>
                    <a:pt x="6219" y="16451"/>
                  </a:cubicBezTo>
                  <a:cubicBezTo>
                    <a:pt x="8398" y="14707"/>
                    <a:pt x="11013" y="11001"/>
                    <a:pt x="12102" y="8167"/>
                  </a:cubicBezTo>
                  <a:cubicBezTo>
                    <a:pt x="14499" y="2281"/>
                    <a:pt x="19947" y="1409"/>
                    <a:pt x="26702" y="6205"/>
                  </a:cubicBezTo>
                  <a:cubicBezTo>
                    <a:pt x="29753" y="8385"/>
                    <a:pt x="30842" y="11001"/>
                    <a:pt x="30188" y="13835"/>
                  </a:cubicBezTo>
                  <a:cubicBezTo>
                    <a:pt x="29317" y="17105"/>
                    <a:pt x="30188" y="18195"/>
                    <a:pt x="33239" y="18195"/>
                  </a:cubicBezTo>
                  <a:cubicBezTo>
                    <a:pt x="35418" y="18195"/>
                    <a:pt x="38469" y="17105"/>
                    <a:pt x="39776" y="15797"/>
                  </a:cubicBezTo>
                  <a:cubicBezTo>
                    <a:pt x="42391" y="13181"/>
                    <a:pt x="53287" y="17759"/>
                    <a:pt x="62003" y="25607"/>
                  </a:cubicBezTo>
                  <a:lnTo>
                    <a:pt x="67451" y="30186"/>
                  </a:lnTo>
                  <a:lnTo>
                    <a:pt x="63746" y="24299"/>
                  </a:lnTo>
                  <a:cubicBezTo>
                    <a:pt x="59824" y="18195"/>
                    <a:pt x="60042" y="6423"/>
                    <a:pt x="63964" y="2499"/>
                  </a:cubicBezTo>
                  <a:cubicBezTo>
                    <a:pt x="67668" y="-1207"/>
                    <a:pt x="73116" y="2281"/>
                    <a:pt x="73116" y="8385"/>
                  </a:cubicBezTo>
                  <a:cubicBezTo>
                    <a:pt x="73116" y="13181"/>
                    <a:pt x="73988" y="13835"/>
                    <a:pt x="77474" y="12745"/>
                  </a:cubicBezTo>
                  <a:cubicBezTo>
                    <a:pt x="83358" y="11001"/>
                    <a:pt x="82922" y="12963"/>
                    <a:pt x="76167" y="21901"/>
                  </a:cubicBezTo>
                  <a:cubicBezTo>
                    <a:pt x="73116" y="25825"/>
                    <a:pt x="71373" y="30186"/>
                    <a:pt x="72027" y="31494"/>
                  </a:cubicBezTo>
                  <a:cubicBezTo>
                    <a:pt x="73552" y="33892"/>
                    <a:pt x="67233" y="42176"/>
                    <a:pt x="63964" y="42176"/>
                  </a:cubicBezTo>
                  <a:cubicBezTo>
                    <a:pt x="63092" y="42176"/>
                    <a:pt x="62221" y="40432"/>
                    <a:pt x="62221" y="38470"/>
                  </a:cubicBezTo>
                  <a:cubicBezTo>
                    <a:pt x="62221" y="36290"/>
                    <a:pt x="60260" y="32148"/>
                    <a:pt x="57863" y="29096"/>
                  </a:cubicBezTo>
                  <a:cubicBezTo>
                    <a:pt x="54376" y="24735"/>
                    <a:pt x="53069" y="24299"/>
                    <a:pt x="51543" y="26697"/>
                  </a:cubicBezTo>
                  <a:cubicBezTo>
                    <a:pt x="50454" y="28224"/>
                    <a:pt x="50018" y="31276"/>
                    <a:pt x="50672" y="33238"/>
                  </a:cubicBezTo>
                  <a:cubicBezTo>
                    <a:pt x="51979" y="38688"/>
                    <a:pt x="46967" y="41740"/>
                    <a:pt x="38905" y="40650"/>
                  </a:cubicBezTo>
                  <a:cubicBezTo>
                    <a:pt x="33675" y="39778"/>
                    <a:pt x="31714" y="38252"/>
                    <a:pt x="31714" y="35418"/>
                  </a:cubicBezTo>
                  <a:cubicBezTo>
                    <a:pt x="31714" y="32802"/>
                    <a:pt x="33239" y="31276"/>
                    <a:pt x="36072" y="31276"/>
                  </a:cubicBezTo>
                  <a:cubicBezTo>
                    <a:pt x="38469" y="31276"/>
                    <a:pt x="40430" y="29750"/>
                    <a:pt x="40430" y="27788"/>
                  </a:cubicBezTo>
                  <a:cubicBezTo>
                    <a:pt x="40430" y="25389"/>
                    <a:pt x="38687" y="24735"/>
                    <a:pt x="33457" y="25171"/>
                  </a:cubicBezTo>
                  <a:cubicBezTo>
                    <a:pt x="26702" y="25825"/>
                    <a:pt x="26266" y="25389"/>
                    <a:pt x="26920" y="19721"/>
                  </a:cubicBezTo>
                  <a:cubicBezTo>
                    <a:pt x="27356" y="14707"/>
                    <a:pt x="26702" y="13617"/>
                    <a:pt x="23651" y="14271"/>
                  </a:cubicBezTo>
                  <a:cubicBezTo>
                    <a:pt x="21036" y="14707"/>
                    <a:pt x="19511" y="17323"/>
                    <a:pt x="19075" y="22119"/>
                  </a:cubicBezTo>
                  <a:cubicBezTo>
                    <a:pt x="18421" y="28224"/>
                    <a:pt x="17768" y="28878"/>
                    <a:pt x="13410" y="27788"/>
                  </a:cubicBezTo>
                  <a:cubicBezTo>
                    <a:pt x="9269" y="26916"/>
                    <a:pt x="7744" y="28006"/>
                    <a:pt x="4693" y="34328"/>
                  </a:cubicBezTo>
                  <a:cubicBezTo>
                    <a:pt x="2732" y="38688"/>
                    <a:pt x="771" y="42176"/>
                    <a:pt x="553" y="42176"/>
                  </a:cubicBezTo>
                  <a:cubicBezTo>
                    <a:pt x="117" y="42176"/>
                    <a:pt x="-1190" y="39124"/>
                    <a:pt x="-2716" y="35200"/>
                  </a:cubicBezTo>
                  <a:close/>
                </a:path>
              </a:pathLst>
            </a:custGeom>
            <a:grpFill/>
            <a:ln w="218" cap="flat">
              <a:noFill/>
              <a:prstDash val="solid"/>
              <a:miter/>
            </a:ln>
          </p:spPr>
          <p:txBody>
            <a:bodyPr rtlCol="0" anchor="ctr"/>
            <a:lstStyle/>
            <a:p>
              <a:endParaRPr lang="en-GB" dirty="0"/>
            </a:p>
          </p:txBody>
        </p:sp>
        <p:sp>
          <p:nvSpPr>
            <p:cNvPr id="127" name="Freihandform: Form 126">
              <a:extLst>
                <a:ext uri="{FF2B5EF4-FFF2-40B4-BE49-F238E27FC236}">
                  <a16:creationId xmlns:a16="http://schemas.microsoft.com/office/drawing/2014/main" xmlns="" id="{9FF185A7-08A4-4B77-8723-A4A7198B878E}"/>
                </a:ext>
              </a:extLst>
            </p:cNvPr>
            <p:cNvSpPr/>
            <p:nvPr/>
          </p:nvSpPr>
          <p:spPr>
            <a:xfrm flipV="1">
              <a:off x="4430631" y="5477150"/>
              <a:ext cx="6210" cy="5302"/>
            </a:xfrm>
            <a:custGeom>
              <a:avLst/>
              <a:gdLst>
                <a:gd name="connsiteX0" fmla="*/ -2272 w 6210"/>
                <a:gd name="connsiteY0" fmla="*/ 4506 h 5302"/>
                <a:gd name="connsiteX1" fmla="*/ 3829 w 6210"/>
                <a:gd name="connsiteY1" fmla="*/ 2326 h 5302"/>
                <a:gd name="connsiteX2" fmla="*/ 343 w 6210"/>
                <a:gd name="connsiteY2" fmla="*/ 5814 h 5302"/>
                <a:gd name="connsiteX3" fmla="*/ -2272 w 6210"/>
                <a:gd name="connsiteY3" fmla="*/ 4506 h 5302"/>
              </a:gdLst>
              <a:ahLst/>
              <a:cxnLst>
                <a:cxn ang="0">
                  <a:pos x="connsiteX0" y="connsiteY0"/>
                </a:cxn>
                <a:cxn ang="0">
                  <a:pos x="connsiteX1" y="connsiteY1"/>
                </a:cxn>
                <a:cxn ang="0">
                  <a:pos x="connsiteX2" y="connsiteY2"/>
                </a:cxn>
                <a:cxn ang="0">
                  <a:pos x="connsiteX3" y="connsiteY3"/>
                </a:cxn>
              </a:cxnLst>
              <a:rect l="l" t="t" r="r" b="b"/>
              <a:pathLst>
                <a:path w="6210" h="5302">
                  <a:moveTo>
                    <a:pt x="-2272" y="4506"/>
                  </a:moveTo>
                  <a:cubicBezTo>
                    <a:pt x="-1183" y="1236"/>
                    <a:pt x="3829" y="-508"/>
                    <a:pt x="3829" y="2326"/>
                  </a:cubicBezTo>
                  <a:cubicBezTo>
                    <a:pt x="3829" y="3416"/>
                    <a:pt x="2304" y="5160"/>
                    <a:pt x="343" y="5814"/>
                  </a:cubicBezTo>
                  <a:cubicBezTo>
                    <a:pt x="-1836" y="6686"/>
                    <a:pt x="-2708" y="6032"/>
                    <a:pt x="-2272" y="4506"/>
                  </a:cubicBezTo>
                  <a:close/>
                </a:path>
              </a:pathLst>
            </a:custGeom>
            <a:grpFill/>
            <a:ln w="218" cap="flat">
              <a:noFill/>
              <a:prstDash val="solid"/>
              <a:miter/>
            </a:ln>
          </p:spPr>
          <p:txBody>
            <a:bodyPr rtlCol="0" anchor="ctr"/>
            <a:lstStyle/>
            <a:p>
              <a:endParaRPr lang="en-GB" dirty="0"/>
            </a:p>
          </p:txBody>
        </p:sp>
        <p:sp>
          <p:nvSpPr>
            <p:cNvPr id="128" name="Freihandform: Form 127">
              <a:extLst>
                <a:ext uri="{FF2B5EF4-FFF2-40B4-BE49-F238E27FC236}">
                  <a16:creationId xmlns:a16="http://schemas.microsoft.com/office/drawing/2014/main" xmlns="" id="{678EBAC3-4707-4BF8-80D4-A3109E868C85}"/>
                </a:ext>
              </a:extLst>
            </p:cNvPr>
            <p:cNvSpPr/>
            <p:nvPr/>
          </p:nvSpPr>
          <p:spPr>
            <a:xfrm flipV="1">
              <a:off x="4918533" y="5490614"/>
              <a:ext cx="34748" cy="37833"/>
            </a:xfrm>
            <a:custGeom>
              <a:avLst/>
              <a:gdLst>
                <a:gd name="connsiteX0" fmla="*/ 22667 w 34748"/>
                <a:gd name="connsiteY0" fmla="*/ 33428 h 37833"/>
                <a:gd name="connsiteX1" fmla="*/ 8503 w 34748"/>
                <a:gd name="connsiteY1" fmla="*/ 27760 h 37833"/>
                <a:gd name="connsiteX2" fmla="*/ -3264 w 34748"/>
                <a:gd name="connsiteY2" fmla="*/ 24272 h 37833"/>
                <a:gd name="connsiteX3" fmla="*/ 5 w 34748"/>
                <a:gd name="connsiteY3" fmla="*/ 14680 h 37833"/>
                <a:gd name="connsiteX4" fmla="*/ 12861 w 34748"/>
                <a:gd name="connsiteY4" fmla="*/ 4215 h 37833"/>
                <a:gd name="connsiteX5" fmla="*/ 20488 w 34748"/>
                <a:gd name="connsiteY5" fmla="*/ 4433 h 37833"/>
                <a:gd name="connsiteX6" fmla="*/ 18745 w 34748"/>
                <a:gd name="connsiteY6" fmla="*/ 14898 h 37833"/>
                <a:gd name="connsiteX7" fmla="*/ 15040 w 34748"/>
                <a:gd name="connsiteY7" fmla="*/ 16424 h 37833"/>
                <a:gd name="connsiteX8" fmla="*/ 20052 w 34748"/>
                <a:gd name="connsiteY8" fmla="*/ 18386 h 37833"/>
                <a:gd name="connsiteX9" fmla="*/ 30294 w 34748"/>
                <a:gd name="connsiteY9" fmla="*/ 30594 h 37833"/>
                <a:gd name="connsiteX10" fmla="*/ 22667 w 34748"/>
                <a:gd name="connsiteY10" fmla="*/ 33428 h 37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48" h="37833">
                  <a:moveTo>
                    <a:pt x="22667" y="33428"/>
                  </a:moveTo>
                  <a:cubicBezTo>
                    <a:pt x="19180" y="26888"/>
                    <a:pt x="18527" y="26670"/>
                    <a:pt x="8503" y="27760"/>
                  </a:cubicBezTo>
                  <a:cubicBezTo>
                    <a:pt x="-867" y="28850"/>
                    <a:pt x="-2174" y="28632"/>
                    <a:pt x="-3264" y="24272"/>
                  </a:cubicBezTo>
                  <a:cubicBezTo>
                    <a:pt x="-5443" y="15552"/>
                    <a:pt x="-4789" y="13371"/>
                    <a:pt x="5" y="14680"/>
                  </a:cubicBezTo>
                  <a:cubicBezTo>
                    <a:pt x="5016" y="15988"/>
                    <a:pt x="12861" y="9665"/>
                    <a:pt x="12861" y="4215"/>
                  </a:cubicBezTo>
                  <a:cubicBezTo>
                    <a:pt x="12861" y="-145"/>
                    <a:pt x="16130" y="73"/>
                    <a:pt x="20488" y="4433"/>
                  </a:cubicBezTo>
                  <a:cubicBezTo>
                    <a:pt x="24846" y="8793"/>
                    <a:pt x="23756" y="15116"/>
                    <a:pt x="18745" y="14898"/>
                  </a:cubicBezTo>
                  <a:cubicBezTo>
                    <a:pt x="16783" y="14680"/>
                    <a:pt x="15040" y="15334"/>
                    <a:pt x="15040" y="16424"/>
                  </a:cubicBezTo>
                  <a:cubicBezTo>
                    <a:pt x="15040" y="17514"/>
                    <a:pt x="17219" y="18386"/>
                    <a:pt x="20052" y="18386"/>
                  </a:cubicBezTo>
                  <a:cubicBezTo>
                    <a:pt x="27025" y="18386"/>
                    <a:pt x="30294" y="22310"/>
                    <a:pt x="30294" y="30594"/>
                  </a:cubicBezTo>
                  <a:cubicBezTo>
                    <a:pt x="30294" y="40404"/>
                    <a:pt x="26807" y="41712"/>
                    <a:pt x="22667" y="33428"/>
                  </a:cubicBezTo>
                  <a:close/>
                </a:path>
              </a:pathLst>
            </a:custGeom>
            <a:grpFill/>
            <a:ln w="218" cap="flat">
              <a:noFill/>
              <a:prstDash val="solid"/>
              <a:miter/>
            </a:ln>
          </p:spPr>
          <p:txBody>
            <a:bodyPr rtlCol="0" anchor="ctr"/>
            <a:lstStyle/>
            <a:p>
              <a:endParaRPr lang="en-GB" dirty="0"/>
            </a:p>
          </p:txBody>
        </p:sp>
        <p:sp>
          <p:nvSpPr>
            <p:cNvPr id="129" name="Freihandform: Form 128">
              <a:extLst>
                <a:ext uri="{FF2B5EF4-FFF2-40B4-BE49-F238E27FC236}">
                  <a16:creationId xmlns:a16="http://schemas.microsoft.com/office/drawing/2014/main" xmlns="" id="{654375D0-22AA-473F-A3EF-69DCD052736B}"/>
                </a:ext>
              </a:extLst>
            </p:cNvPr>
            <p:cNvSpPr/>
            <p:nvPr/>
          </p:nvSpPr>
          <p:spPr>
            <a:xfrm flipV="1">
              <a:off x="4434662" y="5491493"/>
              <a:ext cx="4358" cy="4360"/>
            </a:xfrm>
            <a:custGeom>
              <a:avLst/>
              <a:gdLst>
                <a:gd name="connsiteX0" fmla="*/ -2394 w 4358"/>
                <a:gd name="connsiteY0" fmla="*/ 3152 h 4360"/>
                <a:gd name="connsiteX1" fmla="*/ -215 w 4358"/>
                <a:gd name="connsiteY1" fmla="*/ 972 h 4360"/>
                <a:gd name="connsiteX2" fmla="*/ 1964 w 4358"/>
                <a:gd name="connsiteY2" fmla="*/ 3152 h 4360"/>
                <a:gd name="connsiteX3" fmla="*/ -215 w 4358"/>
                <a:gd name="connsiteY3" fmla="*/ 5332 h 4360"/>
                <a:gd name="connsiteX4" fmla="*/ -2394 w 4358"/>
                <a:gd name="connsiteY4" fmla="*/ 3152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2394" y="3152"/>
                  </a:moveTo>
                  <a:cubicBezTo>
                    <a:pt x="-2394" y="2062"/>
                    <a:pt x="-1304" y="972"/>
                    <a:pt x="-215" y="972"/>
                  </a:cubicBezTo>
                  <a:cubicBezTo>
                    <a:pt x="1093" y="972"/>
                    <a:pt x="1964" y="2062"/>
                    <a:pt x="1964" y="3152"/>
                  </a:cubicBezTo>
                  <a:cubicBezTo>
                    <a:pt x="1964" y="4460"/>
                    <a:pt x="1093" y="5332"/>
                    <a:pt x="-215" y="5332"/>
                  </a:cubicBezTo>
                  <a:cubicBezTo>
                    <a:pt x="-1304" y="5332"/>
                    <a:pt x="-2394" y="4460"/>
                    <a:pt x="-2394" y="3152"/>
                  </a:cubicBezTo>
                  <a:close/>
                </a:path>
              </a:pathLst>
            </a:custGeom>
            <a:grpFill/>
            <a:ln w="218" cap="flat">
              <a:noFill/>
              <a:prstDash val="solid"/>
              <a:miter/>
            </a:ln>
          </p:spPr>
          <p:txBody>
            <a:bodyPr rtlCol="0" anchor="ctr"/>
            <a:lstStyle/>
            <a:p>
              <a:endParaRPr lang="en-GB" dirty="0"/>
            </a:p>
          </p:txBody>
        </p:sp>
        <p:sp>
          <p:nvSpPr>
            <p:cNvPr id="130" name="Freihandform: Form 129">
              <a:extLst>
                <a:ext uri="{FF2B5EF4-FFF2-40B4-BE49-F238E27FC236}">
                  <a16:creationId xmlns:a16="http://schemas.microsoft.com/office/drawing/2014/main" xmlns="" id="{4EA6C204-0665-4FBA-B83E-C01DCD63A308}"/>
                </a:ext>
              </a:extLst>
            </p:cNvPr>
            <p:cNvSpPr/>
            <p:nvPr/>
          </p:nvSpPr>
          <p:spPr>
            <a:xfrm flipV="1">
              <a:off x="4402943" y="5495991"/>
              <a:ext cx="11103" cy="9182"/>
            </a:xfrm>
            <a:custGeom>
              <a:avLst/>
              <a:gdLst>
                <a:gd name="connsiteX0" fmla="*/ 25 w 11103"/>
                <a:gd name="connsiteY0" fmla="*/ 6839 h 9182"/>
                <a:gd name="connsiteX1" fmla="*/ -629 w 11103"/>
                <a:gd name="connsiteY1" fmla="*/ 1388 h 9182"/>
                <a:gd name="connsiteX2" fmla="*/ 8523 w 11103"/>
                <a:gd name="connsiteY2" fmla="*/ 8365 h 9182"/>
                <a:gd name="connsiteX3" fmla="*/ 25 w 11103"/>
                <a:gd name="connsiteY3" fmla="*/ 6839 h 9182"/>
              </a:gdLst>
              <a:ahLst/>
              <a:cxnLst>
                <a:cxn ang="0">
                  <a:pos x="connsiteX0" y="connsiteY0"/>
                </a:cxn>
                <a:cxn ang="0">
                  <a:pos x="connsiteX1" y="connsiteY1"/>
                </a:cxn>
                <a:cxn ang="0">
                  <a:pos x="connsiteX2" y="connsiteY2"/>
                </a:cxn>
                <a:cxn ang="0">
                  <a:pos x="connsiteX3" y="connsiteY3"/>
                </a:cxn>
              </a:cxnLst>
              <a:rect l="l" t="t" r="r" b="b"/>
              <a:pathLst>
                <a:path w="11103" h="9182">
                  <a:moveTo>
                    <a:pt x="25" y="6839"/>
                  </a:moveTo>
                  <a:cubicBezTo>
                    <a:pt x="-2808" y="3786"/>
                    <a:pt x="-3026" y="2696"/>
                    <a:pt x="-629" y="1388"/>
                  </a:cubicBezTo>
                  <a:cubicBezTo>
                    <a:pt x="2422" y="-574"/>
                    <a:pt x="10484" y="5531"/>
                    <a:pt x="8523" y="8365"/>
                  </a:cubicBezTo>
                  <a:cubicBezTo>
                    <a:pt x="6780" y="11199"/>
                    <a:pt x="3947" y="10763"/>
                    <a:pt x="25" y="6839"/>
                  </a:cubicBezTo>
                  <a:close/>
                </a:path>
              </a:pathLst>
            </a:custGeom>
            <a:grpFill/>
            <a:ln w="218" cap="flat">
              <a:noFill/>
              <a:prstDash val="solid"/>
              <a:miter/>
            </a:ln>
          </p:spPr>
          <p:txBody>
            <a:bodyPr rtlCol="0" anchor="ctr"/>
            <a:lstStyle/>
            <a:p>
              <a:endParaRPr lang="en-GB" dirty="0"/>
            </a:p>
          </p:txBody>
        </p:sp>
        <p:sp>
          <p:nvSpPr>
            <p:cNvPr id="131" name="Freihandform: Form 130">
              <a:extLst>
                <a:ext uri="{FF2B5EF4-FFF2-40B4-BE49-F238E27FC236}">
                  <a16:creationId xmlns:a16="http://schemas.microsoft.com/office/drawing/2014/main" xmlns="" id="{C3C2507A-CEAA-4036-BFDD-DD211B53A49E}"/>
                </a:ext>
              </a:extLst>
            </p:cNvPr>
            <p:cNvSpPr/>
            <p:nvPr/>
          </p:nvSpPr>
          <p:spPr>
            <a:xfrm flipV="1">
              <a:off x="4593087" y="5498157"/>
              <a:ext cx="10542" cy="12956"/>
            </a:xfrm>
            <a:custGeom>
              <a:avLst/>
              <a:gdLst>
                <a:gd name="connsiteX0" fmla="*/ -2196 w 10542"/>
                <a:gd name="connsiteY0" fmla="*/ 10184 h 12956"/>
                <a:gd name="connsiteX1" fmla="*/ 3252 w 10542"/>
                <a:gd name="connsiteY1" fmla="*/ 1027 h 12956"/>
                <a:gd name="connsiteX2" fmla="*/ 6084 w 10542"/>
                <a:gd name="connsiteY2" fmla="*/ 11056 h 12956"/>
                <a:gd name="connsiteX3" fmla="*/ -2196 w 10542"/>
                <a:gd name="connsiteY3" fmla="*/ 10184 h 12956"/>
              </a:gdLst>
              <a:ahLst/>
              <a:cxnLst>
                <a:cxn ang="0">
                  <a:pos x="connsiteX0" y="connsiteY0"/>
                </a:cxn>
                <a:cxn ang="0">
                  <a:pos x="connsiteX1" y="connsiteY1"/>
                </a:cxn>
                <a:cxn ang="0">
                  <a:pos x="connsiteX2" y="connsiteY2"/>
                </a:cxn>
                <a:cxn ang="0">
                  <a:pos x="connsiteX3" y="connsiteY3"/>
                </a:cxn>
              </a:cxnLst>
              <a:rect l="l" t="t" r="r" b="b"/>
              <a:pathLst>
                <a:path w="10542" h="12956">
                  <a:moveTo>
                    <a:pt x="-2196" y="10184"/>
                  </a:moveTo>
                  <a:cubicBezTo>
                    <a:pt x="-4593" y="5823"/>
                    <a:pt x="-1760" y="1027"/>
                    <a:pt x="3252" y="1027"/>
                  </a:cubicBezTo>
                  <a:cubicBezTo>
                    <a:pt x="7174" y="1027"/>
                    <a:pt x="8917" y="7568"/>
                    <a:pt x="6084" y="11056"/>
                  </a:cubicBezTo>
                  <a:cubicBezTo>
                    <a:pt x="2598" y="15198"/>
                    <a:pt x="419" y="14980"/>
                    <a:pt x="-2196" y="10184"/>
                  </a:cubicBezTo>
                  <a:close/>
                </a:path>
              </a:pathLst>
            </a:custGeom>
            <a:grpFill/>
            <a:ln w="218" cap="flat">
              <a:noFill/>
              <a:prstDash val="solid"/>
              <a:miter/>
            </a:ln>
          </p:spPr>
          <p:txBody>
            <a:bodyPr rtlCol="0" anchor="ctr"/>
            <a:lstStyle/>
            <a:p>
              <a:endParaRPr lang="en-GB" dirty="0"/>
            </a:p>
          </p:txBody>
        </p:sp>
        <p:sp>
          <p:nvSpPr>
            <p:cNvPr id="132" name="Freihandform: Form 131">
              <a:extLst>
                <a:ext uri="{FF2B5EF4-FFF2-40B4-BE49-F238E27FC236}">
                  <a16:creationId xmlns:a16="http://schemas.microsoft.com/office/drawing/2014/main" xmlns="" id="{47CC9C5B-69B8-49DA-96EE-ED3E21EFB639}"/>
                </a:ext>
              </a:extLst>
            </p:cNvPr>
            <p:cNvSpPr/>
            <p:nvPr/>
          </p:nvSpPr>
          <p:spPr>
            <a:xfrm flipV="1">
              <a:off x="4644472" y="5498267"/>
              <a:ext cx="38197" cy="34382"/>
            </a:xfrm>
            <a:custGeom>
              <a:avLst/>
              <a:gdLst>
                <a:gd name="connsiteX0" fmla="*/ 8907 w 38197"/>
                <a:gd name="connsiteY0" fmla="*/ 32211 h 34382"/>
                <a:gd name="connsiteX1" fmla="*/ 12611 w 38197"/>
                <a:gd name="connsiteY1" fmla="*/ 23708 h 34382"/>
                <a:gd name="connsiteX2" fmla="*/ 10432 w 38197"/>
                <a:gd name="connsiteY2" fmla="*/ 18040 h 34382"/>
                <a:gd name="connsiteX3" fmla="*/ 4767 w 38197"/>
                <a:gd name="connsiteY3" fmla="*/ 24798 h 34382"/>
                <a:gd name="connsiteX4" fmla="*/ -3078 w 38197"/>
                <a:gd name="connsiteY4" fmla="*/ 26106 h 34382"/>
                <a:gd name="connsiteX5" fmla="*/ -1553 w 38197"/>
                <a:gd name="connsiteY5" fmla="*/ 17822 h 34382"/>
                <a:gd name="connsiteX6" fmla="*/ 844 w 38197"/>
                <a:gd name="connsiteY6" fmla="*/ 6704 h 34382"/>
                <a:gd name="connsiteX7" fmla="*/ 4113 w 38197"/>
                <a:gd name="connsiteY7" fmla="*/ 1254 h 34382"/>
                <a:gd name="connsiteX8" fmla="*/ 7599 w 38197"/>
                <a:gd name="connsiteY8" fmla="*/ 6922 h 34382"/>
                <a:gd name="connsiteX9" fmla="*/ 10214 w 38197"/>
                <a:gd name="connsiteY9" fmla="*/ 11718 h 34382"/>
                <a:gd name="connsiteX10" fmla="*/ 13483 w 38197"/>
                <a:gd name="connsiteY10" fmla="*/ 9538 h 34382"/>
                <a:gd name="connsiteX11" fmla="*/ 24596 w 38197"/>
                <a:gd name="connsiteY11" fmla="*/ 7358 h 34382"/>
                <a:gd name="connsiteX12" fmla="*/ 34838 w 38197"/>
                <a:gd name="connsiteY12" fmla="*/ 9102 h 34382"/>
                <a:gd name="connsiteX13" fmla="*/ 30916 w 38197"/>
                <a:gd name="connsiteY13" fmla="*/ 18912 h 34382"/>
                <a:gd name="connsiteX14" fmla="*/ 25468 w 38197"/>
                <a:gd name="connsiteY14" fmla="*/ 26978 h 34382"/>
                <a:gd name="connsiteX15" fmla="*/ 18931 w 38197"/>
                <a:gd name="connsiteY15" fmla="*/ 31339 h 34382"/>
                <a:gd name="connsiteX16" fmla="*/ 8907 w 38197"/>
                <a:gd name="connsiteY16" fmla="*/ 32211 h 34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197" h="34382">
                  <a:moveTo>
                    <a:pt x="8907" y="32211"/>
                  </a:moveTo>
                  <a:cubicBezTo>
                    <a:pt x="6510" y="29377"/>
                    <a:pt x="7164" y="28068"/>
                    <a:pt x="12611" y="23708"/>
                  </a:cubicBezTo>
                  <a:cubicBezTo>
                    <a:pt x="20020" y="17822"/>
                    <a:pt x="18931" y="14988"/>
                    <a:pt x="10432" y="18040"/>
                  </a:cubicBezTo>
                  <a:cubicBezTo>
                    <a:pt x="6946" y="19566"/>
                    <a:pt x="4767" y="21964"/>
                    <a:pt x="4767" y="24798"/>
                  </a:cubicBezTo>
                  <a:cubicBezTo>
                    <a:pt x="4767" y="29813"/>
                    <a:pt x="-1335" y="30903"/>
                    <a:pt x="-3078" y="26106"/>
                  </a:cubicBezTo>
                  <a:cubicBezTo>
                    <a:pt x="-3732" y="24362"/>
                    <a:pt x="-3078" y="20656"/>
                    <a:pt x="-1553" y="17822"/>
                  </a:cubicBezTo>
                  <a:cubicBezTo>
                    <a:pt x="-27" y="14988"/>
                    <a:pt x="1062" y="9974"/>
                    <a:pt x="844" y="6704"/>
                  </a:cubicBezTo>
                  <a:cubicBezTo>
                    <a:pt x="409" y="1690"/>
                    <a:pt x="1062" y="600"/>
                    <a:pt x="4113" y="1254"/>
                  </a:cubicBezTo>
                  <a:cubicBezTo>
                    <a:pt x="6728" y="1908"/>
                    <a:pt x="7817" y="3870"/>
                    <a:pt x="7599" y="6922"/>
                  </a:cubicBezTo>
                  <a:cubicBezTo>
                    <a:pt x="7164" y="9974"/>
                    <a:pt x="8253" y="11718"/>
                    <a:pt x="10214" y="11718"/>
                  </a:cubicBezTo>
                  <a:cubicBezTo>
                    <a:pt x="11958" y="11718"/>
                    <a:pt x="13483" y="10846"/>
                    <a:pt x="13483" y="9538"/>
                  </a:cubicBezTo>
                  <a:cubicBezTo>
                    <a:pt x="13483" y="8448"/>
                    <a:pt x="18495" y="7358"/>
                    <a:pt x="24596" y="7358"/>
                  </a:cubicBezTo>
                  <a:cubicBezTo>
                    <a:pt x="30698" y="7358"/>
                    <a:pt x="35274" y="8012"/>
                    <a:pt x="34838" y="9102"/>
                  </a:cubicBezTo>
                  <a:cubicBezTo>
                    <a:pt x="34402" y="9974"/>
                    <a:pt x="32659" y="14334"/>
                    <a:pt x="30916" y="18912"/>
                  </a:cubicBezTo>
                  <a:cubicBezTo>
                    <a:pt x="29172" y="23272"/>
                    <a:pt x="26775" y="26978"/>
                    <a:pt x="25468" y="26978"/>
                  </a:cubicBezTo>
                  <a:cubicBezTo>
                    <a:pt x="23943" y="26978"/>
                    <a:pt x="21110" y="28941"/>
                    <a:pt x="18931" y="31339"/>
                  </a:cubicBezTo>
                  <a:cubicBezTo>
                    <a:pt x="14137" y="36571"/>
                    <a:pt x="12611" y="36789"/>
                    <a:pt x="8907" y="32211"/>
                  </a:cubicBezTo>
                  <a:close/>
                </a:path>
              </a:pathLst>
            </a:custGeom>
            <a:grpFill/>
            <a:ln w="218" cap="flat">
              <a:noFill/>
              <a:prstDash val="solid"/>
              <a:miter/>
            </a:ln>
          </p:spPr>
          <p:txBody>
            <a:bodyPr rtlCol="0" anchor="ctr"/>
            <a:lstStyle/>
            <a:p>
              <a:endParaRPr lang="en-GB" dirty="0"/>
            </a:p>
          </p:txBody>
        </p:sp>
        <p:sp>
          <p:nvSpPr>
            <p:cNvPr id="133" name="Freihandform: Form 132">
              <a:extLst>
                <a:ext uri="{FF2B5EF4-FFF2-40B4-BE49-F238E27FC236}">
                  <a16:creationId xmlns:a16="http://schemas.microsoft.com/office/drawing/2014/main" xmlns="" id="{725F1CE3-AB9D-463D-B7C3-C31282976C46}"/>
                </a:ext>
              </a:extLst>
            </p:cNvPr>
            <p:cNvSpPr/>
            <p:nvPr/>
          </p:nvSpPr>
          <p:spPr>
            <a:xfrm flipV="1">
              <a:off x="4759846" y="5500266"/>
              <a:ext cx="36542" cy="37008"/>
            </a:xfrm>
            <a:custGeom>
              <a:avLst/>
              <a:gdLst>
                <a:gd name="connsiteX0" fmla="*/ 19664 w 36542"/>
                <a:gd name="connsiteY0" fmla="*/ 35108 h 37008"/>
                <a:gd name="connsiteX1" fmla="*/ 2668 w 36542"/>
                <a:gd name="connsiteY1" fmla="*/ 23117 h 37008"/>
                <a:gd name="connsiteX2" fmla="*/ -3652 w 36542"/>
                <a:gd name="connsiteY2" fmla="*/ 19193 h 37008"/>
                <a:gd name="connsiteX3" fmla="*/ -383 w 36542"/>
                <a:gd name="connsiteY3" fmla="*/ 17885 h 37008"/>
                <a:gd name="connsiteX4" fmla="*/ 7244 w 36542"/>
                <a:gd name="connsiteY4" fmla="*/ 15487 h 37008"/>
                <a:gd name="connsiteX5" fmla="*/ 14217 w 36542"/>
                <a:gd name="connsiteY5" fmla="*/ 11999 h 37008"/>
                <a:gd name="connsiteX6" fmla="*/ 19664 w 36542"/>
                <a:gd name="connsiteY6" fmla="*/ 6549 h 37008"/>
                <a:gd name="connsiteX7" fmla="*/ 27291 w 36542"/>
                <a:gd name="connsiteY7" fmla="*/ 1099 h 37008"/>
                <a:gd name="connsiteX8" fmla="*/ 32739 w 36542"/>
                <a:gd name="connsiteY8" fmla="*/ 3279 h 37008"/>
                <a:gd name="connsiteX9" fmla="*/ 22061 w 36542"/>
                <a:gd name="connsiteY9" fmla="*/ 22463 h 37008"/>
                <a:gd name="connsiteX10" fmla="*/ 22715 w 36542"/>
                <a:gd name="connsiteY10" fmla="*/ 28350 h 37008"/>
                <a:gd name="connsiteX11" fmla="*/ 25548 w 36542"/>
                <a:gd name="connsiteY11" fmla="*/ 34890 h 37008"/>
                <a:gd name="connsiteX12" fmla="*/ 19664 w 36542"/>
                <a:gd name="connsiteY12" fmla="*/ 35108 h 37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542" h="37008">
                  <a:moveTo>
                    <a:pt x="19664" y="35108"/>
                  </a:moveTo>
                  <a:cubicBezTo>
                    <a:pt x="19664" y="31620"/>
                    <a:pt x="10512" y="25079"/>
                    <a:pt x="2668" y="23117"/>
                  </a:cubicBezTo>
                  <a:cubicBezTo>
                    <a:pt x="-383" y="22245"/>
                    <a:pt x="-3216" y="20501"/>
                    <a:pt x="-3652" y="19193"/>
                  </a:cubicBezTo>
                  <a:cubicBezTo>
                    <a:pt x="-4305" y="17667"/>
                    <a:pt x="-2780" y="17231"/>
                    <a:pt x="-383" y="17885"/>
                  </a:cubicBezTo>
                  <a:cubicBezTo>
                    <a:pt x="1796" y="18321"/>
                    <a:pt x="5282" y="17231"/>
                    <a:pt x="7244" y="15487"/>
                  </a:cubicBezTo>
                  <a:cubicBezTo>
                    <a:pt x="8987" y="13525"/>
                    <a:pt x="12256" y="11999"/>
                    <a:pt x="14217" y="11999"/>
                  </a:cubicBezTo>
                  <a:cubicBezTo>
                    <a:pt x="15960" y="11999"/>
                    <a:pt x="18575" y="9601"/>
                    <a:pt x="19664" y="6549"/>
                  </a:cubicBezTo>
                  <a:cubicBezTo>
                    <a:pt x="21190" y="2625"/>
                    <a:pt x="23369" y="1099"/>
                    <a:pt x="27291" y="1099"/>
                  </a:cubicBezTo>
                  <a:cubicBezTo>
                    <a:pt x="30342" y="1099"/>
                    <a:pt x="32739" y="2189"/>
                    <a:pt x="32739" y="3279"/>
                  </a:cubicBezTo>
                  <a:cubicBezTo>
                    <a:pt x="32739" y="7203"/>
                    <a:pt x="25766" y="19411"/>
                    <a:pt x="22061" y="22463"/>
                  </a:cubicBezTo>
                  <a:cubicBezTo>
                    <a:pt x="18793" y="24861"/>
                    <a:pt x="19011" y="25297"/>
                    <a:pt x="22715" y="28350"/>
                  </a:cubicBezTo>
                  <a:cubicBezTo>
                    <a:pt x="25112" y="30094"/>
                    <a:pt x="26202" y="32928"/>
                    <a:pt x="25548" y="34890"/>
                  </a:cubicBezTo>
                  <a:cubicBezTo>
                    <a:pt x="23805" y="39032"/>
                    <a:pt x="19664" y="39250"/>
                    <a:pt x="19664" y="35108"/>
                  </a:cubicBezTo>
                  <a:close/>
                </a:path>
              </a:pathLst>
            </a:custGeom>
            <a:grpFill/>
            <a:ln w="218" cap="flat">
              <a:noFill/>
              <a:prstDash val="solid"/>
              <a:miter/>
            </a:ln>
          </p:spPr>
          <p:txBody>
            <a:bodyPr rtlCol="0" anchor="ctr"/>
            <a:lstStyle/>
            <a:p>
              <a:endParaRPr lang="en-GB" dirty="0"/>
            </a:p>
          </p:txBody>
        </p:sp>
        <p:sp>
          <p:nvSpPr>
            <p:cNvPr id="134" name="Freihandform: Form 133">
              <a:extLst>
                <a:ext uri="{FF2B5EF4-FFF2-40B4-BE49-F238E27FC236}">
                  <a16:creationId xmlns:a16="http://schemas.microsoft.com/office/drawing/2014/main" xmlns="" id="{88CB56F7-216C-421C-9954-89AF963B1514}"/>
                </a:ext>
              </a:extLst>
            </p:cNvPr>
            <p:cNvSpPr/>
            <p:nvPr/>
          </p:nvSpPr>
          <p:spPr>
            <a:xfrm flipV="1">
              <a:off x="4846529" y="5500035"/>
              <a:ext cx="10873" cy="12605"/>
            </a:xfrm>
            <a:custGeom>
              <a:avLst/>
              <a:gdLst>
                <a:gd name="connsiteX0" fmla="*/ -2605 w 10873"/>
                <a:gd name="connsiteY0" fmla="*/ 11937 h 12605"/>
                <a:gd name="connsiteX1" fmla="*/ -1951 w 10873"/>
                <a:gd name="connsiteY1" fmla="*/ 1472 h 12605"/>
                <a:gd name="connsiteX2" fmla="*/ 6765 w 10873"/>
                <a:gd name="connsiteY2" fmla="*/ 9321 h 12605"/>
                <a:gd name="connsiteX3" fmla="*/ -2605 w 10873"/>
                <a:gd name="connsiteY3" fmla="*/ 11937 h 12605"/>
              </a:gdLst>
              <a:ahLst/>
              <a:cxnLst>
                <a:cxn ang="0">
                  <a:pos x="connsiteX0" y="connsiteY0"/>
                </a:cxn>
                <a:cxn ang="0">
                  <a:pos x="connsiteX1" y="connsiteY1"/>
                </a:cxn>
                <a:cxn ang="0">
                  <a:pos x="connsiteX2" y="connsiteY2"/>
                </a:cxn>
                <a:cxn ang="0">
                  <a:pos x="connsiteX3" y="connsiteY3"/>
                </a:cxn>
              </a:cxnLst>
              <a:rect l="l" t="t" r="r" b="b"/>
              <a:pathLst>
                <a:path w="10873" h="12605">
                  <a:moveTo>
                    <a:pt x="-2605" y="11937"/>
                  </a:moveTo>
                  <a:cubicBezTo>
                    <a:pt x="-5002" y="9757"/>
                    <a:pt x="-4348" y="2998"/>
                    <a:pt x="-1951" y="1472"/>
                  </a:cubicBezTo>
                  <a:cubicBezTo>
                    <a:pt x="1318" y="-490"/>
                    <a:pt x="6765" y="4524"/>
                    <a:pt x="6765" y="9321"/>
                  </a:cubicBezTo>
                  <a:cubicBezTo>
                    <a:pt x="6765" y="13463"/>
                    <a:pt x="446" y="15207"/>
                    <a:pt x="-2605" y="11937"/>
                  </a:cubicBezTo>
                  <a:close/>
                </a:path>
              </a:pathLst>
            </a:custGeom>
            <a:grpFill/>
            <a:ln w="218" cap="flat">
              <a:noFill/>
              <a:prstDash val="solid"/>
              <a:miter/>
            </a:ln>
          </p:spPr>
          <p:txBody>
            <a:bodyPr rtlCol="0" anchor="ctr"/>
            <a:lstStyle/>
            <a:p>
              <a:endParaRPr lang="en-GB" dirty="0"/>
            </a:p>
          </p:txBody>
        </p:sp>
        <p:sp>
          <p:nvSpPr>
            <p:cNvPr id="135" name="Freihandform: Form 134">
              <a:extLst>
                <a:ext uri="{FF2B5EF4-FFF2-40B4-BE49-F238E27FC236}">
                  <a16:creationId xmlns:a16="http://schemas.microsoft.com/office/drawing/2014/main" xmlns="" id="{6680EFCC-B59F-4546-9200-4DF67A46F605}"/>
                </a:ext>
              </a:extLst>
            </p:cNvPr>
            <p:cNvSpPr/>
            <p:nvPr/>
          </p:nvSpPr>
          <p:spPr>
            <a:xfrm flipV="1">
              <a:off x="4957640" y="5502394"/>
              <a:ext cx="4358" cy="6540"/>
            </a:xfrm>
            <a:custGeom>
              <a:avLst/>
              <a:gdLst>
                <a:gd name="connsiteX0" fmla="*/ -4554 w 4358"/>
                <a:gd name="connsiteY0" fmla="*/ 4303 h 6540"/>
                <a:gd name="connsiteX1" fmla="*/ -2375 w 4358"/>
                <a:gd name="connsiteY1" fmla="*/ 1033 h 6540"/>
                <a:gd name="connsiteX2" fmla="*/ -196 w 4358"/>
                <a:gd name="connsiteY2" fmla="*/ 4303 h 6540"/>
                <a:gd name="connsiteX3" fmla="*/ -2375 w 4358"/>
                <a:gd name="connsiteY3" fmla="*/ 7573 h 6540"/>
                <a:gd name="connsiteX4" fmla="*/ -4554 w 4358"/>
                <a:gd name="connsiteY4" fmla="*/ 4303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6540">
                  <a:moveTo>
                    <a:pt x="-4554" y="4303"/>
                  </a:moveTo>
                  <a:cubicBezTo>
                    <a:pt x="-4554" y="2559"/>
                    <a:pt x="-3464" y="1033"/>
                    <a:pt x="-2375" y="1033"/>
                  </a:cubicBezTo>
                  <a:cubicBezTo>
                    <a:pt x="-1067" y="1033"/>
                    <a:pt x="-196" y="2559"/>
                    <a:pt x="-196" y="4303"/>
                  </a:cubicBezTo>
                  <a:cubicBezTo>
                    <a:pt x="-196" y="6047"/>
                    <a:pt x="-1067" y="7573"/>
                    <a:pt x="-2375" y="7573"/>
                  </a:cubicBezTo>
                  <a:cubicBezTo>
                    <a:pt x="-3464" y="7573"/>
                    <a:pt x="-4554" y="6047"/>
                    <a:pt x="-4554" y="4303"/>
                  </a:cubicBezTo>
                  <a:close/>
                </a:path>
              </a:pathLst>
            </a:custGeom>
            <a:grpFill/>
            <a:ln w="218" cap="flat">
              <a:noFill/>
              <a:prstDash val="solid"/>
              <a:miter/>
            </a:ln>
          </p:spPr>
          <p:txBody>
            <a:bodyPr rtlCol="0" anchor="ctr"/>
            <a:lstStyle/>
            <a:p>
              <a:endParaRPr lang="en-GB" dirty="0"/>
            </a:p>
          </p:txBody>
        </p:sp>
        <p:sp>
          <p:nvSpPr>
            <p:cNvPr id="136" name="Freihandform: Form 135">
              <a:extLst>
                <a:ext uri="{FF2B5EF4-FFF2-40B4-BE49-F238E27FC236}">
                  <a16:creationId xmlns:a16="http://schemas.microsoft.com/office/drawing/2014/main" xmlns="" id="{F699F552-C015-4A3A-8E18-D3E363D5E089}"/>
                </a:ext>
              </a:extLst>
            </p:cNvPr>
            <p:cNvSpPr/>
            <p:nvPr/>
          </p:nvSpPr>
          <p:spPr>
            <a:xfrm flipV="1">
              <a:off x="4622518" y="5504574"/>
              <a:ext cx="16732" cy="34690"/>
            </a:xfrm>
            <a:custGeom>
              <a:avLst/>
              <a:gdLst>
                <a:gd name="connsiteX0" fmla="*/ 707 w 16732"/>
                <a:gd name="connsiteY0" fmla="*/ 26213 h 34690"/>
                <a:gd name="connsiteX1" fmla="*/ -818 w 16732"/>
                <a:gd name="connsiteY1" fmla="*/ 12915 h 34690"/>
                <a:gd name="connsiteX2" fmla="*/ 2886 w 16732"/>
                <a:gd name="connsiteY2" fmla="*/ 5066 h 34690"/>
                <a:gd name="connsiteX3" fmla="*/ 10295 w 16732"/>
                <a:gd name="connsiteY3" fmla="*/ 4848 h 34690"/>
                <a:gd name="connsiteX4" fmla="*/ 9423 w 16732"/>
                <a:gd name="connsiteY4" fmla="*/ 12915 h 34690"/>
                <a:gd name="connsiteX5" fmla="*/ 5065 w 16732"/>
                <a:gd name="connsiteY5" fmla="*/ 16839 h 34690"/>
                <a:gd name="connsiteX6" fmla="*/ 9423 w 16732"/>
                <a:gd name="connsiteY6" fmla="*/ 24251 h 34690"/>
                <a:gd name="connsiteX7" fmla="*/ 9641 w 16732"/>
                <a:gd name="connsiteY7" fmla="*/ 35805 h 34690"/>
                <a:gd name="connsiteX8" fmla="*/ 707 w 16732"/>
                <a:gd name="connsiteY8" fmla="*/ 26213 h 3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32" h="34690">
                  <a:moveTo>
                    <a:pt x="707" y="26213"/>
                  </a:moveTo>
                  <a:cubicBezTo>
                    <a:pt x="-4087" y="17275"/>
                    <a:pt x="-4305" y="16403"/>
                    <a:pt x="-818" y="12915"/>
                  </a:cubicBezTo>
                  <a:cubicBezTo>
                    <a:pt x="1143" y="10953"/>
                    <a:pt x="2886" y="7464"/>
                    <a:pt x="2886" y="5066"/>
                  </a:cubicBezTo>
                  <a:cubicBezTo>
                    <a:pt x="2886" y="-166"/>
                    <a:pt x="5501" y="-166"/>
                    <a:pt x="10295" y="4848"/>
                  </a:cubicBezTo>
                  <a:cubicBezTo>
                    <a:pt x="13563" y="8772"/>
                    <a:pt x="13563" y="9208"/>
                    <a:pt x="9423" y="12915"/>
                  </a:cubicBezTo>
                  <a:lnTo>
                    <a:pt x="5065" y="16839"/>
                  </a:lnTo>
                  <a:lnTo>
                    <a:pt x="9423" y="24251"/>
                  </a:lnTo>
                  <a:cubicBezTo>
                    <a:pt x="14871" y="33407"/>
                    <a:pt x="14871" y="35805"/>
                    <a:pt x="9641" y="35805"/>
                  </a:cubicBezTo>
                  <a:cubicBezTo>
                    <a:pt x="7244" y="35805"/>
                    <a:pt x="3758" y="32317"/>
                    <a:pt x="707" y="26213"/>
                  </a:cubicBezTo>
                  <a:close/>
                </a:path>
              </a:pathLst>
            </a:custGeom>
            <a:grpFill/>
            <a:ln w="218" cap="flat">
              <a:noFill/>
              <a:prstDash val="solid"/>
              <a:miter/>
            </a:ln>
          </p:spPr>
          <p:txBody>
            <a:bodyPr rtlCol="0" anchor="ctr"/>
            <a:lstStyle/>
            <a:p>
              <a:endParaRPr lang="en-GB" dirty="0"/>
            </a:p>
          </p:txBody>
        </p:sp>
        <p:sp>
          <p:nvSpPr>
            <p:cNvPr id="137" name="Freihandform: Form 136">
              <a:extLst>
                <a:ext uri="{FF2B5EF4-FFF2-40B4-BE49-F238E27FC236}">
                  <a16:creationId xmlns:a16="http://schemas.microsoft.com/office/drawing/2014/main" xmlns="" id="{EFBE4FF3-DEA8-425A-9787-82394DE7544C}"/>
                </a:ext>
              </a:extLst>
            </p:cNvPr>
            <p:cNvSpPr/>
            <p:nvPr/>
          </p:nvSpPr>
          <p:spPr>
            <a:xfrm flipV="1">
              <a:off x="4583506" y="5509160"/>
              <a:ext cx="32328" cy="23703"/>
            </a:xfrm>
            <a:custGeom>
              <a:avLst/>
              <a:gdLst>
                <a:gd name="connsiteX0" fmla="*/ -2426 w 32328"/>
                <a:gd name="connsiteY0" fmla="*/ 14794 h 23703"/>
                <a:gd name="connsiteX1" fmla="*/ -29 w 32328"/>
                <a:gd name="connsiteY1" fmla="*/ 2803 h 23703"/>
                <a:gd name="connsiteX2" fmla="*/ 9341 w 32328"/>
                <a:gd name="connsiteY2" fmla="*/ 3021 h 23703"/>
                <a:gd name="connsiteX3" fmla="*/ 19801 w 32328"/>
                <a:gd name="connsiteY3" fmla="*/ 6945 h 23703"/>
                <a:gd name="connsiteX4" fmla="*/ 29171 w 32328"/>
                <a:gd name="connsiteY4" fmla="*/ 12178 h 23703"/>
                <a:gd name="connsiteX5" fmla="*/ 27863 w 32328"/>
                <a:gd name="connsiteY5" fmla="*/ 18500 h 23703"/>
                <a:gd name="connsiteX6" fmla="*/ 24377 w 32328"/>
                <a:gd name="connsiteY6" fmla="*/ 20898 h 23703"/>
                <a:gd name="connsiteX7" fmla="*/ 3676 w 32328"/>
                <a:gd name="connsiteY7" fmla="*/ 20898 h 23703"/>
                <a:gd name="connsiteX8" fmla="*/ -2426 w 32328"/>
                <a:gd name="connsiteY8" fmla="*/ 14794 h 23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28" h="23703">
                  <a:moveTo>
                    <a:pt x="-2426" y="14794"/>
                  </a:moveTo>
                  <a:cubicBezTo>
                    <a:pt x="-1772" y="8907"/>
                    <a:pt x="-683" y="3675"/>
                    <a:pt x="-29" y="2803"/>
                  </a:cubicBezTo>
                  <a:cubicBezTo>
                    <a:pt x="1279" y="405"/>
                    <a:pt x="9341" y="623"/>
                    <a:pt x="9341" y="3021"/>
                  </a:cubicBezTo>
                  <a:cubicBezTo>
                    <a:pt x="9341" y="4111"/>
                    <a:pt x="13917" y="5855"/>
                    <a:pt x="19801" y="6945"/>
                  </a:cubicBezTo>
                  <a:cubicBezTo>
                    <a:pt x="26992" y="8253"/>
                    <a:pt x="29824" y="9779"/>
                    <a:pt x="29171" y="12178"/>
                  </a:cubicBezTo>
                  <a:cubicBezTo>
                    <a:pt x="28735" y="13704"/>
                    <a:pt x="28299" y="16756"/>
                    <a:pt x="27863" y="18500"/>
                  </a:cubicBezTo>
                  <a:cubicBezTo>
                    <a:pt x="27645" y="20244"/>
                    <a:pt x="25902" y="21334"/>
                    <a:pt x="24377" y="20898"/>
                  </a:cubicBezTo>
                  <a:cubicBezTo>
                    <a:pt x="9559" y="16974"/>
                    <a:pt x="7380" y="16974"/>
                    <a:pt x="3676" y="20898"/>
                  </a:cubicBezTo>
                  <a:cubicBezTo>
                    <a:pt x="-2426" y="27656"/>
                    <a:pt x="-4169" y="25694"/>
                    <a:pt x="-2426" y="14794"/>
                  </a:cubicBezTo>
                  <a:close/>
                </a:path>
              </a:pathLst>
            </a:custGeom>
            <a:grpFill/>
            <a:ln w="218" cap="flat">
              <a:noFill/>
              <a:prstDash val="solid"/>
              <a:miter/>
            </a:ln>
          </p:spPr>
          <p:txBody>
            <a:bodyPr rtlCol="0" anchor="ctr"/>
            <a:lstStyle/>
            <a:p>
              <a:endParaRPr lang="en-GB" dirty="0"/>
            </a:p>
          </p:txBody>
        </p:sp>
        <p:sp>
          <p:nvSpPr>
            <p:cNvPr id="138" name="Freihandform: Form 137">
              <a:extLst>
                <a:ext uri="{FF2B5EF4-FFF2-40B4-BE49-F238E27FC236}">
                  <a16:creationId xmlns:a16="http://schemas.microsoft.com/office/drawing/2014/main" xmlns="" id="{A6379A88-3162-40E2-BDAE-26F7ED86BC84}"/>
                </a:ext>
              </a:extLst>
            </p:cNvPr>
            <p:cNvSpPr/>
            <p:nvPr/>
          </p:nvSpPr>
          <p:spPr>
            <a:xfrm flipV="1">
              <a:off x="4163060" y="5511114"/>
              <a:ext cx="3575" cy="4360"/>
            </a:xfrm>
            <a:custGeom>
              <a:avLst/>
              <a:gdLst>
                <a:gd name="connsiteX0" fmla="*/ -963 w 3575"/>
                <a:gd name="connsiteY0" fmla="*/ 3251 h 4360"/>
                <a:gd name="connsiteX1" fmla="*/ 1434 w 3575"/>
                <a:gd name="connsiteY1" fmla="*/ 1071 h 4360"/>
                <a:gd name="connsiteX2" fmla="*/ 2305 w 3575"/>
                <a:gd name="connsiteY2" fmla="*/ 3251 h 4360"/>
                <a:gd name="connsiteX3" fmla="*/ -92 w 3575"/>
                <a:gd name="connsiteY3" fmla="*/ 5431 h 4360"/>
                <a:gd name="connsiteX4" fmla="*/ -963 w 3575"/>
                <a:gd name="connsiteY4" fmla="*/ 3251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963" y="3251"/>
                  </a:moveTo>
                  <a:cubicBezTo>
                    <a:pt x="-310" y="2161"/>
                    <a:pt x="780" y="1071"/>
                    <a:pt x="1434" y="1071"/>
                  </a:cubicBezTo>
                  <a:cubicBezTo>
                    <a:pt x="1869" y="1071"/>
                    <a:pt x="2305" y="2161"/>
                    <a:pt x="2305" y="3251"/>
                  </a:cubicBezTo>
                  <a:cubicBezTo>
                    <a:pt x="2305" y="4559"/>
                    <a:pt x="1216" y="5431"/>
                    <a:pt x="-92" y="5431"/>
                  </a:cubicBezTo>
                  <a:cubicBezTo>
                    <a:pt x="-1181" y="5431"/>
                    <a:pt x="-1617" y="4559"/>
                    <a:pt x="-963" y="3251"/>
                  </a:cubicBezTo>
                  <a:close/>
                </a:path>
              </a:pathLst>
            </a:custGeom>
            <a:grpFill/>
            <a:ln w="218" cap="flat">
              <a:noFill/>
              <a:prstDash val="solid"/>
              <a:miter/>
            </a:ln>
          </p:spPr>
          <p:txBody>
            <a:bodyPr rtlCol="0" anchor="ctr"/>
            <a:lstStyle/>
            <a:p>
              <a:endParaRPr lang="en-GB" dirty="0"/>
            </a:p>
          </p:txBody>
        </p:sp>
        <p:sp>
          <p:nvSpPr>
            <p:cNvPr id="139" name="Freihandform: Form 138">
              <a:extLst>
                <a:ext uri="{FF2B5EF4-FFF2-40B4-BE49-F238E27FC236}">
                  <a16:creationId xmlns:a16="http://schemas.microsoft.com/office/drawing/2014/main" xmlns="" id="{852AEA6E-3014-4D0E-B998-754CCDD4E1DB}"/>
                </a:ext>
              </a:extLst>
            </p:cNvPr>
            <p:cNvSpPr/>
            <p:nvPr/>
          </p:nvSpPr>
          <p:spPr>
            <a:xfrm flipV="1">
              <a:off x="4519897" y="5514548"/>
              <a:ext cx="45374" cy="18232"/>
            </a:xfrm>
            <a:custGeom>
              <a:avLst/>
              <a:gdLst>
                <a:gd name="connsiteX0" fmla="*/ -684 w 45374"/>
                <a:gd name="connsiteY0" fmla="*/ 16903 h 18232"/>
                <a:gd name="connsiteX1" fmla="*/ 623 w 45374"/>
                <a:gd name="connsiteY1" fmla="*/ 9491 h 18232"/>
                <a:gd name="connsiteX2" fmla="*/ 8686 w 45374"/>
                <a:gd name="connsiteY2" fmla="*/ 7310 h 18232"/>
                <a:gd name="connsiteX3" fmla="*/ 14351 w 45374"/>
                <a:gd name="connsiteY3" fmla="*/ 5566 h 18232"/>
                <a:gd name="connsiteX4" fmla="*/ 27426 w 45374"/>
                <a:gd name="connsiteY4" fmla="*/ 4258 h 18232"/>
                <a:gd name="connsiteX5" fmla="*/ 33091 w 45374"/>
                <a:gd name="connsiteY5" fmla="*/ 6656 h 18232"/>
                <a:gd name="connsiteX6" fmla="*/ 39628 w 45374"/>
                <a:gd name="connsiteY6" fmla="*/ 9927 h 18232"/>
                <a:gd name="connsiteX7" fmla="*/ 39411 w 45374"/>
                <a:gd name="connsiteY7" fmla="*/ 16903 h 18232"/>
                <a:gd name="connsiteX8" fmla="*/ -684 w 45374"/>
                <a:gd name="connsiteY8" fmla="*/ 16903 h 18232"/>
                <a:gd name="connsiteX9" fmla="*/ 23068 w 45374"/>
                <a:gd name="connsiteY9" fmla="*/ 5348 h 18232"/>
                <a:gd name="connsiteX10" fmla="*/ 20888 w 45374"/>
                <a:gd name="connsiteY10" fmla="*/ 3168 h 18232"/>
                <a:gd name="connsiteX11" fmla="*/ 18709 w 45374"/>
                <a:gd name="connsiteY11" fmla="*/ 5348 h 18232"/>
                <a:gd name="connsiteX12" fmla="*/ 20888 w 45374"/>
                <a:gd name="connsiteY12" fmla="*/ 7528 h 18232"/>
                <a:gd name="connsiteX13" fmla="*/ 23068 w 45374"/>
                <a:gd name="connsiteY13" fmla="*/ 5348 h 1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374" h="18232">
                  <a:moveTo>
                    <a:pt x="-684" y="16903"/>
                  </a:moveTo>
                  <a:cubicBezTo>
                    <a:pt x="-3735" y="14505"/>
                    <a:pt x="-3735" y="13851"/>
                    <a:pt x="623" y="9491"/>
                  </a:cubicBezTo>
                  <a:cubicBezTo>
                    <a:pt x="4545" y="5566"/>
                    <a:pt x="6071" y="5130"/>
                    <a:pt x="8686" y="7310"/>
                  </a:cubicBezTo>
                  <a:cubicBezTo>
                    <a:pt x="11301" y="9491"/>
                    <a:pt x="12390" y="9273"/>
                    <a:pt x="14351" y="5566"/>
                  </a:cubicBezTo>
                  <a:cubicBezTo>
                    <a:pt x="17184" y="116"/>
                    <a:pt x="23503" y="-320"/>
                    <a:pt x="27426" y="4258"/>
                  </a:cubicBezTo>
                  <a:cubicBezTo>
                    <a:pt x="28951" y="6220"/>
                    <a:pt x="31566" y="7310"/>
                    <a:pt x="33091" y="6656"/>
                  </a:cubicBezTo>
                  <a:cubicBezTo>
                    <a:pt x="34617" y="6220"/>
                    <a:pt x="37449" y="7528"/>
                    <a:pt x="39628" y="9927"/>
                  </a:cubicBezTo>
                  <a:cubicBezTo>
                    <a:pt x="43551" y="14287"/>
                    <a:pt x="43551" y="14505"/>
                    <a:pt x="39411" y="16903"/>
                  </a:cubicBezTo>
                  <a:cubicBezTo>
                    <a:pt x="33527" y="20173"/>
                    <a:pt x="3674" y="20173"/>
                    <a:pt x="-684" y="16903"/>
                  </a:cubicBezTo>
                  <a:close/>
                  <a:moveTo>
                    <a:pt x="23068" y="5348"/>
                  </a:moveTo>
                  <a:cubicBezTo>
                    <a:pt x="23068" y="4258"/>
                    <a:pt x="22196" y="3168"/>
                    <a:pt x="20888" y="3168"/>
                  </a:cubicBezTo>
                  <a:cubicBezTo>
                    <a:pt x="19799" y="3168"/>
                    <a:pt x="18709" y="4258"/>
                    <a:pt x="18709" y="5348"/>
                  </a:cubicBezTo>
                  <a:cubicBezTo>
                    <a:pt x="18709" y="6656"/>
                    <a:pt x="19799" y="7528"/>
                    <a:pt x="20888" y="7528"/>
                  </a:cubicBezTo>
                  <a:cubicBezTo>
                    <a:pt x="22196" y="7528"/>
                    <a:pt x="23068" y="6656"/>
                    <a:pt x="23068" y="5348"/>
                  </a:cubicBezTo>
                  <a:close/>
                </a:path>
              </a:pathLst>
            </a:custGeom>
            <a:grpFill/>
            <a:ln w="218" cap="flat">
              <a:noFill/>
              <a:prstDash val="solid"/>
              <a:miter/>
            </a:ln>
          </p:spPr>
          <p:txBody>
            <a:bodyPr rtlCol="0" anchor="ctr"/>
            <a:lstStyle/>
            <a:p>
              <a:endParaRPr lang="en-GB" dirty="0"/>
            </a:p>
          </p:txBody>
        </p:sp>
        <p:sp>
          <p:nvSpPr>
            <p:cNvPr id="140" name="Freihandform: Form 139">
              <a:extLst>
                <a:ext uri="{FF2B5EF4-FFF2-40B4-BE49-F238E27FC236}">
                  <a16:creationId xmlns:a16="http://schemas.microsoft.com/office/drawing/2014/main" xmlns="" id="{FDAB37B4-B870-42AF-9E91-0465C6C8C411}"/>
                </a:ext>
              </a:extLst>
            </p:cNvPr>
            <p:cNvSpPr/>
            <p:nvPr/>
          </p:nvSpPr>
          <p:spPr>
            <a:xfrm flipV="1">
              <a:off x="4568368" y="5515474"/>
              <a:ext cx="3575" cy="4360"/>
            </a:xfrm>
            <a:custGeom>
              <a:avLst/>
              <a:gdLst>
                <a:gd name="connsiteX0" fmla="*/ -2637 w 3575"/>
                <a:gd name="connsiteY0" fmla="*/ 3273 h 4360"/>
                <a:gd name="connsiteX1" fmla="*/ -240 w 3575"/>
                <a:gd name="connsiteY1" fmla="*/ 1093 h 4360"/>
                <a:gd name="connsiteX2" fmla="*/ 631 w 3575"/>
                <a:gd name="connsiteY2" fmla="*/ 3273 h 4360"/>
                <a:gd name="connsiteX3" fmla="*/ -1766 w 3575"/>
                <a:gd name="connsiteY3" fmla="*/ 5453 h 4360"/>
                <a:gd name="connsiteX4" fmla="*/ -2637 w 3575"/>
                <a:gd name="connsiteY4" fmla="*/ 3273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2637" y="3273"/>
                  </a:moveTo>
                  <a:cubicBezTo>
                    <a:pt x="-1984" y="2183"/>
                    <a:pt x="-894" y="1093"/>
                    <a:pt x="-240" y="1093"/>
                  </a:cubicBezTo>
                  <a:cubicBezTo>
                    <a:pt x="195" y="1093"/>
                    <a:pt x="631" y="2183"/>
                    <a:pt x="631" y="3273"/>
                  </a:cubicBezTo>
                  <a:cubicBezTo>
                    <a:pt x="631" y="4581"/>
                    <a:pt x="-458" y="5453"/>
                    <a:pt x="-1766" y="5453"/>
                  </a:cubicBezTo>
                  <a:cubicBezTo>
                    <a:pt x="-2855" y="5453"/>
                    <a:pt x="-3291" y="4581"/>
                    <a:pt x="-2637" y="3273"/>
                  </a:cubicBezTo>
                  <a:close/>
                </a:path>
              </a:pathLst>
            </a:custGeom>
            <a:grpFill/>
            <a:ln w="218" cap="flat">
              <a:noFill/>
              <a:prstDash val="solid"/>
              <a:miter/>
            </a:ln>
          </p:spPr>
          <p:txBody>
            <a:bodyPr rtlCol="0" anchor="ctr"/>
            <a:lstStyle/>
            <a:p>
              <a:endParaRPr lang="en-GB" dirty="0"/>
            </a:p>
          </p:txBody>
        </p:sp>
        <p:sp>
          <p:nvSpPr>
            <p:cNvPr id="141" name="Freihandform: Form 140">
              <a:extLst>
                <a:ext uri="{FF2B5EF4-FFF2-40B4-BE49-F238E27FC236}">
                  <a16:creationId xmlns:a16="http://schemas.microsoft.com/office/drawing/2014/main" xmlns="" id="{EEE11EEE-5777-4BB4-9165-B78A807A9179}"/>
                </a:ext>
              </a:extLst>
            </p:cNvPr>
            <p:cNvSpPr/>
            <p:nvPr/>
          </p:nvSpPr>
          <p:spPr>
            <a:xfrm flipV="1">
              <a:off x="4267175" y="5519834"/>
              <a:ext cx="10005" cy="13122"/>
            </a:xfrm>
            <a:custGeom>
              <a:avLst/>
              <a:gdLst>
                <a:gd name="connsiteX0" fmla="*/ -1579 w 10005"/>
                <a:gd name="connsiteY0" fmla="*/ 9681 h 13122"/>
                <a:gd name="connsiteX1" fmla="*/ 8008 w 10005"/>
                <a:gd name="connsiteY1" fmla="*/ 1833 h 13122"/>
                <a:gd name="connsiteX2" fmla="*/ -54 w 10005"/>
                <a:gd name="connsiteY2" fmla="*/ 14259 h 13122"/>
                <a:gd name="connsiteX3" fmla="*/ -1579 w 10005"/>
                <a:gd name="connsiteY3" fmla="*/ 9681 h 13122"/>
              </a:gdLst>
              <a:ahLst/>
              <a:cxnLst>
                <a:cxn ang="0">
                  <a:pos x="connsiteX0" y="connsiteY0"/>
                </a:cxn>
                <a:cxn ang="0">
                  <a:pos x="connsiteX1" y="connsiteY1"/>
                </a:cxn>
                <a:cxn ang="0">
                  <a:pos x="connsiteX2" y="connsiteY2"/>
                </a:cxn>
                <a:cxn ang="0">
                  <a:pos x="connsiteX3" y="connsiteY3"/>
                </a:cxn>
              </a:cxnLst>
              <a:rect l="l" t="t" r="r" b="b"/>
              <a:pathLst>
                <a:path w="10005" h="13122">
                  <a:moveTo>
                    <a:pt x="-1579" y="9681"/>
                  </a:moveTo>
                  <a:cubicBezTo>
                    <a:pt x="-926" y="4449"/>
                    <a:pt x="5611" y="-783"/>
                    <a:pt x="8008" y="1833"/>
                  </a:cubicBezTo>
                  <a:cubicBezTo>
                    <a:pt x="9752" y="3577"/>
                    <a:pt x="2997" y="14259"/>
                    <a:pt x="-54" y="14259"/>
                  </a:cubicBezTo>
                  <a:cubicBezTo>
                    <a:pt x="-1362" y="14259"/>
                    <a:pt x="-2015" y="12079"/>
                    <a:pt x="-1579" y="9681"/>
                  </a:cubicBezTo>
                  <a:close/>
                </a:path>
              </a:pathLst>
            </a:custGeom>
            <a:grpFill/>
            <a:ln w="218" cap="flat">
              <a:noFill/>
              <a:prstDash val="solid"/>
              <a:miter/>
            </a:ln>
          </p:spPr>
          <p:txBody>
            <a:bodyPr rtlCol="0" anchor="ctr"/>
            <a:lstStyle/>
            <a:p>
              <a:endParaRPr lang="en-GB" dirty="0"/>
            </a:p>
          </p:txBody>
        </p:sp>
        <p:sp>
          <p:nvSpPr>
            <p:cNvPr id="142" name="Freihandform: Form 141">
              <a:extLst>
                <a:ext uri="{FF2B5EF4-FFF2-40B4-BE49-F238E27FC236}">
                  <a16:creationId xmlns:a16="http://schemas.microsoft.com/office/drawing/2014/main" xmlns="" id="{F1B58688-5685-44E9-BBA7-0FA0DE466E07}"/>
                </a:ext>
              </a:extLst>
            </p:cNvPr>
            <p:cNvSpPr/>
            <p:nvPr/>
          </p:nvSpPr>
          <p:spPr>
            <a:xfrm flipV="1">
              <a:off x="4689898" y="5520149"/>
              <a:ext cx="14969" cy="17775"/>
            </a:xfrm>
            <a:custGeom>
              <a:avLst/>
              <a:gdLst>
                <a:gd name="connsiteX0" fmla="*/ -3319 w 14969"/>
                <a:gd name="connsiteY0" fmla="*/ 13573 h 17775"/>
                <a:gd name="connsiteX1" fmla="*/ 4526 w 14969"/>
                <a:gd name="connsiteY1" fmla="*/ 3544 h 17775"/>
                <a:gd name="connsiteX2" fmla="*/ 11499 w 14969"/>
                <a:gd name="connsiteY2" fmla="*/ 1582 h 17775"/>
                <a:gd name="connsiteX3" fmla="*/ 9756 w 14969"/>
                <a:gd name="connsiteY3" fmla="*/ 4416 h 17775"/>
                <a:gd name="connsiteX4" fmla="*/ 4744 w 14969"/>
                <a:gd name="connsiteY4" fmla="*/ 11393 h 17775"/>
                <a:gd name="connsiteX5" fmla="*/ -3319 w 14969"/>
                <a:gd name="connsiteY5" fmla="*/ 13573 h 1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69" h="17775">
                  <a:moveTo>
                    <a:pt x="-3319" y="13573"/>
                  </a:moveTo>
                  <a:cubicBezTo>
                    <a:pt x="-2883" y="9431"/>
                    <a:pt x="-486" y="6379"/>
                    <a:pt x="4526" y="3544"/>
                  </a:cubicBezTo>
                  <a:cubicBezTo>
                    <a:pt x="8230" y="1582"/>
                    <a:pt x="11499" y="492"/>
                    <a:pt x="11499" y="1582"/>
                  </a:cubicBezTo>
                  <a:cubicBezTo>
                    <a:pt x="11499" y="2672"/>
                    <a:pt x="10627" y="3980"/>
                    <a:pt x="9756" y="4416"/>
                  </a:cubicBezTo>
                  <a:cubicBezTo>
                    <a:pt x="8666" y="4852"/>
                    <a:pt x="6487" y="7905"/>
                    <a:pt x="4744" y="11393"/>
                  </a:cubicBezTo>
                  <a:cubicBezTo>
                    <a:pt x="604" y="20331"/>
                    <a:pt x="-4408" y="21639"/>
                    <a:pt x="-3319" y="13573"/>
                  </a:cubicBezTo>
                  <a:close/>
                </a:path>
              </a:pathLst>
            </a:custGeom>
            <a:grpFill/>
            <a:ln w="218" cap="flat">
              <a:noFill/>
              <a:prstDash val="solid"/>
              <a:miter/>
            </a:ln>
          </p:spPr>
          <p:txBody>
            <a:bodyPr rtlCol="0" anchor="ctr"/>
            <a:lstStyle/>
            <a:p>
              <a:endParaRPr lang="en-GB" dirty="0"/>
            </a:p>
          </p:txBody>
        </p:sp>
        <p:sp>
          <p:nvSpPr>
            <p:cNvPr id="143" name="Freihandform: Form 142">
              <a:extLst>
                <a:ext uri="{FF2B5EF4-FFF2-40B4-BE49-F238E27FC236}">
                  <a16:creationId xmlns:a16="http://schemas.microsoft.com/office/drawing/2014/main" xmlns="" id="{38D968F7-17A8-49CE-A7C0-A06594C6DD33}"/>
                </a:ext>
              </a:extLst>
            </p:cNvPr>
            <p:cNvSpPr/>
            <p:nvPr/>
          </p:nvSpPr>
          <p:spPr>
            <a:xfrm flipV="1">
              <a:off x="4716635" y="5522014"/>
              <a:ext cx="5664" cy="4360"/>
            </a:xfrm>
            <a:custGeom>
              <a:avLst/>
              <a:gdLst>
                <a:gd name="connsiteX0" fmla="*/ -3344 w 5664"/>
                <a:gd name="connsiteY0" fmla="*/ 3306 h 4360"/>
                <a:gd name="connsiteX1" fmla="*/ -1383 w 5664"/>
                <a:gd name="connsiteY1" fmla="*/ 1126 h 4360"/>
                <a:gd name="connsiteX2" fmla="*/ 2103 w 5664"/>
                <a:gd name="connsiteY2" fmla="*/ 3306 h 4360"/>
                <a:gd name="connsiteX3" fmla="*/ 142 w 5664"/>
                <a:gd name="connsiteY3" fmla="*/ 5486 h 4360"/>
                <a:gd name="connsiteX4" fmla="*/ -3344 w 5664"/>
                <a:gd name="connsiteY4" fmla="*/ 3306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 h="4360">
                  <a:moveTo>
                    <a:pt x="-3344" y="3306"/>
                  </a:moveTo>
                  <a:cubicBezTo>
                    <a:pt x="-3998" y="2216"/>
                    <a:pt x="-3126" y="1126"/>
                    <a:pt x="-1383" y="1126"/>
                  </a:cubicBezTo>
                  <a:cubicBezTo>
                    <a:pt x="578" y="1126"/>
                    <a:pt x="2103" y="2216"/>
                    <a:pt x="2103" y="3306"/>
                  </a:cubicBezTo>
                  <a:cubicBezTo>
                    <a:pt x="2103" y="4614"/>
                    <a:pt x="1232" y="5486"/>
                    <a:pt x="142" y="5486"/>
                  </a:cubicBezTo>
                  <a:cubicBezTo>
                    <a:pt x="-1165" y="5486"/>
                    <a:pt x="-2691" y="4614"/>
                    <a:pt x="-3344" y="3306"/>
                  </a:cubicBezTo>
                  <a:close/>
                </a:path>
              </a:pathLst>
            </a:custGeom>
            <a:grpFill/>
            <a:ln w="218" cap="flat">
              <a:noFill/>
              <a:prstDash val="solid"/>
              <a:miter/>
            </a:ln>
          </p:spPr>
          <p:txBody>
            <a:bodyPr rtlCol="0" anchor="ctr"/>
            <a:lstStyle/>
            <a:p>
              <a:endParaRPr lang="en-GB" dirty="0"/>
            </a:p>
          </p:txBody>
        </p:sp>
        <p:sp>
          <p:nvSpPr>
            <p:cNvPr id="144" name="Freihandform: Form 143">
              <a:extLst>
                <a:ext uri="{FF2B5EF4-FFF2-40B4-BE49-F238E27FC236}">
                  <a16:creationId xmlns:a16="http://schemas.microsoft.com/office/drawing/2014/main" xmlns="" id="{C897778E-F81D-4743-9BEA-ADCF333A6DB8}"/>
                </a:ext>
              </a:extLst>
            </p:cNvPr>
            <p:cNvSpPr/>
            <p:nvPr/>
          </p:nvSpPr>
          <p:spPr>
            <a:xfrm flipV="1">
              <a:off x="4973894" y="5522230"/>
              <a:ext cx="9022" cy="10684"/>
            </a:xfrm>
            <a:custGeom>
              <a:avLst/>
              <a:gdLst>
                <a:gd name="connsiteX0" fmla="*/ -4324 w 9022"/>
                <a:gd name="connsiteY0" fmla="*/ 8337 h 10684"/>
                <a:gd name="connsiteX1" fmla="*/ 1342 w 9022"/>
                <a:gd name="connsiteY1" fmla="*/ 1143 h 10684"/>
                <a:gd name="connsiteX2" fmla="*/ 3085 w 9022"/>
                <a:gd name="connsiteY2" fmla="*/ 8773 h 10684"/>
                <a:gd name="connsiteX3" fmla="*/ -4324 w 9022"/>
                <a:gd name="connsiteY3" fmla="*/ 8337 h 10684"/>
              </a:gdLst>
              <a:ahLst/>
              <a:cxnLst>
                <a:cxn ang="0">
                  <a:pos x="connsiteX0" y="connsiteY0"/>
                </a:cxn>
                <a:cxn ang="0">
                  <a:pos x="connsiteX1" y="connsiteY1"/>
                </a:cxn>
                <a:cxn ang="0">
                  <a:pos x="connsiteX2" y="connsiteY2"/>
                </a:cxn>
                <a:cxn ang="0">
                  <a:pos x="connsiteX3" y="connsiteY3"/>
                </a:cxn>
              </a:cxnLst>
              <a:rect l="l" t="t" r="r" b="b"/>
              <a:pathLst>
                <a:path w="9022" h="10684">
                  <a:moveTo>
                    <a:pt x="-4324" y="8337"/>
                  </a:moveTo>
                  <a:cubicBezTo>
                    <a:pt x="-5631" y="5067"/>
                    <a:pt x="-2580" y="1361"/>
                    <a:pt x="1342" y="1143"/>
                  </a:cubicBezTo>
                  <a:cubicBezTo>
                    <a:pt x="4393" y="1143"/>
                    <a:pt x="5482" y="5939"/>
                    <a:pt x="3085" y="8773"/>
                  </a:cubicBezTo>
                  <a:cubicBezTo>
                    <a:pt x="-401" y="12915"/>
                    <a:pt x="-2580" y="12915"/>
                    <a:pt x="-4324" y="8337"/>
                  </a:cubicBezTo>
                  <a:close/>
                </a:path>
              </a:pathLst>
            </a:custGeom>
            <a:grpFill/>
            <a:ln w="218" cap="flat">
              <a:noFill/>
              <a:prstDash val="solid"/>
              <a:miter/>
            </a:ln>
          </p:spPr>
          <p:txBody>
            <a:bodyPr rtlCol="0" anchor="ctr"/>
            <a:lstStyle/>
            <a:p>
              <a:endParaRPr lang="en-GB" dirty="0"/>
            </a:p>
          </p:txBody>
        </p:sp>
        <p:sp>
          <p:nvSpPr>
            <p:cNvPr id="145" name="Freihandform: Form 144">
              <a:extLst>
                <a:ext uri="{FF2B5EF4-FFF2-40B4-BE49-F238E27FC236}">
                  <a16:creationId xmlns:a16="http://schemas.microsoft.com/office/drawing/2014/main" xmlns="" id="{B6B262B0-EE27-400B-AF0A-DE4DB0E43E51}"/>
                </a:ext>
              </a:extLst>
            </p:cNvPr>
            <p:cNvSpPr/>
            <p:nvPr/>
          </p:nvSpPr>
          <p:spPr>
            <a:xfrm flipV="1">
              <a:off x="4806048" y="5524504"/>
              <a:ext cx="7503" cy="6194"/>
            </a:xfrm>
            <a:custGeom>
              <a:avLst/>
              <a:gdLst>
                <a:gd name="connsiteX0" fmla="*/ -3570 w 7503"/>
                <a:gd name="connsiteY0" fmla="*/ 4596 h 6194"/>
                <a:gd name="connsiteX1" fmla="*/ 3403 w 7503"/>
                <a:gd name="connsiteY1" fmla="*/ 3942 h 6194"/>
                <a:gd name="connsiteX2" fmla="*/ -1173 w 7503"/>
                <a:gd name="connsiteY2" fmla="*/ 7212 h 6194"/>
                <a:gd name="connsiteX3" fmla="*/ -3570 w 7503"/>
                <a:gd name="connsiteY3" fmla="*/ 4596 h 6194"/>
              </a:gdLst>
              <a:ahLst/>
              <a:cxnLst>
                <a:cxn ang="0">
                  <a:pos x="connsiteX0" y="connsiteY0"/>
                </a:cxn>
                <a:cxn ang="0">
                  <a:pos x="connsiteX1" y="connsiteY1"/>
                </a:cxn>
                <a:cxn ang="0">
                  <a:pos x="connsiteX2" y="connsiteY2"/>
                </a:cxn>
                <a:cxn ang="0">
                  <a:pos x="connsiteX3" y="connsiteY3"/>
                </a:cxn>
              </a:cxnLst>
              <a:rect l="l" t="t" r="r" b="b"/>
              <a:pathLst>
                <a:path w="7503" h="6194">
                  <a:moveTo>
                    <a:pt x="-3570" y="4596"/>
                  </a:moveTo>
                  <a:cubicBezTo>
                    <a:pt x="-2045" y="454"/>
                    <a:pt x="4710" y="-200"/>
                    <a:pt x="3403" y="3942"/>
                  </a:cubicBezTo>
                  <a:cubicBezTo>
                    <a:pt x="2749" y="5250"/>
                    <a:pt x="788" y="6776"/>
                    <a:pt x="-1173" y="7212"/>
                  </a:cubicBezTo>
                  <a:cubicBezTo>
                    <a:pt x="-3788" y="7648"/>
                    <a:pt x="-4442" y="6994"/>
                    <a:pt x="-3570" y="4596"/>
                  </a:cubicBezTo>
                  <a:close/>
                </a:path>
              </a:pathLst>
            </a:custGeom>
            <a:grpFill/>
            <a:ln w="218" cap="flat">
              <a:noFill/>
              <a:prstDash val="solid"/>
              <a:miter/>
            </a:ln>
          </p:spPr>
          <p:txBody>
            <a:bodyPr rtlCol="0" anchor="ctr"/>
            <a:lstStyle/>
            <a:p>
              <a:endParaRPr lang="en-GB" dirty="0"/>
            </a:p>
          </p:txBody>
        </p:sp>
        <p:sp>
          <p:nvSpPr>
            <p:cNvPr id="146" name="Freihandform: Form 145">
              <a:extLst>
                <a:ext uri="{FF2B5EF4-FFF2-40B4-BE49-F238E27FC236}">
                  <a16:creationId xmlns:a16="http://schemas.microsoft.com/office/drawing/2014/main" xmlns="" id="{9D55F363-2E0E-4CA1-AD66-887A61724279}"/>
                </a:ext>
              </a:extLst>
            </p:cNvPr>
            <p:cNvSpPr/>
            <p:nvPr/>
          </p:nvSpPr>
          <p:spPr>
            <a:xfrm flipV="1">
              <a:off x="4753102" y="5526420"/>
              <a:ext cx="14580" cy="10439"/>
            </a:xfrm>
            <a:custGeom>
              <a:avLst/>
              <a:gdLst>
                <a:gd name="connsiteX0" fmla="*/ -3372 w 14580"/>
                <a:gd name="connsiteY0" fmla="*/ 8160 h 10439"/>
                <a:gd name="connsiteX1" fmla="*/ 9266 w 14580"/>
                <a:gd name="connsiteY1" fmla="*/ 4236 h 10439"/>
                <a:gd name="connsiteX2" fmla="*/ 8831 w 14580"/>
                <a:gd name="connsiteY2" fmla="*/ 9686 h 10439"/>
                <a:gd name="connsiteX3" fmla="*/ -3372 w 14580"/>
                <a:gd name="connsiteY3" fmla="*/ 8160 h 10439"/>
              </a:gdLst>
              <a:ahLst/>
              <a:cxnLst>
                <a:cxn ang="0">
                  <a:pos x="connsiteX0" y="connsiteY0"/>
                </a:cxn>
                <a:cxn ang="0">
                  <a:pos x="connsiteX1" y="connsiteY1"/>
                </a:cxn>
                <a:cxn ang="0">
                  <a:pos x="connsiteX2" y="connsiteY2"/>
                </a:cxn>
                <a:cxn ang="0">
                  <a:pos x="connsiteX3" y="connsiteY3"/>
                </a:cxn>
              </a:cxnLst>
              <a:rect l="l" t="t" r="r" b="b"/>
              <a:pathLst>
                <a:path w="14580" h="10439">
                  <a:moveTo>
                    <a:pt x="-3372" y="8160"/>
                  </a:moveTo>
                  <a:cubicBezTo>
                    <a:pt x="-5769" y="1620"/>
                    <a:pt x="4473" y="-1651"/>
                    <a:pt x="9266" y="4236"/>
                  </a:cubicBezTo>
                  <a:cubicBezTo>
                    <a:pt x="11446" y="7070"/>
                    <a:pt x="11446" y="7942"/>
                    <a:pt x="8831" y="9686"/>
                  </a:cubicBezTo>
                  <a:cubicBezTo>
                    <a:pt x="4037" y="12738"/>
                    <a:pt x="-1847" y="12084"/>
                    <a:pt x="-3372" y="8160"/>
                  </a:cubicBezTo>
                  <a:close/>
                </a:path>
              </a:pathLst>
            </a:custGeom>
            <a:grpFill/>
            <a:ln w="218" cap="flat">
              <a:noFill/>
              <a:prstDash val="solid"/>
              <a:miter/>
            </a:ln>
          </p:spPr>
          <p:txBody>
            <a:bodyPr rtlCol="0" anchor="ctr"/>
            <a:lstStyle/>
            <a:p>
              <a:endParaRPr lang="en-GB" dirty="0"/>
            </a:p>
          </p:txBody>
        </p:sp>
        <p:sp>
          <p:nvSpPr>
            <p:cNvPr id="147" name="Freihandform: Form 146">
              <a:extLst>
                <a:ext uri="{FF2B5EF4-FFF2-40B4-BE49-F238E27FC236}">
                  <a16:creationId xmlns:a16="http://schemas.microsoft.com/office/drawing/2014/main" xmlns="" id="{F26106FE-33EE-4383-BA10-71A149287576}"/>
                </a:ext>
              </a:extLst>
            </p:cNvPr>
            <p:cNvSpPr/>
            <p:nvPr/>
          </p:nvSpPr>
          <p:spPr>
            <a:xfrm flipV="1">
              <a:off x="4929312" y="5528555"/>
              <a:ext cx="4358" cy="6540"/>
            </a:xfrm>
            <a:custGeom>
              <a:avLst/>
              <a:gdLst>
                <a:gd name="connsiteX0" fmla="*/ -4437 w 4358"/>
                <a:gd name="connsiteY0" fmla="*/ 4435 h 6540"/>
                <a:gd name="connsiteX1" fmla="*/ -2258 w 4358"/>
                <a:gd name="connsiteY1" fmla="*/ 1165 h 6540"/>
                <a:gd name="connsiteX2" fmla="*/ -79 w 4358"/>
                <a:gd name="connsiteY2" fmla="*/ 4435 h 6540"/>
                <a:gd name="connsiteX3" fmla="*/ -2258 w 4358"/>
                <a:gd name="connsiteY3" fmla="*/ 7705 h 6540"/>
                <a:gd name="connsiteX4" fmla="*/ -4437 w 4358"/>
                <a:gd name="connsiteY4" fmla="*/ 4435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6540">
                  <a:moveTo>
                    <a:pt x="-4437" y="4435"/>
                  </a:moveTo>
                  <a:cubicBezTo>
                    <a:pt x="-4437" y="2691"/>
                    <a:pt x="-3347" y="1165"/>
                    <a:pt x="-2258" y="1165"/>
                  </a:cubicBezTo>
                  <a:cubicBezTo>
                    <a:pt x="-950" y="1165"/>
                    <a:pt x="-79" y="2691"/>
                    <a:pt x="-79" y="4435"/>
                  </a:cubicBezTo>
                  <a:cubicBezTo>
                    <a:pt x="-79" y="6179"/>
                    <a:pt x="-950" y="7705"/>
                    <a:pt x="-2258" y="7705"/>
                  </a:cubicBezTo>
                  <a:cubicBezTo>
                    <a:pt x="-3347" y="7705"/>
                    <a:pt x="-4437" y="6179"/>
                    <a:pt x="-4437" y="4435"/>
                  </a:cubicBezTo>
                  <a:close/>
                </a:path>
              </a:pathLst>
            </a:custGeom>
            <a:grpFill/>
            <a:ln w="218" cap="flat">
              <a:noFill/>
              <a:prstDash val="solid"/>
              <a:miter/>
            </a:ln>
          </p:spPr>
          <p:txBody>
            <a:bodyPr rtlCol="0" anchor="ctr"/>
            <a:lstStyle/>
            <a:p>
              <a:endParaRPr lang="en-GB" dirty="0"/>
            </a:p>
          </p:txBody>
        </p:sp>
        <p:sp>
          <p:nvSpPr>
            <p:cNvPr id="148" name="Freihandform: Form 147">
              <a:extLst>
                <a:ext uri="{FF2B5EF4-FFF2-40B4-BE49-F238E27FC236}">
                  <a16:creationId xmlns:a16="http://schemas.microsoft.com/office/drawing/2014/main" xmlns="" id="{994147A4-06E7-4457-861C-A57CDEAF8516}"/>
                </a:ext>
              </a:extLst>
            </p:cNvPr>
            <p:cNvSpPr/>
            <p:nvPr/>
          </p:nvSpPr>
          <p:spPr>
            <a:xfrm flipV="1">
              <a:off x="4556690" y="5532915"/>
              <a:ext cx="3357" cy="6540"/>
            </a:xfrm>
            <a:custGeom>
              <a:avLst/>
              <a:gdLst>
                <a:gd name="connsiteX0" fmla="*/ -2896 w 3357"/>
                <a:gd name="connsiteY0" fmla="*/ 4457 h 6540"/>
                <a:gd name="connsiteX1" fmla="*/ -2024 w 3357"/>
                <a:gd name="connsiteY1" fmla="*/ 1187 h 6540"/>
                <a:gd name="connsiteX2" fmla="*/ 155 w 3357"/>
                <a:gd name="connsiteY2" fmla="*/ 4457 h 6540"/>
                <a:gd name="connsiteX3" fmla="*/ -717 w 3357"/>
                <a:gd name="connsiteY3" fmla="*/ 7727 h 6540"/>
                <a:gd name="connsiteX4" fmla="*/ -2896 w 3357"/>
                <a:gd name="connsiteY4" fmla="*/ 4457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7" h="6540">
                  <a:moveTo>
                    <a:pt x="-2896" y="4457"/>
                  </a:moveTo>
                  <a:cubicBezTo>
                    <a:pt x="-2896" y="2713"/>
                    <a:pt x="-2460" y="1187"/>
                    <a:pt x="-2024" y="1187"/>
                  </a:cubicBezTo>
                  <a:cubicBezTo>
                    <a:pt x="-1588" y="1187"/>
                    <a:pt x="-717" y="2713"/>
                    <a:pt x="155" y="4457"/>
                  </a:cubicBezTo>
                  <a:cubicBezTo>
                    <a:pt x="808" y="6201"/>
                    <a:pt x="373" y="7727"/>
                    <a:pt x="-717" y="7727"/>
                  </a:cubicBezTo>
                  <a:cubicBezTo>
                    <a:pt x="-2024" y="7727"/>
                    <a:pt x="-2896" y="6201"/>
                    <a:pt x="-2896" y="4457"/>
                  </a:cubicBezTo>
                  <a:close/>
                </a:path>
              </a:pathLst>
            </a:custGeom>
            <a:grpFill/>
            <a:ln w="218" cap="flat">
              <a:noFill/>
              <a:prstDash val="solid"/>
              <a:miter/>
            </a:ln>
          </p:spPr>
          <p:txBody>
            <a:bodyPr rtlCol="0" anchor="ctr"/>
            <a:lstStyle/>
            <a:p>
              <a:endParaRPr lang="en-GB" dirty="0"/>
            </a:p>
          </p:txBody>
        </p:sp>
        <p:sp>
          <p:nvSpPr>
            <p:cNvPr id="149" name="Freihandform: Form 148">
              <a:extLst>
                <a:ext uri="{FF2B5EF4-FFF2-40B4-BE49-F238E27FC236}">
                  <a16:creationId xmlns:a16="http://schemas.microsoft.com/office/drawing/2014/main" xmlns="" id="{939E95E7-9786-476C-971E-F99912900050}"/>
                </a:ext>
              </a:extLst>
            </p:cNvPr>
            <p:cNvSpPr/>
            <p:nvPr/>
          </p:nvSpPr>
          <p:spPr>
            <a:xfrm flipV="1">
              <a:off x="4890956" y="5532927"/>
              <a:ext cx="5670" cy="6527"/>
            </a:xfrm>
            <a:custGeom>
              <a:avLst/>
              <a:gdLst>
                <a:gd name="connsiteX0" fmla="*/ -3623 w 5670"/>
                <a:gd name="connsiteY0" fmla="*/ 6419 h 6527"/>
                <a:gd name="connsiteX1" fmla="*/ -572 w 5670"/>
                <a:gd name="connsiteY1" fmla="*/ 1187 h 6527"/>
                <a:gd name="connsiteX2" fmla="*/ 1389 w 5670"/>
                <a:gd name="connsiteY2" fmla="*/ 4457 h 6527"/>
                <a:gd name="connsiteX3" fmla="*/ -3623 w 5670"/>
                <a:gd name="connsiteY3" fmla="*/ 6419 h 6527"/>
              </a:gdLst>
              <a:ahLst/>
              <a:cxnLst>
                <a:cxn ang="0">
                  <a:pos x="connsiteX0" y="connsiteY0"/>
                </a:cxn>
                <a:cxn ang="0">
                  <a:pos x="connsiteX1" y="connsiteY1"/>
                </a:cxn>
                <a:cxn ang="0">
                  <a:pos x="connsiteX2" y="connsiteY2"/>
                </a:cxn>
                <a:cxn ang="0">
                  <a:pos x="connsiteX3" y="connsiteY3"/>
                </a:cxn>
              </a:cxnLst>
              <a:rect l="l" t="t" r="r" b="b"/>
              <a:pathLst>
                <a:path w="5670" h="6527">
                  <a:moveTo>
                    <a:pt x="-3623" y="6419"/>
                  </a:moveTo>
                  <a:cubicBezTo>
                    <a:pt x="-5366" y="4675"/>
                    <a:pt x="-3405" y="1187"/>
                    <a:pt x="-572" y="1187"/>
                  </a:cubicBezTo>
                  <a:cubicBezTo>
                    <a:pt x="517" y="1187"/>
                    <a:pt x="1389" y="2713"/>
                    <a:pt x="1389" y="4457"/>
                  </a:cubicBezTo>
                  <a:cubicBezTo>
                    <a:pt x="1389" y="7727"/>
                    <a:pt x="-1226" y="8817"/>
                    <a:pt x="-3623" y="6419"/>
                  </a:cubicBezTo>
                  <a:close/>
                </a:path>
              </a:pathLst>
            </a:custGeom>
            <a:grpFill/>
            <a:ln w="218" cap="flat">
              <a:noFill/>
              <a:prstDash val="solid"/>
              <a:miter/>
            </a:ln>
          </p:spPr>
          <p:txBody>
            <a:bodyPr rtlCol="0" anchor="ctr"/>
            <a:lstStyle/>
            <a:p>
              <a:endParaRPr lang="en-GB" dirty="0"/>
            </a:p>
          </p:txBody>
        </p:sp>
        <p:sp>
          <p:nvSpPr>
            <p:cNvPr id="150" name="Freihandform: Form 149">
              <a:extLst>
                <a:ext uri="{FF2B5EF4-FFF2-40B4-BE49-F238E27FC236}">
                  <a16:creationId xmlns:a16="http://schemas.microsoft.com/office/drawing/2014/main" xmlns="" id="{231451B6-99B8-4F3C-A03F-5D58FB8D2B47}"/>
                </a:ext>
              </a:extLst>
            </p:cNvPr>
            <p:cNvSpPr/>
            <p:nvPr/>
          </p:nvSpPr>
          <p:spPr>
            <a:xfrm flipV="1">
              <a:off x="4388902" y="5249643"/>
              <a:ext cx="7961" cy="5311"/>
            </a:xfrm>
            <a:custGeom>
              <a:avLst/>
              <a:gdLst>
                <a:gd name="connsiteX0" fmla="*/ -34 w 7961"/>
                <a:gd name="connsiteY0" fmla="*/ 3023 h 5311"/>
                <a:gd name="connsiteX1" fmla="*/ -1995 w 7961"/>
                <a:gd name="connsiteY1" fmla="*/ -29 h 5311"/>
                <a:gd name="connsiteX2" fmla="*/ 3452 w 7961"/>
                <a:gd name="connsiteY2" fmla="*/ 1933 h 5311"/>
                <a:gd name="connsiteX3" fmla="*/ -34 w 7961"/>
                <a:gd name="connsiteY3" fmla="*/ 3023 h 5311"/>
              </a:gdLst>
              <a:ahLst/>
              <a:cxnLst>
                <a:cxn ang="0">
                  <a:pos x="connsiteX0" y="connsiteY0"/>
                </a:cxn>
                <a:cxn ang="0">
                  <a:pos x="connsiteX1" y="connsiteY1"/>
                </a:cxn>
                <a:cxn ang="0">
                  <a:pos x="connsiteX2" y="connsiteY2"/>
                </a:cxn>
                <a:cxn ang="0">
                  <a:pos x="connsiteX3" y="connsiteY3"/>
                </a:cxn>
              </a:cxnLst>
              <a:rect l="l" t="t" r="r" b="b"/>
              <a:pathLst>
                <a:path w="7961" h="5311">
                  <a:moveTo>
                    <a:pt x="-34" y="3023"/>
                  </a:moveTo>
                  <a:cubicBezTo>
                    <a:pt x="-1777" y="1933"/>
                    <a:pt x="-2649" y="625"/>
                    <a:pt x="-1995" y="-29"/>
                  </a:cubicBezTo>
                  <a:cubicBezTo>
                    <a:pt x="-1342" y="-683"/>
                    <a:pt x="1055" y="189"/>
                    <a:pt x="3452" y="1933"/>
                  </a:cubicBezTo>
                  <a:cubicBezTo>
                    <a:pt x="8028" y="5421"/>
                    <a:pt x="5196" y="6293"/>
                    <a:pt x="-34" y="3023"/>
                  </a:cubicBezTo>
                  <a:close/>
                </a:path>
              </a:pathLst>
            </a:custGeom>
            <a:grpFill/>
            <a:ln w="218" cap="flat">
              <a:noFill/>
              <a:prstDash val="solid"/>
              <a:miter/>
            </a:ln>
          </p:spPr>
          <p:txBody>
            <a:bodyPr rtlCol="0" anchor="ctr"/>
            <a:lstStyle/>
            <a:p>
              <a:endParaRPr lang="en-GB" dirty="0"/>
            </a:p>
          </p:txBody>
        </p:sp>
        <p:sp>
          <p:nvSpPr>
            <p:cNvPr id="151" name="Freihandform: Form 150">
              <a:extLst>
                <a:ext uri="{FF2B5EF4-FFF2-40B4-BE49-F238E27FC236}">
                  <a16:creationId xmlns:a16="http://schemas.microsoft.com/office/drawing/2014/main" xmlns="" id="{D8DE6E98-A583-4A4D-A541-970C3F5F9432}"/>
                </a:ext>
              </a:extLst>
            </p:cNvPr>
            <p:cNvSpPr/>
            <p:nvPr/>
          </p:nvSpPr>
          <p:spPr>
            <a:xfrm flipV="1">
              <a:off x="5308471" y="5262585"/>
              <a:ext cx="4358" cy="5667"/>
            </a:xfrm>
            <a:custGeom>
              <a:avLst/>
              <a:gdLst>
                <a:gd name="connsiteX0" fmla="*/ -6003 w 4358"/>
                <a:gd name="connsiteY0" fmla="*/ 3526 h 5667"/>
                <a:gd name="connsiteX1" fmla="*/ -3824 w 4358"/>
                <a:gd name="connsiteY1" fmla="*/ 37 h 5667"/>
                <a:gd name="connsiteX2" fmla="*/ -1645 w 4358"/>
                <a:gd name="connsiteY2" fmla="*/ 2000 h 5667"/>
                <a:gd name="connsiteX3" fmla="*/ -3824 w 4358"/>
                <a:gd name="connsiteY3" fmla="*/ 5488 h 5667"/>
                <a:gd name="connsiteX4" fmla="*/ -6003 w 4358"/>
                <a:gd name="connsiteY4" fmla="*/ 3526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6003" y="3526"/>
                  </a:moveTo>
                  <a:cubicBezTo>
                    <a:pt x="-6003" y="2218"/>
                    <a:pt x="-4913" y="691"/>
                    <a:pt x="-3824" y="37"/>
                  </a:cubicBezTo>
                  <a:cubicBezTo>
                    <a:pt x="-2516" y="-617"/>
                    <a:pt x="-1645" y="255"/>
                    <a:pt x="-1645" y="2000"/>
                  </a:cubicBezTo>
                  <a:cubicBezTo>
                    <a:pt x="-1645" y="3962"/>
                    <a:pt x="-2516" y="5488"/>
                    <a:pt x="-3824" y="5488"/>
                  </a:cubicBezTo>
                  <a:cubicBezTo>
                    <a:pt x="-4913" y="5488"/>
                    <a:pt x="-6003" y="4616"/>
                    <a:pt x="-6003" y="3526"/>
                  </a:cubicBezTo>
                  <a:close/>
                </a:path>
              </a:pathLst>
            </a:custGeom>
            <a:grpFill/>
            <a:ln w="218" cap="flat">
              <a:noFill/>
              <a:prstDash val="solid"/>
              <a:miter/>
            </a:ln>
          </p:spPr>
          <p:txBody>
            <a:bodyPr rtlCol="0" anchor="ctr"/>
            <a:lstStyle/>
            <a:p>
              <a:endParaRPr lang="en-GB" dirty="0"/>
            </a:p>
          </p:txBody>
        </p:sp>
        <p:sp>
          <p:nvSpPr>
            <p:cNvPr id="152" name="Freihandform: Form 151">
              <a:extLst>
                <a:ext uri="{FF2B5EF4-FFF2-40B4-BE49-F238E27FC236}">
                  <a16:creationId xmlns:a16="http://schemas.microsoft.com/office/drawing/2014/main" xmlns="" id="{9FCB360C-88D1-40FE-A9AC-098F7FEB6A23}"/>
                </a:ext>
              </a:extLst>
            </p:cNvPr>
            <p:cNvSpPr/>
            <p:nvPr/>
          </p:nvSpPr>
          <p:spPr>
            <a:xfrm flipV="1">
              <a:off x="4022817" y="5341113"/>
              <a:ext cx="3568" cy="5621"/>
            </a:xfrm>
            <a:custGeom>
              <a:avLst/>
              <a:gdLst>
                <a:gd name="connsiteX0" fmla="*/ -691 w 3568"/>
                <a:gd name="connsiteY0" fmla="*/ 2396 h 5621"/>
                <a:gd name="connsiteX1" fmla="*/ 1488 w 3568"/>
                <a:gd name="connsiteY1" fmla="*/ 434 h 5621"/>
                <a:gd name="connsiteX2" fmla="*/ 2577 w 3568"/>
                <a:gd name="connsiteY2" fmla="*/ 3922 h 5621"/>
                <a:gd name="connsiteX3" fmla="*/ -691 w 3568"/>
                <a:gd name="connsiteY3" fmla="*/ 2396 h 5621"/>
              </a:gdLst>
              <a:ahLst/>
              <a:cxnLst>
                <a:cxn ang="0">
                  <a:pos x="connsiteX0" y="connsiteY0"/>
                </a:cxn>
                <a:cxn ang="0">
                  <a:pos x="connsiteX1" y="connsiteY1"/>
                </a:cxn>
                <a:cxn ang="0">
                  <a:pos x="connsiteX2" y="connsiteY2"/>
                </a:cxn>
                <a:cxn ang="0">
                  <a:pos x="connsiteX3" y="connsiteY3"/>
                </a:cxn>
              </a:cxnLst>
              <a:rect l="l" t="t" r="r" b="b"/>
              <a:pathLst>
                <a:path w="3568" h="5621">
                  <a:moveTo>
                    <a:pt x="-691" y="2396"/>
                  </a:moveTo>
                  <a:cubicBezTo>
                    <a:pt x="-691" y="652"/>
                    <a:pt x="398" y="-220"/>
                    <a:pt x="1488" y="434"/>
                  </a:cubicBezTo>
                  <a:cubicBezTo>
                    <a:pt x="2795" y="1306"/>
                    <a:pt x="3231" y="2832"/>
                    <a:pt x="2577" y="3922"/>
                  </a:cubicBezTo>
                  <a:cubicBezTo>
                    <a:pt x="616" y="6974"/>
                    <a:pt x="-691" y="6320"/>
                    <a:pt x="-691" y="2396"/>
                  </a:cubicBezTo>
                  <a:close/>
                </a:path>
              </a:pathLst>
            </a:custGeom>
            <a:grpFill/>
            <a:ln w="218" cap="flat">
              <a:noFill/>
              <a:prstDash val="solid"/>
              <a:miter/>
            </a:ln>
          </p:spPr>
          <p:txBody>
            <a:bodyPr rtlCol="0" anchor="ctr"/>
            <a:lstStyle/>
            <a:p>
              <a:endParaRPr lang="en-GB" dirty="0"/>
            </a:p>
          </p:txBody>
        </p:sp>
        <p:sp>
          <p:nvSpPr>
            <p:cNvPr id="153" name="Freihandform: Form 152">
              <a:extLst>
                <a:ext uri="{FF2B5EF4-FFF2-40B4-BE49-F238E27FC236}">
                  <a16:creationId xmlns:a16="http://schemas.microsoft.com/office/drawing/2014/main" xmlns="" id="{EDA2CC88-764B-4D35-983D-D1B8FFEFB9CB}"/>
                </a:ext>
              </a:extLst>
            </p:cNvPr>
            <p:cNvSpPr/>
            <p:nvPr/>
          </p:nvSpPr>
          <p:spPr>
            <a:xfrm flipV="1">
              <a:off x="4273411" y="5323628"/>
              <a:ext cx="16594" cy="21800"/>
            </a:xfrm>
            <a:custGeom>
              <a:avLst/>
              <a:gdLst>
                <a:gd name="connsiteX0" fmla="*/ -1753 w 16594"/>
                <a:gd name="connsiteY0" fmla="*/ 16084 h 21800"/>
                <a:gd name="connsiteX1" fmla="*/ -10 w 16594"/>
                <a:gd name="connsiteY1" fmla="*/ 7581 h 21800"/>
                <a:gd name="connsiteX2" fmla="*/ 13500 w 16594"/>
                <a:gd name="connsiteY2" fmla="*/ 169 h 21800"/>
                <a:gd name="connsiteX3" fmla="*/ 6963 w 16594"/>
                <a:gd name="connsiteY3" fmla="*/ 9979 h 21800"/>
                <a:gd name="connsiteX4" fmla="*/ 2605 w 16594"/>
                <a:gd name="connsiteY4" fmla="*/ 16738 h 21800"/>
                <a:gd name="connsiteX5" fmla="*/ 426 w 16594"/>
                <a:gd name="connsiteY5" fmla="*/ 21970 h 21800"/>
                <a:gd name="connsiteX6" fmla="*/ -1753 w 16594"/>
                <a:gd name="connsiteY6" fmla="*/ 16084 h 2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94" h="21800">
                  <a:moveTo>
                    <a:pt x="-1753" y="16084"/>
                  </a:moveTo>
                  <a:cubicBezTo>
                    <a:pt x="-1753" y="12595"/>
                    <a:pt x="-882" y="8889"/>
                    <a:pt x="-10" y="7581"/>
                  </a:cubicBezTo>
                  <a:cubicBezTo>
                    <a:pt x="1733" y="4747"/>
                    <a:pt x="10014" y="169"/>
                    <a:pt x="13500" y="169"/>
                  </a:cubicBezTo>
                  <a:cubicBezTo>
                    <a:pt x="17423" y="169"/>
                    <a:pt x="11975" y="8453"/>
                    <a:pt x="6963" y="9979"/>
                  </a:cubicBezTo>
                  <a:cubicBezTo>
                    <a:pt x="4130" y="10851"/>
                    <a:pt x="2605" y="13249"/>
                    <a:pt x="2605" y="16738"/>
                  </a:cubicBezTo>
                  <a:cubicBezTo>
                    <a:pt x="2605" y="19572"/>
                    <a:pt x="1733" y="21970"/>
                    <a:pt x="426" y="21970"/>
                  </a:cubicBezTo>
                  <a:cubicBezTo>
                    <a:pt x="-664" y="21970"/>
                    <a:pt x="-1753" y="19354"/>
                    <a:pt x="-1753" y="16084"/>
                  </a:cubicBezTo>
                  <a:close/>
                </a:path>
              </a:pathLst>
            </a:custGeom>
            <a:grpFill/>
            <a:ln w="218" cap="flat">
              <a:noFill/>
              <a:prstDash val="solid"/>
              <a:miter/>
            </a:ln>
          </p:spPr>
          <p:txBody>
            <a:bodyPr rtlCol="0" anchor="ctr"/>
            <a:lstStyle/>
            <a:p>
              <a:endParaRPr lang="en-GB" dirty="0"/>
            </a:p>
          </p:txBody>
        </p:sp>
        <p:sp>
          <p:nvSpPr>
            <p:cNvPr id="154" name="Freihandform: Form 153">
              <a:extLst>
                <a:ext uri="{FF2B5EF4-FFF2-40B4-BE49-F238E27FC236}">
                  <a16:creationId xmlns:a16="http://schemas.microsoft.com/office/drawing/2014/main" xmlns="" id="{DD69FA8B-7DFA-41D1-B113-8E7ED9A2B6AA}"/>
                </a:ext>
              </a:extLst>
            </p:cNvPr>
            <p:cNvSpPr/>
            <p:nvPr/>
          </p:nvSpPr>
          <p:spPr>
            <a:xfrm flipV="1">
              <a:off x="4510930" y="5401667"/>
              <a:ext cx="33609" cy="26604"/>
            </a:xfrm>
            <a:custGeom>
              <a:avLst/>
              <a:gdLst>
                <a:gd name="connsiteX0" fmla="*/ 17496 w 33609"/>
                <a:gd name="connsiteY0" fmla="*/ 25864 h 26604"/>
                <a:gd name="connsiteX1" fmla="*/ 12484 w 33609"/>
                <a:gd name="connsiteY1" fmla="*/ 20850 h 26604"/>
                <a:gd name="connsiteX2" fmla="*/ 1371 w 33609"/>
                <a:gd name="connsiteY2" fmla="*/ 12565 h 26604"/>
                <a:gd name="connsiteX3" fmla="*/ -2769 w 33609"/>
                <a:gd name="connsiteY3" fmla="*/ 10821 h 26604"/>
                <a:gd name="connsiteX4" fmla="*/ 14881 w 33609"/>
                <a:gd name="connsiteY4" fmla="*/ 8423 h 26604"/>
                <a:gd name="connsiteX5" fmla="*/ 23379 w 33609"/>
                <a:gd name="connsiteY5" fmla="*/ 3409 h 26604"/>
                <a:gd name="connsiteX6" fmla="*/ 26648 w 33609"/>
                <a:gd name="connsiteY6" fmla="*/ 575 h 26604"/>
                <a:gd name="connsiteX7" fmla="*/ 27738 w 33609"/>
                <a:gd name="connsiteY7" fmla="*/ 8205 h 26604"/>
                <a:gd name="connsiteX8" fmla="*/ 29045 w 33609"/>
                <a:gd name="connsiteY8" fmla="*/ 14745 h 26604"/>
                <a:gd name="connsiteX9" fmla="*/ 17496 w 33609"/>
                <a:gd name="connsiteY9" fmla="*/ 25864 h 26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609" h="26604">
                  <a:moveTo>
                    <a:pt x="17496" y="25864"/>
                  </a:moveTo>
                  <a:cubicBezTo>
                    <a:pt x="14663" y="24556"/>
                    <a:pt x="12484" y="22376"/>
                    <a:pt x="12484" y="20850"/>
                  </a:cubicBezTo>
                  <a:cubicBezTo>
                    <a:pt x="12484" y="16271"/>
                    <a:pt x="5729" y="11257"/>
                    <a:pt x="1371" y="12565"/>
                  </a:cubicBezTo>
                  <a:cubicBezTo>
                    <a:pt x="-1462" y="13437"/>
                    <a:pt x="-2769" y="13001"/>
                    <a:pt x="-2769" y="10821"/>
                  </a:cubicBezTo>
                  <a:cubicBezTo>
                    <a:pt x="-2769" y="6461"/>
                    <a:pt x="10523" y="4499"/>
                    <a:pt x="14881" y="8423"/>
                  </a:cubicBezTo>
                  <a:cubicBezTo>
                    <a:pt x="18586" y="11693"/>
                    <a:pt x="23379" y="8859"/>
                    <a:pt x="23379" y="3409"/>
                  </a:cubicBezTo>
                  <a:cubicBezTo>
                    <a:pt x="23379" y="1883"/>
                    <a:pt x="24905" y="575"/>
                    <a:pt x="26648" y="575"/>
                  </a:cubicBezTo>
                  <a:cubicBezTo>
                    <a:pt x="30353" y="575"/>
                    <a:pt x="31006" y="6025"/>
                    <a:pt x="27738" y="8205"/>
                  </a:cubicBezTo>
                  <a:cubicBezTo>
                    <a:pt x="26430" y="9077"/>
                    <a:pt x="26866" y="11475"/>
                    <a:pt x="29045" y="14745"/>
                  </a:cubicBezTo>
                  <a:cubicBezTo>
                    <a:pt x="34493" y="23030"/>
                    <a:pt x="26648" y="30224"/>
                    <a:pt x="17496" y="25864"/>
                  </a:cubicBezTo>
                  <a:close/>
                </a:path>
              </a:pathLst>
            </a:custGeom>
            <a:grpFill/>
            <a:ln w="218" cap="flat">
              <a:noFill/>
              <a:prstDash val="solid"/>
              <a:miter/>
            </a:ln>
          </p:spPr>
          <p:txBody>
            <a:bodyPr rtlCol="0" anchor="ctr"/>
            <a:lstStyle/>
            <a:p>
              <a:endParaRPr lang="en-GB" dirty="0"/>
            </a:p>
          </p:txBody>
        </p:sp>
        <p:sp>
          <p:nvSpPr>
            <p:cNvPr id="155" name="Freihandform: Form 154">
              <a:extLst>
                <a:ext uri="{FF2B5EF4-FFF2-40B4-BE49-F238E27FC236}">
                  <a16:creationId xmlns:a16="http://schemas.microsoft.com/office/drawing/2014/main" xmlns="" id="{D029D49E-9973-4144-B39B-4A8E4F45CD7D}"/>
                </a:ext>
              </a:extLst>
            </p:cNvPr>
            <p:cNvSpPr/>
            <p:nvPr/>
          </p:nvSpPr>
          <p:spPr>
            <a:xfrm flipV="1">
              <a:off x="5160306" y="5472740"/>
              <a:ext cx="6524" cy="5672"/>
            </a:xfrm>
            <a:custGeom>
              <a:avLst/>
              <a:gdLst>
                <a:gd name="connsiteX0" fmla="*/ -4101 w 6524"/>
                <a:gd name="connsiteY0" fmla="*/ 5895 h 5672"/>
                <a:gd name="connsiteX1" fmla="*/ -2139 w 6524"/>
                <a:gd name="connsiteY1" fmla="*/ 881 h 5672"/>
                <a:gd name="connsiteX2" fmla="*/ 1129 w 6524"/>
                <a:gd name="connsiteY2" fmla="*/ 2843 h 5672"/>
                <a:gd name="connsiteX3" fmla="*/ -4101 w 6524"/>
                <a:gd name="connsiteY3" fmla="*/ 5895 h 5672"/>
              </a:gdLst>
              <a:ahLst/>
              <a:cxnLst>
                <a:cxn ang="0">
                  <a:pos x="connsiteX0" y="connsiteY0"/>
                </a:cxn>
                <a:cxn ang="0">
                  <a:pos x="connsiteX1" y="connsiteY1"/>
                </a:cxn>
                <a:cxn ang="0">
                  <a:pos x="connsiteX2" y="connsiteY2"/>
                </a:cxn>
                <a:cxn ang="0">
                  <a:pos x="connsiteX3" y="connsiteY3"/>
                </a:cxn>
              </a:cxnLst>
              <a:rect l="l" t="t" r="r" b="b"/>
              <a:pathLst>
                <a:path w="6524" h="5672">
                  <a:moveTo>
                    <a:pt x="-4101" y="5895"/>
                  </a:moveTo>
                  <a:cubicBezTo>
                    <a:pt x="-6498" y="3497"/>
                    <a:pt x="-5408" y="881"/>
                    <a:pt x="-2139" y="881"/>
                  </a:cubicBezTo>
                  <a:cubicBezTo>
                    <a:pt x="-396" y="881"/>
                    <a:pt x="1129" y="1753"/>
                    <a:pt x="1129" y="2843"/>
                  </a:cubicBezTo>
                  <a:cubicBezTo>
                    <a:pt x="1129" y="5677"/>
                    <a:pt x="-2357" y="7639"/>
                    <a:pt x="-4101" y="5895"/>
                  </a:cubicBezTo>
                  <a:close/>
                </a:path>
              </a:pathLst>
            </a:custGeom>
            <a:grpFill/>
            <a:ln w="218" cap="flat">
              <a:noFill/>
              <a:prstDash val="solid"/>
              <a:miter/>
            </a:ln>
          </p:spPr>
          <p:txBody>
            <a:bodyPr rtlCol="0" anchor="ctr"/>
            <a:lstStyle/>
            <a:p>
              <a:endParaRPr lang="en-GB" dirty="0"/>
            </a:p>
          </p:txBody>
        </p:sp>
        <p:sp>
          <p:nvSpPr>
            <p:cNvPr id="156" name="Freihandform: Form 155">
              <a:extLst>
                <a:ext uri="{FF2B5EF4-FFF2-40B4-BE49-F238E27FC236}">
                  <a16:creationId xmlns:a16="http://schemas.microsoft.com/office/drawing/2014/main" xmlns="" id="{16904E55-E410-49B6-9F85-28E77FA60F04}"/>
                </a:ext>
              </a:extLst>
            </p:cNvPr>
            <p:cNvSpPr/>
            <p:nvPr/>
          </p:nvSpPr>
          <p:spPr>
            <a:xfrm flipV="1">
              <a:off x="5222090" y="5498120"/>
              <a:ext cx="31811" cy="20955"/>
            </a:xfrm>
            <a:custGeom>
              <a:avLst/>
              <a:gdLst>
                <a:gd name="connsiteX0" fmla="*/ -5396 w 31811"/>
                <a:gd name="connsiteY0" fmla="*/ 19909 h 20955"/>
                <a:gd name="connsiteX1" fmla="*/ -4524 w 31811"/>
                <a:gd name="connsiteY1" fmla="*/ 17729 h 20955"/>
                <a:gd name="connsiteX2" fmla="*/ -2127 w 31811"/>
                <a:gd name="connsiteY2" fmla="*/ 10317 h 20955"/>
                <a:gd name="connsiteX3" fmla="*/ 6589 w 31811"/>
                <a:gd name="connsiteY3" fmla="*/ 3559 h 20955"/>
                <a:gd name="connsiteX4" fmla="*/ 14652 w 31811"/>
                <a:gd name="connsiteY4" fmla="*/ 5957 h 20955"/>
                <a:gd name="connsiteX5" fmla="*/ 23150 w 31811"/>
                <a:gd name="connsiteY5" fmla="*/ 7919 h 20955"/>
                <a:gd name="connsiteX6" fmla="*/ 21843 w 31811"/>
                <a:gd name="connsiteY6" fmla="*/ 15331 h 20955"/>
                <a:gd name="connsiteX7" fmla="*/ 13562 w 31811"/>
                <a:gd name="connsiteY7" fmla="*/ 17293 h 20955"/>
                <a:gd name="connsiteX8" fmla="*/ 7025 w 31811"/>
                <a:gd name="connsiteY8" fmla="*/ 18601 h 20955"/>
                <a:gd name="connsiteX9" fmla="*/ -5396 w 31811"/>
                <a:gd name="connsiteY9" fmla="*/ 19909 h 2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811" h="20955">
                  <a:moveTo>
                    <a:pt x="-5396" y="19909"/>
                  </a:moveTo>
                  <a:cubicBezTo>
                    <a:pt x="-6049" y="18819"/>
                    <a:pt x="-5614" y="17729"/>
                    <a:pt x="-4524" y="17729"/>
                  </a:cubicBezTo>
                  <a:cubicBezTo>
                    <a:pt x="-3217" y="17729"/>
                    <a:pt x="-2127" y="14459"/>
                    <a:pt x="-2127" y="10317"/>
                  </a:cubicBezTo>
                  <a:cubicBezTo>
                    <a:pt x="-2127" y="1161"/>
                    <a:pt x="1141" y="-1456"/>
                    <a:pt x="6589" y="3559"/>
                  </a:cubicBezTo>
                  <a:cubicBezTo>
                    <a:pt x="8986" y="5739"/>
                    <a:pt x="12255" y="6611"/>
                    <a:pt x="14652" y="5957"/>
                  </a:cubicBezTo>
                  <a:cubicBezTo>
                    <a:pt x="17049" y="5303"/>
                    <a:pt x="20753" y="6175"/>
                    <a:pt x="23150" y="7919"/>
                  </a:cubicBezTo>
                  <a:cubicBezTo>
                    <a:pt x="27290" y="10971"/>
                    <a:pt x="27290" y="11189"/>
                    <a:pt x="21843" y="15331"/>
                  </a:cubicBezTo>
                  <a:cubicBezTo>
                    <a:pt x="17920" y="18383"/>
                    <a:pt x="15741" y="19037"/>
                    <a:pt x="13562" y="17293"/>
                  </a:cubicBezTo>
                  <a:cubicBezTo>
                    <a:pt x="11601" y="15549"/>
                    <a:pt x="9858" y="15985"/>
                    <a:pt x="7025" y="18601"/>
                  </a:cubicBezTo>
                  <a:cubicBezTo>
                    <a:pt x="2449" y="22525"/>
                    <a:pt x="-3435" y="23179"/>
                    <a:pt x="-5396" y="19909"/>
                  </a:cubicBezTo>
                  <a:close/>
                </a:path>
              </a:pathLst>
            </a:custGeom>
            <a:grpFill/>
            <a:ln w="218" cap="flat">
              <a:noFill/>
              <a:prstDash val="solid"/>
              <a:miter/>
            </a:ln>
          </p:spPr>
          <p:txBody>
            <a:bodyPr rtlCol="0" anchor="ctr"/>
            <a:lstStyle/>
            <a:p>
              <a:endParaRPr lang="en-GB" dirty="0"/>
            </a:p>
          </p:txBody>
        </p:sp>
      </p:grpSp>
      <p:grpSp>
        <p:nvGrpSpPr>
          <p:cNvPr id="158" name="Grafik 5">
            <a:extLst>
              <a:ext uri="{FF2B5EF4-FFF2-40B4-BE49-F238E27FC236}">
                <a16:creationId xmlns:a16="http://schemas.microsoft.com/office/drawing/2014/main" xmlns="" id="{5CECF8F8-103E-4D63-8FD0-0A28DA6046EE}"/>
              </a:ext>
            </a:extLst>
          </p:cNvPr>
          <p:cNvGrpSpPr/>
          <p:nvPr/>
        </p:nvGrpSpPr>
        <p:grpSpPr>
          <a:xfrm>
            <a:off x="8386807" y="2454085"/>
            <a:ext cx="2061090" cy="2789035"/>
            <a:chOff x="3857208" y="2764590"/>
            <a:chExt cx="2061090" cy="2789035"/>
          </a:xfrm>
          <a:solidFill>
            <a:srgbClr val="C00000"/>
          </a:solidFill>
        </p:grpSpPr>
        <p:sp>
          <p:nvSpPr>
            <p:cNvPr id="159" name="Freihandform: Form 158">
              <a:extLst>
                <a:ext uri="{FF2B5EF4-FFF2-40B4-BE49-F238E27FC236}">
                  <a16:creationId xmlns:a16="http://schemas.microsoft.com/office/drawing/2014/main" xmlns="" id="{03DE0C83-FD9A-454A-BCEA-A7C76C9B823A}"/>
                </a:ext>
              </a:extLst>
            </p:cNvPr>
            <p:cNvSpPr/>
            <p:nvPr/>
          </p:nvSpPr>
          <p:spPr>
            <a:xfrm flipV="1">
              <a:off x="3857208" y="2764590"/>
              <a:ext cx="2061090" cy="2789035"/>
            </a:xfrm>
            <a:custGeom>
              <a:avLst/>
              <a:gdLst>
                <a:gd name="connsiteX0" fmla="*/ 1949719 w 2061090"/>
                <a:gd name="connsiteY0" fmla="*/ 2778412 h 2789035"/>
                <a:gd name="connsiteX1" fmla="*/ 1930108 w 2061090"/>
                <a:gd name="connsiteY1" fmla="*/ 2767730 h 2789035"/>
                <a:gd name="connsiteX2" fmla="*/ 1611745 w 2061090"/>
                <a:gd name="connsiteY2" fmla="*/ 2304246 h 2789035"/>
                <a:gd name="connsiteX3" fmla="*/ 1300355 w 2061090"/>
                <a:gd name="connsiteY3" fmla="*/ 1846212 h 2789035"/>
                <a:gd name="connsiteX4" fmla="*/ 698713 w 2061090"/>
                <a:gd name="connsiteY4" fmla="*/ 1846212 h 2789035"/>
                <a:gd name="connsiteX5" fmla="*/ 56104 w 2061090"/>
                <a:gd name="connsiteY5" fmla="*/ 1832695 h 2789035"/>
                <a:gd name="connsiteX6" fmla="*/ -4256 w 2061090"/>
                <a:gd name="connsiteY6" fmla="*/ 1764895 h 2789035"/>
                <a:gd name="connsiteX7" fmla="*/ 8382 w 2061090"/>
                <a:gd name="connsiteY7" fmla="*/ 1745929 h 2789035"/>
                <a:gd name="connsiteX8" fmla="*/ 34531 w 2061090"/>
                <a:gd name="connsiteY8" fmla="*/ 1750289 h 2789035"/>
                <a:gd name="connsiteX9" fmla="*/ 89444 w 2061090"/>
                <a:gd name="connsiteY9" fmla="*/ 1752469 h 2789035"/>
                <a:gd name="connsiteX10" fmla="*/ 100339 w 2061090"/>
                <a:gd name="connsiteY10" fmla="*/ 896789 h 2789035"/>
                <a:gd name="connsiteX11" fmla="*/ 101429 w 2061090"/>
                <a:gd name="connsiteY11" fmla="*/ 53100 h 2789035"/>
                <a:gd name="connsiteX12" fmla="*/ 106441 w 2061090"/>
                <a:gd name="connsiteY12" fmla="*/ 43726 h 2789035"/>
                <a:gd name="connsiteX13" fmla="*/ 796553 w 2061090"/>
                <a:gd name="connsiteY13" fmla="*/ -5762 h 2789035"/>
                <a:gd name="connsiteX14" fmla="*/ 1430882 w 2061090"/>
                <a:gd name="connsiteY14" fmla="*/ 17347 h 2789035"/>
                <a:gd name="connsiteX15" fmla="*/ 1466401 w 2061090"/>
                <a:gd name="connsiteY15" fmla="*/ 53754 h 2789035"/>
                <a:gd name="connsiteX16" fmla="*/ 1468798 w 2061090"/>
                <a:gd name="connsiteY16" fmla="*/ 884581 h 2789035"/>
                <a:gd name="connsiteX17" fmla="*/ 1473156 w 2061090"/>
                <a:gd name="connsiteY17" fmla="*/ 1721076 h 2789035"/>
                <a:gd name="connsiteX18" fmla="*/ 1507803 w 2061090"/>
                <a:gd name="connsiteY18" fmla="*/ 1792582 h 2789035"/>
                <a:gd name="connsiteX19" fmla="*/ 1523275 w 2061090"/>
                <a:gd name="connsiteY19" fmla="*/ 1821577 h 2789035"/>
                <a:gd name="connsiteX20" fmla="*/ 1500394 w 2061090"/>
                <a:gd name="connsiteY20" fmla="*/ 1842070 h 2789035"/>
                <a:gd name="connsiteX21" fmla="*/ 1489063 w 2061090"/>
                <a:gd name="connsiteY21" fmla="*/ 1847520 h 2789035"/>
                <a:gd name="connsiteX22" fmla="*/ 1768202 w 2061090"/>
                <a:gd name="connsiteY22" fmla="*/ 2262170 h 2789035"/>
                <a:gd name="connsiteX23" fmla="*/ 2052790 w 2061090"/>
                <a:gd name="connsiteY23" fmla="*/ 2685977 h 2789035"/>
                <a:gd name="connsiteX24" fmla="*/ 2051700 w 2061090"/>
                <a:gd name="connsiteY24" fmla="*/ 2722602 h 2789035"/>
                <a:gd name="connsiteX25" fmla="*/ 1990468 w 2061090"/>
                <a:gd name="connsiteY25" fmla="*/ 2777322 h 2789035"/>
                <a:gd name="connsiteX26" fmla="*/ 1949719 w 2061090"/>
                <a:gd name="connsiteY26" fmla="*/ 2778412 h 2789035"/>
                <a:gd name="connsiteX27" fmla="*/ 2037100 w 2061090"/>
                <a:gd name="connsiteY27" fmla="*/ 2729796 h 2789035"/>
                <a:gd name="connsiteX28" fmla="*/ 2037754 w 2061090"/>
                <a:gd name="connsiteY28" fmla="*/ 2675731 h 2789035"/>
                <a:gd name="connsiteX29" fmla="*/ 1754910 w 2061090"/>
                <a:gd name="connsiteY29" fmla="*/ 2258246 h 2789035"/>
                <a:gd name="connsiteX30" fmla="*/ 1478386 w 2061090"/>
                <a:gd name="connsiteY30" fmla="*/ 1851662 h 2789035"/>
                <a:gd name="connsiteX31" fmla="*/ 1455287 w 2061090"/>
                <a:gd name="connsiteY31" fmla="*/ 1851662 h 2789035"/>
                <a:gd name="connsiteX32" fmla="*/ 1430664 w 2061090"/>
                <a:gd name="connsiteY32" fmla="*/ 1852970 h 2789035"/>
                <a:gd name="connsiteX33" fmla="*/ 1450711 w 2061090"/>
                <a:gd name="connsiteY33" fmla="*/ 1885671 h 2789035"/>
                <a:gd name="connsiteX34" fmla="*/ 1491242 w 2061090"/>
                <a:gd name="connsiteY34" fmla="*/ 1945405 h 2789035"/>
                <a:gd name="connsiteX35" fmla="*/ 1548334 w 2061090"/>
                <a:gd name="connsiteY35" fmla="*/ 2029338 h 2789035"/>
                <a:gd name="connsiteX36" fmla="*/ 1622422 w 2061090"/>
                <a:gd name="connsiteY36" fmla="*/ 2138342 h 2789035"/>
                <a:gd name="connsiteX37" fmla="*/ 1680822 w 2061090"/>
                <a:gd name="connsiteY37" fmla="*/ 2224455 h 2789035"/>
                <a:gd name="connsiteX38" fmla="*/ 1860813 w 2061090"/>
                <a:gd name="connsiteY38" fmla="*/ 2489334 h 2789035"/>
                <a:gd name="connsiteX39" fmla="*/ 2030999 w 2061090"/>
                <a:gd name="connsiteY39" fmla="*/ 2735683 h 2789035"/>
                <a:gd name="connsiteX40" fmla="*/ 2037100 w 2061090"/>
                <a:gd name="connsiteY40" fmla="*/ 2729796 h 2789035"/>
                <a:gd name="connsiteX41" fmla="*/ 1290114 w 2061090"/>
                <a:gd name="connsiteY41" fmla="*/ 1835094 h 2789035"/>
                <a:gd name="connsiteX42" fmla="*/ 731835 w 2061090"/>
                <a:gd name="connsiteY42" fmla="*/ 1012333 h 2789035"/>
                <a:gd name="connsiteX43" fmla="*/ 595425 w 2061090"/>
                <a:gd name="connsiteY43" fmla="*/ 813074 h 2789035"/>
                <a:gd name="connsiteX44" fmla="*/ 471871 w 2061090"/>
                <a:gd name="connsiteY44" fmla="*/ 631256 h 2789035"/>
                <a:gd name="connsiteX45" fmla="*/ 458143 w 2061090"/>
                <a:gd name="connsiteY45" fmla="*/ 630820 h 2789035"/>
                <a:gd name="connsiteX46" fmla="*/ 441364 w 2061090"/>
                <a:gd name="connsiteY46" fmla="*/ 623190 h 2789035"/>
                <a:gd name="connsiteX47" fmla="*/ 449645 w 2061090"/>
                <a:gd name="connsiteY47" fmla="*/ 621446 h 2789035"/>
                <a:gd name="connsiteX48" fmla="*/ 457272 w 2061090"/>
                <a:gd name="connsiteY48" fmla="*/ 616214 h 2789035"/>
                <a:gd name="connsiteX49" fmla="*/ 434827 w 2061090"/>
                <a:gd name="connsiteY49" fmla="*/ 576318 h 2789035"/>
                <a:gd name="connsiteX50" fmla="*/ 409550 w 2061090"/>
                <a:gd name="connsiteY50" fmla="*/ 542527 h 2789035"/>
                <a:gd name="connsiteX51" fmla="*/ 407153 w 2061090"/>
                <a:gd name="connsiteY51" fmla="*/ 1003177 h 2789035"/>
                <a:gd name="connsiteX52" fmla="*/ 406717 w 2061090"/>
                <a:gd name="connsiteY52" fmla="*/ 1466225 h 2789035"/>
                <a:gd name="connsiteX53" fmla="*/ 371416 w 2061090"/>
                <a:gd name="connsiteY53" fmla="*/ 1472983 h 2789035"/>
                <a:gd name="connsiteX54" fmla="*/ 340473 w 2061090"/>
                <a:gd name="connsiteY54" fmla="*/ 1468623 h 2789035"/>
                <a:gd name="connsiteX55" fmla="*/ 365750 w 2061090"/>
                <a:gd name="connsiteY55" fmla="*/ 1464699 h 2789035"/>
                <a:gd name="connsiteX56" fmla="*/ 395386 w 2061090"/>
                <a:gd name="connsiteY56" fmla="*/ 1463391 h 2789035"/>
                <a:gd name="connsiteX57" fmla="*/ 398872 w 2061090"/>
                <a:gd name="connsiteY57" fmla="*/ 1323212 h 2789035"/>
                <a:gd name="connsiteX58" fmla="*/ 396257 w 2061090"/>
                <a:gd name="connsiteY58" fmla="*/ 1181725 h 2789035"/>
                <a:gd name="connsiteX59" fmla="*/ 366622 w 2061090"/>
                <a:gd name="connsiteY59" fmla="*/ 1179109 h 2789035"/>
                <a:gd name="connsiteX60" fmla="*/ 340473 w 2061090"/>
                <a:gd name="connsiteY60" fmla="*/ 1175403 h 2789035"/>
                <a:gd name="connsiteX61" fmla="*/ 369455 w 2061090"/>
                <a:gd name="connsiteY61" fmla="*/ 1170389 h 2789035"/>
                <a:gd name="connsiteX62" fmla="*/ 397783 w 2061090"/>
                <a:gd name="connsiteY62" fmla="*/ 1169299 h 2789035"/>
                <a:gd name="connsiteX63" fmla="*/ 398219 w 2061090"/>
                <a:gd name="connsiteY63" fmla="*/ 1114797 h 2789035"/>
                <a:gd name="connsiteX64" fmla="*/ 397129 w 2061090"/>
                <a:gd name="connsiteY64" fmla="*/ 975272 h 2789035"/>
                <a:gd name="connsiteX65" fmla="*/ 395604 w 2061090"/>
                <a:gd name="connsiteY65" fmla="*/ 890249 h 2789035"/>
                <a:gd name="connsiteX66" fmla="*/ 367712 w 2061090"/>
                <a:gd name="connsiteY66" fmla="*/ 889595 h 2789035"/>
                <a:gd name="connsiteX67" fmla="*/ 338512 w 2061090"/>
                <a:gd name="connsiteY67" fmla="*/ 885671 h 2789035"/>
                <a:gd name="connsiteX68" fmla="*/ 370109 w 2061090"/>
                <a:gd name="connsiteY68" fmla="*/ 878259 h 2789035"/>
                <a:gd name="connsiteX69" fmla="*/ 396693 w 2061090"/>
                <a:gd name="connsiteY69" fmla="*/ 878259 h 2789035"/>
                <a:gd name="connsiteX70" fmla="*/ 396693 w 2061090"/>
                <a:gd name="connsiteY70" fmla="*/ 738734 h 2789035"/>
                <a:gd name="connsiteX71" fmla="*/ 396693 w 2061090"/>
                <a:gd name="connsiteY71" fmla="*/ 599209 h 2789035"/>
                <a:gd name="connsiteX72" fmla="*/ 370109 w 2061090"/>
                <a:gd name="connsiteY72" fmla="*/ 599209 h 2789035"/>
                <a:gd name="connsiteX73" fmla="*/ 338512 w 2061090"/>
                <a:gd name="connsiteY73" fmla="*/ 591797 h 2789035"/>
                <a:gd name="connsiteX74" fmla="*/ 367712 w 2061090"/>
                <a:gd name="connsiteY74" fmla="*/ 587873 h 2789035"/>
                <a:gd name="connsiteX75" fmla="*/ 395604 w 2061090"/>
                <a:gd name="connsiteY75" fmla="*/ 587219 h 2789035"/>
                <a:gd name="connsiteX76" fmla="*/ 396257 w 2061090"/>
                <a:gd name="connsiteY76" fmla="*/ 553863 h 2789035"/>
                <a:gd name="connsiteX77" fmla="*/ 396911 w 2061090"/>
                <a:gd name="connsiteY77" fmla="*/ 520508 h 2789035"/>
                <a:gd name="connsiteX78" fmla="*/ 338730 w 2061090"/>
                <a:gd name="connsiteY78" fmla="*/ 435049 h 2789035"/>
                <a:gd name="connsiteX79" fmla="*/ 272922 w 2061090"/>
                <a:gd name="connsiteY79" fmla="*/ 342614 h 2789035"/>
                <a:gd name="connsiteX80" fmla="*/ 256143 w 2061090"/>
                <a:gd name="connsiteY80" fmla="*/ 337382 h 2789035"/>
                <a:gd name="connsiteX81" fmla="*/ 237621 w 2061090"/>
                <a:gd name="connsiteY81" fmla="*/ 333022 h 2789035"/>
                <a:gd name="connsiteX82" fmla="*/ 243069 w 2061090"/>
                <a:gd name="connsiteY82" fmla="*/ 331060 h 2789035"/>
                <a:gd name="connsiteX83" fmla="*/ 247645 w 2061090"/>
                <a:gd name="connsiteY83" fmla="*/ 330842 h 2789035"/>
                <a:gd name="connsiteX84" fmla="*/ 257233 w 2061090"/>
                <a:gd name="connsiteY84" fmla="*/ 329752 h 2789035"/>
                <a:gd name="connsiteX85" fmla="*/ 258322 w 2061090"/>
                <a:gd name="connsiteY85" fmla="*/ 317979 h 2789035"/>
                <a:gd name="connsiteX86" fmla="*/ 248516 w 2061090"/>
                <a:gd name="connsiteY86" fmla="*/ 314709 h 2789035"/>
                <a:gd name="connsiteX87" fmla="*/ 237839 w 2061090"/>
                <a:gd name="connsiteY87" fmla="*/ 318197 h 2789035"/>
                <a:gd name="connsiteX88" fmla="*/ 226725 w 2061090"/>
                <a:gd name="connsiteY88" fmla="*/ 323430 h 2789035"/>
                <a:gd name="connsiteX89" fmla="*/ 221932 w 2061090"/>
                <a:gd name="connsiteY89" fmla="*/ 330842 h 2789035"/>
                <a:gd name="connsiteX90" fmla="*/ 214958 w 2061090"/>
                <a:gd name="connsiteY90" fmla="*/ 331278 h 2789035"/>
                <a:gd name="connsiteX91" fmla="*/ 206024 w 2061090"/>
                <a:gd name="connsiteY91" fmla="*/ 330406 h 2789035"/>
                <a:gd name="connsiteX92" fmla="*/ 202102 w 2061090"/>
                <a:gd name="connsiteY92" fmla="*/ 328226 h 2789035"/>
                <a:gd name="connsiteX93" fmla="*/ 200577 w 2061090"/>
                <a:gd name="connsiteY93" fmla="*/ 324738 h 2789035"/>
                <a:gd name="connsiteX94" fmla="*/ 196001 w 2061090"/>
                <a:gd name="connsiteY94" fmla="*/ 318633 h 2789035"/>
                <a:gd name="connsiteX95" fmla="*/ 192296 w 2061090"/>
                <a:gd name="connsiteY95" fmla="*/ 311657 h 2789035"/>
                <a:gd name="connsiteX96" fmla="*/ 198833 w 2061090"/>
                <a:gd name="connsiteY96" fmla="*/ 306643 h 2789035"/>
                <a:gd name="connsiteX97" fmla="*/ 206242 w 2061090"/>
                <a:gd name="connsiteY97" fmla="*/ 301411 h 2789035"/>
                <a:gd name="connsiteX98" fmla="*/ 196654 w 2061090"/>
                <a:gd name="connsiteY98" fmla="*/ 292036 h 2789035"/>
                <a:gd name="connsiteX99" fmla="*/ 193168 w 2061090"/>
                <a:gd name="connsiteY99" fmla="*/ 285060 h 2789035"/>
                <a:gd name="connsiteX100" fmla="*/ 207985 w 2061090"/>
                <a:gd name="connsiteY100" fmla="*/ 282008 h 2789035"/>
                <a:gd name="connsiteX101" fmla="*/ 218009 w 2061090"/>
                <a:gd name="connsiteY101" fmla="*/ 278956 h 2789035"/>
                <a:gd name="connsiteX102" fmla="*/ 220188 w 2061090"/>
                <a:gd name="connsiteY102" fmla="*/ 270890 h 2789035"/>
                <a:gd name="connsiteX103" fmla="*/ 217573 w 2061090"/>
                <a:gd name="connsiteY103" fmla="*/ 268710 h 2789035"/>
                <a:gd name="connsiteX104" fmla="*/ 212997 w 2061090"/>
                <a:gd name="connsiteY104" fmla="*/ 259553 h 2789035"/>
                <a:gd name="connsiteX105" fmla="*/ 206024 w 2061090"/>
                <a:gd name="connsiteY105" fmla="*/ 258681 h 2789035"/>
                <a:gd name="connsiteX106" fmla="*/ 198615 w 2061090"/>
                <a:gd name="connsiteY106" fmla="*/ 270018 h 2789035"/>
                <a:gd name="connsiteX107" fmla="*/ 188810 w 2061090"/>
                <a:gd name="connsiteY107" fmla="*/ 273288 h 2789035"/>
                <a:gd name="connsiteX108" fmla="*/ 172467 w 2061090"/>
                <a:gd name="connsiteY108" fmla="*/ 280918 h 2789035"/>
                <a:gd name="connsiteX109" fmla="*/ 165711 w 2061090"/>
                <a:gd name="connsiteY109" fmla="*/ 285714 h 2789035"/>
                <a:gd name="connsiteX110" fmla="*/ 160046 w 2061090"/>
                <a:gd name="connsiteY110" fmla="*/ 290946 h 2789035"/>
                <a:gd name="connsiteX111" fmla="*/ 153509 w 2061090"/>
                <a:gd name="connsiteY111" fmla="*/ 293344 h 2789035"/>
                <a:gd name="connsiteX112" fmla="*/ 147625 w 2061090"/>
                <a:gd name="connsiteY112" fmla="*/ 299449 h 2789035"/>
                <a:gd name="connsiteX113" fmla="*/ 142177 w 2061090"/>
                <a:gd name="connsiteY113" fmla="*/ 306425 h 2789035"/>
                <a:gd name="connsiteX114" fmla="*/ 154598 w 2061090"/>
                <a:gd name="connsiteY114" fmla="*/ 318633 h 2789035"/>
                <a:gd name="connsiteX115" fmla="*/ 159174 w 2061090"/>
                <a:gd name="connsiteY115" fmla="*/ 324302 h 2789035"/>
                <a:gd name="connsiteX116" fmla="*/ 162443 w 2061090"/>
                <a:gd name="connsiteY116" fmla="*/ 331060 h 2789035"/>
                <a:gd name="connsiteX117" fmla="*/ 165711 w 2061090"/>
                <a:gd name="connsiteY117" fmla="*/ 334330 h 2789035"/>
                <a:gd name="connsiteX118" fmla="*/ 163750 w 2061090"/>
                <a:gd name="connsiteY118" fmla="*/ 337600 h 2789035"/>
                <a:gd name="connsiteX119" fmla="*/ 159174 w 2061090"/>
                <a:gd name="connsiteY119" fmla="*/ 334330 h 2789035"/>
                <a:gd name="connsiteX120" fmla="*/ 152855 w 2061090"/>
                <a:gd name="connsiteY120" fmla="*/ 331060 h 2789035"/>
                <a:gd name="connsiteX121" fmla="*/ 143267 w 2061090"/>
                <a:gd name="connsiteY121" fmla="*/ 317979 h 2789035"/>
                <a:gd name="connsiteX122" fmla="*/ 132807 w 2061090"/>
                <a:gd name="connsiteY122" fmla="*/ 304899 h 2789035"/>
                <a:gd name="connsiteX123" fmla="*/ 128667 w 2061090"/>
                <a:gd name="connsiteY123" fmla="*/ 301411 h 2789035"/>
                <a:gd name="connsiteX124" fmla="*/ 132154 w 2061090"/>
                <a:gd name="connsiteY124" fmla="*/ 299231 h 2789035"/>
                <a:gd name="connsiteX125" fmla="*/ 143921 w 2061090"/>
                <a:gd name="connsiteY125" fmla="*/ 290292 h 2789035"/>
                <a:gd name="connsiteX126" fmla="*/ 149368 w 2061090"/>
                <a:gd name="connsiteY126" fmla="*/ 287458 h 2789035"/>
                <a:gd name="connsiteX127" fmla="*/ 154816 w 2061090"/>
                <a:gd name="connsiteY127" fmla="*/ 283970 h 2789035"/>
                <a:gd name="connsiteX128" fmla="*/ 145664 w 2061090"/>
                <a:gd name="connsiteY128" fmla="*/ 281790 h 2789035"/>
                <a:gd name="connsiteX129" fmla="*/ 133679 w 2061090"/>
                <a:gd name="connsiteY129" fmla="*/ 287022 h 2789035"/>
                <a:gd name="connsiteX130" fmla="*/ 131718 w 2061090"/>
                <a:gd name="connsiteY130" fmla="*/ 283752 h 2789035"/>
                <a:gd name="connsiteX131" fmla="*/ 129757 w 2061090"/>
                <a:gd name="connsiteY131" fmla="*/ 274378 h 2789035"/>
                <a:gd name="connsiteX132" fmla="*/ 128667 w 2061090"/>
                <a:gd name="connsiteY132" fmla="*/ 267838 h 2789035"/>
                <a:gd name="connsiteX133" fmla="*/ 128013 w 2061090"/>
                <a:gd name="connsiteY133" fmla="*/ 250397 h 2789035"/>
                <a:gd name="connsiteX134" fmla="*/ 119951 w 2061090"/>
                <a:gd name="connsiteY134" fmla="*/ 260643 h 2789035"/>
                <a:gd name="connsiteX135" fmla="*/ 112542 w 2061090"/>
                <a:gd name="connsiteY135" fmla="*/ 263695 h 2789035"/>
                <a:gd name="connsiteX136" fmla="*/ 118208 w 2061090"/>
                <a:gd name="connsiteY136" fmla="*/ 246691 h 2789035"/>
                <a:gd name="connsiteX137" fmla="*/ 122130 w 2061090"/>
                <a:gd name="connsiteY137" fmla="*/ 243421 h 2789035"/>
                <a:gd name="connsiteX138" fmla="*/ 128667 w 2061090"/>
                <a:gd name="connsiteY138" fmla="*/ 242767 h 2789035"/>
                <a:gd name="connsiteX139" fmla="*/ 133897 w 2061090"/>
                <a:gd name="connsiteY139" fmla="*/ 233174 h 2789035"/>
                <a:gd name="connsiteX140" fmla="*/ 121258 w 2061090"/>
                <a:gd name="connsiteY140" fmla="*/ 229904 h 2789035"/>
                <a:gd name="connsiteX141" fmla="*/ 112978 w 2061090"/>
                <a:gd name="connsiteY141" fmla="*/ 216170 h 2789035"/>
                <a:gd name="connsiteX142" fmla="*/ 118426 w 2061090"/>
                <a:gd name="connsiteY142" fmla="*/ 193715 h 2789035"/>
                <a:gd name="connsiteX143" fmla="*/ 129321 w 2061090"/>
                <a:gd name="connsiteY143" fmla="*/ 185213 h 2789035"/>
                <a:gd name="connsiteX144" fmla="*/ 134115 w 2061090"/>
                <a:gd name="connsiteY144" fmla="*/ 174094 h 2789035"/>
                <a:gd name="connsiteX145" fmla="*/ 130846 w 2061090"/>
                <a:gd name="connsiteY145" fmla="*/ 168426 h 2789035"/>
                <a:gd name="connsiteX146" fmla="*/ 123002 w 2061090"/>
                <a:gd name="connsiteY146" fmla="*/ 165592 h 2789035"/>
                <a:gd name="connsiteX147" fmla="*/ 120605 w 2061090"/>
                <a:gd name="connsiteY147" fmla="*/ 176492 h 2789035"/>
                <a:gd name="connsiteX148" fmla="*/ 115157 w 2061090"/>
                <a:gd name="connsiteY148" fmla="*/ 189355 h 2789035"/>
                <a:gd name="connsiteX149" fmla="*/ 115811 w 2061090"/>
                <a:gd name="connsiteY149" fmla="*/ 179109 h 2789035"/>
                <a:gd name="connsiteX150" fmla="*/ 114503 w 2061090"/>
                <a:gd name="connsiteY150" fmla="*/ 169952 h 2789035"/>
                <a:gd name="connsiteX151" fmla="*/ 116900 w 2061090"/>
                <a:gd name="connsiteY151" fmla="*/ 158834 h 2789035"/>
                <a:gd name="connsiteX152" fmla="*/ 118643 w 2061090"/>
                <a:gd name="connsiteY152" fmla="*/ 147497 h 2789035"/>
                <a:gd name="connsiteX153" fmla="*/ 118861 w 2061090"/>
                <a:gd name="connsiteY153" fmla="*/ 143791 h 2789035"/>
                <a:gd name="connsiteX154" fmla="*/ 126052 w 2061090"/>
                <a:gd name="connsiteY154" fmla="*/ 150768 h 2789035"/>
                <a:gd name="connsiteX155" fmla="*/ 137819 w 2061090"/>
                <a:gd name="connsiteY155" fmla="*/ 154256 h 2789035"/>
                <a:gd name="connsiteX156" fmla="*/ 135422 w 2061090"/>
                <a:gd name="connsiteY156" fmla="*/ 145535 h 2789035"/>
                <a:gd name="connsiteX157" fmla="*/ 126488 w 2061090"/>
                <a:gd name="connsiteY157" fmla="*/ 139213 h 2789035"/>
                <a:gd name="connsiteX158" fmla="*/ 124309 w 2061090"/>
                <a:gd name="connsiteY158" fmla="*/ 118502 h 2789035"/>
                <a:gd name="connsiteX159" fmla="*/ 123002 w 2061090"/>
                <a:gd name="connsiteY159" fmla="*/ 101280 h 2789035"/>
                <a:gd name="connsiteX160" fmla="*/ 121040 w 2061090"/>
                <a:gd name="connsiteY160" fmla="*/ 97792 h 2789035"/>
                <a:gd name="connsiteX161" fmla="*/ 117990 w 2061090"/>
                <a:gd name="connsiteY161" fmla="*/ 88199 h 2789035"/>
                <a:gd name="connsiteX162" fmla="*/ 115157 w 2061090"/>
                <a:gd name="connsiteY162" fmla="*/ 71631 h 2789035"/>
                <a:gd name="connsiteX163" fmla="*/ 119515 w 2061090"/>
                <a:gd name="connsiteY163" fmla="*/ 78171 h 2789035"/>
                <a:gd name="connsiteX164" fmla="*/ 125616 w 2061090"/>
                <a:gd name="connsiteY164" fmla="*/ 79261 h 2789035"/>
                <a:gd name="connsiteX165" fmla="*/ 123002 w 2061090"/>
                <a:gd name="connsiteY165" fmla="*/ 68361 h 2789035"/>
                <a:gd name="connsiteX166" fmla="*/ 124963 w 2061090"/>
                <a:gd name="connsiteY166" fmla="*/ 58986 h 2789035"/>
                <a:gd name="connsiteX167" fmla="*/ 127360 w 2061090"/>
                <a:gd name="connsiteY167" fmla="*/ 50484 h 2789035"/>
                <a:gd name="connsiteX168" fmla="*/ 128449 w 2061090"/>
                <a:gd name="connsiteY168" fmla="*/ 44598 h 2789035"/>
                <a:gd name="connsiteX169" fmla="*/ 133461 w 2061090"/>
                <a:gd name="connsiteY169" fmla="*/ 62911 h 2789035"/>
                <a:gd name="connsiteX170" fmla="*/ 137383 w 2061090"/>
                <a:gd name="connsiteY170" fmla="*/ 72721 h 2789035"/>
                <a:gd name="connsiteX171" fmla="*/ 139998 w 2061090"/>
                <a:gd name="connsiteY171" fmla="*/ 65745 h 2789035"/>
                <a:gd name="connsiteX172" fmla="*/ 142177 w 2061090"/>
                <a:gd name="connsiteY172" fmla="*/ 58332 h 2789035"/>
                <a:gd name="connsiteX173" fmla="*/ 147189 w 2061090"/>
                <a:gd name="connsiteY173" fmla="*/ 57460 h 2789035"/>
                <a:gd name="connsiteX174" fmla="*/ 151983 w 2061090"/>
                <a:gd name="connsiteY174" fmla="*/ 56806 h 2789035"/>
                <a:gd name="connsiteX175" fmla="*/ 154162 w 2061090"/>
                <a:gd name="connsiteY175" fmla="*/ 50266 h 2789035"/>
                <a:gd name="connsiteX176" fmla="*/ 161789 w 2061090"/>
                <a:gd name="connsiteY176" fmla="*/ 44380 h 2789035"/>
                <a:gd name="connsiteX177" fmla="*/ 173338 w 2061090"/>
                <a:gd name="connsiteY177" fmla="*/ 34134 h 2789035"/>
                <a:gd name="connsiteX178" fmla="*/ 178568 w 2061090"/>
                <a:gd name="connsiteY178" fmla="*/ 27375 h 2789035"/>
                <a:gd name="connsiteX179" fmla="*/ 184016 w 2061090"/>
                <a:gd name="connsiteY179" fmla="*/ 19309 h 2789035"/>
                <a:gd name="connsiteX180" fmla="*/ 167237 w 2061090"/>
                <a:gd name="connsiteY180" fmla="*/ 24977 h 2789035"/>
                <a:gd name="connsiteX181" fmla="*/ 157213 w 2061090"/>
                <a:gd name="connsiteY181" fmla="*/ 33480 h 2789035"/>
                <a:gd name="connsiteX182" fmla="*/ 154816 w 2061090"/>
                <a:gd name="connsiteY182" fmla="*/ 28901 h 2789035"/>
                <a:gd name="connsiteX183" fmla="*/ 132590 w 2061090"/>
                <a:gd name="connsiteY183" fmla="*/ 32389 h 2789035"/>
                <a:gd name="connsiteX184" fmla="*/ 120169 w 2061090"/>
                <a:gd name="connsiteY184" fmla="*/ 52010 h 2789035"/>
                <a:gd name="connsiteX185" fmla="*/ 119733 w 2061090"/>
                <a:gd name="connsiteY185" fmla="*/ 60948 h 2789035"/>
                <a:gd name="connsiteX186" fmla="*/ 113196 w 2061090"/>
                <a:gd name="connsiteY186" fmla="*/ 59204 h 2789035"/>
                <a:gd name="connsiteX187" fmla="*/ 110799 w 2061090"/>
                <a:gd name="connsiteY187" fmla="*/ 60730 h 2789035"/>
                <a:gd name="connsiteX188" fmla="*/ 107530 w 2061090"/>
                <a:gd name="connsiteY188" fmla="*/ 884799 h 2789035"/>
                <a:gd name="connsiteX189" fmla="*/ 106223 w 2061090"/>
                <a:gd name="connsiteY189" fmla="*/ 1725218 h 2789035"/>
                <a:gd name="connsiteX190" fmla="*/ 38018 w 2061090"/>
                <a:gd name="connsiteY190" fmla="*/ 1759009 h 2789035"/>
                <a:gd name="connsiteX191" fmla="*/ 9472 w 2061090"/>
                <a:gd name="connsiteY191" fmla="*/ 1755521 h 2789035"/>
                <a:gd name="connsiteX192" fmla="*/ 6639 w 2061090"/>
                <a:gd name="connsiteY192" fmla="*/ 1765113 h 2789035"/>
                <a:gd name="connsiteX193" fmla="*/ 33442 w 2061090"/>
                <a:gd name="connsiteY193" fmla="*/ 1806099 h 2789035"/>
                <a:gd name="connsiteX194" fmla="*/ 78113 w 2061090"/>
                <a:gd name="connsiteY194" fmla="*/ 1833350 h 2789035"/>
                <a:gd name="connsiteX195" fmla="*/ 690432 w 2061090"/>
                <a:gd name="connsiteY195" fmla="*/ 1837274 h 2789035"/>
                <a:gd name="connsiteX196" fmla="*/ 1290114 w 2061090"/>
                <a:gd name="connsiteY196" fmla="*/ 1835094 h 2789035"/>
                <a:gd name="connsiteX197" fmla="*/ 1505842 w 2061090"/>
                <a:gd name="connsiteY197" fmla="*/ 1831169 h 2789035"/>
                <a:gd name="connsiteX198" fmla="*/ 1500830 w 2061090"/>
                <a:gd name="connsiteY198" fmla="*/ 1796070 h 2789035"/>
                <a:gd name="connsiteX199" fmla="*/ 1466183 w 2061090"/>
                <a:gd name="connsiteY199" fmla="*/ 1728052 h 2789035"/>
                <a:gd name="connsiteX200" fmla="*/ 1461171 w 2061090"/>
                <a:gd name="connsiteY200" fmla="*/ 1712137 h 2789035"/>
                <a:gd name="connsiteX201" fmla="*/ 1460081 w 2061090"/>
                <a:gd name="connsiteY201" fmla="*/ 1028684 h 2789035"/>
                <a:gd name="connsiteX202" fmla="*/ 1458338 w 2061090"/>
                <a:gd name="connsiteY202" fmla="*/ 344794 h 2789035"/>
                <a:gd name="connsiteX203" fmla="*/ 1455070 w 2061090"/>
                <a:gd name="connsiteY203" fmla="*/ 344140 h 2789035"/>
                <a:gd name="connsiteX204" fmla="*/ 1448097 w 2061090"/>
                <a:gd name="connsiteY204" fmla="*/ 330842 h 2789035"/>
                <a:gd name="connsiteX205" fmla="*/ 1453544 w 2061090"/>
                <a:gd name="connsiteY205" fmla="*/ 328880 h 2789035"/>
                <a:gd name="connsiteX206" fmla="*/ 1457684 w 2061090"/>
                <a:gd name="connsiteY206" fmla="*/ 321031 h 2789035"/>
                <a:gd name="connsiteX207" fmla="*/ 1446571 w 2061090"/>
                <a:gd name="connsiteY207" fmla="*/ 318415 h 2789035"/>
                <a:gd name="connsiteX208" fmla="*/ 1438291 w 2061090"/>
                <a:gd name="connsiteY208" fmla="*/ 316453 h 2789035"/>
                <a:gd name="connsiteX209" fmla="*/ 1441341 w 2061090"/>
                <a:gd name="connsiteY209" fmla="*/ 313619 h 2789035"/>
                <a:gd name="connsiteX210" fmla="*/ 1447007 w 2061090"/>
                <a:gd name="connsiteY210" fmla="*/ 310349 h 2789035"/>
                <a:gd name="connsiteX211" fmla="*/ 1447007 w 2061090"/>
                <a:gd name="connsiteY211" fmla="*/ 303809 h 2789035"/>
                <a:gd name="connsiteX212" fmla="*/ 1438944 w 2061090"/>
                <a:gd name="connsiteY212" fmla="*/ 304899 h 2789035"/>
                <a:gd name="connsiteX213" fmla="*/ 1428485 w 2061090"/>
                <a:gd name="connsiteY213" fmla="*/ 306643 h 2789035"/>
                <a:gd name="connsiteX214" fmla="*/ 1425652 w 2061090"/>
                <a:gd name="connsiteY214" fmla="*/ 297923 h 2789035"/>
                <a:gd name="connsiteX215" fmla="*/ 1426524 w 2061090"/>
                <a:gd name="connsiteY215" fmla="*/ 277866 h 2789035"/>
                <a:gd name="connsiteX216" fmla="*/ 1429356 w 2061090"/>
                <a:gd name="connsiteY216" fmla="*/ 260425 h 2789035"/>
                <a:gd name="connsiteX217" fmla="*/ 1442213 w 2061090"/>
                <a:gd name="connsiteY217" fmla="*/ 264131 h 2789035"/>
                <a:gd name="connsiteX218" fmla="*/ 1448750 w 2061090"/>
                <a:gd name="connsiteY218" fmla="*/ 267402 h 2789035"/>
                <a:gd name="connsiteX219" fmla="*/ 1444828 w 2061090"/>
                <a:gd name="connsiteY219" fmla="*/ 253013 h 2789035"/>
                <a:gd name="connsiteX220" fmla="*/ 1442431 w 2061090"/>
                <a:gd name="connsiteY220" fmla="*/ 241677 h 2789035"/>
                <a:gd name="connsiteX221" fmla="*/ 1457902 w 2061090"/>
                <a:gd name="connsiteY221" fmla="*/ 239497 h 2789035"/>
                <a:gd name="connsiteX222" fmla="*/ 1455070 w 2061090"/>
                <a:gd name="connsiteY222" fmla="*/ 236445 h 2789035"/>
                <a:gd name="connsiteX223" fmla="*/ 1449186 w 2061090"/>
                <a:gd name="connsiteY223" fmla="*/ 232084 h 2789035"/>
                <a:gd name="connsiteX224" fmla="*/ 1449404 w 2061090"/>
                <a:gd name="connsiteY224" fmla="*/ 222928 h 2789035"/>
                <a:gd name="connsiteX225" fmla="*/ 1447007 w 2061090"/>
                <a:gd name="connsiteY225" fmla="*/ 220966 h 2789035"/>
                <a:gd name="connsiteX226" fmla="*/ 1441559 w 2061090"/>
                <a:gd name="connsiteY226" fmla="*/ 222928 h 2789035"/>
                <a:gd name="connsiteX227" fmla="*/ 1435458 w 2061090"/>
                <a:gd name="connsiteY227" fmla="*/ 230994 h 2789035"/>
                <a:gd name="connsiteX228" fmla="*/ 1428485 w 2061090"/>
                <a:gd name="connsiteY228" fmla="*/ 230776 h 2789035"/>
                <a:gd name="connsiteX229" fmla="*/ 1423037 w 2061090"/>
                <a:gd name="connsiteY229" fmla="*/ 227288 h 2789035"/>
                <a:gd name="connsiteX230" fmla="*/ 1426306 w 2061090"/>
                <a:gd name="connsiteY230" fmla="*/ 225108 h 2789035"/>
                <a:gd name="connsiteX231" fmla="*/ 1440906 w 2061090"/>
                <a:gd name="connsiteY231" fmla="*/ 218786 h 2789035"/>
                <a:gd name="connsiteX232" fmla="*/ 1439816 w 2061090"/>
                <a:gd name="connsiteY232" fmla="*/ 199383 h 2789035"/>
                <a:gd name="connsiteX233" fmla="*/ 1428921 w 2061090"/>
                <a:gd name="connsiteY233" fmla="*/ 193933 h 2789035"/>
                <a:gd name="connsiteX234" fmla="*/ 1415193 w 2061090"/>
                <a:gd name="connsiteY234" fmla="*/ 194587 h 2789035"/>
                <a:gd name="connsiteX235" fmla="*/ 1412142 w 2061090"/>
                <a:gd name="connsiteY235" fmla="*/ 202435 h 2789035"/>
                <a:gd name="connsiteX236" fmla="*/ 1427613 w 2061090"/>
                <a:gd name="connsiteY236" fmla="*/ 203307 h 2789035"/>
                <a:gd name="connsiteX237" fmla="*/ 1436112 w 2061090"/>
                <a:gd name="connsiteY237" fmla="*/ 205705 h 2789035"/>
                <a:gd name="connsiteX238" fmla="*/ 1420640 w 2061090"/>
                <a:gd name="connsiteY238" fmla="*/ 220966 h 2789035"/>
                <a:gd name="connsiteX239" fmla="*/ 1417589 w 2061090"/>
                <a:gd name="connsiteY239" fmla="*/ 236009 h 2789035"/>
                <a:gd name="connsiteX240" fmla="*/ 1414539 w 2061090"/>
                <a:gd name="connsiteY240" fmla="*/ 241895 h 2789035"/>
                <a:gd name="connsiteX241" fmla="*/ 1409963 w 2061090"/>
                <a:gd name="connsiteY241" fmla="*/ 236227 h 2789035"/>
                <a:gd name="connsiteX242" fmla="*/ 1399721 w 2061090"/>
                <a:gd name="connsiteY242" fmla="*/ 235354 h 2789035"/>
                <a:gd name="connsiteX243" fmla="*/ 1396017 w 2061090"/>
                <a:gd name="connsiteY243" fmla="*/ 232084 h 2789035"/>
                <a:gd name="connsiteX244" fmla="*/ 1384250 w 2061090"/>
                <a:gd name="connsiteY244" fmla="*/ 231430 h 2789035"/>
                <a:gd name="connsiteX245" fmla="*/ 1376623 w 2061090"/>
                <a:gd name="connsiteY245" fmla="*/ 232956 h 2789035"/>
                <a:gd name="connsiteX246" fmla="*/ 1353743 w 2061090"/>
                <a:gd name="connsiteY246" fmla="*/ 233610 h 2789035"/>
                <a:gd name="connsiteX247" fmla="*/ 1363548 w 2061090"/>
                <a:gd name="connsiteY247" fmla="*/ 237753 h 2789035"/>
                <a:gd name="connsiteX248" fmla="*/ 1373354 w 2061090"/>
                <a:gd name="connsiteY248" fmla="*/ 242113 h 2789035"/>
                <a:gd name="connsiteX249" fmla="*/ 1381635 w 2061090"/>
                <a:gd name="connsiteY249" fmla="*/ 246037 h 2789035"/>
                <a:gd name="connsiteX250" fmla="*/ 1390351 w 2061090"/>
                <a:gd name="connsiteY250" fmla="*/ 241677 h 2789035"/>
                <a:gd name="connsiteX251" fmla="*/ 1395581 w 2061090"/>
                <a:gd name="connsiteY251" fmla="*/ 250179 h 2789035"/>
                <a:gd name="connsiteX252" fmla="*/ 1388390 w 2061090"/>
                <a:gd name="connsiteY252" fmla="*/ 256937 h 2789035"/>
                <a:gd name="connsiteX253" fmla="*/ 1379892 w 2061090"/>
                <a:gd name="connsiteY253" fmla="*/ 259553 h 2789035"/>
                <a:gd name="connsiteX254" fmla="*/ 1370304 w 2061090"/>
                <a:gd name="connsiteY254" fmla="*/ 250833 h 2789035"/>
                <a:gd name="connsiteX255" fmla="*/ 1356140 w 2061090"/>
                <a:gd name="connsiteY255" fmla="*/ 244075 h 2789035"/>
                <a:gd name="connsiteX256" fmla="*/ 1351128 w 2061090"/>
                <a:gd name="connsiteY256" fmla="*/ 240587 h 2789035"/>
                <a:gd name="connsiteX257" fmla="*/ 1346552 w 2061090"/>
                <a:gd name="connsiteY257" fmla="*/ 237317 h 2789035"/>
                <a:gd name="connsiteX258" fmla="*/ 1342847 w 2061090"/>
                <a:gd name="connsiteY258" fmla="*/ 231430 h 2789035"/>
                <a:gd name="connsiteX259" fmla="*/ 1338053 w 2061090"/>
                <a:gd name="connsiteY259" fmla="*/ 224236 h 2789035"/>
                <a:gd name="connsiteX260" fmla="*/ 1334131 w 2061090"/>
                <a:gd name="connsiteY260" fmla="*/ 215516 h 2789035"/>
                <a:gd name="connsiteX261" fmla="*/ 1346770 w 2061090"/>
                <a:gd name="connsiteY261" fmla="*/ 220748 h 2789035"/>
                <a:gd name="connsiteX262" fmla="*/ 1361805 w 2061090"/>
                <a:gd name="connsiteY262" fmla="*/ 224018 h 2789035"/>
                <a:gd name="connsiteX263" fmla="*/ 1364420 w 2061090"/>
                <a:gd name="connsiteY263" fmla="*/ 219004 h 2789035"/>
                <a:gd name="connsiteX264" fmla="*/ 1357447 w 2061090"/>
                <a:gd name="connsiteY264" fmla="*/ 217042 h 2789035"/>
                <a:gd name="connsiteX265" fmla="*/ 1344591 w 2061090"/>
                <a:gd name="connsiteY265" fmla="*/ 207886 h 2789035"/>
                <a:gd name="connsiteX266" fmla="*/ 1359626 w 2061090"/>
                <a:gd name="connsiteY266" fmla="*/ 210720 h 2789035"/>
                <a:gd name="connsiteX267" fmla="*/ 1362023 w 2061090"/>
                <a:gd name="connsiteY267" fmla="*/ 209630 h 2789035"/>
                <a:gd name="connsiteX268" fmla="*/ 1359844 w 2061090"/>
                <a:gd name="connsiteY268" fmla="*/ 204615 h 2789035"/>
                <a:gd name="connsiteX269" fmla="*/ 1360280 w 2061090"/>
                <a:gd name="connsiteY269" fmla="*/ 199165 h 2789035"/>
                <a:gd name="connsiteX270" fmla="*/ 1366163 w 2061090"/>
                <a:gd name="connsiteY270" fmla="*/ 194587 h 2789035"/>
                <a:gd name="connsiteX271" fmla="*/ 1377930 w 2061090"/>
                <a:gd name="connsiteY271" fmla="*/ 197203 h 2789035"/>
                <a:gd name="connsiteX272" fmla="*/ 1381635 w 2061090"/>
                <a:gd name="connsiteY272" fmla="*/ 205705 h 2789035"/>
                <a:gd name="connsiteX273" fmla="*/ 1379238 w 2061090"/>
                <a:gd name="connsiteY273" fmla="*/ 216388 h 2789035"/>
                <a:gd name="connsiteX274" fmla="*/ 1387518 w 2061090"/>
                <a:gd name="connsiteY274" fmla="*/ 217914 h 2789035"/>
                <a:gd name="connsiteX275" fmla="*/ 1398414 w 2061090"/>
                <a:gd name="connsiteY275" fmla="*/ 220530 h 2789035"/>
                <a:gd name="connsiteX276" fmla="*/ 1404733 w 2061090"/>
                <a:gd name="connsiteY276" fmla="*/ 221402 h 2789035"/>
                <a:gd name="connsiteX277" fmla="*/ 1406476 w 2061090"/>
                <a:gd name="connsiteY277" fmla="*/ 199383 h 2789035"/>
                <a:gd name="connsiteX278" fmla="*/ 1408437 w 2061090"/>
                <a:gd name="connsiteY278" fmla="*/ 177146 h 2789035"/>
                <a:gd name="connsiteX279" fmla="*/ 1414321 w 2061090"/>
                <a:gd name="connsiteY279" fmla="*/ 178019 h 2789035"/>
                <a:gd name="connsiteX280" fmla="*/ 1422601 w 2061090"/>
                <a:gd name="connsiteY280" fmla="*/ 180635 h 2789035"/>
                <a:gd name="connsiteX281" fmla="*/ 1431318 w 2061090"/>
                <a:gd name="connsiteY281" fmla="*/ 184123 h 2789035"/>
                <a:gd name="connsiteX282" fmla="*/ 1436330 w 2061090"/>
                <a:gd name="connsiteY282" fmla="*/ 181943 h 2789035"/>
                <a:gd name="connsiteX283" fmla="*/ 1438291 w 2061090"/>
                <a:gd name="connsiteY283" fmla="*/ 169734 h 2789035"/>
                <a:gd name="connsiteX284" fmla="*/ 1448097 w 2061090"/>
                <a:gd name="connsiteY284" fmla="*/ 150332 h 2789035"/>
                <a:gd name="connsiteX285" fmla="*/ 1443520 w 2061090"/>
                <a:gd name="connsiteY285" fmla="*/ 139431 h 2789035"/>
                <a:gd name="connsiteX286" fmla="*/ 1440034 w 2061090"/>
                <a:gd name="connsiteY286" fmla="*/ 129185 h 2789035"/>
                <a:gd name="connsiteX287" fmla="*/ 1439816 w 2061090"/>
                <a:gd name="connsiteY287" fmla="*/ 121773 h 2789035"/>
                <a:gd name="connsiteX288" fmla="*/ 1427395 w 2061090"/>
                <a:gd name="connsiteY288" fmla="*/ 107602 h 2789035"/>
                <a:gd name="connsiteX289" fmla="*/ 1431971 w 2061090"/>
                <a:gd name="connsiteY289" fmla="*/ 106512 h 2789035"/>
                <a:gd name="connsiteX290" fmla="*/ 1435022 w 2061090"/>
                <a:gd name="connsiteY290" fmla="*/ 102370 h 2789035"/>
                <a:gd name="connsiteX291" fmla="*/ 1439598 w 2061090"/>
                <a:gd name="connsiteY291" fmla="*/ 91470 h 2789035"/>
                <a:gd name="connsiteX292" fmla="*/ 1443520 w 2061090"/>
                <a:gd name="connsiteY292" fmla="*/ 82531 h 2789035"/>
                <a:gd name="connsiteX293" fmla="*/ 1427395 w 2061090"/>
                <a:gd name="connsiteY293" fmla="*/ 89507 h 2789035"/>
                <a:gd name="connsiteX294" fmla="*/ 1425216 w 2061090"/>
                <a:gd name="connsiteY294" fmla="*/ 90161 h 2789035"/>
                <a:gd name="connsiteX295" fmla="*/ 1424345 w 2061090"/>
                <a:gd name="connsiteY295" fmla="*/ 86673 h 2789035"/>
                <a:gd name="connsiteX296" fmla="*/ 1426524 w 2061090"/>
                <a:gd name="connsiteY296" fmla="*/ 74029 h 2789035"/>
                <a:gd name="connsiteX297" fmla="*/ 1424127 w 2061090"/>
                <a:gd name="connsiteY297" fmla="*/ 60730 h 2789035"/>
                <a:gd name="connsiteX298" fmla="*/ 1413013 w 2061090"/>
                <a:gd name="connsiteY298" fmla="*/ 67925 h 2789035"/>
                <a:gd name="connsiteX299" fmla="*/ 1408437 w 2061090"/>
                <a:gd name="connsiteY299" fmla="*/ 76427 h 2789035"/>
                <a:gd name="connsiteX300" fmla="*/ 1406476 w 2061090"/>
                <a:gd name="connsiteY300" fmla="*/ 83839 h 2789035"/>
                <a:gd name="connsiteX301" fmla="*/ 1411052 w 2061090"/>
                <a:gd name="connsiteY301" fmla="*/ 83403 h 2789035"/>
                <a:gd name="connsiteX302" fmla="*/ 1417807 w 2061090"/>
                <a:gd name="connsiteY302" fmla="*/ 82967 h 2789035"/>
                <a:gd name="connsiteX303" fmla="*/ 1419115 w 2061090"/>
                <a:gd name="connsiteY303" fmla="*/ 91688 h 2789035"/>
                <a:gd name="connsiteX304" fmla="*/ 1416064 w 2061090"/>
                <a:gd name="connsiteY304" fmla="*/ 104332 h 2789035"/>
                <a:gd name="connsiteX305" fmla="*/ 1408219 w 2061090"/>
                <a:gd name="connsiteY305" fmla="*/ 106512 h 2789035"/>
                <a:gd name="connsiteX306" fmla="*/ 1398849 w 2061090"/>
                <a:gd name="connsiteY306" fmla="*/ 95612 h 2789035"/>
                <a:gd name="connsiteX307" fmla="*/ 1396452 w 2061090"/>
                <a:gd name="connsiteY307" fmla="*/ 86673 h 2789035"/>
                <a:gd name="connsiteX308" fmla="*/ 1397760 w 2061090"/>
                <a:gd name="connsiteY308" fmla="*/ 81659 h 2789035"/>
                <a:gd name="connsiteX309" fmla="*/ 1395581 w 2061090"/>
                <a:gd name="connsiteY309" fmla="*/ 76427 h 2789035"/>
                <a:gd name="connsiteX310" fmla="*/ 1385993 w 2061090"/>
                <a:gd name="connsiteY310" fmla="*/ 67271 h 2789035"/>
                <a:gd name="connsiteX311" fmla="*/ 1387300 w 2061090"/>
                <a:gd name="connsiteY311" fmla="*/ 110654 h 2789035"/>
                <a:gd name="connsiteX312" fmla="*/ 1391223 w 2061090"/>
                <a:gd name="connsiteY312" fmla="*/ 108910 h 2789035"/>
                <a:gd name="connsiteX313" fmla="*/ 1396452 w 2061090"/>
                <a:gd name="connsiteY313" fmla="*/ 115232 h 2789035"/>
                <a:gd name="connsiteX314" fmla="*/ 1389479 w 2061090"/>
                <a:gd name="connsiteY314" fmla="*/ 119156 h 2789035"/>
                <a:gd name="connsiteX315" fmla="*/ 1385993 w 2061090"/>
                <a:gd name="connsiteY315" fmla="*/ 120247 h 2789035"/>
                <a:gd name="connsiteX316" fmla="*/ 1379238 w 2061090"/>
                <a:gd name="connsiteY316" fmla="*/ 123953 h 2789035"/>
                <a:gd name="connsiteX317" fmla="*/ 1375098 w 2061090"/>
                <a:gd name="connsiteY317" fmla="*/ 132673 h 2789035"/>
                <a:gd name="connsiteX318" fmla="*/ 1387518 w 2061090"/>
                <a:gd name="connsiteY318" fmla="*/ 129185 h 2789035"/>
                <a:gd name="connsiteX319" fmla="*/ 1397760 w 2061090"/>
                <a:gd name="connsiteY319" fmla="*/ 130929 h 2789035"/>
                <a:gd name="connsiteX320" fmla="*/ 1401246 w 2061090"/>
                <a:gd name="connsiteY320" fmla="*/ 135725 h 2789035"/>
                <a:gd name="connsiteX321" fmla="*/ 1406040 w 2061090"/>
                <a:gd name="connsiteY321" fmla="*/ 131147 h 2789035"/>
                <a:gd name="connsiteX322" fmla="*/ 1408219 w 2061090"/>
                <a:gd name="connsiteY322" fmla="*/ 123299 h 2789035"/>
                <a:gd name="connsiteX323" fmla="*/ 1408655 w 2061090"/>
                <a:gd name="connsiteY323" fmla="*/ 117630 h 2789035"/>
                <a:gd name="connsiteX324" fmla="*/ 1413231 w 2061090"/>
                <a:gd name="connsiteY324" fmla="*/ 117412 h 2789035"/>
                <a:gd name="connsiteX325" fmla="*/ 1422166 w 2061090"/>
                <a:gd name="connsiteY325" fmla="*/ 119593 h 2789035"/>
                <a:gd name="connsiteX326" fmla="*/ 1429574 w 2061090"/>
                <a:gd name="connsiteY326" fmla="*/ 121337 h 2789035"/>
                <a:gd name="connsiteX327" fmla="*/ 1421512 w 2061090"/>
                <a:gd name="connsiteY327" fmla="*/ 129403 h 2789035"/>
                <a:gd name="connsiteX328" fmla="*/ 1417372 w 2061090"/>
                <a:gd name="connsiteY328" fmla="*/ 140957 h 2789035"/>
                <a:gd name="connsiteX329" fmla="*/ 1414757 w 2061090"/>
                <a:gd name="connsiteY329" fmla="*/ 154910 h 2789035"/>
                <a:gd name="connsiteX330" fmla="*/ 1414321 w 2061090"/>
                <a:gd name="connsiteY330" fmla="*/ 161014 h 2789035"/>
                <a:gd name="connsiteX331" fmla="*/ 1416500 w 2061090"/>
                <a:gd name="connsiteY331" fmla="*/ 157744 h 2789035"/>
                <a:gd name="connsiteX332" fmla="*/ 1418461 w 2061090"/>
                <a:gd name="connsiteY332" fmla="*/ 154474 h 2789035"/>
                <a:gd name="connsiteX333" fmla="*/ 1421948 w 2061090"/>
                <a:gd name="connsiteY333" fmla="*/ 143573 h 2789035"/>
                <a:gd name="connsiteX334" fmla="*/ 1425216 w 2061090"/>
                <a:gd name="connsiteY334" fmla="*/ 131583 h 2789035"/>
                <a:gd name="connsiteX335" fmla="*/ 1431971 w 2061090"/>
                <a:gd name="connsiteY335" fmla="*/ 134853 h 2789035"/>
                <a:gd name="connsiteX336" fmla="*/ 1433279 w 2061090"/>
                <a:gd name="connsiteY336" fmla="*/ 142265 h 2789035"/>
                <a:gd name="connsiteX337" fmla="*/ 1430882 w 2061090"/>
                <a:gd name="connsiteY337" fmla="*/ 152076 h 2789035"/>
                <a:gd name="connsiteX338" fmla="*/ 1429139 w 2061090"/>
                <a:gd name="connsiteY338" fmla="*/ 158834 h 2789035"/>
                <a:gd name="connsiteX339" fmla="*/ 1426742 w 2061090"/>
                <a:gd name="connsiteY339" fmla="*/ 163848 h 2789035"/>
                <a:gd name="connsiteX340" fmla="*/ 1417807 w 2061090"/>
                <a:gd name="connsiteY340" fmla="*/ 175620 h 2789035"/>
                <a:gd name="connsiteX341" fmla="*/ 1414321 w 2061090"/>
                <a:gd name="connsiteY341" fmla="*/ 169734 h 2789035"/>
                <a:gd name="connsiteX342" fmla="*/ 1408873 w 2061090"/>
                <a:gd name="connsiteY342" fmla="*/ 167554 h 2789035"/>
                <a:gd name="connsiteX343" fmla="*/ 1400157 w 2061090"/>
                <a:gd name="connsiteY343" fmla="*/ 169734 h 2789035"/>
                <a:gd name="connsiteX344" fmla="*/ 1391223 w 2061090"/>
                <a:gd name="connsiteY344" fmla="*/ 164284 h 2789035"/>
                <a:gd name="connsiteX345" fmla="*/ 1396888 w 2061090"/>
                <a:gd name="connsiteY345" fmla="*/ 158398 h 2789035"/>
                <a:gd name="connsiteX346" fmla="*/ 1407566 w 2061090"/>
                <a:gd name="connsiteY346" fmla="*/ 156218 h 2789035"/>
                <a:gd name="connsiteX347" fmla="*/ 1401029 w 2061090"/>
                <a:gd name="connsiteY347" fmla="*/ 144663 h 2789035"/>
                <a:gd name="connsiteX348" fmla="*/ 1396235 w 2061090"/>
                <a:gd name="connsiteY348" fmla="*/ 141175 h 2789035"/>
                <a:gd name="connsiteX349" fmla="*/ 1389915 w 2061090"/>
                <a:gd name="connsiteY349" fmla="*/ 139649 h 2789035"/>
                <a:gd name="connsiteX350" fmla="*/ 1385121 w 2061090"/>
                <a:gd name="connsiteY350" fmla="*/ 150332 h 2789035"/>
                <a:gd name="connsiteX351" fmla="*/ 1373354 w 2061090"/>
                <a:gd name="connsiteY351" fmla="*/ 156218 h 2789035"/>
                <a:gd name="connsiteX352" fmla="*/ 1363766 w 2061090"/>
                <a:gd name="connsiteY352" fmla="*/ 155346 h 2789035"/>
                <a:gd name="connsiteX353" fmla="*/ 1355486 w 2061090"/>
                <a:gd name="connsiteY353" fmla="*/ 154910 h 2789035"/>
                <a:gd name="connsiteX354" fmla="*/ 1348513 w 2061090"/>
                <a:gd name="connsiteY354" fmla="*/ 150768 h 2789035"/>
                <a:gd name="connsiteX355" fmla="*/ 1339143 w 2061090"/>
                <a:gd name="connsiteY355" fmla="*/ 169298 h 2789035"/>
                <a:gd name="connsiteX356" fmla="*/ 1344155 w 2061090"/>
                <a:gd name="connsiteY356" fmla="*/ 166900 h 2789035"/>
                <a:gd name="connsiteX357" fmla="*/ 1353307 w 2061090"/>
                <a:gd name="connsiteY357" fmla="*/ 166464 h 2789035"/>
                <a:gd name="connsiteX358" fmla="*/ 1365510 w 2061090"/>
                <a:gd name="connsiteY358" fmla="*/ 167772 h 2789035"/>
                <a:gd name="connsiteX359" fmla="*/ 1377277 w 2061090"/>
                <a:gd name="connsiteY359" fmla="*/ 166464 h 2789035"/>
                <a:gd name="connsiteX360" fmla="*/ 1371829 w 2061090"/>
                <a:gd name="connsiteY360" fmla="*/ 169734 h 2789035"/>
                <a:gd name="connsiteX361" fmla="*/ 1365292 w 2061090"/>
                <a:gd name="connsiteY361" fmla="*/ 174094 h 2789035"/>
                <a:gd name="connsiteX362" fmla="*/ 1363984 w 2061090"/>
                <a:gd name="connsiteY362" fmla="*/ 181507 h 2789035"/>
                <a:gd name="connsiteX363" fmla="*/ 1360280 w 2061090"/>
                <a:gd name="connsiteY363" fmla="*/ 189137 h 2789035"/>
                <a:gd name="connsiteX364" fmla="*/ 1351128 w 2061090"/>
                <a:gd name="connsiteY364" fmla="*/ 188701 h 2789035"/>
                <a:gd name="connsiteX365" fmla="*/ 1354396 w 2061090"/>
                <a:gd name="connsiteY365" fmla="*/ 188047 h 2789035"/>
                <a:gd name="connsiteX366" fmla="*/ 1357665 w 2061090"/>
                <a:gd name="connsiteY366" fmla="*/ 186303 h 2789035"/>
                <a:gd name="connsiteX367" fmla="*/ 1338053 w 2061090"/>
                <a:gd name="connsiteY367" fmla="*/ 182815 h 2789035"/>
                <a:gd name="connsiteX368" fmla="*/ 1321274 w 2061090"/>
                <a:gd name="connsiteY368" fmla="*/ 175838 h 2789035"/>
                <a:gd name="connsiteX369" fmla="*/ 1320185 w 2061090"/>
                <a:gd name="connsiteY369" fmla="*/ 167554 h 2789035"/>
                <a:gd name="connsiteX370" fmla="*/ 1319095 w 2061090"/>
                <a:gd name="connsiteY370" fmla="*/ 160142 h 2789035"/>
                <a:gd name="connsiteX371" fmla="*/ 1328030 w 2061090"/>
                <a:gd name="connsiteY371" fmla="*/ 167772 h 2789035"/>
                <a:gd name="connsiteX372" fmla="*/ 1331080 w 2061090"/>
                <a:gd name="connsiteY372" fmla="*/ 176274 h 2789035"/>
                <a:gd name="connsiteX373" fmla="*/ 1329773 w 2061090"/>
                <a:gd name="connsiteY373" fmla="*/ 154038 h 2789035"/>
                <a:gd name="connsiteX374" fmla="*/ 1331734 w 2061090"/>
                <a:gd name="connsiteY374" fmla="*/ 144881 h 2789035"/>
                <a:gd name="connsiteX375" fmla="*/ 1340014 w 2061090"/>
                <a:gd name="connsiteY375" fmla="*/ 142483 h 2789035"/>
                <a:gd name="connsiteX376" fmla="*/ 1349602 w 2061090"/>
                <a:gd name="connsiteY376" fmla="*/ 145317 h 2789035"/>
                <a:gd name="connsiteX377" fmla="*/ 1354832 w 2061090"/>
                <a:gd name="connsiteY377" fmla="*/ 138123 h 2789035"/>
                <a:gd name="connsiteX378" fmla="*/ 1359408 w 2061090"/>
                <a:gd name="connsiteY378" fmla="*/ 131583 h 2789035"/>
                <a:gd name="connsiteX379" fmla="*/ 1362895 w 2061090"/>
                <a:gd name="connsiteY379" fmla="*/ 119374 h 2789035"/>
                <a:gd name="connsiteX380" fmla="*/ 1365945 w 2061090"/>
                <a:gd name="connsiteY380" fmla="*/ 107602 h 2789035"/>
                <a:gd name="connsiteX381" fmla="*/ 1375315 w 2061090"/>
                <a:gd name="connsiteY381" fmla="*/ 105204 h 2789035"/>
                <a:gd name="connsiteX382" fmla="*/ 1374008 w 2061090"/>
                <a:gd name="connsiteY382" fmla="*/ 92996 h 2789035"/>
                <a:gd name="connsiteX383" fmla="*/ 1362241 w 2061090"/>
                <a:gd name="connsiteY383" fmla="*/ 96484 h 2789035"/>
                <a:gd name="connsiteX384" fmla="*/ 1356140 w 2061090"/>
                <a:gd name="connsiteY384" fmla="*/ 102370 h 2789035"/>
                <a:gd name="connsiteX385" fmla="*/ 1352653 w 2061090"/>
                <a:gd name="connsiteY385" fmla="*/ 94086 h 2789035"/>
                <a:gd name="connsiteX386" fmla="*/ 1352653 w 2061090"/>
                <a:gd name="connsiteY386" fmla="*/ 83185 h 2789035"/>
                <a:gd name="connsiteX387" fmla="*/ 1359190 w 2061090"/>
                <a:gd name="connsiteY387" fmla="*/ 84711 h 2789035"/>
                <a:gd name="connsiteX388" fmla="*/ 1375098 w 2061090"/>
                <a:gd name="connsiteY388" fmla="*/ 86891 h 2789035"/>
                <a:gd name="connsiteX389" fmla="*/ 1374662 w 2061090"/>
                <a:gd name="connsiteY389" fmla="*/ 84711 h 2789035"/>
                <a:gd name="connsiteX390" fmla="*/ 1360498 w 2061090"/>
                <a:gd name="connsiteY390" fmla="*/ 75119 h 2789035"/>
                <a:gd name="connsiteX391" fmla="*/ 1355486 w 2061090"/>
                <a:gd name="connsiteY391" fmla="*/ 71195 h 2789035"/>
                <a:gd name="connsiteX392" fmla="*/ 1343937 w 2061090"/>
                <a:gd name="connsiteY392" fmla="*/ 72067 h 2789035"/>
                <a:gd name="connsiteX393" fmla="*/ 1339797 w 2061090"/>
                <a:gd name="connsiteY393" fmla="*/ 73593 h 2789035"/>
                <a:gd name="connsiteX394" fmla="*/ 1341976 w 2061090"/>
                <a:gd name="connsiteY394" fmla="*/ 89943 h 2789035"/>
                <a:gd name="connsiteX395" fmla="*/ 1345462 w 2061090"/>
                <a:gd name="connsiteY395" fmla="*/ 106948 h 2789035"/>
                <a:gd name="connsiteX396" fmla="*/ 1352217 w 2061090"/>
                <a:gd name="connsiteY396" fmla="*/ 112180 h 2789035"/>
                <a:gd name="connsiteX397" fmla="*/ 1352653 w 2061090"/>
                <a:gd name="connsiteY397" fmla="*/ 119374 h 2789035"/>
                <a:gd name="connsiteX398" fmla="*/ 1348513 w 2061090"/>
                <a:gd name="connsiteY398" fmla="*/ 127223 h 2789035"/>
                <a:gd name="connsiteX399" fmla="*/ 1328247 w 2061090"/>
                <a:gd name="connsiteY399" fmla="*/ 127659 h 2789035"/>
                <a:gd name="connsiteX400" fmla="*/ 1318442 w 2061090"/>
                <a:gd name="connsiteY400" fmla="*/ 106948 h 2789035"/>
                <a:gd name="connsiteX401" fmla="*/ 1322364 w 2061090"/>
                <a:gd name="connsiteY401" fmla="*/ 108474 h 2789035"/>
                <a:gd name="connsiteX402" fmla="*/ 1329555 w 2061090"/>
                <a:gd name="connsiteY402" fmla="*/ 111526 h 2789035"/>
                <a:gd name="connsiteX403" fmla="*/ 1331952 w 2061090"/>
                <a:gd name="connsiteY403" fmla="*/ 119374 h 2789035"/>
                <a:gd name="connsiteX404" fmla="*/ 1335438 w 2061090"/>
                <a:gd name="connsiteY404" fmla="*/ 126133 h 2789035"/>
                <a:gd name="connsiteX405" fmla="*/ 1337835 w 2061090"/>
                <a:gd name="connsiteY405" fmla="*/ 111962 h 2789035"/>
                <a:gd name="connsiteX406" fmla="*/ 1334349 w 2061090"/>
                <a:gd name="connsiteY406" fmla="*/ 103678 h 2789035"/>
                <a:gd name="connsiteX407" fmla="*/ 1330644 w 2061090"/>
                <a:gd name="connsiteY407" fmla="*/ 93214 h 2789035"/>
                <a:gd name="connsiteX408" fmla="*/ 1320621 w 2061090"/>
                <a:gd name="connsiteY408" fmla="*/ 94740 h 2789035"/>
                <a:gd name="connsiteX409" fmla="*/ 1316263 w 2061090"/>
                <a:gd name="connsiteY409" fmla="*/ 97792 h 2789035"/>
                <a:gd name="connsiteX410" fmla="*/ 1311904 w 2061090"/>
                <a:gd name="connsiteY410" fmla="*/ 110000 h 2789035"/>
                <a:gd name="connsiteX411" fmla="*/ 1314083 w 2061090"/>
                <a:gd name="connsiteY411" fmla="*/ 126133 h 2789035"/>
                <a:gd name="connsiteX412" fmla="*/ 1312122 w 2061090"/>
                <a:gd name="connsiteY412" fmla="*/ 132673 h 2789035"/>
                <a:gd name="connsiteX413" fmla="*/ 1303188 w 2061090"/>
                <a:gd name="connsiteY413" fmla="*/ 134853 h 2789035"/>
                <a:gd name="connsiteX414" fmla="*/ 1299919 w 2061090"/>
                <a:gd name="connsiteY414" fmla="*/ 136815 h 2789035"/>
                <a:gd name="connsiteX415" fmla="*/ 1298830 w 2061090"/>
                <a:gd name="connsiteY415" fmla="*/ 140303 h 2789035"/>
                <a:gd name="connsiteX416" fmla="*/ 1295126 w 2061090"/>
                <a:gd name="connsiteY416" fmla="*/ 137687 h 2789035"/>
                <a:gd name="connsiteX417" fmla="*/ 1290767 w 2061090"/>
                <a:gd name="connsiteY417" fmla="*/ 130711 h 2789035"/>
                <a:gd name="connsiteX418" fmla="*/ 1293164 w 2061090"/>
                <a:gd name="connsiteY418" fmla="*/ 123517 h 2789035"/>
                <a:gd name="connsiteX419" fmla="*/ 1300137 w 2061090"/>
                <a:gd name="connsiteY419" fmla="*/ 109346 h 2789035"/>
                <a:gd name="connsiteX420" fmla="*/ 1291421 w 2061090"/>
                <a:gd name="connsiteY420" fmla="*/ 106512 h 2789035"/>
                <a:gd name="connsiteX421" fmla="*/ 1269412 w 2061090"/>
                <a:gd name="connsiteY421" fmla="*/ 94086 h 2789035"/>
                <a:gd name="connsiteX422" fmla="*/ 1265926 w 2061090"/>
                <a:gd name="connsiteY422" fmla="*/ 85801 h 2789035"/>
                <a:gd name="connsiteX423" fmla="*/ 1260478 w 2061090"/>
                <a:gd name="connsiteY423" fmla="*/ 92342 h 2789035"/>
                <a:gd name="connsiteX424" fmla="*/ 1231061 w 2061090"/>
                <a:gd name="connsiteY424" fmla="*/ 107602 h 2789035"/>
                <a:gd name="connsiteX425" fmla="*/ 1214936 w 2061090"/>
                <a:gd name="connsiteY425" fmla="*/ 110872 h 2789035"/>
                <a:gd name="connsiteX426" fmla="*/ 1223652 w 2061090"/>
                <a:gd name="connsiteY426" fmla="*/ 120465 h 2789035"/>
                <a:gd name="connsiteX427" fmla="*/ 1231932 w 2061090"/>
                <a:gd name="connsiteY427" fmla="*/ 124171 h 2789035"/>
                <a:gd name="connsiteX428" fmla="*/ 1235419 w 2061090"/>
                <a:gd name="connsiteY428" fmla="*/ 128967 h 2789035"/>
                <a:gd name="connsiteX429" fmla="*/ 1243264 w 2061090"/>
                <a:gd name="connsiteY429" fmla="*/ 123081 h 2789035"/>
                <a:gd name="connsiteX430" fmla="*/ 1253287 w 2061090"/>
                <a:gd name="connsiteY430" fmla="*/ 111526 h 2789035"/>
                <a:gd name="connsiteX431" fmla="*/ 1263529 w 2061090"/>
                <a:gd name="connsiteY431" fmla="*/ 107384 h 2789035"/>
                <a:gd name="connsiteX432" fmla="*/ 1279218 w 2061090"/>
                <a:gd name="connsiteY432" fmla="*/ 114142 h 2789035"/>
                <a:gd name="connsiteX433" fmla="*/ 1275078 w 2061090"/>
                <a:gd name="connsiteY433" fmla="*/ 115886 h 2789035"/>
                <a:gd name="connsiteX434" fmla="*/ 1274206 w 2061090"/>
                <a:gd name="connsiteY434" fmla="*/ 122209 h 2789035"/>
                <a:gd name="connsiteX435" fmla="*/ 1277693 w 2061090"/>
                <a:gd name="connsiteY435" fmla="*/ 133109 h 2789035"/>
                <a:gd name="connsiteX436" fmla="*/ 1266144 w 2061090"/>
                <a:gd name="connsiteY436" fmla="*/ 129403 h 2789035"/>
                <a:gd name="connsiteX437" fmla="*/ 1261786 w 2061090"/>
                <a:gd name="connsiteY437" fmla="*/ 122863 h 2789035"/>
                <a:gd name="connsiteX438" fmla="*/ 1252634 w 2061090"/>
                <a:gd name="connsiteY438" fmla="*/ 123517 h 2789035"/>
                <a:gd name="connsiteX439" fmla="*/ 1247840 w 2061090"/>
                <a:gd name="connsiteY439" fmla="*/ 143573 h 2789035"/>
                <a:gd name="connsiteX440" fmla="*/ 1260260 w 2061090"/>
                <a:gd name="connsiteY440" fmla="*/ 155564 h 2789035"/>
                <a:gd name="connsiteX441" fmla="*/ 1272681 w 2061090"/>
                <a:gd name="connsiteY441" fmla="*/ 153602 h 2789035"/>
                <a:gd name="connsiteX442" fmla="*/ 1269412 w 2061090"/>
                <a:gd name="connsiteY442" fmla="*/ 156654 h 2789035"/>
                <a:gd name="connsiteX443" fmla="*/ 1263529 w 2061090"/>
                <a:gd name="connsiteY443" fmla="*/ 162104 h 2789035"/>
                <a:gd name="connsiteX444" fmla="*/ 1258735 w 2061090"/>
                <a:gd name="connsiteY444" fmla="*/ 167772 h 2789035"/>
                <a:gd name="connsiteX445" fmla="*/ 1253069 w 2061090"/>
                <a:gd name="connsiteY445" fmla="*/ 168426 h 2789035"/>
                <a:gd name="connsiteX446" fmla="*/ 1249147 w 2061090"/>
                <a:gd name="connsiteY446" fmla="*/ 175184 h 2789035"/>
                <a:gd name="connsiteX447" fmla="*/ 1239123 w 2061090"/>
                <a:gd name="connsiteY447" fmla="*/ 191099 h 2789035"/>
                <a:gd name="connsiteX448" fmla="*/ 1235419 w 2061090"/>
                <a:gd name="connsiteY448" fmla="*/ 187175 h 2789035"/>
                <a:gd name="connsiteX449" fmla="*/ 1235855 w 2061090"/>
                <a:gd name="connsiteY449" fmla="*/ 167554 h 2789035"/>
                <a:gd name="connsiteX450" fmla="*/ 1228882 w 2061090"/>
                <a:gd name="connsiteY450" fmla="*/ 167118 h 2789035"/>
                <a:gd name="connsiteX451" fmla="*/ 1225395 w 2061090"/>
                <a:gd name="connsiteY451" fmla="*/ 160360 h 2789035"/>
                <a:gd name="connsiteX452" fmla="*/ 1232368 w 2061090"/>
                <a:gd name="connsiteY452" fmla="*/ 154474 h 2789035"/>
                <a:gd name="connsiteX453" fmla="*/ 1242174 w 2061090"/>
                <a:gd name="connsiteY453" fmla="*/ 153820 h 2789035"/>
                <a:gd name="connsiteX454" fmla="*/ 1239123 w 2061090"/>
                <a:gd name="connsiteY454" fmla="*/ 146625 h 2789035"/>
                <a:gd name="connsiteX455" fmla="*/ 1237162 w 2061090"/>
                <a:gd name="connsiteY455" fmla="*/ 137033 h 2789035"/>
                <a:gd name="connsiteX456" fmla="*/ 1234765 w 2061090"/>
                <a:gd name="connsiteY456" fmla="*/ 134635 h 2789035"/>
                <a:gd name="connsiteX457" fmla="*/ 1227356 w 2061090"/>
                <a:gd name="connsiteY457" fmla="*/ 133981 h 2789035"/>
                <a:gd name="connsiteX458" fmla="*/ 1220383 w 2061090"/>
                <a:gd name="connsiteY458" fmla="*/ 139649 h 2789035"/>
                <a:gd name="connsiteX459" fmla="*/ 1218204 w 2061090"/>
                <a:gd name="connsiteY459" fmla="*/ 145753 h 2789035"/>
                <a:gd name="connsiteX460" fmla="*/ 1216025 w 2061090"/>
                <a:gd name="connsiteY460" fmla="*/ 137251 h 2789035"/>
                <a:gd name="connsiteX461" fmla="*/ 1208180 w 2061090"/>
                <a:gd name="connsiteY461" fmla="*/ 129403 h 2789035"/>
                <a:gd name="connsiteX462" fmla="*/ 1207745 w 2061090"/>
                <a:gd name="connsiteY462" fmla="*/ 136379 h 2789035"/>
                <a:gd name="connsiteX463" fmla="*/ 1207745 w 2061090"/>
                <a:gd name="connsiteY463" fmla="*/ 141829 h 2789035"/>
                <a:gd name="connsiteX464" fmla="*/ 1205130 w 2061090"/>
                <a:gd name="connsiteY464" fmla="*/ 149460 h 2789035"/>
                <a:gd name="connsiteX465" fmla="*/ 1195978 w 2061090"/>
                <a:gd name="connsiteY465" fmla="*/ 137469 h 2789035"/>
                <a:gd name="connsiteX466" fmla="*/ 1190530 w 2061090"/>
                <a:gd name="connsiteY466" fmla="*/ 124825 h 2789035"/>
                <a:gd name="connsiteX467" fmla="*/ 1185518 w 2061090"/>
                <a:gd name="connsiteY467" fmla="*/ 118066 h 2789035"/>
                <a:gd name="connsiteX468" fmla="*/ 1181814 w 2061090"/>
                <a:gd name="connsiteY468" fmla="*/ 112616 h 2789035"/>
                <a:gd name="connsiteX469" fmla="*/ 1179417 w 2061090"/>
                <a:gd name="connsiteY469" fmla="*/ 107384 h 2789035"/>
                <a:gd name="connsiteX470" fmla="*/ 1189876 w 2061090"/>
                <a:gd name="connsiteY470" fmla="*/ 114796 h 2789035"/>
                <a:gd name="connsiteX471" fmla="*/ 1195106 w 2061090"/>
                <a:gd name="connsiteY471" fmla="*/ 119593 h 2789035"/>
                <a:gd name="connsiteX472" fmla="*/ 1201861 w 2061090"/>
                <a:gd name="connsiteY472" fmla="*/ 123735 h 2789035"/>
                <a:gd name="connsiteX473" fmla="*/ 1206437 w 2061090"/>
                <a:gd name="connsiteY473" fmla="*/ 116322 h 2789035"/>
                <a:gd name="connsiteX474" fmla="*/ 1203604 w 2061090"/>
                <a:gd name="connsiteY474" fmla="*/ 106512 h 2789035"/>
                <a:gd name="connsiteX475" fmla="*/ 1200772 w 2061090"/>
                <a:gd name="connsiteY475" fmla="*/ 108692 h 2789035"/>
                <a:gd name="connsiteX476" fmla="*/ 1198593 w 2061090"/>
                <a:gd name="connsiteY476" fmla="*/ 110872 h 2789035"/>
                <a:gd name="connsiteX477" fmla="*/ 1196413 w 2061090"/>
                <a:gd name="connsiteY477" fmla="*/ 106512 h 2789035"/>
                <a:gd name="connsiteX478" fmla="*/ 1188787 w 2061090"/>
                <a:gd name="connsiteY478" fmla="*/ 98446 h 2789035"/>
                <a:gd name="connsiteX479" fmla="*/ 1181160 w 2061090"/>
                <a:gd name="connsiteY479" fmla="*/ 88635 h 2789035"/>
                <a:gd name="connsiteX480" fmla="*/ 1186608 w 2061090"/>
                <a:gd name="connsiteY480" fmla="*/ 82531 h 2789035"/>
                <a:gd name="connsiteX481" fmla="*/ 1194234 w 2061090"/>
                <a:gd name="connsiteY481" fmla="*/ 87981 h 2789035"/>
                <a:gd name="connsiteX482" fmla="*/ 1204258 w 2061090"/>
                <a:gd name="connsiteY482" fmla="*/ 90161 h 2789035"/>
                <a:gd name="connsiteX483" fmla="*/ 1204258 w 2061090"/>
                <a:gd name="connsiteY483" fmla="*/ 83621 h 2789035"/>
                <a:gd name="connsiteX484" fmla="*/ 1197067 w 2061090"/>
                <a:gd name="connsiteY484" fmla="*/ 80351 h 2789035"/>
                <a:gd name="connsiteX485" fmla="*/ 1194234 w 2061090"/>
                <a:gd name="connsiteY485" fmla="*/ 77081 h 2789035"/>
                <a:gd name="connsiteX486" fmla="*/ 1197285 w 2061090"/>
                <a:gd name="connsiteY486" fmla="*/ 73811 h 2789035"/>
                <a:gd name="connsiteX487" fmla="*/ 1201425 w 2061090"/>
                <a:gd name="connsiteY487" fmla="*/ 71195 h 2789035"/>
                <a:gd name="connsiteX488" fmla="*/ 1209488 w 2061090"/>
                <a:gd name="connsiteY488" fmla="*/ 77299 h 2789035"/>
                <a:gd name="connsiteX489" fmla="*/ 1213846 w 2061090"/>
                <a:gd name="connsiteY489" fmla="*/ 81441 h 2789035"/>
                <a:gd name="connsiteX490" fmla="*/ 1218204 w 2061090"/>
                <a:gd name="connsiteY490" fmla="*/ 90379 h 2789035"/>
                <a:gd name="connsiteX491" fmla="*/ 1230407 w 2061090"/>
                <a:gd name="connsiteY491" fmla="*/ 91470 h 2789035"/>
                <a:gd name="connsiteX492" fmla="*/ 1234329 w 2061090"/>
                <a:gd name="connsiteY492" fmla="*/ 67271 h 2789035"/>
                <a:gd name="connsiteX493" fmla="*/ 1227138 w 2061090"/>
                <a:gd name="connsiteY493" fmla="*/ 58768 h 2789035"/>
                <a:gd name="connsiteX494" fmla="*/ 1219730 w 2061090"/>
                <a:gd name="connsiteY494" fmla="*/ 54844 h 2789035"/>
                <a:gd name="connsiteX495" fmla="*/ 1221473 w 2061090"/>
                <a:gd name="connsiteY495" fmla="*/ 62911 h 2789035"/>
                <a:gd name="connsiteX496" fmla="*/ 1226921 w 2061090"/>
                <a:gd name="connsiteY496" fmla="*/ 71631 h 2789035"/>
                <a:gd name="connsiteX497" fmla="*/ 1224741 w 2061090"/>
                <a:gd name="connsiteY497" fmla="*/ 80351 h 2789035"/>
                <a:gd name="connsiteX498" fmla="*/ 1222562 w 2061090"/>
                <a:gd name="connsiteY498" fmla="*/ 78389 h 2789035"/>
                <a:gd name="connsiteX499" fmla="*/ 1208616 w 2061090"/>
                <a:gd name="connsiteY499" fmla="*/ 64437 h 2789035"/>
                <a:gd name="connsiteX500" fmla="*/ 1206001 w 2061090"/>
                <a:gd name="connsiteY500" fmla="*/ 57460 h 2789035"/>
                <a:gd name="connsiteX501" fmla="*/ 1202951 w 2061090"/>
                <a:gd name="connsiteY501" fmla="*/ 52010 h 2789035"/>
                <a:gd name="connsiteX502" fmla="*/ 1195978 w 2061090"/>
                <a:gd name="connsiteY502" fmla="*/ 57460 h 2789035"/>
                <a:gd name="connsiteX503" fmla="*/ 1184429 w 2061090"/>
                <a:gd name="connsiteY503" fmla="*/ 48522 h 2789035"/>
                <a:gd name="connsiteX504" fmla="*/ 1186608 w 2061090"/>
                <a:gd name="connsiteY504" fmla="*/ 42636 h 2789035"/>
                <a:gd name="connsiteX505" fmla="*/ 1197067 w 2061090"/>
                <a:gd name="connsiteY505" fmla="*/ 44816 h 2789035"/>
                <a:gd name="connsiteX506" fmla="*/ 1206219 w 2061090"/>
                <a:gd name="connsiteY506" fmla="*/ 45688 h 2789035"/>
                <a:gd name="connsiteX507" fmla="*/ 1219076 w 2061090"/>
                <a:gd name="connsiteY507" fmla="*/ 40892 h 2789035"/>
                <a:gd name="connsiteX508" fmla="*/ 1221909 w 2061090"/>
                <a:gd name="connsiteY508" fmla="*/ 33262 h 2789035"/>
                <a:gd name="connsiteX509" fmla="*/ 1195106 w 2061090"/>
                <a:gd name="connsiteY509" fmla="*/ 32608 h 2789035"/>
                <a:gd name="connsiteX510" fmla="*/ 1181160 w 2061090"/>
                <a:gd name="connsiteY510" fmla="*/ 31299 h 2789035"/>
                <a:gd name="connsiteX511" fmla="*/ 1178981 w 2061090"/>
                <a:gd name="connsiteY511" fmla="*/ 28029 h 2789035"/>
                <a:gd name="connsiteX512" fmla="*/ 1173751 w 2061090"/>
                <a:gd name="connsiteY512" fmla="*/ 43726 h 2789035"/>
                <a:gd name="connsiteX513" fmla="*/ 1172226 w 2061090"/>
                <a:gd name="connsiteY513" fmla="*/ 51356 h 2789035"/>
                <a:gd name="connsiteX514" fmla="*/ 1172879 w 2061090"/>
                <a:gd name="connsiteY514" fmla="*/ 57242 h 2789035"/>
                <a:gd name="connsiteX515" fmla="*/ 1168086 w 2061090"/>
                <a:gd name="connsiteY515" fmla="*/ 91252 h 2789035"/>
                <a:gd name="connsiteX516" fmla="*/ 1171354 w 2061090"/>
                <a:gd name="connsiteY516" fmla="*/ 97792 h 2789035"/>
                <a:gd name="connsiteX517" fmla="*/ 1180506 w 2061090"/>
                <a:gd name="connsiteY517" fmla="*/ 96266 h 2789035"/>
                <a:gd name="connsiteX518" fmla="*/ 1180724 w 2061090"/>
                <a:gd name="connsiteY518" fmla="*/ 103460 h 2789035"/>
                <a:gd name="connsiteX519" fmla="*/ 1152614 w 2061090"/>
                <a:gd name="connsiteY519" fmla="*/ 106512 h 2789035"/>
                <a:gd name="connsiteX520" fmla="*/ 1156319 w 2061090"/>
                <a:gd name="connsiteY520" fmla="*/ 85583 h 2789035"/>
                <a:gd name="connsiteX521" fmla="*/ 1147602 w 2061090"/>
                <a:gd name="connsiteY521" fmla="*/ 82531 h 2789035"/>
                <a:gd name="connsiteX522" fmla="*/ 1141719 w 2061090"/>
                <a:gd name="connsiteY522" fmla="*/ 81223 h 2789035"/>
                <a:gd name="connsiteX523" fmla="*/ 1140193 w 2061090"/>
                <a:gd name="connsiteY523" fmla="*/ 72503 h 2789035"/>
                <a:gd name="connsiteX524" fmla="*/ 1133438 w 2061090"/>
                <a:gd name="connsiteY524" fmla="*/ 60948 h 2789035"/>
                <a:gd name="connsiteX525" fmla="*/ 1123632 w 2061090"/>
                <a:gd name="connsiteY525" fmla="*/ 58768 h 2789035"/>
                <a:gd name="connsiteX526" fmla="*/ 1118403 w 2061090"/>
                <a:gd name="connsiteY526" fmla="*/ 49830 h 2789035"/>
                <a:gd name="connsiteX527" fmla="*/ 1115570 w 2061090"/>
                <a:gd name="connsiteY527" fmla="*/ 44380 h 2789035"/>
                <a:gd name="connsiteX528" fmla="*/ 1106854 w 2061090"/>
                <a:gd name="connsiteY528" fmla="*/ 38930 h 2789035"/>
                <a:gd name="connsiteX529" fmla="*/ 1095740 w 2061090"/>
                <a:gd name="connsiteY529" fmla="*/ 35006 h 2789035"/>
                <a:gd name="connsiteX530" fmla="*/ 1090075 w 2061090"/>
                <a:gd name="connsiteY530" fmla="*/ 26939 h 2789035"/>
                <a:gd name="connsiteX531" fmla="*/ 1086370 w 2061090"/>
                <a:gd name="connsiteY531" fmla="*/ 14949 h 2789035"/>
                <a:gd name="connsiteX532" fmla="*/ 1093561 w 2061090"/>
                <a:gd name="connsiteY532" fmla="*/ 9935 h 2789035"/>
                <a:gd name="connsiteX533" fmla="*/ 1101842 w 2061090"/>
                <a:gd name="connsiteY533" fmla="*/ 16257 h 2789035"/>
                <a:gd name="connsiteX534" fmla="*/ 1103149 w 2061090"/>
                <a:gd name="connsiteY534" fmla="*/ 26939 h 2789035"/>
                <a:gd name="connsiteX535" fmla="*/ 1111212 w 2061090"/>
                <a:gd name="connsiteY535" fmla="*/ 31735 h 2789035"/>
                <a:gd name="connsiteX536" fmla="*/ 1120146 w 2061090"/>
                <a:gd name="connsiteY536" fmla="*/ 32389 h 2789035"/>
                <a:gd name="connsiteX537" fmla="*/ 1126683 w 2061090"/>
                <a:gd name="connsiteY537" fmla="*/ 32389 h 2789035"/>
                <a:gd name="connsiteX538" fmla="*/ 1140629 w 2061090"/>
                <a:gd name="connsiteY538" fmla="*/ 40020 h 2789035"/>
                <a:gd name="connsiteX539" fmla="*/ 1140629 w 2061090"/>
                <a:gd name="connsiteY539" fmla="*/ 51792 h 2789035"/>
                <a:gd name="connsiteX540" fmla="*/ 1142590 w 2061090"/>
                <a:gd name="connsiteY540" fmla="*/ 58550 h 2789035"/>
                <a:gd name="connsiteX541" fmla="*/ 1146949 w 2061090"/>
                <a:gd name="connsiteY541" fmla="*/ 63565 h 2789035"/>
                <a:gd name="connsiteX542" fmla="*/ 1153268 w 2061090"/>
                <a:gd name="connsiteY542" fmla="*/ 70541 h 2789035"/>
                <a:gd name="connsiteX543" fmla="*/ 1158933 w 2061090"/>
                <a:gd name="connsiteY543" fmla="*/ 77735 h 2789035"/>
                <a:gd name="connsiteX544" fmla="*/ 1165689 w 2061090"/>
                <a:gd name="connsiteY544" fmla="*/ 79479 h 2789035"/>
                <a:gd name="connsiteX545" fmla="*/ 1165906 w 2061090"/>
                <a:gd name="connsiteY545" fmla="*/ 71849 h 2789035"/>
                <a:gd name="connsiteX546" fmla="*/ 1165906 w 2061090"/>
                <a:gd name="connsiteY546" fmla="*/ 63129 h 2789035"/>
                <a:gd name="connsiteX547" fmla="*/ 1161548 w 2061090"/>
                <a:gd name="connsiteY547" fmla="*/ 58768 h 2789035"/>
                <a:gd name="connsiteX548" fmla="*/ 1155447 w 2061090"/>
                <a:gd name="connsiteY548" fmla="*/ 55934 h 2789035"/>
                <a:gd name="connsiteX549" fmla="*/ 1161548 w 2061090"/>
                <a:gd name="connsiteY549" fmla="*/ 49612 h 2789035"/>
                <a:gd name="connsiteX550" fmla="*/ 1166996 w 2061090"/>
                <a:gd name="connsiteY550" fmla="*/ 48304 h 2789035"/>
                <a:gd name="connsiteX551" fmla="*/ 1160895 w 2061090"/>
                <a:gd name="connsiteY551" fmla="*/ 45688 h 2789035"/>
                <a:gd name="connsiteX552" fmla="*/ 1152832 w 2061090"/>
                <a:gd name="connsiteY552" fmla="*/ 43290 h 2789035"/>
                <a:gd name="connsiteX553" fmla="*/ 1149781 w 2061090"/>
                <a:gd name="connsiteY553" fmla="*/ 37840 h 2789035"/>
                <a:gd name="connsiteX554" fmla="*/ 1144116 w 2061090"/>
                <a:gd name="connsiteY554" fmla="*/ 32389 h 2789035"/>
                <a:gd name="connsiteX555" fmla="*/ 1139758 w 2061090"/>
                <a:gd name="connsiteY555" fmla="*/ 29119 h 2789035"/>
                <a:gd name="connsiteX556" fmla="*/ 1141937 w 2061090"/>
                <a:gd name="connsiteY556" fmla="*/ 25849 h 2789035"/>
                <a:gd name="connsiteX557" fmla="*/ 1144116 w 2061090"/>
                <a:gd name="connsiteY557" fmla="*/ 22361 h 2789035"/>
                <a:gd name="connsiteX558" fmla="*/ 1140847 w 2061090"/>
                <a:gd name="connsiteY558" fmla="*/ 21489 h 2789035"/>
                <a:gd name="connsiteX559" fmla="*/ 1139322 w 2061090"/>
                <a:gd name="connsiteY559" fmla="*/ 16475 h 2789035"/>
                <a:gd name="connsiteX560" fmla="*/ 1144116 w 2061090"/>
                <a:gd name="connsiteY560" fmla="*/ 8845 h 2789035"/>
                <a:gd name="connsiteX561" fmla="*/ 916402 w 2061090"/>
                <a:gd name="connsiteY561" fmla="*/ 5139 h 2789035"/>
                <a:gd name="connsiteX562" fmla="*/ 739897 w 2061090"/>
                <a:gd name="connsiteY562" fmla="*/ 5139 h 2789035"/>
                <a:gd name="connsiteX563" fmla="*/ 740551 w 2061090"/>
                <a:gd name="connsiteY563" fmla="*/ 10371 h 2789035"/>
                <a:gd name="connsiteX564" fmla="*/ 738372 w 2061090"/>
                <a:gd name="connsiteY564" fmla="*/ 14513 h 2789035"/>
                <a:gd name="connsiteX565" fmla="*/ 735539 w 2061090"/>
                <a:gd name="connsiteY565" fmla="*/ 9281 h 2789035"/>
                <a:gd name="connsiteX566" fmla="*/ 664719 w 2061090"/>
                <a:gd name="connsiteY566" fmla="*/ 5139 h 2789035"/>
                <a:gd name="connsiteX567" fmla="*/ 593899 w 2061090"/>
                <a:gd name="connsiteY567" fmla="*/ 5139 h 2789035"/>
                <a:gd name="connsiteX568" fmla="*/ 593899 w 2061090"/>
                <a:gd name="connsiteY568" fmla="*/ 13859 h 2789035"/>
                <a:gd name="connsiteX569" fmla="*/ 589541 w 2061090"/>
                <a:gd name="connsiteY569" fmla="*/ 22579 h 2789035"/>
                <a:gd name="connsiteX570" fmla="*/ 586273 w 2061090"/>
                <a:gd name="connsiteY570" fmla="*/ 9499 h 2789035"/>
                <a:gd name="connsiteX571" fmla="*/ 586926 w 2061090"/>
                <a:gd name="connsiteY571" fmla="*/ 5575 h 2789035"/>
                <a:gd name="connsiteX572" fmla="*/ 532885 w 2061090"/>
                <a:gd name="connsiteY572" fmla="*/ 5357 h 2789035"/>
                <a:gd name="connsiteX573" fmla="*/ 473615 w 2061090"/>
                <a:gd name="connsiteY573" fmla="*/ 6229 h 2789035"/>
                <a:gd name="connsiteX574" fmla="*/ 466642 w 2061090"/>
                <a:gd name="connsiteY574" fmla="*/ 14513 h 2789035"/>
                <a:gd name="connsiteX575" fmla="*/ 466206 w 2061090"/>
                <a:gd name="connsiteY575" fmla="*/ 26939 h 2789035"/>
                <a:gd name="connsiteX576" fmla="*/ 477101 w 2061090"/>
                <a:gd name="connsiteY576" fmla="*/ 28683 h 2789035"/>
                <a:gd name="connsiteX577" fmla="*/ 481895 w 2061090"/>
                <a:gd name="connsiteY577" fmla="*/ 20399 h 2789035"/>
                <a:gd name="connsiteX578" fmla="*/ 483856 w 2061090"/>
                <a:gd name="connsiteY578" fmla="*/ 21053 h 2789035"/>
                <a:gd name="connsiteX579" fmla="*/ 488214 w 2061090"/>
                <a:gd name="connsiteY579" fmla="*/ 25849 h 2789035"/>
                <a:gd name="connsiteX580" fmla="*/ 490393 w 2061090"/>
                <a:gd name="connsiteY580" fmla="*/ 35878 h 2789035"/>
                <a:gd name="connsiteX581" fmla="*/ 486035 w 2061090"/>
                <a:gd name="connsiteY581" fmla="*/ 44816 h 2789035"/>
                <a:gd name="connsiteX582" fmla="*/ 478191 w 2061090"/>
                <a:gd name="connsiteY582" fmla="*/ 48958 h 2789035"/>
                <a:gd name="connsiteX583" fmla="*/ 468603 w 2061090"/>
                <a:gd name="connsiteY583" fmla="*/ 47650 h 2789035"/>
                <a:gd name="connsiteX584" fmla="*/ 460322 w 2061090"/>
                <a:gd name="connsiteY584" fmla="*/ 40020 h 2789035"/>
                <a:gd name="connsiteX585" fmla="*/ 458797 w 2061090"/>
                <a:gd name="connsiteY585" fmla="*/ 57024 h 2789035"/>
                <a:gd name="connsiteX586" fmla="*/ 456618 w 2061090"/>
                <a:gd name="connsiteY586" fmla="*/ 72503 h 2789035"/>
                <a:gd name="connsiteX587" fmla="*/ 446158 w 2061090"/>
                <a:gd name="connsiteY587" fmla="*/ 70759 h 2789035"/>
                <a:gd name="connsiteX588" fmla="*/ 438096 w 2061090"/>
                <a:gd name="connsiteY588" fmla="*/ 72721 h 2789035"/>
                <a:gd name="connsiteX589" fmla="*/ 436570 w 2061090"/>
                <a:gd name="connsiteY589" fmla="*/ 75991 h 2789035"/>
                <a:gd name="connsiteX590" fmla="*/ 429815 w 2061090"/>
                <a:gd name="connsiteY590" fmla="*/ 80133 h 2789035"/>
                <a:gd name="connsiteX591" fmla="*/ 431776 w 2061090"/>
                <a:gd name="connsiteY591" fmla="*/ 91252 h 2789035"/>
                <a:gd name="connsiteX592" fmla="*/ 432648 w 2061090"/>
                <a:gd name="connsiteY592" fmla="*/ 99318 h 2789035"/>
                <a:gd name="connsiteX593" fmla="*/ 438096 w 2061090"/>
                <a:gd name="connsiteY593" fmla="*/ 105640 h 2789035"/>
                <a:gd name="connsiteX594" fmla="*/ 445722 w 2061090"/>
                <a:gd name="connsiteY594" fmla="*/ 115232 h 2789035"/>
                <a:gd name="connsiteX595" fmla="*/ 439621 w 2061090"/>
                <a:gd name="connsiteY595" fmla="*/ 119593 h 2789035"/>
                <a:gd name="connsiteX596" fmla="*/ 426111 w 2061090"/>
                <a:gd name="connsiteY596" fmla="*/ 104332 h 2789035"/>
                <a:gd name="connsiteX597" fmla="*/ 421753 w 2061090"/>
                <a:gd name="connsiteY597" fmla="*/ 99100 h 2789035"/>
                <a:gd name="connsiteX598" fmla="*/ 416741 w 2061090"/>
                <a:gd name="connsiteY598" fmla="*/ 91688 h 2789035"/>
                <a:gd name="connsiteX599" fmla="*/ 411293 w 2061090"/>
                <a:gd name="connsiteY599" fmla="*/ 81441 h 2789035"/>
                <a:gd name="connsiteX600" fmla="*/ 401269 w 2061090"/>
                <a:gd name="connsiteY600" fmla="*/ 77953 h 2789035"/>
                <a:gd name="connsiteX601" fmla="*/ 396475 w 2061090"/>
                <a:gd name="connsiteY601" fmla="*/ 64655 h 2789035"/>
                <a:gd name="connsiteX602" fmla="*/ 396911 w 2061090"/>
                <a:gd name="connsiteY602" fmla="*/ 55716 h 2789035"/>
                <a:gd name="connsiteX603" fmla="*/ 389284 w 2061090"/>
                <a:gd name="connsiteY603" fmla="*/ 57024 h 2789035"/>
                <a:gd name="connsiteX604" fmla="*/ 380568 w 2061090"/>
                <a:gd name="connsiteY604" fmla="*/ 55062 h 2789035"/>
                <a:gd name="connsiteX605" fmla="*/ 384926 w 2061090"/>
                <a:gd name="connsiteY605" fmla="*/ 45470 h 2789035"/>
                <a:gd name="connsiteX606" fmla="*/ 386670 w 2061090"/>
                <a:gd name="connsiteY606" fmla="*/ 38930 h 2789035"/>
                <a:gd name="connsiteX607" fmla="*/ 387759 w 2061090"/>
                <a:gd name="connsiteY607" fmla="*/ 32389 h 2789035"/>
                <a:gd name="connsiteX608" fmla="*/ 390156 w 2061090"/>
                <a:gd name="connsiteY608" fmla="*/ 35006 h 2789035"/>
                <a:gd name="connsiteX609" fmla="*/ 394296 w 2061090"/>
                <a:gd name="connsiteY609" fmla="*/ 33698 h 2789035"/>
                <a:gd name="connsiteX610" fmla="*/ 408460 w 2061090"/>
                <a:gd name="connsiteY610" fmla="*/ 35006 h 2789035"/>
                <a:gd name="connsiteX611" fmla="*/ 406935 w 2061090"/>
                <a:gd name="connsiteY611" fmla="*/ 45470 h 2789035"/>
                <a:gd name="connsiteX612" fmla="*/ 404538 w 2061090"/>
                <a:gd name="connsiteY612" fmla="*/ 57024 h 2789035"/>
                <a:gd name="connsiteX613" fmla="*/ 405627 w 2061090"/>
                <a:gd name="connsiteY613" fmla="*/ 64655 h 2789035"/>
                <a:gd name="connsiteX614" fmla="*/ 410204 w 2061090"/>
                <a:gd name="connsiteY614" fmla="*/ 66181 h 2789035"/>
                <a:gd name="connsiteX615" fmla="*/ 414126 w 2061090"/>
                <a:gd name="connsiteY615" fmla="*/ 53754 h 2789035"/>
                <a:gd name="connsiteX616" fmla="*/ 418484 w 2061090"/>
                <a:gd name="connsiteY616" fmla="*/ 47650 h 2789035"/>
                <a:gd name="connsiteX617" fmla="*/ 423932 w 2061090"/>
                <a:gd name="connsiteY617" fmla="*/ 40892 h 2789035"/>
                <a:gd name="connsiteX618" fmla="*/ 425675 w 2061090"/>
                <a:gd name="connsiteY618" fmla="*/ 32608 h 2789035"/>
                <a:gd name="connsiteX619" fmla="*/ 436570 w 2061090"/>
                <a:gd name="connsiteY619" fmla="*/ 15167 h 2789035"/>
                <a:gd name="connsiteX620" fmla="*/ 443325 w 2061090"/>
                <a:gd name="connsiteY620" fmla="*/ 10589 h 2789035"/>
                <a:gd name="connsiteX621" fmla="*/ 451170 w 2061090"/>
                <a:gd name="connsiteY621" fmla="*/ 12769 h 2789035"/>
                <a:gd name="connsiteX622" fmla="*/ 443543 w 2061090"/>
                <a:gd name="connsiteY622" fmla="*/ 22361 h 2789035"/>
                <a:gd name="connsiteX623" fmla="*/ 435917 w 2061090"/>
                <a:gd name="connsiteY623" fmla="*/ 33480 h 2789035"/>
                <a:gd name="connsiteX624" fmla="*/ 441364 w 2061090"/>
                <a:gd name="connsiteY624" fmla="*/ 34570 h 2789035"/>
                <a:gd name="connsiteX625" fmla="*/ 449863 w 2061090"/>
                <a:gd name="connsiteY625" fmla="*/ 33480 h 2789035"/>
                <a:gd name="connsiteX626" fmla="*/ 460758 w 2061090"/>
                <a:gd name="connsiteY626" fmla="*/ 25413 h 2789035"/>
                <a:gd name="connsiteX627" fmla="*/ 459669 w 2061090"/>
                <a:gd name="connsiteY627" fmla="*/ 14513 h 2789035"/>
                <a:gd name="connsiteX628" fmla="*/ 460322 w 2061090"/>
                <a:gd name="connsiteY628" fmla="*/ 6229 h 2789035"/>
                <a:gd name="connsiteX629" fmla="*/ 438314 w 2061090"/>
                <a:gd name="connsiteY629" fmla="*/ 6229 h 2789035"/>
                <a:gd name="connsiteX630" fmla="*/ 414126 w 2061090"/>
                <a:gd name="connsiteY630" fmla="*/ 10153 h 2789035"/>
                <a:gd name="connsiteX631" fmla="*/ 409768 w 2061090"/>
                <a:gd name="connsiteY631" fmla="*/ 10153 h 2789035"/>
                <a:gd name="connsiteX632" fmla="*/ 401051 w 2061090"/>
                <a:gd name="connsiteY632" fmla="*/ 6229 h 2789035"/>
                <a:gd name="connsiteX633" fmla="*/ 394514 w 2061090"/>
                <a:gd name="connsiteY633" fmla="*/ 14949 h 2789035"/>
                <a:gd name="connsiteX634" fmla="*/ 391464 w 2061090"/>
                <a:gd name="connsiteY634" fmla="*/ 23669 h 2789035"/>
                <a:gd name="connsiteX635" fmla="*/ 384055 w 2061090"/>
                <a:gd name="connsiteY635" fmla="*/ 12551 h 2789035"/>
                <a:gd name="connsiteX636" fmla="*/ 374903 w 2061090"/>
                <a:gd name="connsiteY636" fmla="*/ 7755 h 2789035"/>
                <a:gd name="connsiteX637" fmla="*/ 363571 w 2061090"/>
                <a:gd name="connsiteY637" fmla="*/ 8191 h 2789035"/>
                <a:gd name="connsiteX638" fmla="*/ 362482 w 2061090"/>
                <a:gd name="connsiteY638" fmla="*/ 16693 h 2789035"/>
                <a:gd name="connsiteX639" fmla="*/ 358124 w 2061090"/>
                <a:gd name="connsiteY639" fmla="*/ 24541 h 2789035"/>
                <a:gd name="connsiteX640" fmla="*/ 353112 w 2061090"/>
                <a:gd name="connsiteY640" fmla="*/ 30645 h 2789035"/>
                <a:gd name="connsiteX641" fmla="*/ 345267 w 2061090"/>
                <a:gd name="connsiteY641" fmla="*/ 34352 h 2789035"/>
                <a:gd name="connsiteX642" fmla="*/ 339384 w 2061090"/>
                <a:gd name="connsiteY642" fmla="*/ 33262 h 2789035"/>
                <a:gd name="connsiteX643" fmla="*/ 330885 w 2061090"/>
                <a:gd name="connsiteY643" fmla="*/ 32171 h 2789035"/>
                <a:gd name="connsiteX644" fmla="*/ 318247 w 2061090"/>
                <a:gd name="connsiteY644" fmla="*/ 39148 h 2789035"/>
                <a:gd name="connsiteX645" fmla="*/ 321515 w 2061090"/>
                <a:gd name="connsiteY645" fmla="*/ 44598 h 2789035"/>
                <a:gd name="connsiteX646" fmla="*/ 323258 w 2061090"/>
                <a:gd name="connsiteY646" fmla="*/ 54190 h 2789035"/>
                <a:gd name="connsiteX647" fmla="*/ 307351 w 2061090"/>
                <a:gd name="connsiteY647" fmla="*/ 38276 h 2789035"/>
                <a:gd name="connsiteX648" fmla="*/ 311927 w 2061090"/>
                <a:gd name="connsiteY648" fmla="*/ 32608 h 2789035"/>
                <a:gd name="connsiteX649" fmla="*/ 315632 w 2061090"/>
                <a:gd name="connsiteY649" fmla="*/ 25413 h 2789035"/>
                <a:gd name="connsiteX650" fmla="*/ 321079 w 2061090"/>
                <a:gd name="connsiteY650" fmla="*/ 19745 h 2789035"/>
                <a:gd name="connsiteX651" fmla="*/ 332411 w 2061090"/>
                <a:gd name="connsiteY651" fmla="*/ 21489 h 2789035"/>
                <a:gd name="connsiteX652" fmla="*/ 342216 w 2061090"/>
                <a:gd name="connsiteY652" fmla="*/ 19309 h 2789035"/>
                <a:gd name="connsiteX653" fmla="*/ 346357 w 2061090"/>
                <a:gd name="connsiteY653" fmla="*/ 12769 h 2789035"/>
                <a:gd name="connsiteX654" fmla="*/ 352240 w 2061090"/>
                <a:gd name="connsiteY654" fmla="*/ 15167 h 2789035"/>
                <a:gd name="connsiteX655" fmla="*/ 355509 w 2061090"/>
                <a:gd name="connsiteY655" fmla="*/ 14731 h 2789035"/>
                <a:gd name="connsiteX656" fmla="*/ 356380 w 2061090"/>
                <a:gd name="connsiteY656" fmla="*/ 10371 h 2789035"/>
                <a:gd name="connsiteX657" fmla="*/ 314542 w 2061090"/>
                <a:gd name="connsiteY657" fmla="*/ 11025 h 2789035"/>
                <a:gd name="connsiteX658" fmla="*/ 311709 w 2061090"/>
                <a:gd name="connsiteY658" fmla="*/ 10807 h 2789035"/>
                <a:gd name="connsiteX659" fmla="*/ 287304 w 2061090"/>
                <a:gd name="connsiteY659" fmla="*/ 10371 h 2789035"/>
                <a:gd name="connsiteX660" fmla="*/ 285561 w 2061090"/>
                <a:gd name="connsiteY660" fmla="*/ 13859 h 2789035"/>
                <a:gd name="connsiteX661" fmla="*/ 294931 w 2061090"/>
                <a:gd name="connsiteY661" fmla="*/ 17347 h 2789035"/>
                <a:gd name="connsiteX662" fmla="*/ 299071 w 2061090"/>
                <a:gd name="connsiteY662" fmla="*/ 14949 h 2789035"/>
                <a:gd name="connsiteX663" fmla="*/ 294059 w 2061090"/>
                <a:gd name="connsiteY663" fmla="*/ 28465 h 2789035"/>
                <a:gd name="connsiteX664" fmla="*/ 289919 w 2061090"/>
                <a:gd name="connsiteY664" fmla="*/ 42418 h 2789035"/>
                <a:gd name="connsiteX665" fmla="*/ 295802 w 2061090"/>
                <a:gd name="connsiteY665" fmla="*/ 47650 h 2789035"/>
                <a:gd name="connsiteX666" fmla="*/ 298635 w 2061090"/>
                <a:gd name="connsiteY666" fmla="*/ 49394 h 2789035"/>
                <a:gd name="connsiteX667" fmla="*/ 285996 w 2061090"/>
                <a:gd name="connsiteY667" fmla="*/ 55498 h 2789035"/>
                <a:gd name="connsiteX668" fmla="*/ 277934 w 2061090"/>
                <a:gd name="connsiteY668" fmla="*/ 64873 h 2789035"/>
                <a:gd name="connsiteX669" fmla="*/ 283164 w 2061090"/>
                <a:gd name="connsiteY669" fmla="*/ 67271 h 2789035"/>
                <a:gd name="connsiteX670" fmla="*/ 292098 w 2061090"/>
                <a:gd name="connsiteY670" fmla="*/ 80787 h 2789035"/>
                <a:gd name="connsiteX671" fmla="*/ 300160 w 2061090"/>
                <a:gd name="connsiteY671" fmla="*/ 87327 h 2789035"/>
                <a:gd name="connsiteX672" fmla="*/ 300596 w 2061090"/>
                <a:gd name="connsiteY672" fmla="*/ 74901 h 2789035"/>
                <a:gd name="connsiteX673" fmla="*/ 305826 w 2061090"/>
                <a:gd name="connsiteY673" fmla="*/ 55498 h 2789035"/>
                <a:gd name="connsiteX674" fmla="*/ 310838 w 2061090"/>
                <a:gd name="connsiteY674" fmla="*/ 71631 h 2789035"/>
                <a:gd name="connsiteX675" fmla="*/ 308441 w 2061090"/>
                <a:gd name="connsiteY675" fmla="*/ 84275 h 2789035"/>
                <a:gd name="connsiteX676" fmla="*/ 311056 w 2061090"/>
                <a:gd name="connsiteY676" fmla="*/ 83185 h 2789035"/>
                <a:gd name="connsiteX677" fmla="*/ 317375 w 2061090"/>
                <a:gd name="connsiteY677" fmla="*/ 80351 h 2789035"/>
                <a:gd name="connsiteX678" fmla="*/ 322605 w 2061090"/>
                <a:gd name="connsiteY678" fmla="*/ 68361 h 2789035"/>
                <a:gd name="connsiteX679" fmla="*/ 327617 w 2061090"/>
                <a:gd name="connsiteY679" fmla="*/ 57024 h 2789035"/>
                <a:gd name="connsiteX680" fmla="*/ 332411 w 2061090"/>
                <a:gd name="connsiteY680" fmla="*/ 49830 h 2789035"/>
                <a:gd name="connsiteX681" fmla="*/ 342652 w 2061090"/>
                <a:gd name="connsiteY681" fmla="*/ 44816 h 2789035"/>
                <a:gd name="connsiteX682" fmla="*/ 341563 w 2061090"/>
                <a:gd name="connsiteY682" fmla="*/ 60294 h 2789035"/>
                <a:gd name="connsiteX683" fmla="*/ 332629 w 2061090"/>
                <a:gd name="connsiteY683" fmla="*/ 82095 h 2789035"/>
                <a:gd name="connsiteX684" fmla="*/ 327835 w 2061090"/>
                <a:gd name="connsiteY684" fmla="*/ 93650 h 2789035"/>
                <a:gd name="connsiteX685" fmla="*/ 322387 w 2061090"/>
                <a:gd name="connsiteY685" fmla="*/ 110000 h 2789035"/>
                <a:gd name="connsiteX686" fmla="*/ 327181 w 2061090"/>
                <a:gd name="connsiteY686" fmla="*/ 127441 h 2789035"/>
                <a:gd name="connsiteX687" fmla="*/ 328924 w 2061090"/>
                <a:gd name="connsiteY687" fmla="*/ 134199 h 2789035"/>
                <a:gd name="connsiteX688" fmla="*/ 333718 w 2061090"/>
                <a:gd name="connsiteY688" fmla="*/ 140739 h 2789035"/>
                <a:gd name="connsiteX689" fmla="*/ 340255 w 2061090"/>
                <a:gd name="connsiteY689" fmla="*/ 142701 h 2789035"/>
                <a:gd name="connsiteX690" fmla="*/ 345485 w 2061090"/>
                <a:gd name="connsiteY690" fmla="*/ 145753 h 2789035"/>
                <a:gd name="connsiteX691" fmla="*/ 348318 w 2061090"/>
                <a:gd name="connsiteY691" fmla="*/ 156218 h 2789035"/>
                <a:gd name="connsiteX692" fmla="*/ 351804 w 2061090"/>
                <a:gd name="connsiteY692" fmla="*/ 169080 h 2789035"/>
                <a:gd name="connsiteX693" fmla="*/ 354419 w 2061090"/>
                <a:gd name="connsiteY693" fmla="*/ 160796 h 2789035"/>
                <a:gd name="connsiteX694" fmla="*/ 358777 w 2061090"/>
                <a:gd name="connsiteY694" fmla="*/ 153166 h 2789035"/>
                <a:gd name="connsiteX695" fmla="*/ 367930 w 2061090"/>
                <a:gd name="connsiteY695" fmla="*/ 154910 h 2789035"/>
                <a:gd name="connsiteX696" fmla="*/ 363136 w 2061090"/>
                <a:gd name="connsiteY696" fmla="*/ 145753 h 2789035"/>
                <a:gd name="connsiteX697" fmla="*/ 353766 w 2061090"/>
                <a:gd name="connsiteY697" fmla="*/ 144445 h 2789035"/>
                <a:gd name="connsiteX698" fmla="*/ 352458 w 2061090"/>
                <a:gd name="connsiteY698" fmla="*/ 137905 h 2789035"/>
                <a:gd name="connsiteX699" fmla="*/ 353548 w 2061090"/>
                <a:gd name="connsiteY699" fmla="*/ 132673 h 2789035"/>
                <a:gd name="connsiteX700" fmla="*/ 349189 w 2061090"/>
                <a:gd name="connsiteY700" fmla="*/ 136161 h 2789035"/>
                <a:gd name="connsiteX701" fmla="*/ 343088 w 2061090"/>
                <a:gd name="connsiteY701" fmla="*/ 131583 h 2789035"/>
                <a:gd name="connsiteX702" fmla="*/ 338076 w 2061090"/>
                <a:gd name="connsiteY702" fmla="*/ 125479 h 2789035"/>
                <a:gd name="connsiteX703" fmla="*/ 331321 w 2061090"/>
                <a:gd name="connsiteY703" fmla="*/ 112180 h 2789035"/>
                <a:gd name="connsiteX704" fmla="*/ 333064 w 2061090"/>
                <a:gd name="connsiteY704" fmla="*/ 106294 h 2789035"/>
                <a:gd name="connsiteX705" fmla="*/ 336987 w 2061090"/>
                <a:gd name="connsiteY705" fmla="*/ 102588 h 2789035"/>
                <a:gd name="connsiteX706" fmla="*/ 341999 w 2061090"/>
                <a:gd name="connsiteY706" fmla="*/ 112398 h 2789035"/>
                <a:gd name="connsiteX707" fmla="*/ 350497 w 2061090"/>
                <a:gd name="connsiteY707" fmla="*/ 119811 h 2789035"/>
                <a:gd name="connsiteX708" fmla="*/ 362482 w 2061090"/>
                <a:gd name="connsiteY708" fmla="*/ 128967 h 2789035"/>
                <a:gd name="connsiteX709" fmla="*/ 367058 w 2061090"/>
                <a:gd name="connsiteY709" fmla="*/ 132673 h 2789035"/>
                <a:gd name="connsiteX710" fmla="*/ 371852 w 2061090"/>
                <a:gd name="connsiteY710" fmla="*/ 138777 h 2789035"/>
                <a:gd name="connsiteX711" fmla="*/ 375338 w 2061090"/>
                <a:gd name="connsiteY711" fmla="*/ 147279 h 2789035"/>
                <a:gd name="connsiteX712" fmla="*/ 376864 w 2061090"/>
                <a:gd name="connsiteY712" fmla="*/ 153820 h 2789035"/>
                <a:gd name="connsiteX713" fmla="*/ 384273 w 2061090"/>
                <a:gd name="connsiteY713" fmla="*/ 169080 h 2789035"/>
                <a:gd name="connsiteX714" fmla="*/ 386234 w 2061090"/>
                <a:gd name="connsiteY714" fmla="*/ 162540 h 2789035"/>
                <a:gd name="connsiteX715" fmla="*/ 392335 w 2061090"/>
                <a:gd name="connsiteY715" fmla="*/ 156654 h 2789035"/>
                <a:gd name="connsiteX716" fmla="*/ 400180 w 2061090"/>
                <a:gd name="connsiteY716" fmla="*/ 146843 h 2789035"/>
                <a:gd name="connsiteX717" fmla="*/ 394732 w 2061090"/>
                <a:gd name="connsiteY717" fmla="*/ 145535 h 2789035"/>
                <a:gd name="connsiteX718" fmla="*/ 381440 w 2061090"/>
                <a:gd name="connsiteY718" fmla="*/ 139213 h 2789035"/>
                <a:gd name="connsiteX719" fmla="*/ 377082 w 2061090"/>
                <a:gd name="connsiteY719" fmla="*/ 130493 h 2789035"/>
                <a:gd name="connsiteX720" fmla="*/ 379261 w 2061090"/>
                <a:gd name="connsiteY720" fmla="*/ 127223 h 2789035"/>
                <a:gd name="connsiteX721" fmla="*/ 382529 w 2061090"/>
                <a:gd name="connsiteY721" fmla="*/ 119593 h 2789035"/>
                <a:gd name="connsiteX722" fmla="*/ 386016 w 2061090"/>
                <a:gd name="connsiteY722" fmla="*/ 127005 h 2789035"/>
                <a:gd name="connsiteX723" fmla="*/ 384926 w 2061090"/>
                <a:gd name="connsiteY723" fmla="*/ 133545 h 2789035"/>
                <a:gd name="connsiteX724" fmla="*/ 395386 w 2061090"/>
                <a:gd name="connsiteY724" fmla="*/ 133763 h 2789035"/>
                <a:gd name="connsiteX725" fmla="*/ 402359 w 2061090"/>
                <a:gd name="connsiteY725" fmla="*/ 130493 h 2789035"/>
                <a:gd name="connsiteX726" fmla="*/ 414126 w 2061090"/>
                <a:gd name="connsiteY726" fmla="*/ 114142 h 2789035"/>
                <a:gd name="connsiteX727" fmla="*/ 420009 w 2061090"/>
                <a:gd name="connsiteY727" fmla="*/ 109782 h 2789035"/>
                <a:gd name="connsiteX728" fmla="*/ 426764 w 2061090"/>
                <a:gd name="connsiteY728" fmla="*/ 116540 h 2789035"/>
                <a:gd name="connsiteX729" fmla="*/ 421753 w 2061090"/>
                <a:gd name="connsiteY729" fmla="*/ 125697 h 2789035"/>
                <a:gd name="connsiteX730" fmla="*/ 416305 w 2061090"/>
                <a:gd name="connsiteY730" fmla="*/ 132237 h 2789035"/>
                <a:gd name="connsiteX731" fmla="*/ 413690 w 2061090"/>
                <a:gd name="connsiteY731" fmla="*/ 138777 h 2789035"/>
                <a:gd name="connsiteX732" fmla="*/ 414998 w 2061090"/>
                <a:gd name="connsiteY732" fmla="*/ 144227 h 2789035"/>
                <a:gd name="connsiteX733" fmla="*/ 415215 w 2061090"/>
                <a:gd name="connsiteY733" fmla="*/ 150114 h 2789035"/>
                <a:gd name="connsiteX734" fmla="*/ 416741 w 2061090"/>
                <a:gd name="connsiteY734" fmla="*/ 157090 h 2789035"/>
                <a:gd name="connsiteX735" fmla="*/ 418702 w 2061090"/>
                <a:gd name="connsiteY735" fmla="*/ 162976 h 2789035"/>
                <a:gd name="connsiteX736" fmla="*/ 414998 w 2061090"/>
                <a:gd name="connsiteY736" fmla="*/ 173004 h 2789035"/>
                <a:gd name="connsiteX737" fmla="*/ 414344 w 2061090"/>
                <a:gd name="connsiteY737" fmla="*/ 180853 h 2789035"/>
                <a:gd name="connsiteX738" fmla="*/ 423060 w 2061090"/>
                <a:gd name="connsiteY738" fmla="*/ 180417 h 2789035"/>
                <a:gd name="connsiteX739" fmla="*/ 433955 w 2061090"/>
                <a:gd name="connsiteY739" fmla="*/ 183469 h 2789035"/>
                <a:gd name="connsiteX740" fmla="*/ 439839 w 2061090"/>
                <a:gd name="connsiteY740" fmla="*/ 187175 h 2789035"/>
                <a:gd name="connsiteX741" fmla="*/ 446376 w 2061090"/>
                <a:gd name="connsiteY741" fmla="*/ 189791 h 2789035"/>
                <a:gd name="connsiteX742" fmla="*/ 445722 w 2061090"/>
                <a:gd name="connsiteY742" fmla="*/ 207668 h 2789035"/>
                <a:gd name="connsiteX743" fmla="*/ 442454 w 2061090"/>
                <a:gd name="connsiteY743" fmla="*/ 211810 h 2789035"/>
                <a:gd name="connsiteX744" fmla="*/ 439185 w 2061090"/>
                <a:gd name="connsiteY744" fmla="*/ 217696 h 2789035"/>
                <a:gd name="connsiteX745" fmla="*/ 436352 w 2061090"/>
                <a:gd name="connsiteY745" fmla="*/ 225108 h 2789035"/>
                <a:gd name="connsiteX746" fmla="*/ 435045 w 2061090"/>
                <a:gd name="connsiteY746" fmla="*/ 235354 h 2789035"/>
                <a:gd name="connsiteX747" fmla="*/ 436788 w 2061090"/>
                <a:gd name="connsiteY747" fmla="*/ 243639 h 2789035"/>
                <a:gd name="connsiteX748" fmla="*/ 440275 w 2061090"/>
                <a:gd name="connsiteY748" fmla="*/ 250833 h 2789035"/>
                <a:gd name="connsiteX749" fmla="*/ 445940 w 2061090"/>
                <a:gd name="connsiteY749" fmla="*/ 254103 h 2789035"/>
                <a:gd name="connsiteX750" fmla="*/ 456182 w 2061090"/>
                <a:gd name="connsiteY750" fmla="*/ 260425 h 2789035"/>
                <a:gd name="connsiteX751" fmla="*/ 464027 w 2061090"/>
                <a:gd name="connsiteY751" fmla="*/ 267838 h 2789035"/>
                <a:gd name="connsiteX752" fmla="*/ 474268 w 2061090"/>
                <a:gd name="connsiteY752" fmla="*/ 272198 h 2789035"/>
                <a:gd name="connsiteX753" fmla="*/ 476447 w 2061090"/>
                <a:gd name="connsiteY753" fmla="*/ 264567 h 2789035"/>
                <a:gd name="connsiteX754" fmla="*/ 469692 w 2061090"/>
                <a:gd name="connsiteY754" fmla="*/ 251923 h 2789035"/>
                <a:gd name="connsiteX755" fmla="*/ 466642 w 2061090"/>
                <a:gd name="connsiteY755" fmla="*/ 243857 h 2789035"/>
                <a:gd name="connsiteX756" fmla="*/ 468385 w 2061090"/>
                <a:gd name="connsiteY756" fmla="*/ 230776 h 2789035"/>
                <a:gd name="connsiteX757" fmla="*/ 479934 w 2061090"/>
                <a:gd name="connsiteY757" fmla="*/ 210066 h 2789035"/>
                <a:gd name="connsiteX758" fmla="*/ 486253 w 2061090"/>
                <a:gd name="connsiteY758" fmla="*/ 205487 h 2789035"/>
                <a:gd name="connsiteX759" fmla="*/ 496277 w 2061090"/>
                <a:gd name="connsiteY759" fmla="*/ 200037 h 2789035"/>
                <a:gd name="connsiteX760" fmla="*/ 502378 w 2061090"/>
                <a:gd name="connsiteY760" fmla="*/ 194587 h 2789035"/>
                <a:gd name="connsiteX761" fmla="*/ 512402 w 2061090"/>
                <a:gd name="connsiteY761" fmla="*/ 194369 h 2789035"/>
                <a:gd name="connsiteX762" fmla="*/ 517632 w 2061090"/>
                <a:gd name="connsiteY762" fmla="*/ 187611 h 2789035"/>
                <a:gd name="connsiteX763" fmla="*/ 523080 w 2061090"/>
                <a:gd name="connsiteY763" fmla="*/ 183469 h 2789035"/>
                <a:gd name="connsiteX764" fmla="*/ 532232 w 2061090"/>
                <a:gd name="connsiteY764" fmla="*/ 179327 h 2789035"/>
                <a:gd name="connsiteX765" fmla="*/ 532232 w 2061090"/>
                <a:gd name="connsiteY765" fmla="*/ 169516 h 2789035"/>
                <a:gd name="connsiteX766" fmla="*/ 529617 w 2061090"/>
                <a:gd name="connsiteY766" fmla="*/ 162322 h 2789035"/>
                <a:gd name="connsiteX767" fmla="*/ 549664 w 2061090"/>
                <a:gd name="connsiteY767" fmla="*/ 156218 h 2789035"/>
                <a:gd name="connsiteX768" fmla="*/ 554240 w 2061090"/>
                <a:gd name="connsiteY768" fmla="*/ 145753 h 2789035"/>
                <a:gd name="connsiteX769" fmla="*/ 533321 w 2061090"/>
                <a:gd name="connsiteY769" fmla="*/ 147497 h 2789035"/>
                <a:gd name="connsiteX770" fmla="*/ 525912 w 2061090"/>
                <a:gd name="connsiteY770" fmla="*/ 155128 h 2789035"/>
                <a:gd name="connsiteX771" fmla="*/ 520465 w 2061090"/>
                <a:gd name="connsiteY771" fmla="*/ 164284 h 2789035"/>
                <a:gd name="connsiteX772" fmla="*/ 515235 w 2061090"/>
                <a:gd name="connsiteY772" fmla="*/ 169298 h 2789035"/>
                <a:gd name="connsiteX773" fmla="*/ 508480 w 2061090"/>
                <a:gd name="connsiteY773" fmla="*/ 176274 h 2789035"/>
                <a:gd name="connsiteX774" fmla="*/ 502596 w 2061090"/>
                <a:gd name="connsiteY774" fmla="*/ 182815 h 2789035"/>
                <a:gd name="connsiteX775" fmla="*/ 496931 w 2061090"/>
                <a:gd name="connsiteY775" fmla="*/ 188483 h 2789035"/>
                <a:gd name="connsiteX776" fmla="*/ 489958 w 2061090"/>
                <a:gd name="connsiteY776" fmla="*/ 188047 h 2789035"/>
                <a:gd name="connsiteX777" fmla="*/ 490829 w 2061090"/>
                <a:gd name="connsiteY777" fmla="*/ 173876 h 2789035"/>
                <a:gd name="connsiteX778" fmla="*/ 494316 w 2061090"/>
                <a:gd name="connsiteY778" fmla="*/ 166900 h 2789035"/>
                <a:gd name="connsiteX779" fmla="*/ 504340 w 2061090"/>
                <a:gd name="connsiteY779" fmla="*/ 165592 h 2789035"/>
                <a:gd name="connsiteX780" fmla="*/ 496495 w 2061090"/>
                <a:gd name="connsiteY780" fmla="*/ 157526 h 2789035"/>
                <a:gd name="connsiteX781" fmla="*/ 489304 w 2061090"/>
                <a:gd name="connsiteY781" fmla="*/ 154692 h 2789035"/>
                <a:gd name="connsiteX782" fmla="*/ 489304 w 2061090"/>
                <a:gd name="connsiteY782" fmla="*/ 145753 h 2789035"/>
                <a:gd name="connsiteX783" fmla="*/ 498020 w 2061090"/>
                <a:gd name="connsiteY783" fmla="*/ 142701 h 2789035"/>
                <a:gd name="connsiteX784" fmla="*/ 508698 w 2061090"/>
                <a:gd name="connsiteY784" fmla="*/ 136161 h 2789035"/>
                <a:gd name="connsiteX785" fmla="*/ 510877 w 2061090"/>
                <a:gd name="connsiteY785" fmla="*/ 125043 h 2789035"/>
                <a:gd name="connsiteX786" fmla="*/ 519375 w 2061090"/>
                <a:gd name="connsiteY786" fmla="*/ 124607 h 2789035"/>
                <a:gd name="connsiteX787" fmla="*/ 522208 w 2061090"/>
                <a:gd name="connsiteY787" fmla="*/ 130493 h 2789035"/>
                <a:gd name="connsiteX788" fmla="*/ 512184 w 2061090"/>
                <a:gd name="connsiteY788" fmla="*/ 144009 h 2789035"/>
                <a:gd name="connsiteX789" fmla="*/ 521990 w 2061090"/>
                <a:gd name="connsiteY789" fmla="*/ 143573 h 2789035"/>
                <a:gd name="connsiteX790" fmla="*/ 530053 w 2061090"/>
                <a:gd name="connsiteY790" fmla="*/ 139213 h 2789035"/>
                <a:gd name="connsiteX791" fmla="*/ 533975 w 2061090"/>
                <a:gd name="connsiteY791" fmla="*/ 135943 h 2789035"/>
                <a:gd name="connsiteX792" fmla="*/ 538551 w 2061090"/>
                <a:gd name="connsiteY792" fmla="*/ 132673 h 2789035"/>
                <a:gd name="connsiteX793" fmla="*/ 542038 w 2061090"/>
                <a:gd name="connsiteY793" fmla="*/ 122427 h 2789035"/>
                <a:gd name="connsiteX794" fmla="*/ 543563 w 2061090"/>
                <a:gd name="connsiteY794" fmla="*/ 115886 h 2789035"/>
                <a:gd name="connsiteX795" fmla="*/ 555112 w 2061090"/>
                <a:gd name="connsiteY795" fmla="*/ 116104 h 2789035"/>
                <a:gd name="connsiteX796" fmla="*/ 546831 w 2061090"/>
                <a:gd name="connsiteY796" fmla="*/ 106076 h 2789035"/>
                <a:gd name="connsiteX797" fmla="*/ 531796 w 2061090"/>
                <a:gd name="connsiteY797" fmla="*/ 114142 h 2789035"/>
                <a:gd name="connsiteX798" fmla="*/ 511530 w 2061090"/>
                <a:gd name="connsiteY798" fmla="*/ 105640 h 2789035"/>
                <a:gd name="connsiteX799" fmla="*/ 499328 w 2061090"/>
                <a:gd name="connsiteY799" fmla="*/ 108256 h 2789035"/>
                <a:gd name="connsiteX800" fmla="*/ 492355 w 2061090"/>
                <a:gd name="connsiteY800" fmla="*/ 110436 h 2789035"/>
                <a:gd name="connsiteX801" fmla="*/ 486035 w 2061090"/>
                <a:gd name="connsiteY801" fmla="*/ 106512 h 2789035"/>
                <a:gd name="connsiteX802" fmla="*/ 481677 w 2061090"/>
                <a:gd name="connsiteY802" fmla="*/ 104986 h 2789035"/>
                <a:gd name="connsiteX803" fmla="*/ 480370 w 2061090"/>
                <a:gd name="connsiteY803" fmla="*/ 98228 h 2789035"/>
                <a:gd name="connsiteX804" fmla="*/ 479062 w 2061090"/>
                <a:gd name="connsiteY804" fmla="*/ 93432 h 2789035"/>
                <a:gd name="connsiteX805" fmla="*/ 504557 w 2061090"/>
                <a:gd name="connsiteY805" fmla="*/ 94522 h 2789035"/>
                <a:gd name="connsiteX806" fmla="*/ 533975 w 2061090"/>
                <a:gd name="connsiteY806" fmla="*/ 92342 h 2789035"/>
                <a:gd name="connsiteX807" fmla="*/ 542691 w 2061090"/>
                <a:gd name="connsiteY807" fmla="*/ 94740 h 2789035"/>
                <a:gd name="connsiteX808" fmla="*/ 549228 w 2061090"/>
                <a:gd name="connsiteY808" fmla="*/ 94522 h 2789035"/>
                <a:gd name="connsiteX809" fmla="*/ 546831 w 2061090"/>
                <a:gd name="connsiteY809" fmla="*/ 87327 h 2789035"/>
                <a:gd name="connsiteX810" fmla="*/ 522644 w 2061090"/>
                <a:gd name="connsiteY810" fmla="*/ 82313 h 2789035"/>
                <a:gd name="connsiteX811" fmla="*/ 519375 w 2061090"/>
                <a:gd name="connsiteY811" fmla="*/ 77081 h 2789035"/>
                <a:gd name="connsiteX812" fmla="*/ 523515 w 2061090"/>
                <a:gd name="connsiteY812" fmla="*/ 71195 h 2789035"/>
                <a:gd name="connsiteX813" fmla="*/ 525259 w 2061090"/>
                <a:gd name="connsiteY813" fmla="*/ 66181 h 2789035"/>
                <a:gd name="connsiteX814" fmla="*/ 527438 w 2061090"/>
                <a:gd name="connsiteY814" fmla="*/ 67271 h 2789035"/>
                <a:gd name="connsiteX815" fmla="*/ 532668 w 2061090"/>
                <a:gd name="connsiteY815" fmla="*/ 68579 h 2789035"/>
                <a:gd name="connsiteX816" fmla="*/ 539205 w 2061090"/>
                <a:gd name="connsiteY816" fmla="*/ 70977 h 2789035"/>
                <a:gd name="connsiteX817" fmla="*/ 538987 w 2061090"/>
                <a:gd name="connsiteY817" fmla="*/ 66835 h 2789035"/>
                <a:gd name="connsiteX818" fmla="*/ 542255 w 2061090"/>
                <a:gd name="connsiteY818" fmla="*/ 58550 h 2789035"/>
                <a:gd name="connsiteX819" fmla="*/ 548139 w 2061090"/>
                <a:gd name="connsiteY819" fmla="*/ 56370 h 2789035"/>
                <a:gd name="connsiteX820" fmla="*/ 552061 w 2061090"/>
                <a:gd name="connsiteY820" fmla="*/ 55716 h 2789035"/>
                <a:gd name="connsiteX821" fmla="*/ 559034 w 2061090"/>
                <a:gd name="connsiteY821" fmla="*/ 57460 h 2789035"/>
                <a:gd name="connsiteX822" fmla="*/ 564046 w 2061090"/>
                <a:gd name="connsiteY822" fmla="*/ 64655 h 2789035"/>
                <a:gd name="connsiteX823" fmla="*/ 559470 w 2061090"/>
                <a:gd name="connsiteY823" fmla="*/ 69015 h 2789035"/>
                <a:gd name="connsiteX824" fmla="*/ 554022 w 2061090"/>
                <a:gd name="connsiteY824" fmla="*/ 70105 h 2789035"/>
                <a:gd name="connsiteX825" fmla="*/ 551843 w 2061090"/>
                <a:gd name="connsiteY825" fmla="*/ 80569 h 2789035"/>
                <a:gd name="connsiteX826" fmla="*/ 559034 w 2061090"/>
                <a:gd name="connsiteY826" fmla="*/ 82531 h 2789035"/>
                <a:gd name="connsiteX827" fmla="*/ 564482 w 2061090"/>
                <a:gd name="connsiteY827" fmla="*/ 88635 h 2789035"/>
                <a:gd name="connsiteX828" fmla="*/ 564264 w 2061090"/>
                <a:gd name="connsiteY828" fmla="*/ 107602 h 2789035"/>
                <a:gd name="connsiteX829" fmla="*/ 561867 w 2061090"/>
                <a:gd name="connsiteY829" fmla="*/ 121119 h 2789035"/>
                <a:gd name="connsiteX830" fmla="*/ 562303 w 2061090"/>
                <a:gd name="connsiteY830" fmla="*/ 129403 h 2789035"/>
                <a:gd name="connsiteX831" fmla="*/ 562739 w 2061090"/>
                <a:gd name="connsiteY831" fmla="*/ 135289 h 2789035"/>
                <a:gd name="connsiteX832" fmla="*/ 562957 w 2061090"/>
                <a:gd name="connsiteY832" fmla="*/ 143573 h 2789035"/>
                <a:gd name="connsiteX833" fmla="*/ 577556 w 2061090"/>
                <a:gd name="connsiteY833" fmla="*/ 153384 h 2789035"/>
                <a:gd name="connsiteX834" fmla="*/ 585837 w 2061090"/>
                <a:gd name="connsiteY834" fmla="*/ 157744 h 2789035"/>
                <a:gd name="connsiteX835" fmla="*/ 599347 w 2061090"/>
                <a:gd name="connsiteY835" fmla="*/ 150114 h 2789035"/>
                <a:gd name="connsiteX836" fmla="*/ 611114 w 2061090"/>
                <a:gd name="connsiteY836" fmla="*/ 149896 h 2789035"/>
                <a:gd name="connsiteX837" fmla="*/ 617869 w 2061090"/>
                <a:gd name="connsiteY837" fmla="*/ 156872 h 2789035"/>
                <a:gd name="connsiteX838" fmla="*/ 612204 w 2061090"/>
                <a:gd name="connsiteY838" fmla="*/ 155564 h 2789035"/>
                <a:gd name="connsiteX839" fmla="*/ 600437 w 2061090"/>
                <a:gd name="connsiteY839" fmla="*/ 164284 h 2789035"/>
                <a:gd name="connsiteX840" fmla="*/ 596950 w 2061090"/>
                <a:gd name="connsiteY840" fmla="*/ 176928 h 2789035"/>
                <a:gd name="connsiteX841" fmla="*/ 599347 w 2061090"/>
                <a:gd name="connsiteY841" fmla="*/ 175838 h 2789035"/>
                <a:gd name="connsiteX842" fmla="*/ 606974 w 2061090"/>
                <a:gd name="connsiteY842" fmla="*/ 171914 h 2789035"/>
                <a:gd name="connsiteX843" fmla="*/ 605884 w 2061090"/>
                <a:gd name="connsiteY843" fmla="*/ 178455 h 2789035"/>
                <a:gd name="connsiteX844" fmla="*/ 608063 w 2061090"/>
                <a:gd name="connsiteY844" fmla="*/ 186521 h 2789035"/>
                <a:gd name="connsiteX845" fmla="*/ 608281 w 2061090"/>
                <a:gd name="connsiteY845" fmla="*/ 193715 h 2789035"/>
                <a:gd name="connsiteX846" fmla="*/ 603923 w 2061090"/>
                <a:gd name="connsiteY846" fmla="*/ 208322 h 2789035"/>
                <a:gd name="connsiteX847" fmla="*/ 616780 w 2061090"/>
                <a:gd name="connsiteY847" fmla="*/ 220966 h 2789035"/>
                <a:gd name="connsiteX848" fmla="*/ 621138 w 2061090"/>
                <a:gd name="connsiteY848" fmla="*/ 226416 h 2789035"/>
                <a:gd name="connsiteX849" fmla="*/ 626150 w 2061090"/>
                <a:gd name="connsiteY849" fmla="*/ 231648 h 2789035"/>
                <a:gd name="connsiteX850" fmla="*/ 627457 w 2061090"/>
                <a:gd name="connsiteY850" fmla="*/ 236663 h 2789035"/>
                <a:gd name="connsiteX851" fmla="*/ 633559 w 2061090"/>
                <a:gd name="connsiteY851" fmla="*/ 244293 h 2789035"/>
                <a:gd name="connsiteX852" fmla="*/ 643582 w 2061090"/>
                <a:gd name="connsiteY852" fmla="*/ 247127 h 2789035"/>
                <a:gd name="connsiteX853" fmla="*/ 639660 w 2061090"/>
                <a:gd name="connsiteY853" fmla="*/ 233392 h 2789035"/>
                <a:gd name="connsiteX854" fmla="*/ 635520 w 2061090"/>
                <a:gd name="connsiteY854" fmla="*/ 220966 h 2789035"/>
                <a:gd name="connsiteX855" fmla="*/ 643147 w 2061090"/>
                <a:gd name="connsiteY855" fmla="*/ 217042 h 2789035"/>
                <a:gd name="connsiteX856" fmla="*/ 647505 w 2061090"/>
                <a:gd name="connsiteY856" fmla="*/ 225108 h 2789035"/>
                <a:gd name="connsiteX857" fmla="*/ 648158 w 2061090"/>
                <a:gd name="connsiteY857" fmla="*/ 230558 h 2789035"/>
                <a:gd name="connsiteX858" fmla="*/ 659054 w 2061090"/>
                <a:gd name="connsiteY858" fmla="*/ 229904 h 2789035"/>
                <a:gd name="connsiteX859" fmla="*/ 667988 w 2061090"/>
                <a:gd name="connsiteY859" fmla="*/ 230776 h 2789035"/>
                <a:gd name="connsiteX860" fmla="*/ 679101 w 2061090"/>
                <a:gd name="connsiteY860" fmla="*/ 225108 h 2789035"/>
                <a:gd name="connsiteX861" fmla="*/ 683024 w 2061090"/>
                <a:gd name="connsiteY861" fmla="*/ 220748 h 2789035"/>
                <a:gd name="connsiteX862" fmla="*/ 689997 w 2061090"/>
                <a:gd name="connsiteY862" fmla="*/ 219658 h 2789035"/>
                <a:gd name="connsiteX863" fmla="*/ 695444 w 2061090"/>
                <a:gd name="connsiteY863" fmla="*/ 218350 h 2789035"/>
                <a:gd name="connsiteX864" fmla="*/ 704379 w 2061090"/>
                <a:gd name="connsiteY864" fmla="*/ 215516 h 2789035"/>
                <a:gd name="connsiteX865" fmla="*/ 706340 w 2061090"/>
                <a:gd name="connsiteY865" fmla="*/ 208322 h 2789035"/>
                <a:gd name="connsiteX866" fmla="*/ 709608 w 2061090"/>
                <a:gd name="connsiteY866" fmla="*/ 200255 h 2789035"/>
                <a:gd name="connsiteX867" fmla="*/ 712223 w 2061090"/>
                <a:gd name="connsiteY867" fmla="*/ 196549 h 2789035"/>
                <a:gd name="connsiteX868" fmla="*/ 705686 w 2061090"/>
                <a:gd name="connsiteY868" fmla="*/ 192625 h 2789035"/>
                <a:gd name="connsiteX869" fmla="*/ 694355 w 2061090"/>
                <a:gd name="connsiteY869" fmla="*/ 186521 h 2789035"/>
                <a:gd name="connsiteX870" fmla="*/ 685421 w 2061090"/>
                <a:gd name="connsiteY870" fmla="*/ 181289 h 2789035"/>
                <a:gd name="connsiteX871" fmla="*/ 678230 w 2061090"/>
                <a:gd name="connsiteY871" fmla="*/ 171696 h 2789035"/>
                <a:gd name="connsiteX872" fmla="*/ 669513 w 2061090"/>
                <a:gd name="connsiteY872" fmla="*/ 170824 h 2789035"/>
                <a:gd name="connsiteX873" fmla="*/ 664066 w 2061090"/>
                <a:gd name="connsiteY873" fmla="*/ 177364 h 2789035"/>
                <a:gd name="connsiteX874" fmla="*/ 658618 w 2061090"/>
                <a:gd name="connsiteY874" fmla="*/ 185431 h 2789035"/>
                <a:gd name="connsiteX875" fmla="*/ 646633 w 2061090"/>
                <a:gd name="connsiteY875" fmla="*/ 191753 h 2789035"/>
                <a:gd name="connsiteX876" fmla="*/ 638788 w 2061090"/>
                <a:gd name="connsiteY876" fmla="*/ 200909 h 2789035"/>
                <a:gd name="connsiteX877" fmla="*/ 623099 w 2061090"/>
                <a:gd name="connsiteY877" fmla="*/ 206577 h 2789035"/>
                <a:gd name="connsiteX878" fmla="*/ 615908 w 2061090"/>
                <a:gd name="connsiteY878" fmla="*/ 190227 h 2789035"/>
                <a:gd name="connsiteX879" fmla="*/ 614601 w 2061090"/>
                <a:gd name="connsiteY879" fmla="*/ 179327 h 2789035"/>
                <a:gd name="connsiteX880" fmla="*/ 615254 w 2061090"/>
                <a:gd name="connsiteY880" fmla="*/ 170170 h 2789035"/>
                <a:gd name="connsiteX881" fmla="*/ 618959 w 2061090"/>
                <a:gd name="connsiteY881" fmla="*/ 162976 h 2789035"/>
                <a:gd name="connsiteX882" fmla="*/ 621138 w 2061090"/>
                <a:gd name="connsiteY882" fmla="*/ 157526 h 2789035"/>
                <a:gd name="connsiteX883" fmla="*/ 620048 w 2061090"/>
                <a:gd name="connsiteY883" fmla="*/ 152294 h 2789035"/>
                <a:gd name="connsiteX884" fmla="*/ 616780 w 2061090"/>
                <a:gd name="connsiteY884" fmla="*/ 145535 h 2789035"/>
                <a:gd name="connsiteX885" fmla="*/ 611332 w 2061090"/>
                <a:gd name="connsiteY885" fmla="*/ 138777 h 2789035"/>
                <a:gd name="connsiteX886" fmla="*/ 608281 w 2061090"/>
                <a:gd name="connsiteY886" fmla="*/ 128967 h 2789035"/>
                <a:gd name="connsiteX887" fmla="*/ 616780 w 2061090"/>
                <a:gd name="connsiteY887" fmla="*/ 133109 h 2789035"/>
                <a:gd name="connsiteX888" fmla="*/ 621792 w 2061090"/>
                <a:gd name="connsiteY888" fmla="*/ 136597 h 2789035"/>
                <a:gd name="connsiteX889" fmla="*/ 627239 w 2061090"/>
                <a:gd name="connsiteY889" fmla="*/ 119811 h 2789035"/>
                <a:gd name="connsiteX890" fmla="*/ 627893 w 2061090"/>
                <a:gd name="connsiteY890" fmla="*/ 103678 h 2789035"/>
                <a:gd name="connsiteX891" fmla="*/ 622227 w 2061090"/>
                <a:gd name="connsiteY891" fmla="*/ 104768 h 2789035"/>
                <a:gd name="connsiteX892" fmla="*/ 616780 w 2061090"/>
                <a:gd name="connsiteY892" fmla="*/ 102588 h 2789035"/>
                <a:gd name="connsiteX893" fmla="*/ 611332 w 2061090"/>
                <a:gd name="connsiteY893" fmla="*/ 103024 h 2789035"/>
                <a:gd name="connsiteX894" fmla="*/ 603705 w 2061090"/>
                <a:gd name="connsiteY894" fmla="*/ 106512 h 2789035"/>
                <a:gd name="connsiteX895" fmla="*/ 605013 w 2061090"/>
                <a:gd name="connsiteY895" fmla="*/ 95176 h 2789035"/>
                <a:gd name="connsiteX896" fmla="*/ 606102 w 2061090"/>
                <a:gd name="connsiteY896" fmla="*/ 88417 h 2789035"/>
                <a:gd name="connsiteX897" fmla="*/ 606756 w 2061090"/>
                <a:gd name="connsiteY897" fmla="*/ 82531 h 2789035"/>
                <a:gd name="connsiteX898" fmla="*/ 608281 w 2061090"/>
                <a:gd name="connsiteY898" fmla="*/ 67707 h 2789035"/>
                <a:gd name="connsiteX899" fmla="*/ 603487 w 2061090"/>
                <a:gd name="connsiteY899" fmla="*/ 56370 h 2789035"/>
                <a:gd name="connsiteX900" fmla="*/ 607628 w 2061090"/>
                <a:gd name="connsiteY900" fmla="*/ 31953 h 2789035"/>
                <a:gd name="connsiteX901" fmla="*/ 608063 w 2061090"/>
                <a:gd name="connsiteY901" fmla="*/ 25849 h 2789035"/>
                <a:gd name="connsiteX902" fmla="*/ 615908 w 2061090"/>
                <a:gd name="connsiteY902" fmla="*/ 19527 h 2789035"/>
                <a:gd name="connsiteX903" fmla="*/ 624189 w 2061090"/>
                <a:gd name="connsiteY903" fmla="*/ 16475 h 2789035"/>
                <a:gd name="connsiteX904" fmla="*/ 640314 w 2061090"/>
                <a:gd name="connsiteY904" fmla="*/ 10589 h 2789035"/>
                <a:gd name="connsiteX905" fmla="*/ 652517 w 2061090"/>
                <a:gd name="connsiteY905" fmla="*/ 24105 h 2789035"/>
                <a:gd name="connsiteX906" fmla="*/ 655567 w 2061090"/>
                <a:gd name="connsiteY906" fmla="*/ 30645 h 2789035"/>
                <a:gd name="connsiteX907" fmla="*/ 654914 w 2061090"/>
                <a:gd name="connsiteY907" fmla="*/ 38930 h 2789035"/>
                <a:gd name="connsiteX908" fmla="*/ 651645 w 2061090"/>
                <a:gd name="connsiteY908" fmla="*/ 35660 h 2789035"/>
                <a:gd name="connsiteX909" fmla="*/ 642493 w 2061090"/>
                <a:gd name="connsiteY909" fmla="*/ 38930 h 2789035"/>
                <a:gd name="connsiteX910" fmla="*/ 632033 w 2061090"/>
                <a:gd name="connsiteY910" fmla="*/ 43290 h 2789035"/>
                <a:gd name="connsiteX911" fmla="*/ 629854 w 2061090"/>
                <a:gd name="connsiteY911" fmla="*/ 41110 h 2789035"/>
                <a:gd name="connsiteX912" fmla="*/ 627893 w 2061090"/>
                <a:gd name="connsiteY912" fmla="*/ 46124 h 2789035"/>
                <a:gd name="connsiteX913" fmla="*/ 620048 w 2061090"/>
                <a:gd name="connsiteY913" fmla="*/ 57896 h 2789035"/>
                <a:gd name="connsiteX914" fmla="*/ 611332 w 2061090"/>
                <a:gd name="connsiteY914" fmla="*/ 65091 h 2789035"/>
                <a:gd name="connsiteX915" fmla="*/ 622227 w 2061090"/>
                <a:gd name="connsiteY915" fmla="*/ 69451 h 2789035"/>
                <a:gd name="connsiteX916" fmla="*/ 638571 w 2061090"/>
                <a:gd name="connsiteY916" fmla="*/ 59422 h 2789035"/>
                <a:gd name="connsiteX917" fmla="*/ 642929 w 2061090"/>
                <a:gd name="connsiteY917" fmla="*/ 52010 h 2789035"/>
                <a:gd name="connsiteX918" fmla="*/ 647287 w 2061090"/>
                <a:gd name="connsiteY918" fmla="*/ 47650 h 2789035"/>
                <a:gd name="connsiteX919" fmla="*/ 656875 w 2061090"/>
                <a:gd name="connsiteY919" fmla="*/ 43072 h 2789035"/>
                <a:gd name="connsiteX920" fmla="*/ 672128 w 2061090"/>
                <a:gd name="connsiteY920" fmla="*/ 45688 h 2789035"/>
                <a:gd name="connsiteX921" fmla="*/ 684331 w 2061090"/>
                <a:gd name="connsiteY921" fmla="*/ 46996 h 2789035"/>
                <a:gd name="connsiteX922" fmla="*/ 678883 w 2061090"/>
                <a:gd name="connsiteY922" fmla="*/ 49830 h 2789035"/>
                <a:gd name="connsiteX923" fmla="*/ 678448 w 2061090"/>
                <a:gd name="connsiteY923" fmla="*/ 58986 h 2789035"/>
                <a:gd name="connsiteX924" fmla="*/ 683895 w 2061090"/>
                <a:gd name="connsiteY924" fmla="*/ 64219 h 2789035"/>
                <a:gd name="connsiteX925" fmla="*/ 677794 w 2061090"/>
                <a:gd name="connsiteY925" fmla="*/ 69887 h 2789035"/>
                <a:gd name="connsiteX926" fmla="*/ 666898 w 2061090"/>
                <a:gd name="connsiteY926" fmla="*/ 67925 h 2789035"/>
                <a:gd name="connsiteX927" fmla="*/ 659054 w 2061090"/>
                <a:gd name="connsiteY927" fmla="*/ 74901 h 2789035"/>
                <a:gd name="connsiteX928" fmla="*/ 657964 w 2061090"/>
                <a:gd name="connsiteY928" fmla="*/ 82967 h 2789035"/>
                <a:gd name="connsiteX929" fmla="*/ 657528 w 2061090"/>
                <a:gd name="connsiteY929" fmla="*/ 93432 h 2789035"/>
                <a:gd name="connsiteX930" fmla="*/ 659272 w 2061090"/>
                <a:gd name="connsiteY930" fmla="*/ 102806 h 2789035"/>
                <a:gd name="connsiteX931" fmla="*/ 670167 w 2061090"/>
                <a:gd name="connsiteY931" fmla="*/ 91688 h 2789035"/>
                <a:gd name="connsiteX932" fmla="*/ 685856 w 2061090"/>
                <a:gd name="connsiteY932" fmla="*/ 80351 h 2789035"/>
                <a:gd name="connsiteX933" fmla="*/ 700456 w 2061090"/>
                <a:gd name="connsiteY933" fmla="*/ 101062 h 2789035"/>
                <a:gd name="connsiteX934" fmla="*/ 707647 w 2061090"/>
                <a:gd name="connsiteY934" fmla="*/ 108910 h 2789035"/>
                <a:gd name="connsiteX935" fmla="*/ 711569 w 2061090"/>
                <a:gd name="connsiteY935" fmla="*/ 113052 h 2789035"/>
                <a:gd name="connsiteX936" fmla="*/ 712659 w 2061090"/>
                <a:gd name="connsiteY936" fmla="*/ 123299 h 2789035"/>
                <a:gd name="connsiteX937" fmla="*/ 712877 w 2061090"/>
                <a:gd name="connsiteY937" fmla="*/ 133545 h 2789035"/>
                <a:gd name="connsiteX938" fmla="*/ 704814 w 2061090"/>
                <a:gd name="connsiteY938" fmla="*/ 135943 h 2789035"/>
                <a:gd name="connsiteX939" fmla="*/ 699149 w 2061090"/>
                <a:gd name="connsiteY939" fmla="*/ 137687 h 2789035"/>
                <a:gd name="connsiteX940" fmla="*/ 698495 w 2061090"/>
                <a:gd name="connsiteY940" fmla="*/ 144881 h 2789035"/>
                <a:gd name="connsiteX941" fmla="*/ 701982 w 2061090"/>
                <a:gd name="connsiteY941" fmla="*/ 156436 h 2789035"/>
                <a:gd name="connsiteX942" fmla="*/ 712223 w 2061090"/>
                <a:gd name="connsiteY942" fmla="*/ 148369 h 2789035"/>
                <a:gd name="connsiteX943" fmla="*/ 715710 w 2061090"/>
                <a:gd name="connsiteY943" fmla="*/ 139649 h 2789035"/>
                <a:gd name="connsiteX944" fmla="*/ 718543 w 2061090"/>
                <a:gd name="connsiteY944" fmla="*/ 142265 h 2789035"/>
                <a:gd name="connsiteX945" fmla="*/ 719632 w 2061090"/>
                <a:gd name="connsiteY945" fmla="*/ 149896 h 2789035"/>
                <a:gd name="connsiteX946" fmla="*/ 714838 w 2061090"/>
                <a:gd name="connsiteY946" fmla="*/ 162540 h 2789035"/>
                <a:gd name="connsiteX947" fmla="*/ 710480 w 2061090"/>
                <a:gd name="connsiteY947" fmla="*/ 167336 h 2789035"/>
                <a:gd name="connsiteX948" fmla="*/ 703289 w 2061090"/>
                <a:gd name="connsiteY948" fmla="*/ 171478 h 2789035"/>
                <a:gd name="connsiteX949" fmla="*/ 695880 w 2061090"/>
                <a:gd name="connsiteY949" fmla="*/ 173222 h 2789035"/>
                <a:gd name="connsiteX950" fmla="*/ 693701 w 2061090"/>
                <a:gd name="connsiteY950" fmla="*/ 179545 h 2789035"/>
                <a:gd name="connsiteX951" fmla="*/ 711352 w 2061090"/>
                <a:gd name="connsiteY951" fmla="*/ 179763 h 2789035"/>
                <a:gd name="connsiteX952" fmla="*/ 721375 w 2061090"/>
                <a:gd name="connsiteY952" fmla="*/ 178237 h 2789035"/>
                <a:gd name="connsiteX953" fmla="*/ 720940 w 2061090"/>
                <a:gd name="connsiteY953" fmla="*/ 185431 h 2789035"/>
                <a:gd name="connsiteX954" fmla="*/ 726169 w 2061090"/>
                <a:gd name="connsiteY954" fmla="*/ 193279 h 2789035"/>
                <a:gd name="connsiteX955" fmla="*/ 734450 w 2061090"/>
                <a:gd name="connsiteY955" fmla="*/ 188483 h 2789035"/>
                <a:gd name="connsiteX956" fmla="*/ 746435 w 2061090"/>
                <a:gd name="connsiteY956" fmla="*/ 184995 h 2789035"/>
                <a:gd name="connsiteX957" fmla="*/ 735103 w 2061090"/>
                <a:gd name="connsiteY957" fmla="*/ 200255 h 2789035"/>
                <a:gd name="connsiteX958" fmla="*/ 732271 w 2061090"/>
                <a:gd name="connsiteY958" fmla="*/ 205705 h 2789035"/>
                <a:gd name="connsiteX959" fmla="*/ 730745 w 2061090"/>
                <a:gd name="connsiteY959" fmla="*/ 220312 h 2789035"/>
                <a:gd name="connsiteX960" fmla="*/ 730963 w 2061090"/>
                <a:gd name="connsiteY960" fmla="*/ 230776 h 2789035"/>
                <a:gd name="connsiteX961" fmla="*/ 733360 w 2061090"/>
                <a:gd name="connsiteY961" fmla="*/ 239497 h 2789035"/>
                <a:gd name="connsiteX962" fmla="*/ 739897 w 2061090"/>
                <a:gd name="connsiteY962" fmla="*/ 246909 h 2789035"/>
                <a:gd name="connsiteX963" fmla="*/ 743384 w 2061090"/>
                <a:gd name="connsiteY963" fmla="*/ 230122 h 2789035"/>
                <a:gd name="connsiteX964" fmla="*/ 744038 w 2061090"/>
                <a:gd name="connsiteY964" fmla="*/ 219876 h 2789035"/>
                <a:gd name="connsiteX965" fmla="*/ 751011 w 2061090"/>
                <a:gd name="connsiteY965" fmla="*/ 204833 h 2789035"/>
                <a:gd name="connsiteX966" fmla="*/ 751882 w 2061090"/>
                <a:gd name="connsiteY966" fmla="*/ 201345 h 2789035"/>
                <a:gd name="connsiteX967" fmla="*/ 752754 w 2061090"/>
                <a:gd name="connsiteY967" fmla="*/ 188047 h 2789035"/>
                <a:gd name="connsiteX968" fmla="*/ 753408 w 2061090"/>
                <a:gd name="connsiteY968" fmla="*/ 176274 h 2789035"/>
                <a:gd name="connsiteX969" fmla="*/ 762778 w 2061090"/>
                <a:gd name="connsiteY969" fmla="*/ 199165 h 2789035"/>
                <a:gd name="connsiteX970" fmla="*/ 766046 w 2061090"/>
                <a:gd name="connsiteY970" fmla="*/ 217260 h 2789035"/>
                <a:gd name="connsiteX971" fmla="*/ 770404 w 2061090"/>
                <a:gd name="connsiteY971" fmla="*/ 215516 h 2789035"/>
                <a:gd name="connsiteX972" fmla="*/ 773673 w 2061090"/>
                <a:gd name="connsiteY972" fmla="*/ 201563 h 2789035"/>
                <a:gd name="connsiteX973" fmla="*/ 776070 w 2061090"/>
                <a:gd name="connsiteY973" fmla="*/ 187829 h 2789035"/>
                <a:gd name="connsiteX974" fmla="*/ 774545 w 2061090"/>
                <a:gd name="connsiteY974" fmla="*/ 181725 h 2789035"/>
                <a:gd name="connsiteX975" fmla="*/ 773237 w 2061090"/>
                <a:gd name="connsiteY975" fmla="*/ 171042 h 2789035"/>
                <a:gd name="connsiteX976" fmla="*/ 775852 w 2061090"/>
                <a:gd name="connsiteY976" fmla="*/ 156872 h 2789035"/>
                <a:gd name="connsiteX977" fmla="*/ 779339 w 2061090"/>
                <a:gd name="connsiteY977" fmla="*/ 150986 h 2789035"/>
                <a:gd name="connsiteX978" fmla="*/ 785440 w 2061090"/>
                <a:gd name="connsiteY978" fmla="*/ 152294 h 2789035"/>
                <a:gd name="connsiteX979" fmla="*/ 787183 w 2061090"/>
                <a:gd name="connsiteY979" fmla="*/ 158834 h 2789035"/>
                <a:gd name="connsiteX980" fmla="*/ 792195 w 2061090"/>
                <a:gd name="connsiteY980" fmla="*/ 167554 h 2789035"/>
                <a:gd name="connsiteX981" fmla="*/ 800912 w 2061090"/>
                <a:gd name="connsiteY981" fmla="*/ 167554 h 2789035"/>
                <a:gd name="connsiteX982" fmla="*/ 798950 w 2061090"/>
                <a:gd name="connsiteY982" fmla="*/ 177582 h 2789035"/>
                <a:gd name="connsiteX983" fmla="*/ 792631 w 2061090"/>
                <a:gd name="connsiteY983" fmla="*/ 188483 h 2789035"/>
                <a:gd name="connsiteX984" fmla="*/ 790016 w 2061090"/>
                <a:gd name="connsiteY984" fmla="*/ 193715 h 2789035"/>
                <a:gd name="connsiteX985" fmla="*/ 784568 w 2061090"/>
                <a:gd name="connsiteY985" fmla="*/ 193715 h 2789035"/>
                <a:gd name="connsiteX986" fmla="*/ 784568 w 2061090"/>
                <a:gd name="connsiteY986" fmla="*/ 188265 h 2789035"/>
                <a:gd name="connsiteX987" fmla="*/ 784786 w 2061090"/>
                <a:gd name="connsiteY987" fmla="*/ 183033 h 2789035"/>
                <a:gd name="connsiteX988" fmla="*/ 781300 w 2061090"/>
                <a:gd name="connsiteY988" fmla="*/ 184777 h 2789035"/>
                <a:gd name="connsiteX989" fmla="*/ 785004 w 2061090"/>
                <a:gd name="connsiteY989" fmla="*/ 199601 h 2789035"/>
                <a:gd name="connsiteX990" fmla="*/ 797207 w 2061090"/>
                <a:gd name="connsiteY990" fmla="*/ 206141 h 2789035"/>
                <a:gd name="connsiteX991" fmla="*/ 795464 w 2061090"/>
                <a:gd name="connsiteY991" fmla="*/ 218786 h 2789035"/>
                <a:gd name="connsiteX992" fmla="*/ 791106 w 2061090"/>
                <a:gd name="connsiteY992" fmla="*/ 223146 h 2789035"/>
                <a:gd name="connsiteX993" fmla="*/ 800040 w 2061090"/>
                <a:gd name="connsiteY993" fmla="*/ 232956 h 2789035"/>
                <a:gd name="connsiteX994" fmla="*/ 798515 w 2061090"/>
                <a:gd name="connsiteY994" fmla="*/ 238407 h 2789035"/>
                <a:gd name="connsiteX995" fmla="*/ 789798 w 2061090"/>
                <a:gd name="connsiteY995" fmla="*/ 243857 h 2789035"/>
                <a:gd name="connsiteX996" fmla="*/ 787183 w 2061090"/>
                <a:gd name="connsiteY996" fmla="*/ 249961 h 2789035"/>
                <a:gd name="connsiteX997" fmla="*/ 786748 w 2061090"/>
                <a:gd name="connsiteY997" fmla="*/ 254757 h 2789035"/>
                <a:gd name="connsiteX998" fmla="*/ 778903 w 2061090"/>
                <a:gd name="connsiteY998" fmla="*/ 251705 h 2789035"/>
                <a:gd name="connsiteX999" fmla="*/ 773455 w 2061090"/>
                <a:gd name="connsiteY999" fmla="*/ 242549 h 2789035"/>
                <a:gd name="connsiteX1000" fmla="*/ 778249 w 2061090"/>
                <a:gd name="connsiteY1000" fmla="*/ 230776 h 2789035"/>
                <a:gd name="connsiteX1001" fmla="*/ 781736 w 2061090"/>
                <a:gd name="connsiteY1001" fmla="*/ 227724 h 2789035"/>
                <a:gd name="connsiteX1002" fmla="*/ 786094 w 2061090"/>
                <a:gd name="connsiteY1002" fmla="*/ 216606 h 2789035"/>
                <a:gd name="connsiteX1003" fmla="*/ 789145 w 2061090"/>
                <a:gd name="connsiteY1003" fmla="*/ 206141 h 2789035"/>
                <a:gd name="connsiteX1004" fmla="*/ 781300 w 2061090"/>
                <a:gd name="connsiteY1004" fmla="*/ 208976 h 2789035"/>
                <a:gd name="connsiteX1005" fmla="*/ 762778 w 2061090"/>
                <a:gd name="connsiteY1005" fmla="*/ 237535 h 2789035"/>
                <a:gd name="connsiteX1006" fmla="*/ 756241 w 2061090"/>
                <a:gd name="connsiteY1006" fmla="*/ 243203 h 2789035"/>
                <a:gd name="connsiteX1007" fmla="*/ 752972 w 2061090"/>
                <a:gd name="connsiteY1007" fmla="*/ 256937 h 2789035"/>
                <a:gd name="connsiteX1008" fmla="*/ 762560 w 2061090"/>
                <a:gd name="connsiteY1008" fmla="*/ 256937 h 2789035"/>
                <a:gd name="connsiteX1009" fmla="*/ 776724 w 2061090"/>
                <a:gd name="connsiteY1009" fmla="*/ 262387 h 2789035"/>
                <a:gd name="connsiteX1010" fmla="*/ 780646 w 2061090"/>
                <a:gd name="connsiteY1010" fmla="*/ 268274 h 2789035"/>
                <a:gd name="connsiteX1011" fmla="*/ 785658 w 2061090"/>
                <a:gd name="connsiteY1011" fmla="*/ 279610 h 2789035"/>
                <a:gd name="connsiteX1012" fmla="*/ 780864 w 2061090"/>
                <a:gd name="connsiteY1012" fmla="*/ 292036 h 2789035"/>
                <a:gd name="connsiteX1013" fmla="*/ 775852 w 2061090"/>
                <a:gd name="connsiteY1013" fmla="*/ 297705 h 2789035"/>
                <a:gd name="connsiteX1014" fmla="*/ 764957 w 2061090"/>
                <a:gd name="connsiteY1014" fmla="*/ 305989 h 2789035"/>
                <a:gd name="connsiteX1015" fmla="*/ 764303 w 2061090"/>
                <a:gd name="connsiteY1015" fmla="*/ 298359 h 2789035"/>
                <a:gd name="connsiteX1016" fmla="*/ 752754 w 2061090"/>
                <a:gd name="connsiteY1016" fmla="*/ 293781 h 2789035"/>
                <a:gd name="connsiteX1017" fmla="*/ 743166 w 2061090"/>
                <a:gd name="connsiteY1017" fmla="*/ 292908 h 2789035"/>
                <a:gd name="connsiteX1018" fmla="*/ 734232 w 2061090"/>
                <a:gd name="connsiteY1018" fmla="*/ 290946 h 2789035"/>
                <a:gd name="connsiteX1019" fmla="*/ 730092 w 2061090"/>
                <a:gd name="connsiteY1019" fmla="*/ 299449 h 2789035"/>
                <a:gd name="connsiteX1020" fmla="*/ 718107 w 2061090"/>
                <a:gd name="connsiteY1020" fmla="*/ 304899 h 2789035"/>
                <a:gd name="connsiteX1021" fmla="*/ 712659 w 2061090"/>
                <a:gd name="connsiteY1021" fmla="*/ 308823 h 2789035"/>
                <a:gd name="connsiteX1022" fmla="*/ 715492 w 2061090"/>
                <a:gd name="connsiteY1022" fmla="*/ 310785 h 2789035"/>
                <a:gd name="connsiteX1023" fmla="*/ 721375 w 2061090"/>
                <a:gd name="connsiteY1023" fmla="*/ 311439 h 2789035"/>
                <a:gd name="connsiteX1024" fmla="*/ 721375 w 2061090"/>
                <a:gd name="connsiteY1024" fmla="*/ 319069 h 2789035"/>
                <a:gd name="connsiteX1025" fmla="*/ 722029 w 2061090"/>
                <a:gd name="connsiteY1025" fmla="*/ 332150 h 2789035"/>
                <a:gd name="connsiteX1026" fmla="*/ 716363 w 2061090"/>
                <a:gd name="connsiteY1026" fmla="*/ 336510 h 2789035"/>
                <a:gd name="connsiteX1027" fmla="*/ 711787 w 2061090"/>
                <a:gd name="connsiteY1027" fmla="*/ 325828 h 2789035"/>
                <a:gd name="connsiteX1028" fmla="*/ 709173 w 2061090"/>
                <a:gd name="connsiteY1028" fmla="*/ 317107 h 2789035"/>
                <a:gd name="connsiteX1029" fmla="*/ 700674 w 2061090"/>
                <a:gd name="connsiteY1029" fmla="*/ 324956 h 2789035"/>
                <a:gd name="connsiteX1030" fmla="*/ 696970 w 2061090"/>
                <a:gd name="connsiteY1030" fmla="*/ 334112 h 2789035"/>
                <a:gd name="connsiteX1031" fmla="*/ 693047 w 2061090"/>
                <a:gd name="connsiteY1031" fmla="*/ 327790 h 2789035"/>
                <a:gd name="connsiteX1032" fmla="*/ 685421 w 2061090"/>
                <a:gd name="connsiteY1032" fmla="*/ 320159 h 2789035"/>
                <a:gd name="connsiteX1033" fmla="*/ 679973 w 2061090"/>
                <a:gd name="connsiteY1033" fmla="*/ 316889 h 2789035"/>
                <a:gd name="connsiteX1034" fmla="*/ 680191 w 2061090"/>
                <a:gd name="connsiteY1034" fmla="*/ 313619 h 2789035"/>
                <a:gd name="connsiteX1035" fmla="*/ 677794 w 2061090"/>
                <a:gd name="connsiteY1035" fmla="*/ 315799 h 2789035"/>
                <a:gd name="connsiteX1036" fmla="*/ 670167 w 2061090"/>
                <a:gd name="connsiteY1036" fmla="*/ 317979 h 2789035"/>
                <a:gd name="connsiteX1037" fmla="*/ 667116 w 2061090"/>
                <a:gd name="connsiteY1037" fmla="*/ 329534 h 2789035"/>
                <a:gd name="connsiteX1038" fmla="*/ 669078 w 2061090"/>
                <a:gd name="connsiteY1038" fmla="*/ 339780 h 2789035"/>
                <a:gd name="connsiteX1039" fmla="*/ 660797 w 2061090"/>
                <a:gd name="connsiteY1039" fmla="*/ 337382 h 2789035"/>
                <a:gd name="connsiteX1040" fmla="*/ 656875 w 2061090"/>
                <a:gd name="connsiteY1040" fmla="*/ 328662 h 2789035"/>
                <a:gd name="connsiteX1041" fmla="*/ 656221 w 2061090"/>
                <a:gd name="connsiteY1041" fmla="*/ 322994 h 2789035"/>
                <a:gd name="connsiteX1042" fmla="*/ 656221 w 2061090"/>
                <a:gd name="connsiteY1042" fmla="*/ 315145 h 2789035"/>
                <a:gd name="connsiteX1043" fmla="*/ 658182 w 2061090"/>
                <a:gd name="connsiteY1043" fmla="*/ 307079 h 2789035"/>
                <a:gd name="connsiteX1044" fmla="*/ 665591 w 2061090"/>
                <a:gd name="connsiteY1044" fmla="*/ 304899 h 2789035"/>
                <a:gd name="connsiteX1045" fmla="*/ 669078 w 2061090"/>
                <a:gd name="connsiteY1045" fmla="*/ 298577 h 2789035"/>
                <a:gd name="connsiteX1046" fmla="*/ 667552 w 2061090"/>
                <a:gd name="connsiteY1046" fmla="*/ 291164 h 2789035"/>
                <a:gd name="connsiteX1047" fmla="*/ 668642 w 2061090"/>
                <a:gd name="connsiteY1047" fmla="*/ 290946 h 2789035"/>
                <a:gd name="connsiteX1048" fmla="*/ 676051 w 2061090"/>
                <a:gd name="connsiteY1048" fmla="*/ 286368 h 2789035"/>
                <a:gd name="connsiteX1049" fmla="*/ 686510 w 2061090"/>
                <a:gd name="connsiteY1049" fmla="*/ 280918 h 2789035"/>
                <a:gd name="connsiteX1050" fmla="*/ 698931 w 2061090"/>
                <a:gd name="connsiteY1050" fmla="*/ 251923 h 2789035"/>
                <a:gd name="connsiteX1051" fmla="*/ 698713 w 2061090"/>
                <a:gd name="connsiteY1051" fmla="*/ 243639 h 2789035"/>
                <a:gd name="connsiteX1052" fmla="*/ 704161 w 2061090"/>
                <a:gd name="connsiteY1052" fmla="*/ 235791 h 2789035"/>
                <a:gd name="connsiteX1053" fmla="*/ 713749 w 2061090"/>
                <a:gd name="connsiteY1053" fmla="*/ 232956 h 2789035"/>
                <a:gd name="connsiteX1054" fmla="*/ 712659 w 2061090"/>
                <a:gd name="connsiteY1054" fmla="*/ 239497 h 2789035"/>
                <a:gd name="connsiteX1055" fmla="*/ 712877 w 2061090"/>
                <a:gd name="connsiteY1055" fmla="*/ 248435 h 2789035"/>
                <a:gd name="connsiteX1056" fmla="*/ 712877 w 2061090"/>
                <a:gd name="connsiteY1056" fmla="*/ 255411 h 2789035"/>
                <a:gd name="connsiteX1057" fmla="*/ 717017 w 2061090"/>
                <a:gd name="connsiteY1057" fmla="*/ 263477 h 2789035"/>
                <a:gd name="connsiteX1058" fmla="*/ 721375 w 2061090"/>
                <a:gd name="connsiteY1058" fmla="*/ 270018 h 2789035"/>
                <a:gd name="connsiteX1059" fmla="*/ 714620 w 2061090"/>
                <a:gd name="connsiteY1059" fmla="*/ 270454 h 2789035"/>
                <a:gd name="connsiteX1060" fmla="*/ 707865 w 2061090"/>
                <a:gd name="connsiteY1060" fmla="*/ 269582 h 2789035"/>
                <a:gd name="connsiteX1061" fmla="*/ 719850 w 2061090"/>
                <a:gd name="connsiteY1061" fmla="*/ 291382 h 2789035"/>
                <a:gd name="connsiteX1062" fmla="*/ 723554 w 2061090"/>
                <a:gd name="connsiteY1062" fmla="*/ 283316 h 2789035"/>
                <a:gd name="connsiteX1063" fmla="*/ 728784 w 2061090"/>
                <a:gd name="connsiteY1063" fmla="*/ 274378 h 2789035"/>
                <a:gd name="connsiteX1064" fmla="*/ 735321 w 2061090"/>
                <a:gd name="connsiteY1064" fmla="*/ 277866 h 2789035"/>
                <a:gd name="connsiteX1065" fmla="*/ 743166 w 2061090"/>
                <a:gd name="connsiteY1065" fmla="*/ 280046 h 2789035"/>
                <a:gd name="connsiteX1066" fmla="*/ 754061 w 2061090"/>
                <a:gd name="connsiteY1066" fmla="*/ 283098 h 2789035"/>
                <a:gd name="connsiteX1067" fmla="*/ 761688 w 2061090"/>
                <a:gd name="connsiteY1067" fmla="*/ 286150 h 2789035"/>
                <a:gd name="connsiteX1068" fmla="*/ 764957 w 2061090"/>
                <a:gd name="connsiteY1068" fmla="*/ 287240 h 2789035"/>
                <a:gd name="connsiteX1069" fmla="*/ 769315 w 2061090"/>
                <a:gd name="connsiteY1069" fmla="*/ 287022 h 2789035"/>
                <a:gd name="connsiteX1070" fmla="*/ 768225 w 2061090"/>
                <a:gd name="connsiteY1070" fmla="*/ 278302 h 2789035"/>
                <a:gd name="connsiteX1071" fmla="*/ 762778 w 2061090"/>
                <a:gd name="connsiteY1071" fmla="*/ 272416 h 2789035"/>
                <a:gd name="connsiteX1072" fmla="*/ 753626 w 2061090"/>
                <a:gd name="connsiteY1072" fmla="*/ 267620 h 2789035"/>
                <a:gd name="connsiteX1073" fmla="*/ 743166 w 2061090"/>
                <a:gd name="connsiteY1073" fmla="*/ 264131 h 2789035"/>
                <a:gd name="connsiteX1074" fmla="*/ 740115 w 2061090"/>
                <a:gd name="connsiteY1074" fmla="*/ 261297 h 2789035"/>
                <a:gd name="connsiteX1075" fmla="*/ 734450 w 2061090"/>
                <a:gd name="connsiteY1075" fmla="*/ 258027 h 2789035"/>
                <a:gd name="connsiteX1076" fmla="*/ 727041 w 2061090"/>
                <a:gd name="connsiteY1076" fmla="*/ 254757 h 2789035"/>
                <a:gd name="connsiteX1077" fmla="*/ 718325 w 2061090"/>
                <a:gd name="connsiteY1077" fmla="*/ 251923 h 2789035"/>
                <a:gd name="connsiteX1078" fmla="*/ 720068 w 2061090"/>
                <a:gd name="connsiteY1078" fmla="*/ 244075 h 2789035"/>
                <a:gd name="connsiteX1079" fmla="*/ 723336 w 2061090"/>
                <a:gd name="connsiteY1079" fmla="*/ 233610 h 2789035"/>
                <a:gd name="connsiteX1080" fmla="*/ 721375 w 2061090"/>
                <a:gd name="connsiteY1080" fmla="*/ 218132 h 2789035"/>
                <a:gd name="connsiteX1081" fmla="*/ 719196 w 2061090"/>
                <a:gd name="connsiteY1081" fmla="*/ 204615 h 2789035"/>
                <a:gd name="connsiteX1082" fmla="*/ 713313 w 2061090"/>
                <a:gd name="connsiteY1082" fmla="*/ 205051 h 2789035"/>
                <a:gd name="connsiteX1083" fmla="*/ 712223 w 2061090"/>
                <a:gd name="connsiteY1083" fmla="*/ 211592 h 2789035"/>
                <a:gd name="connsiteX1084" fmla="*/ 710698 w 2061090"/>
                <a:gd name="connsiteY1084" fmla="*/ 218786 h 2789035"/>
                <a:gd name="connsiteX1085" fmla="*/ 703943 w 2061090"/>
                <a:gd name="connsiteY1085" fmla="*/ 220966 h 2789035"/>
                <a:gd name="connsiteX1086" fmla="*/ 696098 w 2061090"/>
                <a:gd name="connsiteY1086" fmla="*/ 224236 h 2789035"/>
                <a:gd name="connsiteX1087" fmla="*/ 690868 w 2061090"/>
                <a:gd name="connsiteY1087" fmla="*/ 227506 h 2789035"/>
                <a:gd name="connsiteX1088" fmla="*/ 695226 w 2061090"/>
                <a:gd name="connsiteY1088" fmla="*/ 230776 h 2789035"/>
                <a:gd name="connsiteX1089" fmla="*/ 695880 w 2061090"/>
                <a:gd name="connsiteY1089" fmla="*/ 239933 h 2789035"/>
                <a:gd name="connsiteX1090" fmla="*/ 684113 w 2061090"/>
                <a:gd name="connsiteY1090" fmla="*/ 243857 h 2789035"/>
                <a:gd name="connsiteX1091" fmla="*/ 684331 w 2061090"/>
                <a:gd name="connsiteY1091" fmla="*/ 255629 h 2789035"/>
                <a:gd name="connsiteX1092" fmla="*/ 690650 w 2061090"/>
                <a:gd name="connsiteY1092" fmla="*/ 266966 h 2789035"/>
                <a:gd name="connsiteX1093" fmla="*/ 678012 w 2061090"/>
                <a:gd name="connsiteY1093" fmla="*/ 269582 h 2789035"/>
                <a:gd name="connsiteX1094" fmla="*/ 667988 w 2061090"/>
                <a:gd name="connsiteY1094" fmla="*/ 274814 h 2789035"/>
                <a:gd name="connsiteX1095" fmla="*/ 663412 w 2061090"/>
                <a:gd name="connsiteY1095" fmla="*/ 280046 h 2789035"/>
                <a:gd name="connsiteX1096" fmla="*/ 658618 w 2061090"/>
                <a:gd name="connsiteY1096" fmla="*/ 284842 h 2789035"/>
                <a:gd name="connsiteX1097" fmla="*/ 654478 w 2061090"/>
                <a:gd name="connsiteY1097" fmla="*/ 292908 h 2789035"/>
                <a:gd name="connsiteX1098" fmla="*/ 648158 w 2061090"/>
                <a:gd name="connsiteY1098" fmla="*/ 294653 h 2789035"/>
                <a:gd name="connsiteX1099" fmla="*/ 642929 w 2061090"/>
                <a:gd name="connsiteY1099" fmla="*/ 292908 h 2789035"/>
                <a:gd name="connsiteX1100" fmla="*/ 640967 w 2061090"/>
                <a:gd name="connsiteY1100" fmla="*/ 289638 h 2789035"/>
                <a:gd name="connsiteX1101" fmla="*/ 637699 w 2061090"/>
                <a:gd name="connsiteY1101" fmla="*/ 301847 h 2789035"/>
                <a:gd name="connsiteX1102" fmla="*/ 643147 w 2061090"/>
                <a:gd name="connsiteY1102" fmla="*/ 305989 h 2789035"/>
                <a:gd name="connsiteX1103" fmla="*/ 647287 w 2061090"/>
                <a:gd name="connsiteY1103" fmla="*/ 306861 h 2789035"/>
                <a:gd name="connsiteX1104" fmla="*/ 644236 w 2061090"/>
                <a:gd name="connsiteY1104" fmla="*/ 309259 h 2789035"/>
                <a:gd name="connsiteX1105" fmla="*/ 638353 w 2061090"/>
                <a:gd name="connsiteY1105" fmla="*/ 316453 h 2789035"/>
                <a:gd name="connsiteX1106" fmla="*/ 629854 w 2061090"/>
                <a:gd name="connsiteY1106" fmla="*/ 328226 h 2789035"/>
                <a:gd name="connsiteX1107" fmla="*/ 619177 w 2061090"/>
                <a:gd name="connsiteY1107" fmla="*/ 329752 h 2789035"/>
                <a:gd name="connsiteX1108" fmla="*/ 615690 w 2061090"/>
                <a:gd name="connsiteY1108" fmla="*/ 322557 h 2789035"/>
                <a:gd name="connsiteX1109" fmla="*/ 612422 w 2061090"/>
                <a:gd name="connsiteY1109" fmla="*/ 312965 h 2789035"/>
                <a:gd name="connsiteX1110" fmla="*/ 610896 w 2061090"/>
                <a:gd name="connsiteY1110" fmla="*/ 302719 h 2789035"/>
                <a:gd name="connsiteX1111" fmla="*/ 622010 w 2061090"/>
                <a:gd name="connsiteY1111" fmla="*/ 314491 h 2789035"/>
                <a:gd name="connsiteX1112" fmla="*/ 627239 w 2061090"/>
                <a:gd name="connsiteY1112" fmla="*/ 315145 h 2789035"/>
                <a:gd name="connsiteX1113" fmla="*/ 627021 w 2061090"/>
                <a:gd name="connsiteY1113" fmla="*/ 305117 h 2789035"/>
                <a:gd name="connsiteX1114" fmla="*/ 623317 w 2061090"/>
                <a:gd name="connsiteY1114" fmla="*/ 297487 h 2789035"/>
                <a:gd name="connsiteX1115" fmla="*/ 642493 w 2061090"/>
                <a:gd name="connsiteY1115" fmla="*/ 283098 h 2789035"/>
                <a:gd name="connsiteX1116" fmla="*/ 643582 w 2061090"/>
                <a:gd name="connsiteY1116" fmla="*/ 271544 h 2789035"/>
                <a:gd name="connsiteX1117" fmla="*/ 647505 w 2061090"/>
                <a:gd name="connsiteY1117" fmla="*/ 268274 h 2789035"/>
                <a:gd name="connsiteX1118" fmla="*/ 653824 w 2061090"/>
                <a:gd name="connsiteY1118" fmla="*/ 263477 h 2789035"/>
                <a:gd name="connsiteX1119" fmla="*/ 646851 w 2061090"/>
                <a:gd name="connsiteY1119" fmla="*/ 257373 h 2789035"/>
                <a:gd name="connsiteX1120" fmla="*/ 638571 w 2061090"/>
                <a:gd name="connsiteY1120" fmla="*/ 253449 h 2789035"/>
                <a:gd name="connsiteX1121" fmla="*/ 631597 w 2061090"/>
                <a:gd name="connsiteY1121" fmla="*/ 250397 h 2789035"/>
                <a:gd name="connsiteX1122" fmla="*/ 627893 w 2061090"/>
                <a:gd name="connsiteY1122" fmla="*/ 257591 h 2789035"/>
                <a:gd name="connsiteX1123" fmla="*/ 625496 w 2061090"/>
                <a:gd name="connsiteY1123" fmla="*/ 263913 h 2789035"/>
                <a:gd name="connsiteX1124" fmla="*/ 616998 w 2061090"/>
                <a:gd name="connsiteY1124" fmla="*/ 245383 h 2789035"/>
                <a:gd name="connsiteX1125" fmla="*/ 606320 w 2061090"/>
                <a:gd name="connsiteY1125" fmla="*/ 230558 h 2789035"/>
                <a:gd name="connsiteX1126" fmla="*/ 595207 w 2061090"/>
                <a:gd name="connsiteY1126" fmla="*/ 222710 h 2789035"/>
                <a:gd name="connsiteX1127" fmla="*/ 588234 w 2061090"/>
                <a:gd name="connsiteY1127" fmla="*/ 189137 h 2789035"/>
                <a:gd name="connsiteX1128" fmla="*/ 585183 w 2061090"/>
                <a:gd name="connsiteY1128" fmla="*/ 179763 h 2789035"/>
                <a:gd name="connsiteX1129" fmla="*/ 578646 w 2061090"/>
                <a:gd name="connsiteY1129" fmla="*/ 166682 h 2789035"/>
                <a:gd name="connsiteX1130" fmla="*/ 566661 w 2061090"/>
                <a:gd name="connsiteY1130" fmla="*/ 164284 h 2789035"/>
                <a:gd name="connsiteX1131" fmla="*/ 561867 w 2061090"/>
                <a:gd name="connsiteY1131" fmla="*/ 165156 h 2789035"/>
                <a:gd name="connsiteX1132" fmla="*/ 557073 w 2061090"/>
                <a:gd name="connsiteY1132" fmla="*/ 163848 h 2789035"/>
                <a:gd name="connsiteX1133" fmla="*/ 554894 w 2061090"/>
                <a:gd name="connsiteY1133" fmla="*/ 173004 h 2789035"/>
                <a:gd name="connsiteX1134" fmla="*/ 552061 w 2061090"/>
                <a:gd name="connsiteY1134" fmla="*/ 180635 h 2789035"/>
                <a:gd name="connsiteX1135" fmla="*/ 545306 w 2061090"/>
                <a:gd name="connsiteY1135" fmla="*/ 178019 h 2789035"/>
                <a:gd name="connsiteX1136" fmla="*/ 547703 w 2061090"/>
                <a:gd name="connsiteY1136" fmla="*/ 186957 h 2789035"/>
                <a:gd name="connsiteX1137" fmla="*/ 555984 w 2061090"/>
                <a:gd name="connsiteY1137" fmla="*/ 200037 h 2789035"/>
                <a:gd name="connsiteX1138" fmla="*/ 566225 w 2061090"/>
                <a:gd name="connsiteY1138" fmla="*/ 206359 h 2789035"/>
                <a:gd name="connsiteX1139" fmla="*/ 573198 w 2061090"/>
                <a:gd name="connsiteY1139" fmla="*/ 210502 h 2789035"/>
                <a:gd name="connsiteX1140" fmla="*/ 574288 w 2061090"/>
                <a:gd name="connsiteY1140" fmla="*/ 213118 h 2789035"/>
                <a:gd name="connsiteX1141" fmla="*/ 573852 w 2061090"/>
                <a:gd name="connsiteY1141" fmla="*/ 203743 h 2789035"/>
                <a:gd name="connsiteX1142" fmla="*/ 569712 w 2061090"/>
                <a:gd name="connsiteY1142" fmla="*/ 196767 h 2789035"/>
                <a:gd name="connsiteX1143" fmla="*/ 560995 w 2061090"/>
                <a:gd name="connsiteY1143" fmla="*/ 183687 h 2789035"/>
                <a:gd name="connsiteX1144" fmla="*/ 579736 w 2061090"/>
                <a:gd name="connsiteY1144" fmla="*/ 187393 h 2789035"/>
                <a:gd name="connsiteX1145" fmla="*/ 585401 w 2061090"/>
                <a:gd name="connsiteY1145" fmla="*/ 194151 h 2789035"/>
                <a:gd name="connsiteX1146" fmla="*/ 587580 w 2061090"/>
                <a:gd name="connsiteY1146" fmla="*/ 202217 h 2789035"/>
                <a:gd name="connsiteX1147" fmla="*/ 584312 w 2061090"/>
                <a:gd name="connsiteY1147" fmla="*/ 219658 h 2789035"/>
                <a:gd name="connsiteX1148" fmla="*/ 580607 w 2061090"/>
                <a:gd name="connsiteY1148" fmla="*/ 237535 h 2789035"/>
                <a:gd name="connsiteX1149" fmla="*/ 579300 w 2061090"/>
                <a:gd name="connsiteY1149" fmla="*/ 244293 h 2789035"/>
                <a:gd name="connsiteX1150" fmla="*/ 583004 w 2061090"/>
                <a:gd name="connsiteY1150" fmla="*/ 243421 h 2789035"/>
                <a:gd name="connsiteX1151" fmla="*/ 601308 w 2061090"/>
                <a:gd name="connsiteY1151" fmla="*/ 242985 h 2789035"/>
                <a:gd name="connsiteX1152" fmla="*/ 605013 w 2061090"/>
                <a:gd name="connsiteY1152" fmla="*/ 248871 h 2789035"/>
                <a:gd name="connsiteX1153" fmla="*/ 607192 w 2061090"/>
                <a:gd name="connsiteY1153" fmla="*/ 257155 h 2789035"/>
                <a:gd name="connsiteX1154" fmla="*/ 604359 w 2061090"/>
                <a:gd name="connsiteY1154" fmla="*/ 266312 h 2789035"/>
                <a:gd name="connsiteX1155" fmla="*/ 602180 w 2061090"/>
                <a:gd name="connsiteY1155" fmla="*/ 259771 h 2789035"/>
                <a:gd name="connsiteX1156" fmla="*/ 599565 w 2061090"/>
                <a:gd name="connsiteY1156" fmla="*/ 255193 h 2789035"/>
                <a:gd name="connsiteX1157" fmla="*/ 596732 w 2061090"/>
                <a:gd name="connsiteY1157" fmla="*/ 267620 h 2789035"/>
                <a:gd name="connsiteX1158" fmla="*/ 589106 w 2061090"/>
                <a:gd name="connsiteY1158" fmla="*/ 283098 h 2789035"/>
                <a:gd name="connsiteX1159" fmla="*/ 587580 w 2061090"/>
                <a:gd name="connsiteY1159" fmla="*/ 276558 h 2789035"/>
                <a:gd name="connsiteX1160" fmla="*/ 586491 w 2061090"/>
                <a:gd name="connsiteY1160" fmla="*/ 266966 h 2789035"/>
                <a:gd name="connsiteX1161" fmla="*/ 586273 w 2061090"/>
                <a:gd name="connsiteY1161" fmla="*/ 262387 h 2789035"/>
                <a:gd name="connsiteX1162" fmla="*/ 581697 w 2061090"/>
                <a:gd name="connsiteY1162" fmla="*/ 258027 h 2789035"/>
                <a:gd name="connsiteX1163" fmla="*/ 575595 w 2061090"/>
                <a:gd name="connsiteY1163" fmla="*/ 251923 h 2789035"/>
                <a:gd name="connsiteX1164" fmla="*/ 574724 w 2061090"/>
                <a:gd name="connsiteY1164" fmla="*/ 242549 h 2789035"/>
                <a:gd name="connsiteX1165" fmla="*/ 573198 w 2061090"/>
                <a:gd name="connsiteY1165" fmla="*/ 236881 h 2789035"/>
                <a:gd name="connsiteX1166" fmla="*/ 569058 w 2061090"/>
                <a:gd name="connsiteY1166" fmla="*/ 232956 h 2789035"/>
                <a:gd name="connsiteX1167" fmla="*/ 563175 w 2061090"/>
                <a:gd name="connsiteY1167" fmla="*/ 230558 h 2789035"/>
                <a:gd name="connsiteX1168" fmla="*/ 556637 w 2061090"/>
                <a:gd name="connsiteY1168" fmla="*/ 229468 h 2789035"/>
                <a:gd name="connsiteX1169" fmla="*/ 554894 w 2061090"/>
                <a:gd name="connsiteY1169" fmla="*/ 225544 h 2789035"/>
                <a:gd name="connsiteX1170" fmla="*/ 554894 w 2061090"/>
                <a:gd name="connsiteY1170" fmla="*/ 219658 h 2789035"/>
                <a:gd name="connsiteX1171" fmla="*/ 552715 w 2061090"/>
                <a:gd name="connsiteY1171" fmla="*/ 208976 h 2789035"/>
                <a:gd name="connsiteX1172" fmla="*/ 548139 w 2061090"/>
                <a:gd name="connsiteY1172" fmla="*/ 198293 h 2789035"/>
                <a:gd name="connsiteX1173" fmla="*/ 530924 w 2061090"/>
                <a:gd name="connsiteY1173" fmla="*/ 195459 h 2789035"/>
                <a:gd name="connsiteX1174" fmla="*/ 540294 w 2061090"/>
                <a:gd name="connsiteY1174" fmla="*/ 206796 h 2789035"/>
                <a:gd name="connsiteX1175" fmla="*/ 544652 w 2061090"/>
                <a:gd name="connsiteY1175" fmla="*/ 215734 h 2789035"/>
                <a:gd name="connsiteX1176" fmla="*/ 543999 w 2061090"/>
                <a:gd name="connsiteY1176" fmla="*/ 222492 h 2789035"/>
                <a:gd name="connsiteX1177" fmla="*/ 540730 w 2061090"/>
                <a:gd name="connsiteY1177" fmla="*/ 228378 h 2789035"/>
                <a:gd name="connsiteX1178" fmla="*/ 535718 w 2061090"/>
                <a:gd name="connsiteY1178" fmla="*/ 235572 h 2789035"/>
                <a:gd name="connsiteX1179" fmla="*/ 528309 w 2061090"/>
                <a:gd name="connsiteY1179" fmla="*/ 236445 h 2789035"/>
                <a:gd name="connsiteX1180" fmla="*/ 530488 w 2061090"/>
                <a:gd name="connsiteY1180" fmla="*/ 223364 h 2789035"/>
                <a:gd name="connsiteX1181" fmla="*/ 530271 w 2061090"/>
                <a:gd name="connsiteY1181" fmla="*/ 206359 h 2789035"/>
                <a:gd name="connsiteX1182" fmla="*/ 518504 w 2061090"/>
                <a:gd name="connsiteY1182" fmla="*/ 211374 h 2789035"/>
                <a:gd name="connsiteX1183" fmla="*/ 520900 w 2061090"/>
                <a:gd name="connsiteY1183" fmla="*/ 219440 h 2789035"/>
                <a:gd name="connsiteX1184" fmla="*/ 522862 w 2061090"/>
                <a:gd name="connsiteY1184" fmla="*/ 230558 h 2789035"/>
                <a:gd name="connsiteX1185" fmla="*/ 523951 w 2061090"/>
                <a:gd name="connsiteY1185" fmla="*/ 245165 h 2789035"/>
                <a:gd name="connsiteX1186" fmla="*/ 527438 w 2061090"/>
                <a:gd name="connsiteY1186" fmla="*/ 254757 h 2789035"/>
                <a:gd name="connsiteX1187" fmla="*/ 520029 w 2061090"/>
                <a:gd name="connsiteY1187" fmla="*/ 254321 h 2789035"/>
                <a:gd name="connsiteX1188" fmla="*/ 516107 w 2061090"/>
                <a:gd name="connsiteY1188" fmla="*/ 254975 h 2789035"/>
                <a:gd name="connsiteX1189" fmla="*/ 507172 w 2061090"/>
                <a:gd name="connsiteY1189" fmla="*/ 259553 h 2789035"/>
                <a:gd name="connsiteX1190" fmla="*/ 501289 w 2061090"/>
                <a:gd name="connsiteY1190" fmla="*/ 252577 h 2789035"/>
                <a:gd name="connsiteX1191" fmla="*/ 496931 w 2061090"/>
                <a:gd name="connsiteY1191" fmla="*/ 238843 h 2789035"/>
                <a:gd name="connsiteX1192" fmla="*/ 492573 w 2061090"/>
                <a:gd name="connsiteY1192" fmla="*/ 232084 h 2789035"/>
                <a:gd name="connsiteX1193" fmla="*/ 508262 w 2061090"/>
                <a:gd name="connsiteY1193" fmla="*/ 234482 h 2789035"/>
                <a:gd name="connsiteX1194" fmla="*/ 512402 w 2061090"/>
                <a:gd name="connsiteY1194" fmla="*/ 232084 h 2789035"/>
                <a:gd name="connsiteX1195" fmla="*/ 511313 w 2061090"/>
                <a:gd name="connsiteY1195" fmla="*/ 223800 h 2789035"/>
                <a:gd name="connsiteX1196" fmla="*/ 509351 w 2061090"/>
                <a:gd name="connsiteY1196" fmla="*/ 221620 h 2789035"/>
                <a:gd name="connsiteX1197" fmla="*/ 503468 w 2061090"/>
                <a:gd name="connsiteY1197" fmla="*/ 223146 h 2789035"/>
                <a:gd name="connsiteX1198" fmla="*/ 505429 w 2061090"/>
                <a:gd name="connsiteY1198" fmla="*/ 213990 h 2789035"/>
                <a:gd name="connsiteX1199" fmla="*/ 509787 w 2061090"/>
                <a:gd name="connsiteY1199" fmla="*/ 202217 h 2789035"/>
                <a:gd name="connsiteX1200" fmla="*/ 503904 w 2061090"/>
                <a:gd name="connsiteY1200" fmla="*/ 203089 h 2789035"/>
                <a:gd name="connsiteX1201" fmla="*/ 498238 w 2061090"/>
                <a:gd name="connsiteY1201" fmla="*/ 206796 h 2789035"/>
                <a:gd name="connsiteX1202" fmla="*/ 488214 w 2061090"/>
                <a:gd name="connsiteY1202" fmla="*/ 219004 h 2789035"/>
                <a:gd name="connsiteX1203" fmla="*/ 481677 w 2061090"/>
                <a:gd name="connsiteY1203" fmla="*/ 227724 h 2789035"/>
                <a:gd name="connsiteX1204" fmla="*/ 476665 w 2061090"/>
                <a:gd name="connsiteY1204" fmla="*/ 239279 h 2789035"/>
                <a:gd name="connsiteX1205" fmla="*/ 484074 w 2061090"/>
                <a:gd name="connsiteY1205" fmla="*/ 242767 h 2789035"/>
                <a:gd name="connsiteX1206" fmla="*/ 490393 w 2061090"/>
                <a:gd name="connsiteY1206" fmla="*/ 243203 h 2789035"/>
                <a:gd name="connsiteX1207" fmla="*/ 491701 w 2061090"/>
                <a:gd name="connsiteY1207" fmla="*/ 249961 h 2789035"/>
                <a:gd name="connsiteX1208" fmla="*/ 487343 w 2061090"/>
                <a:gd name="connsiteY1208" fmla="*/ 254757 h 2789035"/>
                <a:gd name="connsiteX1209" fmla="*/ 483203 w 2061090"/>
                <a:gd name="connsiteY1209" fmla="*/ 258681 h 2789035"/>
                <a:gd name="connsiteX1210" fmla="*/ 489522 w 2061090"/>
                <a:gd name="connsiteY1210" fmla="*/ 266966 h 2789035"/>
                <a:gd name="connsiteX1211" fmla="*/ 490393 w 2061090"/>
                <a:gd name="connsiteY1211" fmla="*/ 281572 h 2789035"/>
                <a:gd name="connsiteX1212" fmla="*/ 486035 w 2061090"/>
                <a:gd name="connsiteY1212" fmla="*/ 287022 h 2789035"/>
                <a:gd name="connsiteX1213" fmla="*/ 504775 w 2061090"/>
                <a:gd name="connsiteY1213" fmla="*/ 284188 h 2789035"/>
                <a:gd name="connsiteX1214" fmla="*/ 503468 w 2061090"/>
                <a:gd name="connsiteY1214" fmla="*/ 271108 h 2789035"/>
                <a:gd name="connsiteX1215" fmla="*/ 501289 w 2061090"/>
                <a:gd name="connsiteY1215" fmla="*/ 270454 h 2789035"/>
                <a:gd name="connsiteX1216" fmla="*/ 537026 w 2061090"/>
                <a:gd name="connsiteY1216" fmla="*/ 268492 h 2789035"/>
                <a:gd name="connsiteX1217" fmla="*/ 544217 w 2061090"/>
                <a:gd name="connsiteY1217" fmla="*/ 266312 h 2789035"/>
                <a:gd name="connsiteX1218" fmla="*/ 542473 w 2061090"/>
                <a:gd name="connsiteY1218" fmla="*/ 263477 h 2789035"/>
                <a:gd name="connsiteX1219" fmla="*/ 533321 w 2061090"/>
                <a:gd name="connsiteY1219" fmla="*/ 253449 h 2789035"/>
                <a:gd name="connsiteX1220" fmla="*/ 543563 w 2061090"/>
                <a:gd name="connsiteY1220" fmla="*/ 254539 h 2789035"/>
                <a:gd name="connsiteX1221" fmla="*/ 550318 w 2061090"/>
                <a:gd name="connsiteY1221" fmla="*/ 257809 h 2789035"/>
                <a:gd name="connsiteX1222" fmla="*/ 557727 w 2061090"/>
                <a:gd name="connsiteY1222" fmla="*/ 261515 h 2789035"/>
                <a:gd name="connsiteX1223" fmla="*/ 567751 w 2061090"/>
                <a:gd name="connsiteY1223" fmla="*/ 263477 h 2789035"/>
                <a:gd name="connsiteX1224" fmla="*/ 574724 w 2061090"/>
                <a:gd name="connsiteY1224" fmla="*/ 261951 h 2789035"/>
                <a:gd name="connsiteX1225" fmla="*/ 569276 w 2061090"/>
                <a:gd name="connsiteY1225" fmla="*/ 276994 h 2789035"/>
                <a:gd name="connsiteX1226" fmla="*/ 573634 w 2061090"/>
                <a:gd name="connsiteY1226" fmla="*/ 279174 h 2789035"/>
                <a:gd name="connsiteX1227" fmla="*/ 581479 w 2061090"/>
                <a:gd name="connsiteY1227" fmla="*/ 285932 h 2789035"/>
                <a:gd name="connsiteX1228" fmla="*/ 587144 w 2061090"/>
                <a:gd name="connsiteY1228" fmla="*/ 289856 h 2789035"/>
                <a:gd name="connsiteX1229" fmla="*/ 594117 w 2061090"/>
                <a:gd name="connsiteY1229" fmla="*/ 290728 h 2789035"/>
                <a:gd name="connsiteX1230" fmla="*/ 603705 w 2061090"/>
                <a:gd name="connsiteY1230" fmla="*/ 289638 h 2789035"/>
                <a:gd name="connsiteX1231" fmla="*/ 615472 w 2061090"/>
                <a:gd name="connsiteY1231" fmla="*/ 268710 h 2789035"/>
                <a:gd name="connsiteX1232" fmla="*/ 622663 w 2061090"/>
                <a:gd name="connsiteY1232" fmla="*/ 271326 h 2789035"/>
                <a:gd name="connsiteX1233" fmla="*/ 620702 w 2061090"/>
                <a:gd name="connsiteY1233" fmla="*/ 282226 h 2789035"/>
                <a:gd name="connsiteX1234" fmla="*/ 612422 w 2061090"/>
                <a:gd name="connsiteY1234" fmla="*/ 293562 h 2789035"/>
                <a:gd name="connsiteX1235" fmla="*/ 608499 w 2061090"/>
                <a:gd name="connsiteY1235" fmla="*/ 298359 h 2789035"/>
                <a:gd name="connsiteX1236" fmla="*/ 586273 w 2061090"/>
                <a:gd name="connsiteY1236" fmla="*/ 315145 h 2789035"/>
                <a:gd name="connsiteX1237" fmla="*/ 596079 w 2061090"/>
                <a:gd name="connsiteY1237" fmla="*/ 317979 h 2789035"/>
                <a:gd name="connsiteX1238" fmla="*/ 606102 w 2061090"/>
                <a:gd name="connsiteY1238" fmla="*/ 320813 h 2789035"/>
                <a:gd name="connsiteX1239" fmla="*/ 608935 w 2061090"/>
                <a:gd name="connsiteY1239" fmla="*/ 331714 h 2789035"/>
                <a:gd name="connsiteX1240" fmla="*/ 608063 w 2061090"/>
                <a:gd name="connsiteY1240" fmla="*/ 338690 h 2789035"/>
                <a:gd name="connsiteX1241" fmla="*/ 600655 w 2061090"/>
                <a:gd name="connsiteY1241" fmla="*/ 334984 h 2789035"/>
                <a:gd name="connsiteX1242" fmla="*/ 595425 w 2061090"/>
                <a:gd name="connsiteY1242" fmla="*/ 331714 h 2789035"/>
                <a:gd name="connsiteX1243" fmla="*/ 584094 w 2061090"/>
                <a:gd name="connsiteY1243" fmla="*/ 328880 h 2789035"/>
                <a:gd name="connsiteX1244" fmla="*/ 565354 w 2061090"/>
                <a:gd name="connsiteY1244" fmla="*/ 315799 h 2789035"/>
                <a:gd name="connsiteX1245" fmla="*/ 562739 w 2061090"/>
                <a:gd name="connsiteY1245" fmla="*/ 324302 h 2789035"/>
                <a:gd name="connsiteX1246" fmla="*/ 559688 w 2061090"/>
                <a:gd name="connsiteY1246" fmla="*/ 329316 h 2789035"/>
                <a:gd name="connsiteX1247" fmla="*/ 550972 w 2061090"/>
                <a:gd name="connsiteY1247" fmla="*/ 333240 h 2789035"/>
                <a:gd name="connsiteX1248" fmla="*/ 542691 w 2061090"/>
                <a:gd name="connsiteY1248" fmla="*/ 340652 h 2789035"/>
                <a:gd name="connsiteX1249" fmla="*/ 528091 w 2061090"/>
                <a:gd name="connsiteY1249" fmla="*/ 344576 h 2789035"/>
                <a:gd name="connsiteX1250" fmla="*/ 513056 w 2061090"/>
                <a:gd name="connsiteY1250" fmla="*/ 341742 h 2789035"/>
                <a:gd name="connsiteX1251" fmla="*/ 503468 w 2061090"/>
                <a:gd name="connsiteY1251" fmla="*/ 337600 h 2789035"/>
                <a:gd name="connsiteX1252" fmla="*/ 489740 w 2061090"/>
                <a:gd name="connsiteY1252" fmla="*/ 324084 h 2789035"/>
                <a:gd name="connsiteX1253" fmla="*/ 487125 w 2061090"/>
                <a:gd name="connsiteY1253" fmla="*/ 304899 h 2789035"/>
                <a:gd name="connsiteX1254" fmla="*/ 477319 w 2061090"/>
                <a:gd name="connsiteY1254" fmla="*/ 321031 h 2789035"/>
                <a:gd name="connsiteX1255" fmla="*/ 480806 w 2061090"/>
                <a:gd name="connsiteY1255" fmla="*/ 328444 h 2789035"/>
                <a:gd name="connsiteX1256" fmla="*/ 477319 w 2061090"/>
                <a:gd name="connsiteY1256" fmla="*/ 341524 h 2789035"/>
                <a:gd name="connsiteX1257" fmla="*/ 469910 w 2061090"/>
                <a:gd name="connsiteY1257" fmla="*/ 344140 h 2789035"/>
                <a:gd name="connsiteX1258" fmla="*/ 689997 w 2061090"/>
                <a:gd name="connsiteY1258" fmla="*/ 672460 h 2789035"/>
                <a:gd name="connsiteX1259" fmla="*/ 917492 w 2061090"/>
                <a:gd name="connsiteY1259" fmla="*/ 1007755 h 2789035"/>
                <a:gd name="connsiteX1260" fmla="*/ 1480565 w 2061090"/>
                <a:gd name="connsiteY1260" fmla="*/ 1835748 h 2789035"/>
                <a:gd name="connsiteX1261" fmla="*/ 1505842 w 2061090"/>
                <a:gd name="connsiteY1261" fmla="*/ 1831169 h 2789035"/>
                <a:gd name="connsiteX1262" fmla="*/ 530271 w 2061090"/>
                <a:gd name="connsiteY1262" fmla="*/ 326264 h 2789035"/>
                <a:gd name="connsiteX1263" fmla="*/ 534629 w 2061090"/>
                <a:gd name="connsiteY1263" fmla="*/ 317543 h 2789035"/>
                <a:gd name="connsiteX1264" fmla="*/ 538987 w 2061090"/>
                <a:gd name="connsiteY1264" fmla="*/ 308169 h 2789035"/>
                <a:gd name="connsiteX1265" fmla="*/ 532232 w 2061090"/>
                <a:gd name="connsiteY1265" fmla="*/ 282662 h 2789035"/>
                <a:gd name="connsiteX1266" fmla="*/ 523080 w 2061090"/>
                <a:gd name="connsiteY1266" fmla="*/ 285496 h 2789035"/>
                <a:gd name="connsiteX1267" fmla="*/ 518939 w 2061090"/>
                <a:gd name="connsiteY1267" fmla="*/ 293344 h 2789035"/>
                <a:gd name="connsiteX1268" fmla="*/ 512184 w 2061090"/>
                <a:gd name="connsiteY1268" fmla="*/ 311003 h 2789035"/>
                <a:gd name="connsiteX1269" fmla="*/ 516324 w 2061090"/>
                <a:gd name="connsiteY1269" fmla="*/ 310567 h 2789035"/>
                <a:gd name="connsiteX1270" fmla="*/ 525041 w 2061090"/>
                <a:gd name="connsiteY1270" fmla="*/ 309695 h 2789035"/>
                <a:gd name="connsiteX1271" fmla="*/ 526566 w 2061090"/>
                <a:gd name="connsiteY1271" fmla="*/ 315799 h 2789035"/>
                <a:gd name="connsiteX1272" fmla="*/ 520900 w 2061090"/>
                <a:gd name="connsiteY1272" fmla="*/ 322339 h 2789035"/>
                <a:gd name="connsiteX1273" fmla="*/ 520900 w 2061090"/>
                <a:gd name="connsiteY1273" fmla="*/ 332150 h 2789035"/>
                <a:gd name="connsiteX1274" fmla="*/ 530271 w 2061090"/>
                <a:gd name="connsiteY1274" fmla="*/ 326264 h 2789035"/>
                <a:gd name="connsiteX1275" fmla="*/ 474268 w 2061090"/>
                <a:gd name="connsiteY1275" fmla="*/ 326046 h 2789035"/>
                <a:gd name="connsiteX1276" fmla="*/ 469256 w 2061090"/>
                <a:gd name="connsiteY1276" fmla="*/ 324520 h 2789035"/>
                <a:gd name="connsiteX1277" fmla="*/ 464027 w 2061090"/>
                <a:gd name="connsiteY1277" fmla="*/ 328880 h 2789035"/>
                <a:gd name="connsiteX1278" fmla="*/ 459886 w 2061090"/>
                <a:gd name="connsiteY1278" fmla="*/ 331060 h 2789035"/>
                <a:gd name="connsiteX1279" fmla="*/ 466642 w 2061090"/>
                <a:gd name="connsiteY1279" fmla="*/ 332586 h 2789035"/>
                <a:gd name="connsiteX1280" fmla="*/ 474268 w 2061090"/>
                <a:gd name="connsiteY1280" fmla="*/ 326046 h 2789035"/>
                <a:gd name="connsiteX1281" fmla="*/ 210382 w 2061090"/>
                <a:gd name="connsiteY1281" fmla="*/ 320159 h 2789035"/>
                <a:gd name="connsiteX1282" fmla="*/ 209511 w 2061090"/>
                <a:gd name="connsiteY1282" fmla="*/ 317979 h 2789035"/>
                <a:gd name="connsiteX1283" fmla="*/ 207114 w 2061090"/>
                <a:gd name="connsiteY1283" fmla="*/ 320159 h 2789035"/>
                <a:gd name="connsiteX1284" fmla="*/ 207985 w 2061090"/>
                <a:gd name="connsiteY1284" fmla="*/ 322339 h 2789035"/>
                <a:gd name="connsiteX1285" fmla="*/ 210382 w 2061090"/>
                <a:gd name="connsiteY1285" fmla="*/ 320159 h 2789035"/>
                <a:gd name="connsiteX1286" fmla="*/ 222149 w 2061090"/>
                <a:gd name="connsiteY1286" fmla="*/ 314491 h 2789035"/>
                <a:gd name="connsiteX1287" fmla="*/ 226943 w 2061090"/>
                <a:gd name="connsiteY1287" fmla="*/ 304463 h 2789035"/>
                <a:gd name="connsiteX1288" fmla="*/ 231084 w 2061090"/>
                <a:gd name="connsiteY1288" fmla="*/ 296397 h 2789035"/>
                <a:gd name="connsiteX1289" fmla="*/ 234352 w 2061090"/>
                <a:gd name="connsiteY1289" fmla="*/ 293999 h 2789035"/>
                <a:gd name="connsiteX1290" fmla="*/ 234570 w 2061090"/>
                <a:gd name="connsiteY1290" fmla="*/ 283316 h 2789035"/>
                <a:gd name="connsiteX1291" fmla="*/ 228905 w 2061090"/>
                <a:gd name="connsiteY1291" fmla="*/ 285278 h 2789035"/>
                <a:gd name="connsiteX1292" fmla="*/ 227597 w 2061090"/>
                <a:gd name="connsiteY1292" fmla="*/ 293126 h 2789035"/>
                <a:gd name="connsiteX1293" fmla="*/ 220406 w 2061090"/>
                <a:gd name="connsiteY1293" fmla="*/ 293562 h 2789035"/>
                <a:gd name="connsiteX1294" fmla="*/ 219099 w 2061090"/>
                <a:gd name="connsiteY1294" fmla="*/ 297923 h 2789035"/>
                <a:gd name="connsiteX1295" fmla="*/ 217138 w 2061090"/>
                <a:gd name="connsiteY1295" fmla="*/ 304899 h 2789035"/>
                <a:gd name="connsiteX1296" fmla="*/ 213869 w 2061090"/>
                <a:gd name="connsiteY1296" fmla="*/ 314927 h 2789035"/>
                <a:gd name="connsiteX1297" fmla="*/ 222149 w 2061090"/>
                <a:gd name="connsiteY1297" fmla="*/ 314491 h 2789035"/>
                <a:gd name="connsiteX1298" fmla="*/ 500853 w 2061090"/>
                <a:gd name="connsiteY1298" fmla="*/ 313837 h 2789035"/>
                <a:gd name="connsiteX1299" fmla="*/ 494534 w 2061090"/>
                <a:gd name="connsiteY1299" fmla="*/ 306425 h 2789035"/>
                <a:gd name="connsiteX1300" fmla="*/ 497802 w 2061090"/>
                <a:gd name="connsiteY1300" fmla="*/ 319505 h 2789035"/>
                <a:gd name="connsiteX1301" fmla="*/ 500853 w 2061090"/>
                <a:gd name="connsiteY1301" fmla="*/ 313837 h 2789035"/>
                <a:gd name="connsiteX1302" fmla="*/ 564046 w 2061090"/>
                <a:gd name="connsiteY1302" fmla="*/ 310131 h 2789035"/>
                <a:gd name="connsiteX1303" fmla="*/ 558816 w 2061090"/>
                <a:gd name="connsiteY1303" fmla="*/ 300539 h 2789035"/>
                <a:gd name="connsiteX1304" fmla="*/ 551408 w 2061090"/>
                <a:gd name="connsiteY1304" fmla="*/ 314927 h 2789035"/>
                <a:gd name="connsiteX1305" fmla="*/ 564046 w 2061090"/>
                <a:gd name="connsiteY1305" fmla="*/ 310131 h 2789035"/>
                <a:gd name="connsiteX1306" fmla="*/ 701110 w 2061090"/>
                <a:gd name="connsiteY1306" fmla="*/ 303373 h 2789035"/>
                <a:gd name="connsiteX1307" fmla="*/ 705032 w 2061090"/>
                <a:gd name="connsiteY1307" fmla="*/ 300539 h 2789035"/>
                <a:gd name="connsiteX1308" fmla="*/ 710262 w 2061090"/>
                <a:gd name="connsiteY1308" fmla="*/ 297487 h 2789035"/>
                <a:gd name="connsiteX1309" fmla="*/ 709390 w 2061090"/>
                <a:gd name="connsiteY1309" fmla="*/ 290946 h 2789035"/>
                <a:gd name="connsiteX1310" fmla="*/ 701764 w 2061090"/>
                <a:gd name="connsiteY1310" fmla="*/ 289856 h 2789035"/>
                <a:gd name="connsiteX1311" fmla="*/ 694791 w 2061090"/>
                <a:gd name="connsiteY1311" fmla="*/ 299013 h 2789035"/>
                <a:gd name="connsiteX1312" fmla="*/ 688035 w 2061090"/>
                <a:gd name="connsiteY1312" fmla="*/ 305989 h 2789035"/>
                <a:gd name="connsiteX1313" fmla="*/ 689561 w 2061090"/>
                <a:gd name="connsiteY1313" fmla="*/ 299885 h 2789035"/>
                <a:gd name="connsiteX1314" fmla="*/ 681934 w 2061090"/>
                <a:gd name="connsiteY1314" fmla="*/ 289856 h 2789035"/>
                <a:gd name="connsiteX1315" fmla="*/ 682370 w 2061090"/>
                <a:gd name="connsiteY1315" fmla="*/ 308605 h 2789035"/>
                <a:gd name="connsiteX1316" fmla="*/ 693701 w 2061090"/>
                <a:gd name="connsiteY1316" fmla="*/ 309695 h 2789035"/>
                <a:gd name="connsiteX1317" fmla="*/ 701110 w 2061090"/>
                <a:gd name="connsiteY1317" fmla="*/ 303373 h 2789035"/>
                <a:gd name="connsiteX1318" fmla="*/ 456618 w 2061090"/>
                <a:gd name="connsiteY1318" fmla="*/ 299231 h 2789035"/>
                <a:gd name="connsiteX1319" fmla="*/ 452260 w 2061090"/>
                <a:gd name="connsiteY1319" fmla="*/ 292908 h 2789035"/>
                <a:gd name="connsiteX1320" fmla="*/ 448555 w 2061090"/>
                <a:gd name="connsiteY1320" fmla="*/ 286804 h 2789035"/>
                <a:gd name="connsiteX1321" fmla="*/ 444633 w 2061090"/>
                <a:gd name="connsiteY1321" fmla="*/ 280918 h 2789035"/>
                <a:gd name="connsiteX1322" fmla="*/ 443543 w 2061090"/>
                <a:gd name="connsiteY1322" fmla="*/ 272198 h 2789035"/>
                <a:gd name="connsiteX1323" fmla="*/ 440928 w 2061090"/>
                <a:gd name="connsiteY1323" fmla="*/ 266748 h 2789035"/>
                <a:gd name="connsiteX1324" fmla="*/ 435481 w 2061090"/>
                <a:gd name="connsiteY1324" fmla="*/ 276776 h 2789035"/>
                <a:gd name="connsiteX1325" fmla="*/ 438096 w 2061090"/>
                <a:gd name="connsiteY1325" fmla="*/ 286368 h 2789035"/>
                <a:gd name="connsiteX1326" fmla="*/ 440711 w 2061090"/>
                <a:gd name="connsiteY1326" fmla="*/ 304027 h 2789035"/>
                <a:gd name="connsiteX1327" fmla="*/ 449645 w 2061090"/>
                <a:gd name="connsiteY1327" fmla="*/ 305989 h 2789035"/>
                <a:gd name="connsiteX1328" fmla="*/ 456618 w 2061090"/>
                <a:gd name="connsiteY1328" fmla="*/ 299231 h 2789035"/>
                <a:gd name="connsiteX1329" fmla="*/ 582786 w 2061090"/>
                <a:gd name="connsiteY1329" fmla="*/ 305771 h 2789035"/>
                <a:gd name="connsiteX1330" fmla="*/ 577992 w 2061090"/>
                <a:gd name="connsiteY1330" fmla="*/ 299885 h 2789035"/>
                <a:gd name="connsiteX1331" fmla="*/ 573852 w 2061090"/>
                <a:gd name="connsiteY1331" fmla="*/ 296397 h 2789035"/>
                <a:gd name="connsiteX1332" fmla="*/ 565136 w 2061090"/>
                <a:gd name="connsiteY1332" fmla="*/ 292472 h 2789035"/>
                <a:gd name="connsiteX1333" fmla="*/ 568622 w 2061090"/>
                <a:gd name="connsiteY1333" fmla="*/ 300539 h 2789035"/>
                <a:gd name="connsiteX1334" fmla="*/ 575377 w 2061090"/>
                <a:gd name="connsiteY1334" fmla="*/ 303809 h 2789035"/>
                <a:gd name="connsiteX1335" fmla="*/ 582786 w 2061090"/>
                <a:gd name="connsiteY1335" fmla="*/ 305771 h 2789035"/>
                <a:gd name="connsiteX1336" fmla="*/ 472961 w 2061090"/>
                <a:gd name="connsiteY1336" fmla="*/ 302719 h 2789035"/>
                <a:gd name="connsiteX1337" fmla="*/ 470564 w 2061090"/>
                <a:gd name="connsiteY1337" fmla="*/ 300539 h 2789035"/>
                <a:gd name="connsiteX1338" fmla="*/ 469692 w 2061090"/>
                <a:gd name="connsiteY1338" fmla="*/ 302719 h 2789035"/>
                <a:gd name="connsiteX1339" fmla="*/ 472089 w 2061090"/>
                <a:gd name="connsiteY1339" fmla="*/ 304899 h 2789035"/>
                <a:gd name="connsiteX1340" fmla="*/ 472961 w 2061090"/>
                <a:gd name="connsiteY1340" fmla="*/ 302719 h 2789035"/>
                <a:gd name="connsiteX1341" fmla="*/ 1444392 w 2061090"/>
                <a:gd name="connsiteY1341" fmla="*/ 295961 h 2789035"/>
                <a:gd name="connsiteX1342" fmla="*/ 1446135 w 2061090"/>
                <a:gd name="connsiteY1342" fmla="*/ 291600 h 2789035"/>
                <a:gd name="connsiteX1343" fmla="*/ 1450058 w 2061090"/>
                <a:gd name="connsiteY1343" fmla="*/ 295961 h 2789035"/>
                <a:gd name="connsiteX1344" fmla="*/ 1457902 w 2061090"/>
                <a:gd name="connsiteY1344" fmla="*/ 287240 h 2789035"/>
                <a:gd name="connsiteX1345" fmla="*/ 1454416 w 2061090"/>
                <a:gd name="connsiteY1345" fmla="*/ 275250 h 2789035"/>
                <a:gd name="connsiteX1346" fmla="*/ 1447879 w 2061090"/>
                <a:gd name="connsiteY1346" fmla="*/ 274160 h 2789035"/>
                <a:gd name="connsiteX1347" fmla="*/ 1439598 w 2061090"/>
                <a:gd name="connsiteY1347" fmla="*/ 278084 h 2789035"/>
                <a:gd name="connsiteX1348" fmla="*/ 1436330 w 2061090"/>
                <a:gd name="connsiteY1348" fmla="*/ 286368 h 2789035"/>
                <a:gd name="connsiteX1349" fmla="*/ 1438291 w 2061090"/>
                <a:gd name="connsiteY1349" fmla="*/ 294435 h 2789035"/>
                <a:gd name="connsiteX1350" fmla="*/ 1444392 w 2061090"/>
                <a:gd name="connsiteY1350" fmla="*/ 295961 h 2789035"/>
                <a:gd name="connsiteX1351" fmla="*/ 474704 w 2061090"/>
                <a:gd name="connsiteY1351" fmla="*/ 288984 h 2789035"/>
                <a:gd name="connsiteX1352" fmla="*/ 472089 w 2061090"/>
                <a:gd name="connsiteY1352" fmla="*/ 285278 h 2789035"/>
                <a:gd name="connsiteX1353" fmla="*/ 468603 w 2061090"/>
                <a:gd name="connsiteY1353" fmla="*/ 289856 h 2789035"/>
                <a:gd name="connsiteX1354" fmla="*/ 474704 w 2061090"/>
                <a:gd name="connsiteY1354" fmla="*/ 288984 h 2789035"/>
                <a:gd name="connsiteX1355" fmla="*/ 560342 w 2061090"/>
                <a:gd name="connsiteY1355" fmla="*/ 287022 h 2789035"/>
                <a:gd name="connsiteX1356" fmla="*/ 559906 w 2061090"/>
                <a:gd name="connsiteY1356" fmla="*/ 279828 h 2789035"/>
                <a:gd name="connsiteX1357" fmla="*/ 550100 w 2061090"/>
                <a:gd name="connsiteY1357" fmla="*/ 276340 h 2789035"/>
                <a:gd name="connsiteX1358" fmla="*/ 544870 w 2061090"/>
                <a:gd name="connsiteY1358" fmla="*/ 271544 h 2789035"/>
                <a:gd name="connsiteX1359" fmla="*/ 544870 w 2061090"/>
                <a:gd name="connsiteY1359" fmla="*/ 276776 h 2789035"/>
                <a:gd name="connsiteX1360" fmla="*/ 553805 w 2061090"/>
                <a:gd name="connsiteY1360" fmla="*/ 291818 h 2789035"/>
                <a:gd name="connsiteX1361" fmla="*/ 560342 w 2061090"/>
                <a:gd name="connsiteY1361" fmla="*/ 287022 h 2789035"/>
                <a:gd name="connsiteX1362" fmla="*/ 431776 w 2061090"/>
                <a:gd name="connsiteY1362" fmla="*/ 265440 h 2789035"/>
                <a:gd name="connsiteX1363" fmla="*/ 438096 w 2061090"/>
                <a:gd name="connsiteY1363" fmla="*/ 259553 h 2789035"/>
                <a:gd name="connsiteX1364" fmla="*/ 434391 w 2061090"/>
                <a:gd name="connsiteY1364" fmla="*/ 251705 h 2789035"/>
                <a:gd name="connsiteX1365" fmla="*/ 424368 w 2061090"/>
                <a:gd name="connsiteY1365" fmla="*/ 245165 h 2789035"/>
                <a:gd name="connsiteX1366" fmla="*/ 425239 w 2061090"/>
                <a:gd name="connsiteY1366" fmla="*/ 250615 h 2789035"/>
                <a:gd name="connsiteX1367" fmla="*/ 423060 w 2061090"/>
                <a:gd name="connsiteY1367" fmla="*/ 254757 h 2789035"/>
                <a:gd name="connsiteX1368" fmla="*/ 419791 w 2061090"/>
                <a:gd name="connsiteY1368" fmla="*/ 271544 h 2789035"/>
                <a:gd name="connsiteX1369" fmla="*/ 424803 w 2061090"/>
                <a:gd name="connsiteY1369" fmla="*/ 275250 h 2789035"/>
                <a:gd name="connsiteX1370" fmla="*/ 431776 w 2061090"/>
                <a:gd name="connsiteY1370" fmla="*/ 265440 h 2789035"/>
                <a:gd name="connsiteX1371" fmla="*/ 173556 w 2061090"/>
                <a:gd name="connsiteY1371" fmla="*/ 270672 h 2789035"/>
                <a:gd name="connsiteX1372" fmla="*/ 171377 w 2061090"/>
                <a:gd name="connsiteY1372" fmla="*/ 274596 h 2789035"/>
                <a:gd name="connsiteX1373" fmla="*/ 173992 w 2061090"/>
                <a:gd name="connsiteY1373" fmla="*/ 274596 h 2789035"/>
                <a:gd name="connsiteX1374" fmla="*/ 173556 w 2061090"/>
                <a:gd name="connsiteY1374" fmla="*/ 270672 h 2789035"/>
                <a:gd name="connsiteX1375" fmla="*/ 159392 w 2061090"/>
                <a:gd name="connsiteY1375" fmla="*/ 262387 h 2789035"/>
                <a:gd name="connsiteX1376" fmla="*/ 154380 w 2061090"/>
                <a:gd name="connsiteY1376" fmla="*/ 242985 h 2789035"/>
                <a:gd name="connsiteX1377" fmla="*/ 165711 w 2061090"/>
                <a:gd name="connsiteY1377" fmla="*/ 253667 h 2789035"/>
                <a:gd name="connsiteX1378" fmla="*/ 168108 w 2061090"/>
                <a:gd name="connsiteY1378" fmla="*/ 260425 h 2789035"/>
                <a:gd name="connsiteX1379" fmla="*/ 170723 w 2061090"/>
                <a:gd name="connsiteY1379" fmla="*/ 236227 h 2789035"/>
                <a:gd name="connsiteX1380" fmla="*/ 160917 w 2061090"/>
                <a:gd name="connsiteY1380" fmla="*/ 231212 h 2789035"/>
                <a:gd name="connsiteX1381" fmla="*/ 146100 w 2061090"/>
                <a:gd name="connsiteY1381" fmla="*/ 221620 h 2789035"/>
                <a:gd name="connsiteX1382" fmla="*/ 154598 w 2061090"/>
                <a:gd name="connsiteY1382" fmla="*/ 219876 h 2789035"/>
                <a:gd name="connsiteX1383" fmla="*/ 165711 w 2061090"/>
                <a:gd name="connsiteY1383" fmla="*/ 216606 h 2789035"/>
                <a:gd name="connsiteX1384" fmla="*/ 174428 w 2061090"/>
                <a:gd name="connsiteY1384" fmla="*/ 220966 h 2789035"/>
                <a:gd name="connsiteX1385" fmla="*/ 178786 w 2061090"/>
                <a:gd name="connsiteY1385" fmla="*/ 233392 h 2789035"/>
                <a:gd name="connsiteX1386" fmla="*/ 183362 w 2061090"/>
                <a:gd name="connsiteY1386" fmla="*/ 237099 h 2789035"/>
                <a:gd name="connsiteX1387" fmla="*/ 184016 w 2061090"/>
                <a:gd name="connsiteY1387" fmla="*/ 224672 h 2789035"/>
                <a:gd name="connsiteX1388" fmla="*/ 179440 w 2061090"/>
                <a:gd name="connsiteY1388" fmla="*/ 212028 h 2789035"/>
                <a:gd name="connsiteX1389" fmla="*/ 174864 w 2061090"/>
                <a:gd name="connsiteY1389" fmla="*/ 203961 h 2789035"/>
                <a:gd name="connsiteX1390" fmla="*/ 168980 w 2061090"/>
                <a:gd name="connsiteY1390" fmla="*/ 195677 h 2789035"/>
                <a:gd name="connsiteX1391" fmla="*/ 160700 w 2061090"/>
                <a:gd name="connsiteY1391" fmla="*/ 196985 h 2789035"/>
                <a:gd name="connsiteX1392" fmla="*/ 153291 w 2061090"/>
                <a:gd name="connsiteY1392" fmla="*/ 195895 h 2789035"/>
                <a:gd name="connsiteX1393" fmla="*/ 151330 w 2061090"/>
                <a:gd name="connsiteY1393" fmla="*/ 187829 h 2789035"/>
                <a:gd name="connsiteX1394" fmla="*/ 150458 w 2061090"/>
                <a:gd name="connsiteY1394" fmla="*/ 178455 h 2789035"/>
                <a:gd name="connsiteX1395" fmla="*/ 152637 w 2061090"/>
                <a:gd name="connsiteY1395" fmla="*/ 182379 h 2789035"/>
                <a:gd name="connsiteX1396" fmla="*/ 162225 w 2061090"/>
                <a:gd name="connsiteY1396" fmla="*/ 190009 h 2789035"/>
                <a:gd name="connsiteX1397" fmla="*/ 158303 w 2061090"/>
                <a:gd name="connsiteY1397" fmla="*/ 171696 h 2789035"/>
                <a:gd name="connsiteX1398" fmla="*/ 149586 w 2061090"/>
                <a:gd name="connsiteY1398" fmla="*/ 159488 h 2789035"/>
                <a:gd name="connsiteX1399" fmla="*/ 144574 w 2061090"/>
                <a:gd name="connsiteY1399" fmla="*/ 158180 h 2789035"/>
                <a:gd name="connsiteX1400" fmla="*/ 142395 w 2061090"/>
                <a:gd name="connsiteY1400" fmla="*/ 169080 h 2789035"/>
                <a:gd name="connsiteX1401" fmla="*/ 141524 w 2061090"/>
                <a:gd name="connsiteY1401" fmla="*/ 179763 h 2789035"/>
                <a:gd name="connsiteX1402" fmla="*/ 143921 w 2061090"/>
                <a:gd name="connsiteY1402" fmla="*/ 191317 h 2789035"/>
                <a:gd name="connsiteX1403" fmla="*/ 148715 w 2061090"/>
                <a:gd name="connsiteY1403" fmla="*/ 200691 h 2789035"/>
                <a:gd name="connsiteX1404" fmla="*/ 151983 w 2061090"/>
                <a:gd name="connsiteY1404" fmla="*/ 207668 h 2789035"/>
                <a:gd name="connsiteX1405" fmla="*/ 145446 w 2061090"/>
                <a:gd name="connsiteY1405" fmla="*/ 208322 h 2789035"/>
                <a:gd name="connsiteX1406" fmla="*/ 136512 w 2061090"/>
                <a:gd name="connsiteY1406" fmla="*/ 207232 h 2789035"/>
                <a:gd name="connsiteX1407" fmla="*/ 133897 w 2061090"/>
                <a:gd name="connsiteY1407" fmla="*/ 204833 h 2789035"/>
                <a:gd name="connsiteX1408" fmla="*/ 136512 w 2061090"/>
                <a:gd name="connsiteY1408" fmla="*/ 195895 h 2789035"/>
                <a:gd name="connsiteX1409" fmla="*/ 135422 w 2061090"/>
                <a:gd name="connsiteY1409" fmla="*/ 191535 h 2789035"/>
                <a:gd name="connsiteX1410" fmla="*/ 133025 w 2061090"/>
                <a:gd name="connsiteY1410" fmla="*/ 195023 h 2789035"/>
                <a:gd name="connsiteX1411" fmla="*/ 126924 w 2061090"/>
                <a:gd name="connsiteY1411" fmla="*/ 200473 h 2789035"/>
                <a:gd name="connsiteX1412" fmla="*/ 118208 w 2061090"/>
                <a:gd name="connsiteY1412" fmla="*/ 209412 h 2789035"/>
                <a:gd name="connsiteX1413" fmla="*/ 122784 w 2061090"/>
                <a:gd name="connsiteY1413" fmla="*/ 217914 h 2789035"/>
                <a:gd name="connsiteX1414" fmla="*/ 141960 w 2061090"/>
                <a:gd name="connsiteY1414" fmla="*/ 225762 h 2789035"/>
                <a:gd name="connsiteX1415" fmla="*/ 145446 w 2061090"/>
                <a:gd name="connsiteY1415" fmla="*/ 231212 h 2789035"/>
                <a:gd name="connsiteX1416" fmla="*/ 144139 w 2061090"/>
                <a:gd name="connsiteY1416" fmla="*/ 240805 h 2789035"/>
                <a:gd name="connsiteX1417" fmla="*/ 140870 w 2061090"/>
                <a:gd name="connsiteY1417" fmla="*/ 253885 h 2789035"/>
                <a:gd name="connsiteX1418" fmla="*/ 137601 w 2061090"/>
                <a:gd name="connsiteY1418" fmla="*/ 263913 h 2789035"/>
                <a:gd name="connsiteX1419" fmla="*/ 135204 w 2061090"/>
                <a:gd name="connsiteY1419" fmla="*/ 272198 h 2789035"/>
                <a:gd name="connsiteX1420" fmla="*/ 137383 w 2061090"/>
                <a:gd name="connsiteY1420" fmla="*/ 270236 h 2789035"/>
                <a:gd name="connsiteX1421" fmla="*/ 157867 w 2061090"/>
                <a:gd name="connsiteY1421" fmla="*/ 271326 h 2789035"/>
                <a:gd name="connsiteX1422" fmla="*/ 159392 w 2061090"/>
                <a:gd name="connsiteY1422" fmla="*/ 262387 h 2789035"/>
                <a:gd name="connsiteX1423" fmla="*/ 1438073 w 2061090"/>
                <a:gd name="connsiteY1423" fmla="*/ 268710 h 2789035"/>
                <a:gd name="connsiteX1424" fmla="*/ 1433715 w 2061090"/>
                <a:gd name="connsiteY1424" fmla="*/ 265658 h 2789035"/>
                <a:gd name="connsiteX1425" fmla="*/ 1434586 w 2061090"/>
                <a:gd name="connsiteY1425" fmla="*/ 272852 h 2789035"/>
                <a:gd name="connsiteX1426" fmla="*/ 1438073 w 2061090"/>
                <a:gd name="connsiteY1426" fmla="*/ 268710 h 2789035"/>
                <a:gd name="connsiteX1427" fmla="*/ 189899 w 2061090"/>
                <a:gd name="connsiteY1427" fmla="*/ 263041 h 2789035"/>
                <a:gd name="connsiteX1428" fmla="*/ 196436 w 2061090"/>
                <a:gd name="connsiteY1428" fmla="*/ 254103 h 2789035"/>
                <a:gd name="connsiteX1429" fmla="*/ 197962 w 2061090"/>
                <a:gd name="connsiteY1429" fmla="*/ 242113 h 2789035"/>
                <a:gd name="connsiteX1430" fmla="*/ 192732 w 2061090"/>
                <a:gd name="connsiteY1430" fmla="*/ 247999 h 2789035"/>
                <a:gd name="connsiteX1431" fmla="*/ 185541 w 2061090"/>
                <a:gd name="connsiteY1431" fmla="*/ 256065 h 2789035"/>
                <a:gd name="connsiteX1432" fmla="*/ 184234 w 2061090"/>
                <a:gd name="connsiteY1432" fmla="*/ 267838 h 2789035"/>
                <a:gd name="connsiteX1433" fmla="*/ 189899 w 2061090"/>
                <a:gd name="connsiteY1433" fmla="*/ 263041 h 2789035"/>
                <a:gd name="connsiteX1434" fmla="*/ 553587 w 2061090"/>
                <a:gd name="connsiteY1434" fmla="*/ 266966 h 2789035"/>
                <a:gd name="connsiteX1435" fmla="*/ 551408 w 2061090"/>
                <a:gd name="connsiteY1435" fmla="*/ 264567 h 2789035"/>
                <a:gd name="connsiteX1436" fmla="*/ 549228 w 2061090"/>
                <a:gd name="connsiteY1436" fmla="*/ 265440 h 2789035"/>
                <a:gd name="connsiteX1437" fmla="*/ 551408 w 2061090"/>
                <a:gd name="connsiteY1437" fmla="*/ 267838 h 2789035"/>
                <a:gd name="connsiteX1438" fmla="*/ 553587 w 2061090"/>
                <a:gd name="connsiteY1438" fmla="*/ 266966 h 2789035"/>
                <a:gd name="connsiteX1439" fmla="*/ 671257 w 2061090"/>
                <a:gd name="connsiteY1439" fmla="*/ 258027 h 2789035"/>
                <a:gd name="connsiteX1440" fmla="*/ 668860 w 2061090"/>
                <a:gd name="connsiteY1440" fmla="*/ 254757 h 2789035"/>
                <a:gd name="connsiteX1441" fmla="*/ 667770 w 2061090"/>
                <a:gd name="connsiteY1441" fmla="*/ 249307 h 2789035"/>
                <a:gd name="connsiteX1442" fmla="*/ 660797 w 2061090"/>
                <a:gd name="connsiteY1442" fmla="*/ 249307 h 2789035"/>
                <a:gd name="connsiteX1443" fmla="*/ 664719 w 2061090"/>
                <a:gd name="connsiteY1443" fmla="*/ 261297 h 2789035"/>
                <a:gd name="connsiteX1444" fmla="*/ 671257 w 2061090"/>
                <a:gd name="connsiteY1444" fmla="*/ 258027 h 2789035"/>
                <a:gd name="connsiteX1445" fmla="*/ 512184 w 2061090"/>
                <a:gd name="connsiteY1445" fmla="*/ 251269 h 2789035"/>
                <a:gd name="connsiteX1446" fmla="*/ 514363 w 2061090"/>
                <a:gd name="connsiteY1446" fmla="*/ 248217 h 2789035"/>
                <a:gd name="connsiteX1447" fmla="*/ 516542 w 2061090"/>
                <a:gd name="connsiteY1447" fmla="*/ 244947 h 2789035"/>
                <a:gd name="connsiteX1448" fmla="*/ 515017 w 2061090"/>
                <a:gd name="connsiteY1448" fmla="*/ 241677 h 2789035"/>
                <a:gd name="connsiteX1449" fmla="*/ 506737 w 2061090"/>
                <a:gd name="connsiteY1449" fmla="*/ 254757 h 2789035"/>
                <a:gd name="connsiteX1450" fmla="*/ 512184 w 2061090"/>
                <a:gd name="connsiteY1450" fmla="*/ 251269 h 2789035"/>
                <a:gd name="connsiteX1451" fmla="*/ 183580 w 2061090"/>
                <a:gd name="connsiteY1451" fmla="*/ 243421 h 2789035"/>
                <a:gd name="connsiteX1452" fmla="*/ 180965 w 2061090"/>
                <a:gd name="connsiteY1452" fmla="*/ 242985 h 2789035"/>
                <a:gd name="connsiteX1453" fmla="*/ 185105 w 2061090"/>
                <a:gd name="connsiteY1453" fmla="*/ 247127 h 2789035"/>
                <a:gd name="connsiteX1454" fmla="*/ 183580 w 2061090"/>
                <a:gd name="connsiteY1454" fmla="*/ 243421 h 2789035"/>
                <a:gd name="connsiteX1455" fmla="*/ 404102 w 2061090"/>
                <a:gd name="connsiteY1455" fmla="*/ 238625 h 2789035"/>
                <a:gd name="connsiteX1456" fmla="*/ 406499 w 2061090"/>
                <a:gd name="connsiteY1456" fmla="*/ 229904 h 2789035"/>
                <a:gd name="connsiteX1457" fmla="*/ 416305 w 2061090"/>
                <a:gd name="connsiteY1457" fmla="*/ 237535 h 2789035"/>
                <a:gd name="connsiteX1458" fmla="*/ 418484 w 2061090"/>
                <a:gd name="connsiteY1458" fmla="*/ 242767 h 2789035"/>
                <a:gd name="connsiteX1459" fmla="*/ 420663 w 2061090"/>
                <a:gd name="connsiteY1459" fmla="*/ 241677 h 2789035"/>
                <a:gd name="connsiteX1460" fmla="*/ 426111 w 2061090"/>
                <a:gd name="connsiteY1460" fmla="*/ 232084 h 2789035"/>
                <a:gd name="connsiteX1461" fmla="*/ 429379 w 2061090"/>
                <a:gd name="connsiteY1461" fmla="*/ 219876 h 2789035"/>
                <a:gd name="connsiteX1462" fmla="*/ 435263 w 2061090"/>
                <a:gd name="connsiteY1462" fmla="*/ 207886 h 2789035"/>
                <a:gd name="connsiteX1463" fmla="*/ 441800 w 2061090"/>
                <a:gd name="connsiteY1463" fmla="*/ 197203 h 2789035"/>
                <a:gd name="connsiteX1464" fmla="*/ 434173 w 2061090"/>
                <a:gd name="connsiteY1464" fmla="*/ 194369 h 2789035"/>
                <a:gd name="connsiteX1465" fmla="*/ 423932 w 2061090"/>
                <a:gd name="connsiteY1465" fmla="*/ 192407 h 2789035"/>
                <a:gd name="connsiteX1466" fmla="*/ 416087 w 2061090"/>
                <a:gd name="connsiteY1466" fmla="*/ 193933 h 2789035"/>
                <a:gd name="connsiteX1467" fmla="*/ 405410 w 2061090"/>
                <a:gd name="connsiteY1467" fmla="*/ 190445 h 2789035"/>
                <a:gd name="connsiteX1468" fmla="*/ 401269 w 2061090"/>
                <a:gd name="connsiteY1468" fmla="*/ 184995 h 2789035"/>
                <a:gd name="connsiteX1469" fmla="*/ 394514 w 2061090"/>
                <a:gd name="connsiteY1469" fmla="*/ 176056 h 2789035"/>
                <a:gd name="connsiteX1470" fmla="*/ 398437 w 2061090"/>
                <a:gd name="connsiteY1470" fmla="*/ 174094 h 2789035"/>
                <a:gd name="connsiteX1471" fmla="*/ 411293 w 2061090"/>
                <a:gd name="connsiteY1471" fmla="*/ 162322 h 2789035"/>
                <a:gd name="connsiteX1472" fmla="*/ 399090 w 2061090"/>
                <a:gd name="connsiteY1472" fmla="*/ 165810 h 2789035"/>
                <a:gd name="connsiteX1473" fmla="*/ 380568 w 2061090"/>
                <a:gd name="connsiteY1473" fmla="*/ 182815 h 2789035"/>
                <a:gd name="connsiteX1474" fmla="*/ 379261 w 2061090"/>
                <a:gd name="connsiteY1474" fmla="*/ 176710 h 2789035"/>
                <a:gd name="connsiteX1475" fmla="*/ 373377 w 2061090"/>
                <a:gd name="connsiteY1475" fmla="*/ 167772 h 2789035"/>
                <a:gd name="connsiteX1476" fmla="*/ 362482 w 2061090"/>
                <a:gd name="connsiteY1476" fmla="*/ 171260 h 2789035"/>
                <a:gd name="connsiteX1477" fmla="*/ 359431 w 2061090"/>
                <a:gd name="connsiteY1477" fmla="*/ 182815 h 2789035"/>
                <a:gd name="connsiteX1478" fmla="*/ 362918 w 2061090"/>
                <a:gd name="connsiteY1478" fmla="*/ 180417 h 2789035"/>
                <a:gd name="connsiteX1479" fmla="*/ 371634 w 2061090"/>
                <a:gd name="connsiteY1479" fmla="*/ 186085 h 2789035"/>
                <a:gd name="connsiteX1480" fmla="*/ 378389 w 2061090"/>
                <a:gd name="connsiteY1480" fmla="*/ 192189 h 2789035"/>
                <a:gd name="connsiteX1481" fmla="*/ 386670 w 2061090"/>
                <a:gd name="connsiteY1481" fmla="*/ 195023 h 2789035"/>
                <a:gd name="connsiteX1482" fmla="*/ 392335 w 2061090"/>
                <a:gd name="connsiteY1482" fmla="*/ 195895 h 2789035"/>
                <a:gd name="connsiteX1483" fmla="*/ 404538 w 2061090"/>
                <a:gd name="connsiteY1483" fmla="*/ 205487 h 2789035"/>
                <a:gd name="connsiteX1484" fmla="*/ 405410 w 2061090"/>
                <a:gd name="connsiteY1484" fmla="*/ 214426 h 2789035"/>
                <a:gd name="connsiteX1485" fmla="*/ 403013 w 2061090"/>
                <a:gd name="connsiteY1485" fmla="*/ 221184 h 2789035"/>
                <a:gd name="connsiteX1486" fmla="*/ 396693 w 2061090"/>
                <a:gd name="connsiteY1486" fmla="*/ 222056 h 2789035"/>
                <a:gd name="connsiteX1487" fmla="*/ 394514 w 2061090"/>
                <a:gd name="connsiteY1487" fmla="*/ 212028 h 2789035"/>
                <a:gd name="connsiteX1488" fmla="*/ 390592 w 2061090"/>
                <a:gd name="connsiteY1488" fmla="*/ 201781 h 2789035"/>
                <a:gd name="connsiteX1489" fmla="*/ 381876 w 2061090"/>
                <a:gd name="connsiteY1489" fmla="*/ 201563 h 2789035"/>
                <a:gd name="connsiteX1490" fmla="*/ 382747 w 2061090"/>
                <a:gd name="connsiteY1490" fmla="*/ 208322 h 2789035"/>
                <a:gd name="connsiteX1491" fmla="*/ 389720 w 2061090"/>
                <a:gd name="connsiteY1491" fmla="*/ 218568 h 2789035"/>
                <a:gd name="connsiteX1492" fmla="*/ 392771 w 2061090"/>
                <a:gd name="connsiteY1492" fmla="*/ 224236 h 2789035"/>
                <a:gd name="connsiteX1493" fmla="*/ 396693 w 2061090"/>
                <a:gd name="connsiteY1493" fmla="*/ 229468 h 2789035"/>
                <a:gd name="connsiteX1494" fmla="*/ 403448 w 2061090"/>
                <a:gd name="connsiteY1494" fmla="*/ 246909 h 2789035"/>
                <a:gd name="connsiteX1495" fmla="*/ 404102 w 2061090"/>
                <a:gd name="connsiteY1495" fmla="*/ 238625 h 2789035"/>
                <a:gd name="connsiteX1496" fmla="*/ 195347 w 2061090"/>
                <a:gd name="connsiteY1496" fmla="*/ 224890 h 2789035"/>
                <a:gd name="connsiteX1497" fmla="*/ 193168 w 2061090"/>
                <a:gd name="connsiteY1497" fmla="*/ 228814 h 2789035"/>
                <a:gd name="connsiteX1498" fmla="*/ 195783 w 2061090"/>
                <a:gd name="connsiteY1498" fmla="*/ 228814 h 2789035"/>
                <a:gd name="connsiteX1499" fmla="*/ 195347 w 2061090"/>
                <a:gd name="connsiteY1499" fmla="*/ 224890 h 2789035"/>
                <a:gd name="connsiteX1500" fmla="*/ 757330 w 2061090"/>
                <a:gd name="connsiteY1500" fmla="*/ 226416 h 2789035"/>
                <a:gd name="connsiteX1501" fmla="*/ 751882 w 2061090"/>
                <a:gd name="connsiteY1501" fmla="*/ 219222 h 2789035"/>
                <a:gd name="connsiteX1502" fmla="*/ 749703 w 2061090"/>
                <a:gd name="connsiteY1502" fmla="*/ 226634 h 2789035"/>
                <a:gd name="connsiteX1503" fmla="*/ 757330 w 2061090"/>
                <a:gd name="connsiteY1503" fmla="*/ 226416 h 2789035"/>
                <a:gd name="connsiteX1504" fmla="*/ 569712 w 2061090"/>
                <a:gd name="connsiteY1504" fmla="*/ 215080 h 2789035"/>
                <a:gd name="connsiteX1505" fmla="*/ 564482 w 2061090"/>
                <a:gd name="connsiteY1505" fmla="*/ 220530 h 2789035"/>
                <a:gd name="connsiteX1506" fmla="*/ 567751 w 2061090"/>
                <a:gd name="connsiteY1506" fmla="*/ 221184 h 2789035"/>
                <a:gd name="connsiteX1507" fmla="*/ 569712 w 2061090"/>
                <a:gd name="connsiteY1507" fmla="*/ 215080 h 2789035"/>
                <a:gd name="connsiteX1508" fmla="*/ 1455723 w 2061090"/>
                <a:gd name="connsiteY1508" fmla="*/ 205487 h 2789035"/>
                <a:gd name="connsiteX1509" fmla="*/ 1449186 w 2061090"/>
                <a:gd name="connsiteY1509" fmla="*/ 205705 h 2789035"/>
                <a:gd name="connsiteX1510" fmla="*/ 1452673 w 2061090"/>
                <a:gd name="connsiteY1510" fmla="*/ 210938 h 2789035"/>
                <a:gd name="connsiteX1511" fmla="*/ 1455723 w 2061090"/>
                <a:gd name="connsiteY1511" fmla="*/ 205487 h 2789035"/>
                <a:gd name="connsiteX1512" fmla="*/ 629418 w 2061090"/>
                <a:gd name="connsiteY1512" fmla="*/ 196331 h 2789035"/>
                <a:gd name="connsiteX1513" fmla="*/ 626804 w 2061090"/>
                <a:gd name="connsiteY1513" fmla="*/ 193715 h 2789035"/>
                <a:gd name="connsiteX1514" fmla="*/ 623317 w 2061090"/>
                <a:gd name="connsiteY1514" fmla="*/ 197203 h 2789035"/>
                <a:gd name="connsiteX1515" fmla="*/ 629418 w 2061090"/>
                <a:gd name="connsiteY1515" fmla="*/ 196331 h 2789035"/>
                <a:gd name="connsiteX1516" fmla="*/ 1448314 w 2061090"/>
                <a:gd name="connsiteY1516" fmla="*/ 197857 h 2789035"/>
                <a:gd name="connsiteX1517" fmla="*/ 1447879 w 2061090"/>
                <a:gd name="connsiteY1517" fmla="*/ 193715 h 2789035"/>
                <a:gd name="connsiteX1518" fmla="*/ 1441341 w 2061090"/>
                <a:gd name="connsiteY1518" fmla="*/ 197857 h 2789035"/>
                <a:gd name="connsiteX1519" fmla="*/ 1448314 w 2061090"/>
                <a:gd name="connsiteY1519" fmla="*/ 197857 h 2789035"/>
                <a:gd name="connsiteX1520" fmla="*/ 599347 w 2061090"/>
                <a:gd name="connsiteY1520" fmla="*/ 184777 h 2789035"/>
                <a:gd name="connsiteX1521" fmla="*/ 597168 w 2061090"/>
                <a:gd name="connsiteY1521" fmla="*/ 181725 h 2789035"/>
                <a:gd name="connsiteX1522" fmla="*/ 594989 w 2061090"/>
                <a:gd name="connsiteY1522" fmla="*/ 186303 h 2789035"/>
                <a:gd name="connsiteX1523" fmla="*/ 597168 w 2061090"/>
                <a:gd name="connsiteY1523" fmla="*/ 189355 h 2789035"/>
                <a:gd name="connsiteX1524" fmla="*/ 599347 w 2061090"/>
                <a:gd name="connsiteY1524" fmla="*/ 184777 h 2789035"/>
                <a:gd name="connsiteX1525" fmla="*/ 1452237 w 2061090"/>
                <a:gd name="connsiteY1525" fmla="*/ 188047 h 2789035"/>
                <a:gd name="connsiteX1526" fmla="*/ 1448968 w 2061090"/>
                <a:gd name="connsiteY1526" fmla="*/ 182815 h 2789035"/>
                <a:gd name="connsiteX1527" fmla="*/ 1444828 w 2061090"/>
                <a:gd name="connsiteY1527" fmla="*/ 186085 h 2789035"/>
                <a:gd name="connsiteX1528" fmla="*/ 1452237 w 2061090"/>
                <a:gd name="connsiteY1528" fmla="*/ 188047 h 2789035"/>
                <a:gd name="connsiteX1529" fmla="*/ 626368 w 2061090"/>
                <a:gd name="connsiteY1529" fmla="*/ 183687 h 2789035"/>
                <a:gd name="connsiteX1530" fmla="*/ 626586 w 2061090"/>
                <a:gd name="connsiteY1530" fmla="*/ 178891 h 2789035"/>
                <a:gd name="connsiteX1531" fmla="*/ 620266 w 2061090"/>
                <a:gd name="connsiteY1531" fmla="*/ 185213 h 2789035"/>
                <a:gd name="connsiteX1532" fmla="*/ 626368 w 2061090"/>
                <a:gd name="connsiteY1532" fmla="*/ 183687 h 2789035"/>
                <a:gd name="connsiteX1533" fmla="*/ 651645 w 2061090"/>
                <a:gd name="connsiteY1533" fmla="*/ 173876 h 2789035"/>
                <a:gd name="connsiteX1534" fmla="*/ 649466 w 2061090"/>
                <a:gd name="connsiteY1534" fmla="*/ 168644 h 2789035"/>
                <a:gd name="connsiteX1535" fmla="*/ 648594 w 2061090"/>
                <a:gd name="connsiteY1535" fmla="*/ 164938 h 2789035"/>
                <a:gd name="connsiteX1536" fmla="*/ 653170 w 2061090"/>
                <a:gd name="connsiteY1536" fmla="*/ 166682 h 2789035"/>
                <a:gd name="connsiteX1537" fmla="*/ 658400 w 2061090"/>
                <a:gd name="connsiteY1537" fmla="*/ 167554 h 2789035"/>
                <a:gd name="connsiteX1538" fmla="*/ 657093 w 2061090"/>
                <a:gd name="connsiteY1538" fmla="*/ 150768 h 2789035"/>
                <a:gd name="connsiteX1539" fmla="*/ 662105 w 2061090"/>
                <a:gd name="connsiteY1539" fmla="*/ 151204 h 2789035"/>
                <a:gd name="connsiteX1540" fmla="*/ 671257 w 2061090"/>
                <a:gd name="connsiteY1540" fmla="*/ 153384 h 2789035"/>
                <a:gd name="connsiteX1541" fmla="*/ 681280 w 2061090"/>
                <a:gd name="connsiteY1541" fmla="*/ 159924 h 2789035"/>
                <a:gd name="connsiteX1542" fmla="*/ 688689 w 2061090"/>
                <a:gd name="connsiteY1542" fmla="*/ 169298 h 2789035"/>
                <a:gd name="connsiteX1543" fmla="*/ 691740 w 2061090"/>
                <a:gd name="connsiteY1543" fmla="*/ 157090 h 2789035"/>
                <a:gd name="connsiteX1544" fmla="*/ 690650 w 2061090"/>
                <a:gd name="connsiteY1544" fmla="*/ 149460 h 2789035"/>
                <a:gd name="connsiteX1545" fmla="*/ 688689 w 2061090"/>
                <a:gd name="connsiteY1545" fmla="*/ 142483 h 2789035"/>
                <a:gd name="connsiteX1546" fmla="*/ 688689 w 2061090"/>
                <a:gd name="connsiteY1546" fmla="*/ 134635 h 2789035"/>
                <a:gd name="connsiteX1547" fmla="*/ 684985 w 2061090"/>
                <a:gd name="connsiteY1547" fmla="*/ 110218 h 2789035"/>
                <a:gd name="connsiteX1548" fmla="*/ 683459 w 2061090"/>
                <a:gd name="connsiteY1548" fmla="*/ 107166 h 2789035"/>
                <a:gd name="connsiteX1549" fmla="*/ 690650 w 2061090"/>
                <a:gd name="connsiteY1549" fmla="*/ 103460 h 2789035"/>
                <a:gd name="connsiteX1550" fmla="*/ 691086 w 2061090"/>
                <a:gd name="connsiteY1550" fmla="*/ 94522 h 2789035"/>
                <a:gd name="connsiteX1551" fmla="*/ 679973 w 2061090"/>
                <a:gd name="connsiteY1551" fmla="*/ 96048 h 2789035"/>
                <a:gd name="connsiteX1552" fmla="*/ 672346 w 2061090"/>
                <a:gd name="connsiteY1552" fmla="*/ 104332 h 2789035"/>
                <a:gd name="connsiteX1553" fmla="*/ 664719 w 2061090"/>
                <a:gd name="connsiteY1553" fmla="*/ 114796 h 2789035"/>
                <a:gd name="connsiteX1554" fmla="*/ 655785 w 2061090"/>
                <a:gd name="connsiteY1554" fmla="*/ 119593 h 2789035"/>
                <a:gd name="connsiteX1555" fmla="*/ 648376 w 2061090"/>
                <a:gd name="connsiteY1555" fmla="*/ 112834 h 2789035"/>
                <a:gd name="connsiteX1556" fmla="*/ 644890 w 2061090"/>
                <a:gd name="connsiteY1556" fmla="*/ 107166 h 2789035"/>
                <a:gd name="connsiteX1557" fmla="*/ 635956 w 2061090"/>
                <a:gd name="connsiteY1557" fmla="*/ 108692 h 2789035"/>
                <a:gd name="connsiteX1558" fmla="*/ 632033 w 2061090"/>
                <a:gd name="connsiteY1558" fmla="*/ 110872 h 2789035"/>
                <a:gd name="connsiteX1559" fmla="*/ 636391 w 2061090"/>
                <a:gd name="connsiteY1559" fmla="*/ 113052 h 2789035"/>
                <a:gd name="connsiteX1560" fmla="*/ 640750 w 2061090"/>
                <a:gd name="connsiteY1560" fmla="*/ 114360 h 2789035"/>
                <a:gd name="connsiteX1561" fmla="*/ 636391 w 2061090"/>
                <a:gd name="connsiteY1561" fmla="*/ 121119 h 2789035"/>
                <a:gd name="connsiteX1562" fmla="*/ 632033 w 2061090"/>
                <a:gd name="connsiteY1562" fmla="*/ 132237 h 2789035"/>
                <a:gd name="connsiteX1563" fmla="*/ 636609 w 2061090"/>
                <a:gd name="connsiteY1563" fmla="*/ 133545 h 2789035"/>
                <a:gd name="connsiteX1564" fmla="*/ 643147 w 2061090"/>
                <a:gd name="connsiteY1564" fmla="*/ 133327 h 2789035"/>
                <a:gd name="connsiteX1565" fmla="*/ 648594 w 2061090"/>
                <a:gd name="connsiteY1565" fmla="*/ 137033 h 2789035"/>
                <a:gd name="connsiteX1566" fmla="*/ 650338 w 2061090"/>
                <a:gd name="connsiteY1566" fmla="*/ 142701 h 2789035"/>
                <a:gd name="connsiteX1567" fmla="*/ 651863 w 2061090"/>
                <a:gd name="connsiteY1567" fmla="*/ 150550 h 2789035"/>
                <a:gd name="connsiteX1568" fmla="*/ 652299 w 2061090"/>
                <a:gd name="connsiteY1568" fmla="*/ 153820 h 2789035"/>
                <a:gd name="connsiteX1569" fmla="*/ 649466 w 2061090"/>
                <a:gd name="connsiteY1569" fmla="*/ 157962 h 2789035"/>
                <a:gd name="connsiteX1570" fmla="*/ 646633 w 2061090"/>
                <a:gd name="connsiteY1570" fmla="*/ 161014 h 2789035"/>
                <a:gd name="connsiteX1571" fmla="*/ 639878 w 2061090"/>
                <a:gd name="connsiteY1571" fmla="*/ 163848 h 2789035"/>
                <a:gd name="connsiteX1572" fmla="*/ 643582 w 2061090"/>
                <a:gd name="connsiteY1572" fmla="*/ 180199 h 2789035"/>
                <a:gd name="connsiteX1573" fmla="*/ 651645 w 2061090"/>
                <a:gd name="connsiteY1573" fmla="*/ 173876 h 2789035"/>
                <a:gd name="connsiteX1574" fmla="*/ 632033 w 2061090"/>
                <a:gd name="connsiteY1574" fmla="*/ 171696 h 2789035"/>
                <a:gd name="connsiteX1575" fmla="*/ 629854 w 2061090"/>
                <a:gd name="connsiteY1575" fmla="*/ 170824 h 2789035"/>
                <a:gd name="connsiteX1576" fmla="*/ 627675 w 2061090"/>
                <a:gd name="connsiteY1576" fmla="*/ 174312 h 2789035"/>
                <a:gd name="connsiteX1577" fmla="*/ 629854 w 2061090"/>
                <a:gd name="connsiteY1577" fmla="*/ 175184 h 2789035"/>
                <a:gd name="connsiteX1578" fmla="*/ 632033 w 2061090"/>
                <a:gd name="connsiteY1578" fmla="*/ 171696 h 2789035"/>
                <a:gd name="connsiteX1579" fmla="*/ 786094 w 2061090"/>
                <a:gd name="connsiteY1579" fmla="*/ 171478 h 2789035"/>
                <a:gd name="connsiteX1580" fmla="*/ 784786 w 2061090"/>
                <a:gd name="connsiteY1580" fmla="*/ 172786 h 2789035"/>
                <a:gd name="connsiteX1581" fmla="*/ 785876 w 2061090"/>
                <a:gd name="connsiteY1581" fmla="*/ 175620 h 2789035"/>
                <a:gd name="connsiteX1582" fmla="*/ 786094 w 2061090"/>
                <a:gd name="connsiteY1582" fmla="*/ 171478 h 2789035"/>
                <a:gd name="connsiteX1583" fmla="*/ 1456595 w 2061090"/>
                <a:gd name="connsiteY1583" fmla="*/ 170606 h 2789035"/>
                <a:gd name="connsiteX1584" fmla="*/ 1453980 w 2061090"/>
                <a:gd name="connsiteY1584" fmla="*/ 166028 h 2789035"/>
                <a:gd name="connsiteX1585" fmla="*/ 1447443 w 2061090"/>
                <a:gd name="connsiteY1585" fmla="*/ 169734 h 2789035"/>
                <a:gd name="connsiteX1586" fmla="*/ 1444828 w 2061090"/>
                <a:gd name="connsiteY1586" fmla="*/ 171914 h 2789035"/>
                <a:gd name="connsiteX1587" fmla="*/ 1456595 w 2061090"/>
                <a:gd name="connsiteY1587" fmla="*/ 170606 h 2789035"/>
                <a:gd name="connsiteX1588" fmla="*/ 638788 w 2061090"/>
                <a:gd name="connsiteY1588" fmla="*/ 156000 h 2789035"/>
                <a:gd name="connsiteX1589" fmla="*/ 632687 w 2061090"/>
                <a:gd name="connsiteY1589" fmla="*/ 141829 h 2789035"/>
                <a:gd name="connsiteX1590" fmla="*/ 627021 w 2061090"/>
                <a:gd name="connsiteY1590" fmla="*/ 160142 h 2789035"/>
                <a:gd name="connsiteX1591" fmla="*/ 632251 w 2061090"/>
                <a:gd name="connsiteY1591" fmla="*/ 164720 h 2789035"/>
                <a:gd name="connsiteX1592" fmla="*/ 638788 w 2061090"/>
                <a:gd name="connsiteY1592" fmla="*/ 156000 h 2789035"/>
                <a:gd name="connsiteX1593" fmla="*/ 1375098 w 2061090"/>
                <a:gd name="connsiteY1593" fmla="*/ 141393 h 2789035"/>
                <a:gd name="connsiteX1594" fmla="*/ 1373136 w 2061090"/>
                <a:gd name="connsiteY1594" fmla="*/ 139213 h 2789035"/>
                <a:gd name="connsiteX1595" fmla="*/ 1369650 w 2061090"/>
                <a:gd name="connsiteY1595" fmla="*/ 141393 h 2789035"/>
                <a:gd name="connsiteX1596" fmla="*/ 1371611 w 2061090"/>
                <a:gd name="connsiteY1596" fmla="*/ 143573 h 2789035"/>
                <a:gd name="connsiteX1597" fmla="*/ 1375098 w 2061090"/>
                <a:gd name="connsiteY1597" fmla="*/ 141393 h 2789035"/>
                <a:gd name="connsiteX1598" fmla="*/ 1453544 w 2061090"/>
                <a:gd name="connsiteY1598" fmla="*/ 124607 h 2789035"/>
                <a:gd name="connsiteX1599" fmla="*/ 1454198 w 2061090"/>
                <a:gd name="connsiteY1599" fmla="*/ 113706 h 2789035"/>
                <a:gd name="connsiteX1600" fmla="*/ 1448968 w 2061090"/>
                <a:gd name="connsiteY1600" fmla="*/ 115886 h 2789035"/>
                <a:gd name="connsiteX1601" fmla="*/ 1445264 w 2061090"/>
                <a:gd name="connsiteY1601" fmla="*/ 125479 h 2789035"/>
                <a:gd name="connsiteX1602" fmla="*/ 1447225 w 2061090"/>
                <a:gd name="connsiteY1602" fmla="*/ 132673 h 2789035"/>
                <a:gd name="connsiteX1603" fmla="*/ 1453544 w 2061090"/>
                <a:gd name="connsiteY1603" fmla="*/ 124607 h 2789035"/>
                <a:gd name="connsiteX1604" fmla="*/ 705032 w 2061090"/>
                <a:gd name="connsiteY1604" fmla="*/ 121773 h 2789035"/>
                <a:gd name="connsiteX1605" fmla="*/ 704161 w 2061090"/>
                <a:gd name="connsiteY1605" fmla="*/ 119593 h 2789035"/>
                <a:gd name="connsiteX1606" fmla="*/ 701764 w 2061090"/>
                <a:gd name="connsiteY1606" fmla="*/ 121773 h 2789035"/>
                <a:gd name="connsiteX1607" fmla="*/ 702635 w 2061090"/>
                <a:gd name="connsiteY1607" fmla="*/ 123953 h 2789035"/>
                <a:gd name="connsiteX1608" fmla="*/ 705032 w 2061090"/>
                <a:gd name="connsiteY1608" fmla="*/ 121773 h 2789035"/>
                <a:gd name="connsiteX1609" fmla="*/ 1375098 w 2061090"/>
                <a:gd name="connsiteY1609" fmla="*/ 116322 h 2789035"/>
                <a:gd name="connsiteX1610" fmla="*/ 1372918 w 2061090"/>
                <a:gd name="connsiteY1610" fmla="*/ 113052 h 2789035"/>
                <a:gd name="connsiteX1611" fmla="*/ 1370739 w 2061090"/>
                <a:gd name="connsiteY1611" fmla="*/ 116322 h 2789035"/>
                <a:gd name="connsiteX1612" fmla="*/ 1372918 w 2061090"/>
                <a:gd name="connsiteY1612" fmla="*/ 119593 h 2789035"/>
                <a:gd name="connsiteX1613" fmla="*/ 1375098 w 2061090"/>
                <a:gd name="connsiteY1613" fmla="*/ 116322 h 2789035"/>
                <a:gd name="connsiteX1614" fmla="*/ 315632 w 2061090"/>
                <a:gd name="connsiteY1614" fmla="*/ 112616 h 2789035"/>
                <a:gd name="connsiteX1615" fmla="*/ 309748 w 2061090"/>
                <a:gd name="connsiteY1615" fmla="*/ 111744 h 2789035"/>
                <a:gd name="connsiteX1616" fmla="*/ 315632 w 2061090"/>
                <a:gd name="connsiteY1616" fmla="*/ 117412 h 2789035"/>
                <a:gd name="connsiteX1617" fmla="*/ 315632 w 2061090"/>
                <a:gd name="connsiteY1617" fmla="*/ 112616 h 2789035"/>
                <a:gd name="connsiteX1618" fmla="*/ 1452673 w 2061090"/>
                <a:gd name="connsiteY1618" fmla="*/ 96484 h 2789035"/>
                <a:gd name="connsiteX1619" fmla="*/ 1446571 w 2061090"/>
                <a:gd name="connsiteY1619" fmla="*/ 97138 h 2789035"/>
                <a:gd name="connsiteX1620" fmla="*/ 1443520 w 2061090"/>
                <a:gd name="connsiteY1620" fmla="*/ 105640 h 2789035"/>
                <a:gd name="connsiteX1621" fmla="*/ 1449622 w 2061090"/>
                <a:gd name="connsiteY1621" fmla="*/ 104986 h 2789035"/>
                <a:gd name="connsiteX1622" fmla="*/ 1452673 w 2061090"/>
                <a:gd name="connsiteY1622" fmla="*/ 96484 h 2789035"/>
                <a:gd name="connsiteX1623" fmla="*/ 1291421 w 2061090"/>
                <a:gd name="connsiteY1623" fmla="*/ 98882 h 2789035"/>
                <a:gd name="connsiteX1624" fmla="*/ 1297305 w 2061090"/>
                <a:gd name="connsiteY1624" fmla="*/ 94086 h 2789035"/>
                <a:gd name="connsiteX1625" fmla="*/ 1302752 w 2061090"/>
                <a:gd name="connsiteY1625" fmla="*/ 90816 h 2789035"/>
                <a:gd name="connsiteX1626" fmla="*/ 1299048 w 2061090"/>
                <a:gd name="connsiteY1626" fmla="*/ 86891 h 2789035"/>
                <a:gd name="connsiteX1627" fmla="*/ 1294472 w 2061090"/>
                <a:gd name="connsiteY1627" fmla="*/ 84711 h 2789035"/>
                <a:gd name="connsiteX1628" fmla="*/ 1292293 w 2061090"/>
                <a:gd name="connsiteY1628" fmla="*/ 82531 h 2789035"/>
                <a:gd name="connsiteX1629" fmla="*/ 1290114 w 2061090"/>
                <a:gd name="connsiteY1629" fmla="*/ 85801 h 2789035"/>
                <a:gd name="connsiteX1630" fmla="*/ 1287063 w 2061090"/>
                <a:gd name="connsiteY1630" fmla="*/ 89071 h 2789035"/>
                <a:gd name="connsiteX1631" fmla="*/ 1282269 w 2061090"/>
                <a:gd name="connsiteY1631" fmla="*/ 99100 h 2789035"/>
                <a:gd name="connsiteX1632" fmla="*/ 1291421 w 2061090"/>
                <a:gd name="connsiteY1632" fmla="*/ 98882 h 2789035"/>
                <a:gd name="connsiteX1633" fmla="*/ 638571 w 2061090"/>
                <a:gd name="connsiteY1633" fmla="*/ 94522 h 2789035"/>
                <a:gd name="connsiteX1634" fmla="*/ 640750 w 2061090"/>
                <a:gd name="connsiteY1634" fmla="*/ 89071 h 2789035"/>
                <a:gd name="connsiteX1635" fmla="*/ 642929 w 2061090"/>
                <a:gd name="connsiteY1635" fmla="*/ 93432 h 2789035"/>
                <a:gd name="connsiteX1636" fmla="*/ 645108 w 2061090"/>
                <a:gd name="connsiteY1636" fmla="*/ 97792 h 2789035"/>
                <a:gd name="connsiteX1637" fmla="*/ 647287 w 2061090"/>
                <a:gd name="connsiteY1637" fmla="*/ 89071 h 2789035"/>
                <a:gd name="connsiteX1638" fmla="*/ 642057 w 2061090"/>
                <a:gd name="connsiteY1638" fmla="*/ 81877 h 2789035"/>
                <a:gd name="connsiteX1639" fmla="*/ 631815 w 2061090"/>
                <a:gd name="connsiteY1639" fmla="*/ 82749 h 2789035"/>
                <a:gd name="connsiteX1640" fmla="*/ 616780 w 2061090"/>
                <a:gd name="connsiteY1640" fmla="*/ 91688 h 2789035"/>
                <a:gd name="connsiteX1641" fmla="*/ 620920 w 2061090"/>
                <a:gd name="connsiteY1641" fmla="*/ 94522 h 2789035"/>
                <a:gd name="connsiteX1642" fmla="*/ 628111 w 2061090"/>
                <a:gd name="connsiteY1642" fmla="*/ 96484 h 2789035"/>
                <a:gd name="connsiteX1643" fmla="*/ 638571 w 2061090"/>
                <a:gd name="connsiteY1643" fmla="*/ 94522 h 2789035"/>
                <a:gd name="connsiteX1644" fmla="*/ 1244353 w 2061090"/>
                <a:gd name="connsiteY1644" fmla="*/ 97138 h 2789035"/>
                <a:gd name="connsiteX1645" fmla="*/ 1251326 w 2061090"/>
                <a:gd name="connsiteY1645" fmla="*/ 88635 h 2789035"/>
                <a:gd name="connsiteX1646" fmla="*/ 1266362 w 2061090"/>
                <a:gd name="connsiteY1646" fmla="*/ 82967 h 2789035"/>
                <a:gd name="connsiteX1647" fmla="*/ 1282269 w 2061090"/>
                <a:gd name="connsiteY1647" fmla="*/ 78389 h 2789035"/>
                <a:gd name="connsiteX1648" fmla="*/ 1289896 w 2061090"/>
                <a:gd name="connsiteY1648" fmla="*/ 73811 h 2789035"/>
                <a:gd name="connsiteX1649" fmla="*/ 1291639 w 2061090"/>
                <a:gd name="connsiteY1649" fmla="*/ 71195 h 2789035"/>
                <a:gd name="connsiteX1650" fmla="*/ 1284666 w 2061090"/>
                <a:gd name="connsiteY1650" fmla="*/ 68361 h 2789035"/>
                <a:gd name="connsiteX1651" fmla="*/ 1276168 w 2061090"/>
                <a:gd name="connsiteY1651" fmla="*/ 64437 h 2789035"/>
                <a:gd name="connsiteX1652" fmla="*/ 1278782 w 2061090"/>
                <a:gd name="connsiteY1652" fmla="*/ 56370 h 2789035"/>
                <a:gd name="connsiteX1653" fmla="*/ 1297087 w 2061090"/>
                <a:gd name="connsiteY1653" fmla="*/ 73811 h 2789035"/>
                <a:gd name="connsiteX1654" fmla="*/ 1306021 w 2061090"/>
                <a:gd name="connsiteY1654" fmla="*/ 82967 h 2789035"/>
                <a:gd name="connsiteX1655" fmla="*/ 1311904 w 2061090"/>
                <a:gd name="connsiteY1655" fmla="*/ 87981 h 2789035"/>
                <a:gd name="connsiteX1656" fmla="*/ 1318224 w 2061090"/>
                <a:gd name="connsiteY1656" fmla="*/ 87763 h 2789035"/>
                <a:gd name="connsiteX1657" fmla="*/ 1326068 w 2061090"/>
                <a:gd name="connsiteY1657" fmla="*/ 82967 h 2789035"/>
                <a:gd name="connsiteX1658" fmla="*/ 1329991 w 2061090"/>
                <a:gd name="connsiteY1658" fmla="*/ 78171 h 2789035"/>
                <a:gd name="connsiteX1659" fmla="*/ 1333477 w 2061090"/>
                <a:gd name="connsiteY1659" fmla="*/ 70541 h 2789035"/>
                <a:gd name="connsiteX1660" fmla="*/ 1339143 w 2061090"/>
                <a:gd name="connsiteY1660" fmla="*/ 52882 h 2789035"/>
                <a:gd name="connsiteX1661" fmla="*/ 1333913 w 2061090"/>
                <a:gd name="connsiteY1661" fmla="*/ 45470 h 2789035"/>
                <a:gd name="connsiteX1662" fmla="*/ 1331952 w 2061090"/>
                <a:gd name="connsiteY1662" fmla="*/ 51356 h 2789035"/>
                <a:gd name="connsiteX1663" fmla="*/ 1327594 w 2061090"/>
                <a:gd name="connsiteY1663" fmla="*/ 60948 h 2789035"/>
                <a:gd name="connsiteX1664" fmla="*/ 1321492 w 2061090"/>
                <a:gd name="connsiteY1664" fmla="*/ 69233 h 2789035"/>
                <a:gd name="connsiteX1665" fmla="*/ 1315391 w 2061090"/>
                <a:gd name="connsiteY1665" fmla="*/ 75337 h 2789035"/>
                <a:gd name="connsiteX1666" fmla="*/ 1312994 w 2061090"/>
                <a:gd name="connsiteY1666" fmla="*/ 66399 h 2789035"/>
                <a:gd name="connsiteX1667" fmla="*/ 1309943 w 2061090"/>
                <a:gd name="connsiteY1667" fmla="*/ 57460 h 2789035"/>
                <a:gd name="connsiteX1668" fmla="*/ 1301445 w 2061090"/>
                <a:gd name="connsiteY1668" fmla="*/ 57242 h 2789035"/>
                <a:gd name="connsiteX1669" fmla="*/ 1293382 w 2061090"/>
                <a:gd name="connsiteY1669" fmla="*/ 50920 h 2789035"/>
                <a:gd name="connsiteX1670" fmla="*/ 1289242 w 2061090"/>
                <a:gd name="connsiteY1670" fmla="*/ 43072 h 2789035"/>
                <a:gd name="connsiteX1671" fmla="*/ 1296215 w 2061090"/>
                <a:gd name="connsiteY1671" fmla="*/ 36750 h 2789035"/>
                <a:gd name="connsiteX1672" fmla="*/ 1301009 w 2061090"/>
                <a:gd name="connsiteY1672" fmla="*/ 19309 h 2789035"/>
                <a:gd name="connsiteX1673" fmla="*/ 1298830 w 2061090"/>
                <a:gd name="connsiteY1673" fmla="*/ 14949 h 2789035"/>
                <a:gd name="connsiteX1674" fmla="*/ 1295561 w 2061090"/>
                <a:gd name="connsiteY1674" fmla="*/ 10589 h 2789035"/>
                <a:gd name="connsiteX1675" fmla="*/ 1290767 w 2061090"/>
                <a:gd name="connsiteY1675" fmla="*/ 25849 h 2789035"/>
                <a:gd name="connsiteX1676" fmla="*/ 1289242 w 2061090"/>
                <a:gd name="connsiteY1676" fmla="*/ 33698 h 2789035"/>
                <a:gd name="connsiteX1677" fmla="*/ 1281833 w 2061090"/>
                <a:gd name="connsiteY1677" fmla="*/ 34788 h 2789035"/>
                <a:gd name="connsiteX1678" fmla="*/ 1278347 w 2061090"/>
                <a:gd name="connsiteY1678" fmla="*/ 38712 h 2789035"/>
                <a:gd name="connsiteX1679" fmla="*/ 1270284 w 2061090"/>
                <a:gd name="connsiteY1679" fmla="*/ 56370 h 2789035"/>
                <a:gd name="connsiteX1680" fmla="*/ 1270720 w 2061090"/>
                <a:gd name="connsiteY1680" fmla="*/ 40892 h 2789035"/>
                <a:gd name="connsiteX1681" fmla="*/ 1269630 w 2061090"/>
                <a:gd name="connsiteY1681" fmla="*/ 32608 h 2789035"/>
                <a:gd name="connsiteX1682" fmla="*/ 1273335 w 2061090"/>
                <a:gd name="connsiteY1682" fmla="*/ 21053 h 2789035"/>
                <a:gd name="connsiteX1683" fmla="*/ 1280308 w 2061090"/>
                <a:gd name="connsiteY1683" fmla="*/ 14949 h 2789035"/>
                <a:gd name="connsiteX1684" fmla="*/ 1270066 w 2061090"/>
                <a:gd name="connsiteY1684" fmla="*/ 8845 h 2789035"/>
                <a:gd name="connsiteX1685" fmla="*/ 1259171 w 2061090"/>
                <a:gd name="connsiteY1685" fmla="*/ 24759 h 2789035"/>
                <a:gd name="connsiteX1686" fmla="*/ 1260696 w 2061090"/>
                <a:gd name="connsiteY1686" fmla="*/ 38712 h 2789035"/>
                <a:gd name="connsiteX1687" fmla="*/ 1255684 w 2061090"/>
                <a:gd name="connsiteY1687" fmla="*/ 42418 h 2789035"/>
                <a:gd name="connsiteX1688" fmla="*/ 1247622 w 2061090"/>
                <a:gd name="connsiteY1688" fmla="*/ 47432 h 2789035"/>
                <a:gd name="connsiteX1689" fmla="*/ 1252416 w 2061090"/>
                <a:gd name="connsiteY1689" fmla="*/ 57678 h 2789035"/>
                <a:gd name="connsiteX1690" fmla="*/ 1260914 w 2061090"/>
                <a:gd name="connsiteY1690" fmla="*/ 61821 h 2789035"/>
                <a:gd name="connsiteX1691" fmla="*/ 1262875 w 2061090"/>
                <a:gd name="connsiteY1691" fmla="*/ 69451 h 2789035"/>
                <a:gd name="connsiteX1692" fmla="*/ 1237816 w 2061090"/>
                <a:gd name="connsiteY1692" fmla="*/ 95830 h 2789035"/>
                <a:gd name="connsiteX1693" fmla="*/ 1244353 w 2061090"/>
                <a:gd name="connsiteY1693" fmla="*/ 97138 h 2789035"/>
                <a:gd name="connsiteX1694" fmla="*/ 316068 w 2061090"/>
                <a:gd name="connsiteY1694" fmla="*/ 91252 h 2789035"/>
                <a:gd name="connsiteX1695" fmla="*/ 313888 w 2061090"/>
                <a:gd name="connsiteY1695" fmla="*/ 86891 h 2789035"/>
                <a:gd name="connsiteX1696" fmla="*/ 311709 w 2061090"/>
                <a:gd name="connsiteY1696" fmla="*/ 91252 h 2789035"/>
                <a:gd name="connsiteX1697" fmla="*/ 313888 w 2061090"/>
                <a:gd name="connsiteY1697" fmla="*/ 95612 h 2789035"/>
                <a:gd name="connsiteX1698" fmla="*/ 316068 w 2061090"/>
                <a:gd name="connsiteY1698" fmla="*/ 91252 h 2789035"/>
                <a:gd name="connsiteX1699" fmla="*/ 1408873 w 2061090"/>
                <a:gd name="connsiteY1699" fmla="*/ 93650 h 2789035"/>
                <a:gd name="connsiteX1700" fmla="*/ 1407784 w 2061090"/>
                <a:gd name="connsiteY1700" fmla="*/ 90161 h 2789035"/>
                <a:gd name="connsiteX1701" fmla="*/ 1405605 w 2061090"/>
                <a:gd name="connsiteY1701" fmla="*/ 92124 h 2789035"/>
                <a:gd name="connsiteX1702" fmla="*/ 1408873 w 2061090"/>
                <a:gd name="connsiteY1702" fmla="*/ 93650 h 2789035"/>
                <a:gd name="connsiteX1703" fmla="*/ 1457902 w 2061090"/>
                <a:gd name="connsiteY1703" fmla="*/ 82749 h 2789035"/>
                <a:gd name="connsiteX1704" fmla="*/ 1449404 w 2061090"/>
                <a:gd name="connsiteY1704" fmla="*/ 79043 h 2789035"/>
                <a:gd name="connsiteX1705" fmla="*/ 1448532 w 2061090"/>
                <a:gd name="connsiteY1705" fmla="*/ 86455 h 2789035"/>
                <a:gd name="connsiteX1706" fmla="*/ 1453762 w 2061090"/>
                <a:gd name="connsiteY1706" fmla="*/ 88853 h 2789035"/>
                <a:gd name="connsiteX1707" fmla="*/ 1457902 w 2061090"/>
                <a:gd name="connsiteY1707" fmla="*/ 82749 h 2789035"/>
                <a:gd name="connsiteX1708" fmla="*/ 616780 w 2061090"/>
                <a:gd name="connsiteY1708" fmla="*/ 83839 h 2789035"/>
                <a:gd name="connsiteX1709" fmla="*/ 614601 w 2061090"/>
                <a:gd name="connsiteY1709" fmla="*/ 81441 h 2789035"/>
                <a:gd name="connsiteX1710" fmla="*/ 612422 w 2061090"/>
                <a:gd name="connsiteY1710" fmla="*/ 82313 h 2789035"/>
                <a:gd name="connsiteX1711" fmla="*/ 614601 w 2061090"/>
                <a:gd name="connsiteY1711" fmla="*/ 84711 h 2789035"/>
                <a:gd name="connsiteX1712" fmla="*/ 616780 w 2061090"/>
                <a:gd name="connsiteY1712" fmla="*/ 83839 h 2789035"/>
                <a:gd name="connsiteX1713" fmla="*/ 427200 w 2061090"/>
                <a:gd name="connsiteY1713" fmla="*/ 66835 h 2789035"/>
                <a:gd name="connsiteX1714" fmla="*/ 432648 w 2061090"/>
                <a:gd name="connsiteY1714" fmla="*/ 64219 h 2789035"/>
                <a:gd name="connsiteX1715" fmla="*/ 439403 w 2061090"/>
                <a:gd name="connsiteY1715" fmla="*/ 64001 h 2789035"/>
                <a:gd name="connsiteX1716" fmla="*/ 438314 w 2061090"/>
                <a:gd name="connsiteY1716" fmla="*/ 57896 h 2789035"/>
                <a:gd name="connsiteX1717" fmla="*/ 435917 w 2061090"/>
                <a:gd name="connsiteY1717" fmla="*/ 51138 h 2789035"/>
                <a:gd name="connsiteX1718" fmla="*/ 430469 w 2061090"/>
                <a:gd name="connsiteY1718" fmla="*/ 54626 h 2789035"/>
                <a:gd name="connsiteX1719" fmla="*/ 420663 w 2061090"/>
                <a:gd name="connsiteY1719" fmla="*/ 65091 h 2789035"/>
                <a:gd name="connsiteX1720" fmla="*/ 417830 w 2061090"/>
                <a:gd name="connsiteY1720" fmla="*/ 78825 h 2789035"/>
                <a:gd name="connsiteX1721" fmla="*/ 427200 w 2061090"/>
                <a:gd name="connsiteY1721" fmla="*/ 66835 h 2789035"/>
                <a:gd name="connsiteX1722" fmla="*/ 1374226 w 2061090"/>
                <a:gd name="connsiteY1722" fmla="*/ 71195 h 2789035"/>
                <a:gd name="connsiteX1723" fmla="*/ 1381199 w 2061090"/>
                <a:gd name="connsiteY1723" fmla="*/ 58114 h 2789035"/>
                <a:gd name="connsiteX1724" fmla="*/ 1396017 w 2061090"/>
                <a:gd name="connsiteY1724" fmla="*/ 58768 h 2789035"/>
                <a:gd name="connsiteX1725" fmla="*/ 1405605 w 2061090"/>
                <a:gd name="connsiteY1725" fmla="*/ 50702 h 2789035"/>
                <a:gd name="connsiteX1726" fmla="*/ 1400157 w 2061090"/>
                <a:gd name="connsiteY1726" fmla="*/ 40674 h 2789035"/>
                <a:gd name="connsiteX1727" fmla="*/ 1404297 w 2061090"/>
                <a:gd name="connsiteY1727" fmla="*/ 27811 h 2789035"/>
                <a:gd name="connsiteX1728" fmla="*/ 1399067 w 2061090"/>
                <a:gd name="connsiteY1728" fmla="*/ 19309 h 2789035"/>
                <a:gd name="connsiteX1729" fmla="*/ 1384685 w 2061090"/>
                <a:gd name="connsiteY1729" fmla="*/ 19527 h 2789035"/>
                <a:gd name="connsiteX1730" fmla="*/ 1379238 w 2061090"/>
                <a:gd name="connsiteY1730" fmla="*/ 19963 h 2789035"/>
                <a:gd name="connsiteX1731" fmla="*/ 1367253 w 2061090"/>
                <a:gd name="connsiteY1731" fmla="*/ 18873 h 2789035"/>
                <a:gd name="connsiteX1732" fmla="*/ 1358101 w 2061090"/>
                <a:gd name="connsiteY1732" fmla="*/ 16911 h 2789035"/>
                <a:gd name="connsiteX1733" fmla="*/ 1331952 w 2061090"/>
                <a:gd name="connsiteY1733" fmla="*/ 19091 h 2789035"/>
                <a:gd name="connsiteX1734" fmla="*/ 1336528 w 2061090"/>
                <a:gd name="connsiteY1734" fmla="*/ 20617 h 2789035"/>
                <a:gd name="connsiteX1735" fmla="*/ 1349820 w 2061090"/>
                <a:gd name="connsiteY1735" fmla="*/ 28901 h 2789035"/>
                <a:gd name="connsiteX1736" fmla="*/ 1355486 w 2061090"/>
                <a:gd name="connsiteY1736" fmla="*/ 45470 h 2789035"/>
                <a:gd name="connsiteX1737" fmla="*/ 1350692 w 2061090"/>
                <a:gd name="connsiteY1737" fmla="*/ 42200 h 2789035"/>
                <a:gd name="connsiteX1738" fmla="*/ 1339797 w 2061090"/>
                <a:gd name="connsiteY1738" fmla="*/ 34134 h 2789035"/>
                <a:gd name="connsiteX1739" fmla="*/ 1360498 w 2061090"/>
                <a:gd name="connsiteY1739" fmla="*/ 58550 h 2789035"/>
                <a:gd name="connsiteX1740" fmla="*/ 1366381 w 2061090"/>
                <a:gd name="connsiteY1740" fmla="*/ 64655 h 2789035"/>
                <a:gd name="connsiteX1741" fmla="*/ 1370957 w 2061090"/>
                <a:gd name="connsiteY1741" fmla="*/ 75991 h 2789035"/>
                <a:gd name="connsiteX1742" fmla="*/ 1374226 w 2061090"/>
                <a:gd name="connsiteY1742" fmla="*/ 71195 h 2789035"/>
                <a:gd name="connsiteX1743" fmla="*/ 1453326 w 2061090"/>
                <a:gd name="connsiteY1743" fmla="*/ 69451 h 2789035"/>
                <a:gd name="connsiteX1744" fmla="*/ 1457467 w 2061090"/>
                <a:gd name="connsiteY1744" fmla="*/ 63565 h 2789035"/>
                <a:gd name="connsiteX1745" fmla="*/ 1448750 w 2061090"/>
                <a:gd name="connsiteY1745" fmla="*/ 58114 h 2789035"/>
                <a:gd name="connsiteX1746" fmla="*/ 1440470 w 2061090"/>
                <a:gd name="connsiteY1746" fmla="*/ 56806 h 2789035"/>
                <a:gd name="connsiteX1747" fmla="*/ 1435022 w 2061090"/>
                <a:gd name="connsiteY1747" fmla="*/ 51138 h 2789035"/>
                <a:gd name="connsiteX1748" fmla="*/ 1427395 w 2061090"/>
                <a:gd name="connsiteY1748" fmla="*/ 52228 h 2789035"/>
                <a:gd name="connsiteX1749" fmla="*/ 1434586 w 2061090"/>
                <a:gd name="connsiteY1749" fmla="*/ 63347 h 2789035"/>
                <a:gd name="connsiteX1750" fmla="*/ 1438727 w 2061090"/>
                <a:gd name="connsiteY1750" fmla="*/ 67053 h 2789035"/>
                <a:gd name="connsiteX1751" fmla="*/ 1439380 w 2061090"/>
                <a:gd name="connsiteY1751" fmla="*/ 73375 h 2789035"/>
                <a:gd name="connsiteX1752" fmla="*/ 1444392 w 2061090"/>
                <a:gd name="connsiteY1752" fmla="*/ 72939 h 2789035"/>
                <a:gd name="connsiteX1753" fmla="*/ 1453326 w 2061090"/>
                <a:gd name="connsiteY1753" fmla="*/ 69451 h 2789035"/>
                <a:gd name="connsiteX1754" fmla="*/ 649466 w 2061090"/>
                <a:gd name="connsiteY1754" fmla="*/ 65963 h 2789035"/>
                <a:gd name="connsiteX1755" fmla="*/ 647287 w 2061090"/>
                <a:gd name="connsiteY1755" fmla="*/ 64001 h 2789035"/>
                <a:gd name="connsiteX1756" fmla="*/ 645108 w 2061090"/>
                <a:gd name="connsiteY1756" fmla="*/ 67489 h 2789035"/>
                <a:gd name="connsiteX1757" fmla="*/ 647287 w 2061090"/>
                <a:gd name="connsiteY1757" fmla="*/ 69451 h 2789035"/>
                <a:gd name="connsiteX1758" fmla="*/ 649466 w 2061090"/>
                <a:gd name="connsiteY1758" fmla="*/ 65963 h 2789035"/>
                <a:gd name="connsiteX1759" fmla="*/ 1250890 w 2061090"/>
                <a:gd name="connsiteY1759" fmla="*/ 65963 h 2789035"/>
                <a:gd name="connsiteX1760" fmla="*/ 1248711 w 2061090"/>
                <a:gd name="connsiteY1760" fmla="*/ 64001 h 2789035"/>
                <a:gd name="connsiteX1761" fmla="*/ 1246532 w 2061090"/>
                <a:gd name="connsiteY1761" fmla="*/ 67489 h 2789035"/>
                <a:gd name="connsiteX1762" fmla="*/ 1248711 w 2061090"/>
                <a:gd name="connsiteY1762" fmla="*/ 69451 h 2789035"/>
                <a:gd name="connsiteX1763" fmla="*/ 1250890 w 2061090"/>
                <a:gd name="connsiteY1763" fmla="*/ 65963 h 2789035"/>
                <a:gd name="connsiteX1764" fmla="*/ 450298 w 2061090"/>
                <a:gd name="connsiteY1764" fmla="*/ 54844 h 2789035"/>
                <a:gd name="connsiteX1765" fmla="*/ 451388 w 2061090"/>
                <a:gd name="connsiteY1765" fmla="*/ 50266 h 2789035"/>
                <a:gd name="connsiteX1766" fmla="*/ 442454 w 2061090"/>
                <a:gd name="connsiteY1766" fmla="*/ 55280 h 2789035"/>
                <a:gd name="connsiteX1767" fmla="*/ 450298 w 2061090"/>
                <a:gd name="connsiteY1767" fmla="*/ 54844 h 2789035"/>
                <a:gd name="connsiteX1768" fmla="*/ 662540 w 2061090"/>
                <a:gd name="connsiteY1768" fmla="*/ 55280 h 2789035"/>
                <a:gd name="connsiteX1769" fmla="*/ 659490 w 2061090"/>
                <a:gd name="connsiteY1769" fmla="*/ 52010 h 2789035"/>
                <a:gd name="connsiteX1770" fmla="*/ 656439 w 2061090"/>
                <a:gd name="connsiteY1770" fmla="*/ 57024 h 2789035"/>
                <a:gd name="connsiteX1771" fmla="*/ 662540 w 2061090"/>
                <a:gd name="connsiteY1771" fmla="*/ 55280 h 2789035"/>
                <a:gd name="connsiteX1772" fmla="*/ 1327158 w 2061090"/>
                <a:gd name="connsiteY1772" fmla="*/ 54844 h 2789035"/>
                <a:gd name="connsiteX1773" fmla="*/ 1322582 w 2061090"/>
                <a:gd name="connsiteY1773" fmla="*/ 46342 h 2789035"/>
                <a:gd name="connsiteX1774" fmla="*/ 1320403 w 2061090"/>
                <a:gd name="connsiteY1774" fmla="*/ 36968 h 2789035"/>
                <a:gd name="connsiteX1775" fmla="*/ 1321492 w 2061090"/>
                <a:gd name="connsiteY1775" fmla="*/ 27157 h 2789035"/>
                <a:gd name="connsiteX1776" fmla="*/ 1324761 w 2061090"/>
                <a:gd name="connsiteY1776" fmla="*/ 19309 h 2789035"/>
                <a:gd name="connsiteX1777" fmla="*/ 1329337 w 2061090"/>
                <a:gd name="connsiteY1777" fmla="*/ 13859 h 2789035"/>
                <a:gd name="connsiteX1778" fmla="*/ 1319313 w 2061090"/>
                <a:gd name="connsiteY1778" fmla="*/ 12333 h 2789035"/>
                <a:gd name="connsiteX1779" fmla="*/ 1309725 w 2061090"/>
                <a:gd name="connsiteY1779" fmla="*/ 29337 h 2789035"/>
                <a:gd name="connsiteX1780" fmla="*/ 1305367 w 2061090"/>
                <a:gd name="connsiteY1780" fmla="*/ 39584 h 2789035"/>
                <a:gd name="connsiteX1781" fmla="*/ 1303842 w 2061090"/>
                <a:gd name="connsiteY1781" fmla="*/ 49176 h 2789035"/>
                <a:gd name="connsiteX1782" fmla="*/ 1310161 w 2061090"/>
                <a:gd name="connsiteY1782" fmla="*/ 46560 h 2789035"/>
                <a:gd name="connsiteX1783" fmla="*/ 1315391 w 2061090"/>
                <a:gd name="connsiteY1783" fmla="*/ 48958 h 2789035"/>
                <a:gd name="connsiteX1784" fmla="*/ 1327158 w 2061090"/>
                <a:gd name="connsiteY1784" fmla="*/ 54844 h 2789035"/>
                <a:gd name="connsiteX1785" fmla="*/ 283381 w 2061090"/>
                <a:gd name="connsiteY1785" fmla="*/ 50048 h 2789035"/>
                <a:gd name="connsiteX1786" fmla="*/ 277498 w 2061090"/>
                <a:gd name="connsiteY1786" fmla="*/ 46124 h 2789035"/>
                <a:gd name="connsiteX1787" fmla="*/ 281420 w 2061090"/>
                <a:gd name="connsiteY1787" fmla="*/ 52010 h 2789035"/>
                <a:gd name="connsiteX1788" fmla="*/ 283381 w 2061090"/>
                <a:gd name="connsiteY1788" fmla="*/ 50048 h 2789035"/>
                <a:gd name="connsiteX1789" fmla="*/ 1237380 w 2061090"/>
                <a:gd name="connsiteY1789" fmla="*/ 46124 h 2789035"/>
                <a:gd name="connsiteX1790" fmla="*/ 1226921 w 2061090"/>
                <a:gd name="connsiteY1790" fmla="*/ 42636 h 2789035"/>
                <a:gd name="connsiteX1791" fmla="*/ 1235201 w 2061090"/>
                <a:gd name="connsiteY1791" fmla="*/ 52010 h 2789035"/>
                <a:gd name="connsiteX1792" fmla="*/ 1237380 w 2061090"/>
                <a:gd name="connsiteY1792" fmla="*/ 46124 h 2789035"/>
                <a:gd name="connsiteX1793" fmla="*/ 620048 w 2061090"/>
                <a:gd name="connsiteY1793" fmla="*/ 47650 h 2789035"/>
                <a:gd name="connsiteX1794" fmla="*/ 618087 w 2061090"/>
                <a:gd name="connsiteY1794" fmla="*/ 45470 h 2789035"/>
                <a:gd name="connsiteX1795" fmla="*/ 614601 w 2061090"/>
                <a:gd name="connsiteY1795" fmla="*/ 47650 h 2789035"/>
                <a:gd name="connsiteX1796" fmla="*/ 616562 w 2061090"/>
                <a:gd name="connsiteY1796" fmla="*/ 49830 h 2789035"/>
                <a:gd name="connsiteX1797" fmla="*/ 620048 w 2061090"/>
                <a:gd name="connsiteY1797" fmla="*/ 47650 h 2789035"/>
                <a:gd name="connsiteX1798" fmla="*/ 1133220 w 2061090"/>
                <a:gd name="connsiteY1798" fmla="*/ 48958 h 2789035"/>
                <a:gd name="connsiteX1799" fmla="*/ 1131041 w 2061090"/>
                <a:gd name="connsiteY1799" fmla="*/ 46560 h 2789035"/>
                <a:gd name="connsiteX1800" fmla="*/ 1128862 w 2061090"/>
                <a:gd name="connsiteY1800" fmla="*/ 47432 h 2789035"/>
                <a:gd name="connsiteX1801" fmla="*/ 1131041 w 2061090"/>
                <a:gd name="connsiteY1801" fmla="*/ 49830 h 2789035"/>
                <a:gd name="connsiteX1802" fmla="*/ 1133220 w 2061090"/>
                <a:gd name="connsiteY1802" fmla="*/ 48958 h 2789035"/>
                <a:gd name="connsiteX1803" fmla="*/ 1447879 w 2061090"/>
                <a:gd name="connsiteY1803" fmla="*/ 46560 h 2789035"/>
                <a:gd name="connsiteX1804" fmla="*/ 1449186 w 2061090"/>
                <a:gd name="connsiteY1804" fmla="*/ 40020 h 2789035"/>
                <a:gd name="connsiteX1805" fmla="*/ 1443956 w 2061090"/>
                <a:gd name="connsiteY1805" fmla="*/ 36750 h 2789035"/>
                <a:gd name="connsiteX1806" fmla="*/ 1437637 w 2061090"/>
                <a:gd name="connsiteY1806" fmla="*/ 32389 h 2789035"/>
                <a:gd name="connsiteX1807" fmla="*/ 1413449 w 2061090"/>
                <a:gd name="connsiteY1807" fmla="*/ 37186 h 2789035"/>
                <a:gd name="connsiteX1808" fmla="*/ 1418243 w 2061090"/>
                <a:gd name="connsiteY1808" fmla="*/ 42636 h 2789035"/>
                <a:gd name="connsiteX1809" fmla="*/ 1431971 w 2061090"/>
                <a:gd name="connsiteY1809" fmla="*/ 44162 h 2789035"/>
                <a:gd name="connsiteX1810" fmla="*/ 1447879 w 2061090"/>
                <a:gd name="connsiteY1810" fmla="*/ 46560 h 2789035"/>
                <a:gd name="connsiteX1811" fmla="*/ 271179 w 2061090"/>
                <a:gd name="connsiteY1811" fmla="*/ 42200 h 2789035"/>
                <a:gd name="connsiteX1812" fmla="*/ 265731 w 2061090"/>
                <a:gd name="connsiteY1812" fmla="*/ 28029 h 2789035"/>
                <a:gd name="connsiteX1813" fmla="*/ 262680 w 2061090"/>
                <a:gd name="connsiteY1813" fmla="*/ 30209 h 2789035"/>
                <a:gd name="connsiteX1814" fmla="*/ 255925 w 2061090"/>
                <a:gd name="connsiteY1814" fmla="*/ 32389 h 2789035"/>
                <a:gd name="connsiteX1815" fmla="*/ 255925 w 2061090"/>
                <a:gd name="connsiteY1815" fmla="*/ 38930 h 2789035"/>
                <a:gd name="connsiteX1816" fmla="*/ 262680 w 2061090"/>
                <a:gd name="connsiteY1816" fmla="*/ 43072 h 2789035"/>
                <a:gd name="connsiteX1817" fmla="*/ 271179 w 2061090"/>
                <a:gd name="connsiteY1817" fmla="*/ 42200 h 2789035"/>
                <a:gd name="connsiteX1818" fmla="*/ 453349 w 2061090"/>
                <a:gd name="connsiteY1818" fmla="*/ 43290 h 2789035"/>
                <a:gd name="connsiteX1819" fmla="*/ 451170 w 2061090"/>
                <a:gd name="connsiteY1819" fmla="*/ 41110 h 2789035"/>
                <a:gd name="connsiteX1820" fmla="*/ 448991 w 2061090"/>
                <a:gd name="connsiteY1820" fmla="*/ 43290 h 2789035"/>
                <a:gd name="connsiteX1821" fmla="*/ 451170 w 2061090"/>
                <a:gd name="connsiteY1821" fmla="*/ 45470 h 2789035"/>
                <a:gd name="connsiteX1822" fmla="*/ 453349 w 2061090"/>
                <a:gd name="connsiteY1822" fmla="*/ 43290 h 2789035"/>
                <a:gd name="connsiteX1823" fmla="*/ 483856 w 2061090"/>
                <a:gd name="connsiteY1823" fmla="*/ 35442 h 2789035"/>
                <a:gd name="connsiteX1824" fmla="*/ 481677 w 2061090"/>
                <a:gd name="connsiteY1824" fmla="*/ 33480 h 2789035"/>
                <a:gd name="connsiteX1825" fmla="*/ 480588 w 2061090"/>
                <a:gd name="connsiteY1825" fmla="*/ 36968 h 2789035"/>
                <a:gd name="connsiteX1826" fmla="*/ 483856 w 2061090"/>
                <a:gd name="connsiteY1826" fmla="*/ 35442 h 2789035"/>
                <a:gd name="connsiteX1827" fmla="*/ 1247404 w 2061090"/>
                <a:gd name="connsiteY1827" fmla="*/ 33044 h 2789035"/>
                <a:gd name="connsiteX1828" fmla="*/ 1242174 w 2061090"/>
                <a:gd name="connsiteY1828" fmla="*/ 25849 h 2789035"/>
                <a:gd name="connsiteX1829" fmla="*/ 1236944 w 2061090"/>
                <a:gd name="connsiteY1829" fmla="*/ 23887 h 2789035"/>
                <a:gd name="connsiteX1830" fmla="*/ 1248058 w 2061090"/>
                <a:gd name="connsiteY1830" fmla="*/ 19309 h 2789035"/>
                <a:gd name="connsiteX1831" fmla="*/ 1252634 w 2061090"/>
                <a:gd name="connsiteY1831" fmla="*/ 14513 h 2789035"/>
                <a:gd name="connsiteX1832" fmla="*/ 1244135 w 2061090"/>
                <a:gd name="connsiteY1832" fmla="*/ 8845 h 2789035"/>
                <a:gd name="connsiteX1833" fmla="*/ 1234765 w 2061090"/>
                <a:gd name="connsiteY1833" fmla="*/ 13641 h 2789035"/>
                <a:gd name="connsiteX1834" fmla="*/ 1227356 w 2061090"/>
                <a:gd name="connsiteY1834" fmla="*/ 13423 h 2789035"/>
                <a:gd name="connsiteX1835" fmla="*/ 1228010 w 2061090"/>
                <a:gd name="connsiteY1835" fmla="*/ 7319 h 2789035"/>
                <a:gd name="connsiteX1836" fmla="*/ 1188351 w 2061090"/>
                <a:gd name="connsiteY1836" fmla="*/ 6883 h 2789035"/>
                <a:gd name="connsiteX1837" fmla="*/ 1148474 w 2061090"/>
                <a:gd name="connsiteY1837" fmla="*/ 7537 h 2789035"/>
                <a:gd name="connsiteX1838" fmla="*/ 1151089 w 2061090"/>
                <a:gd name="connsiteY1838" fmla="*/ 12769 h 2789035"/>
                <a:gd name="connsiteX1839" fmla="*/ 1151525 w 2061090"/>
                <a:gd name="connsiteY1839" fmla="*/ 21053 h 2789035"/>
                <a:gd name="connsiteX1840" fmla="*/ 1156319 w 2061090"/>
                <a:gd name="connsiteY1840" fmla="*/ 36532 h 2789035"/>
                <a:gd name="connsiteX1841" fmla="*/ 1170265 w 2061090"/>
                <a:gd name="connsiteY1841" fmla="*/ 23669 h 2789035"/>
                <a:gd name="connsiteX1842" fmla="*/ 1183775 w 2061090"/>
                <a:gd name="connsiteY1842" fmla="*/ 20181 h 2789035"/>
                <a:gd name="connsiteX1843" fmla="*/ 1189223 w 2061090"/>
                <a:gd name="connsiteY1843" fmla="*/ 21707 h 2789035"/>
                <a:gd name="connsiteX1844" fmla="*/ 1196631 w 2061090"/>
                <a:gd name="connsiteY1844" fmla="*/ 22143 h 2789035"/>
                <a:gd name="connsiteX1845" fmla="*/ 1206655 w 2061090"/>
                <a:gd name="connsiteY1845" fmla="*/ 19745 h 2789035"/>
                <a:gd name="connsiteX1846" fmla="*/ 1216461 w 2061090"/>
                <a:gd name="connsiteY1846" fmla="*/ 19091 h 2789035"/>
                <a:gd name="connsiteX1847" fmla="*/ 1221473 w 2061090"/>
                <a:gd name="connsiteY1847" fmla="*/ 27811 h 2789035"/>
                <a:gd name="connsiteX1848" fmla="*/ 1230189 w 2061090"/>
                <a:gd name="connsiteY1848" fmla="*/ 30209 h 2789035"/>
                <a:gd name="connsiteX1849" fmla="*/ 1237816 w 2061090"/>
                <a:gd name="connsiteY1849" fmla="*/ 33480 h 2789035"/>
                <a:gd name="connsiteX1850" fmla="*/ 1247404 w 2061090"/>
                <a:gd name="connsiteY1850" fmla="*/ 33044 h 2789035"/>
                <a:gd name="connsiteX1851" fmla="*/ 281202 w 2061090"/>
                <a:gd name="connsiteY1851" fmla="*/ 24977 h 2789035"/>
                <a:gd name="connsiteX1852" fmla="*/ 271614 w 2061090"/>
                <a:gd name="connsiteY1852" fmla="*/ 12769 h 2789035"/>
                <a:gd name="connsiteX1853" fmla="*/ 271397 w 2061090"/>
                <a:gd name="connsiteY1853" fmla="*/ 28901 h 2789035"/>
                <a:gd name="connsiteX1854" fmla="*/ 274665 w 2061090"/>
                <a:gd name="connsiteY1854" fmla="*/ 33916 h 2789035"/>
                <a:gd name="connsiteX1855" fmla="*/ 277934 w 2061090"/>
                <a:gd name="connsiteY1855" fmla="*/ 33698 h 2789035"/>
                <a:gd name="connsiteX1856" fmla="*/ 281202 w 2061090"/>
                <a:gd name="connsiteY1856" fmla="*/ 24977 h 2789035"/>
                <a:gd name="connsiteX1857" fmla="*/ 626150 w 2061090"/>
                <a:gd name="connsiteY1857" fmla="*/ 33698 h 2789035"/>
                <a:gd name="connsiteX1858" fmla="*/ 619177 w 2061090"/>
                <a:gd name="connsiteY1858" fmla="*/ 28029 h 2789035"/>
                <a:gd name="connsiteX1859" fmla="*/ 622010 w 2061090"/>
                <a:gd name="connsiteY1859" fmla="*/ 36750 h 2789035"/>
                <a:gd name="connsiteX1860" fmla="*/ 626150 w 2061090"/>
                <a:gd name="connsiteY1860" fmla="*/ 33698 h 2789035"/>
                <a:gd name="connsiteX1861" fmla="*/ 190771 w 2061090"/>
                <a:gd name="connsiteY1861" fmla="*/ 32389 h 2789035"/>
                <a:gd name="connsiteX1862" fmla="*/ 196001 w 2061090"/>
                <a:gd name="connsiteY1862" fmla="*/ 30209 h 2789035"/>
                <a:gd name="connsiteX1863" fmla="*/ 202320 w 2061090"/>
                <a:gd name="connsiteY1863" fmla="*/ 24541 h 2789035"/>
                <a:gd name="connsiteX1864" fmla="*/ 215394 w 2061090"/>
                <a:gd name="connsiteY1864" fmla="*/ 20399 h 2789035"/>
                <a:gd name="connsiteX1865" fmla="*/ 228033 w 2061090"/>
                <a:gd name="connsiteY1865" fmla="*/ 24977 h 2789035"/>
                <a:gd name="connsiteX1866" fmla="*/ 238710 w 2061090"/>
                <a:gd name="connsiteY1866" fmla="*/ 26067 h 2789035"/>
                <a:gd name="connsiteX1867" fmla="*/ 237185 w 2061090"/>
                <a:gd name="connsiteY1867" fmla="*/ 18219 h 2789035"/>
                <a:gd name="connsiteX1868" fmla="*/ 217138 w 2061090"/>
                <a:gd name="connsiteY1868" fmla="*/ 13859 h 2789035"/>
                <a:gd name="connsiteX1869" fmla="*/ 194039 w 2061090"/>
                <a:gd name="connsiteY1869" fmla="*/ 22579 h 2789035"/>
                <a:gd name="connsiteX1870" fmla="*/ 189681 w 2061090"/>
                <a:gd name="connsiteY1870" fmla="*/ 28029 h 2789035"/>
                <a:gd name="connsiteX1871" fmla="*/ 185323 w 2061090"/>
                <a:gd name="connsiteY1871" fmla="*/ 31299 h 2789035"/>
                <a:gd name="connsiteX1872" fmla="*/ 190771 w 2061090"/>
                <a:gd name="connsiteY1872" fmla="*/ 32389 h 2789035"/>
                <a:gd name="connsiteX1873" fmla="*/ 642057 w 2061090"/>
                <a:gd name="connsiteY1873" fmla="*/ 27593 h 2789035"/>
                <a:gd name="connsiteX1874" fmla="*/ 647505 w 2061090"/>
                <a:gd name="connsiteY1874" fmla="*/ 24323 h 2789035"/>
                <a:gd name="connsiteX1875" fmla="*/ 651645 w 2061090"/>
                <a:gd name="connsiteY1875" fmla="*/ 22361 h 2789035"/>
                <a:gd name="connsiteX1876" fmla="*/ 641839 w 2061090"/>
                <a:gd name="connsiteY1876" fmla="*/ 19309 h 2789035"/>
                <a:gd name="connsiteX1877" fmla="*/ 632033 w 2061090"/>
                <a:gd name="connsiteY1877" fmla="*/ 25413 h 2789035"/>
                <a:gd name="connsiteX1878" fmla="*/ 633341 w 2061090"/>
                <a:gd name="connsiteY1878" fmla="*/ 33044 h 2789035"/>
                <a:gd name="connsiteX1879" fmla="*/ 642057 w 2061090"/>
                <a:gd name="connsiteY1879" fmla="*/ 27593 h 2789035"/>
                <a:gd name="connsiteX1880" fmla="*/ 259412 w 2061090"/>
                <a:gd name="connsiteY1880" fmla="*/ 24759 h 2789035"/>
                <a:gd name="connsiteX1881" fmla="*/ 249824 w 2061090"/>
                <a:gd name="connsiteY1881" fmla="*/ 12769 h 2789035"/>
                <a:gd name="connsiteX1882" fmla="*/ 248298 w 2061090"/>
                <a:gd name="connsiteY1882" fmla="*/ 25413 h 2789035"/>
                <a:gd name="connsiteX1883" fmla="*/ 259412 w 2061090"/>
                <a:gd name="connsiteY1883" fmla="*/ 24759 h 2789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Lst>
              <a:rect l="l" t="t" r="r" b="b"/>
              <a:pathLst>
                <a:path w="2061090" h="2789035">
                  <a:moveTo>
                    <a:pt x="1949719" y="2778412"/>
                  </a:moveTo>
                  <a:cubicBezTo>
                    <a:pt x="1942964" y="2775578"/>
                    <a:pt x="1934030" y="2770782"/>
                    <a:pt x="1930108" y="2767730"/>
                  </a:cubicBezTo>
                  <a:cubicBezTo>
                    <a:pt x="1925967" y="2764678"/>
                    <a:pt x="1798492" y="2579153"/>
                    <a:pt x="1611745" y="2304246"/>
                  </a:cubicBezTo>
                  <a:lnTo>
                    <a:pt x="1300355" y="1846212"/>
                  </a:lnTo>
                  <a:lnTo>
                    <a:pt x="698713" y="1846212"/>
                  </a:lnTo>
                  <a:cubicBezTo>
                    <a:pt x="35403" y="1846212"/>
                    <a:pt x="83342" y="1847084"/>
                    <a:pt x="56104" y="1832695"/>
                  </a:cubicBezTo>
                  <a:cubicBezTo>
                    <a:pt x="30609" y="1818961"/>
                    <a:pt x="-4256" y="1779720"/>
                    <a:pt x="-4256" y="1764895"/>
                  </a:cubicBezTo>
                  <a:cubicBezTo>
                    <a:pt x="-4256" y="1759227"/>
                    <a:pt x="4678" y="1745929"/>
                    <a:pt x="8382" y="1745929"/>
                  </a:cubicBezTo>
                  <a:cubicBezTo>
                    <a:pt x="10561" y="1745929"/>
                    <a:pt x="22110" y="1747891"/>
                    <a:pt x="34531" y="1750289"/>
                  </a:cubicBezTo>
                  <a:cubicBezTo>
                    <a:pt x="58937" y="1755085"/>
                    <a:pt x="82907" y="1755957"/>
                    <a:pt x="89444" y="1752469"/>
                  </a:cubicBezTo>
                  <a:cubicBezTo>
                    <a:pt x="99685" y="1747019"/>
                    <a:pt x="99250" y="1790402"/>
                    <a:pt x="100339" y="896789"/>
                  </a:cubicBezTo>
                  <a:lnTo>
                    <a:pt x="101429" y="53100"/>
                  </a:lnTo>
                  <a:lnTo>
                    <a:pt x="106441" y="43726"/>
                  </a:lnTo>
                  <a:cubicBezTo>
                    <a:pt x="129975" y="-312"/>
                    <a:pt x="205806" y="-5762"/>
                    <a:pt x="796553" y="-5762"/>
                  </a:cubicBezTo>
                  <a:cubicBezTo>
                    <a:pt x="1269195" y="-5762"/>
                    <a:pt x="1379456" y="-1838"/>
                    <a:pt x="1430882" y="17347"/>
                  </a:cubicBezTo>
                  <a:cubicBezTo>
                    <a:pt x="1449186" y="24105"/>
                    <a:pt x="1463132" y="38494"/>
                    <a:pt x="1466401" y="53754"/>
                  </a:cubicBezTo>
                  <a:cubicBezTo>
                    <a:pt x="1468144" y="62257"/>
                    <a:pt x="1468798" y="285496"/>
                    <a:pt x="1468798" y="884581"/>
                  </a:cubicBezTo>
                  <a:cubicBezTo>
                    <a:pt x="1468798" y="1698839"/>
                    <a:pt x="1468798" y="1703853"/>
                    <a:pt x="1473156" y="1721076"/>
                  </a:cubicBezTo>
                  <a:cubicBezTo>
                    <a:pt x="1478821" y="1743094"/>
                    <a:pt x="1488409" y="1762715"/>
                    <a:pt x="1507803" y="1792582"/>
                  </a:cubicBezTo>
                  <a:cubicBezTo>
                    <a:pt x="1516302" y="1805663"/>
                    <a:pt x="1523275" y="1818743"/>
                    <a:pt x="1523275" y="1821577"/>
                  </a:cubicBezTo>
                  <a:cubicBezTo>
                    <a:pt x="1523275" y="1829425"/>
                    <a:pt x="1512379" y="1839018"/>
                    <a:pt x="1500394" y="1842070"/>
                  </a:cubicBezTo>
                  <a:cubicBezTo>
                    <a:pt x="1494729" y="1843378"/>
                    <a:pt x="1489717" y="1845994"/>
                    <a:pt x="1489063" y="1847520"/>
                  </a:cubicBezTo>
                  <a:cubicBezTo>
                    <a:pt x="1488627" y="1849046"/>
                    <a:pt x="1614142" y="2035660"/>
                    <a:pt x="1768202" y="2262170"/>
                  </a:cubicBezTo>
                  <a:cubicBezTo>
                    <a:pt x="1941003" y="2516585"/>
                    <a:pt x="2049957" y="2678783"/>
                    <a:pt x="2052790" y="2685977"/>
                  </a:cubicBezTo>
                  <a:cubicBezTo>
                    <a:pt x="2058455" y="2701019"/>
                    <a:pt x="2058237" y="2705816"/>
                    <a:pt x="2051700" y="2722602"/>
                  </a:cubicBezTo>
                  <a:cubicBezTo>
                    <a:pt x="2043202" y="2743967"/>
                    <a:pt x="2022065" y="2762934"/>
                    <a:pt x="1990468" y="2777322"/>
                  </a:cubicBezTo>
                  <a:cubicBezTo>
                    <a:pt x="1973689" y="2784952"/>
                    <a:pt x="1966280" y="2785170"/>
                    <a:pt x="1949719" y="2778412"/>
                  </a:cubicBezTo>
                  <a:close/>
                  <a:moveTo>
                    <a:pt x="2037100" y="2729796"/>
                  </a:moveTo>
                  <a:cubicBezTo>
                    <a:pt x="2048214" y="2714100"/>
                    <a:pt x="2048431" y="2694479"/>
                    <a:pt x="2037754" y="2675731"/>
                  </a:cubicBezTo>
                  <a:cubicBezTo>
                    <a:pt x="2034267" y="2669626"/>
                    <a:pt x="1907010" y="2481922"/>
                    <a:pt x="1754910" y="2258246"/>
                  </a:cubicBezTo>
                  <a:lnTo>
                    <a:pt x="1478386" y="1851662"/>
                  </a:lnTo>
                  <a:lnTo>
                    <a:pt x="1455287" y="1851662"/>
                  </a:lnTo>
                  <a:cubicBezTo>
                    <a:pt x="1442431" y="1851662"/>
                    <a:pt x="1431536" y="1852316"/>
                    <a:pt x="1430664" y="1852970"/>
                  </a:cubicBezTo>
                  <a:cubicBezTo>
                    <a:pt x="1430010" y="1853842"/>
                    <a:pt x="1438944" y="1868449"/>
                    <a:pt x="1450711" y="1885671"/>
                  </a:cubicBezTo>
                  <a:cubicBezTo>
                    <a:pt x="1462478" y="1902894"/>
                    <a:pt x="1480783" y="1929927"/>
                    <a:pt x="1491242" y="1945405"/>
                  </a:cubicBezTo>
                  <a:cubicBezTo>
                    <a:pt x="1501920" y="1961102"/>
                    <a:pt x="1527415" y="1998817"/>
                    <a:pt x="1548334" y="2029338"/>
                  </a:cubicBezTo>
                  <a:cubicBezTo>
                    <a:pt x="1569035" y="2059859"/>
                    <a:pt x="1602375" y="2108911"/>
                    <a:pt x="1622422" y="2138342"/>
                  </a:cubicBezTo>
                  <a:cubicBezTo>
                    <a:pt x="1642470" y="2167773"/>
                    <a:pt x="1668619" y="2206578"/>
                    <a:pt x="1680822" y="2224455"/>
                  </a:cubicBezTo>
                  <a:cubicBezTo>
                    <a:pt x="1693242" y="2242550"/>
                    <a:pt x="1774086" y="2361582"/>
                    <a:pt x="1860813" y="2489334"/>
                  </a:cubicBezTo>
                  <a:cubicBezTo>
                    <a:pt x="2031435" y="2740479"/>
                    <a:pt x="2028166" y="2735683"/>
                    <a:pt x="2030999" y="2735683"/>
                  </a:cubicBezTo>
                  <a:cubicBezTo>
                    <a:pt x="2032088" y="2735683"/>
                    <a:pt x="2034703" y="2733067"/>
                    <a:pt x="2037100" y="2729796"/>
                  </a:cubicBezTo>
                  <a:close/>
                  <a:moveTo>
                    <a:pt x="1290114" y="1835094"/>
                  </a:moveTo>
                  <a:cubicBezTo>
                    <a:pt x="1290114" y="1832695"/>
                    <a:pt x="754279" y="1043072"/>
                    <a:pt x="731835" y="1012333"/>
                  </a:cubicBezTo>
                  <a:cubicBezTo>
                    <a:pt x="724862" y="1002741"/>
                    <a:pt x="663412" y="913140"/>
                    <a:pt x="595425" y="813074"/>
                  </a:cubicBezTo>
                  <a:lnTo>
                    <a:pt x="471871" y="631256"/>
                  </a:lnTo>
                  <a:lnTo>
                    <a:pt x="458143" y="630820"/>
                  </a:lnTo>
                  <a:cubicBezTo>
                    <a:pt x="444633" y="630602"/>
                    <a:pt x="438531" y="627768"/>
                    <a:pt x="441364" y="623190"/>
                  </a:cubicBezTo>
                  <a:cubicBezTo>
                    <a:pt x="442236" y="621882"/>
                    <a:pt x="445940" y="621010"/>
                    <a:pt x="449645" y="621446"/>
                  </a:cubicBezTo>
                  <a:cubicBezTo>
                    <a:pt x="455746" y="622100"/>
                    <a:pt x="456618" y="621446"/>
                    <a:pt x="457272" y="616214"/>
                  </a:cubicBezTo>
                  <a:cubicBezTo>
                    <a:pt x="457925" y="611635"/>
                    <a:pt x="452695" y="602479"/>
                    <a:pt x="434827" y="576318"/>
                  </a:cubicBezTo>
                  <a:cubicBezTo>
                    <a:pt x="422188" y="557788"/>
                    <a:pt x="410857" y="542527"/>
                    <a:pt x="409550" y="542527"/>
                  </a:cubicBezTo>
                  <a:cubicBezTo>
                    <a:pt x="408460" y="542527"/>
                    <a:pt x="407371" y="718241"/>
                    <a:pt x="407153" y="1003177"/>
                  </a:cubicBezTo>
                  <a:cubicBezTo>
                    <a:pt x="407153" y="1256284"/>
                    <a:pt x="406717" y="1464699"/>
                    <a:pt x="406717" y="1466225"/>
                  </a:cubicBezTo>
                  <a:cubicBezTo>
                    <a:pt x="406063" y="1472547"/>
                    <a:pt x="401269" y="1473637"/>
                    <a:pt x="371416" y="1472983"/>
                  </a:cubicBezTo>
                  <a:cubicBezTo>
                    <a:pt x="344613" y="1472329"/>
                    <a:pt x="341127" y="1471893"/>
                    <a:pt x="340473" y="1468623"/>
                  </a:cubicBezTo>
                  <a:cubicBezTo>
                    <a:pt x="339819" y="1465135"/>
                    <a:pt x="342216" y="1464699"/>
                    <a:pt x="365750" y="1464699"/>
                  </a:cubicBezTo>
                  <a:cubicBezTo>
                    <a:pt x="380132" y="1464699"/>
                    <a:pt x="393425" y="1464045"/>
                    <a:pt x="395386" y="1463391"/>
                  </a:cubicBezTo>
                  <a:cubicBezTo>
                    <a:pt x="398437" y="1462083"/>
                    <a:pt x="398872" y="1447912"/>
                    <a:pt x="398872" y="1323212"/>
                  </a:cubicBezTo>
                  <a:cubicBezTo>
                    <a:pt x="398872" y="1218132"/>
                    <a:pt x="398219" y="1183687"/>
                    <a:pt x="396257" y="1181725"/>
                  </a:cubicBezTo>
                  <a:cubicBezTo>
                    <a:pt x="394514" y="1179981"/>
                    <a:pt x="384708" y="1179109"/>
                    <a:pt x="366622" y="1179109"/>
                  </a:cubicBezTo>
                  <a:cubicBezTo>
                    <a:pt x="342216" y="1179109"/>
                    <a:pt x="339819" y="1178673"/>
                    <a:pt x="340473" y="1175403"/>
                  </a:cubicBezTo>
                  <a:cubicBezTo>
                    <a:pt x="341127" y="1171915"/>
                    <a:pt x="344831" y="1171261"/>
                    <a:pt x="369455" y="1170389"/>
                  </a:cubicBezTo>
                  <a:lnTo>
                    <a:pt x="397783" y="1169299"/>
                  </a:lnTo>
                  <a:lnTo>
                    <a:pt x="398219" y="1114797"/>
                  </a:lnTo>
                  <a:cubicBezTo>
                    <a:pt x="398654" y="1084930"/>
                    <a:pt x="398001" y="1022144"/>
                    <a:pt x="397129" y="975272"/>
                  </a:cubicBezTo>
                  <a:lnTo>
                    <a:pt x="395604" y="890249"/>
                  </a:lnTo>
                  <a:lnTo>
                    <a:pt x="367712" y="889595"/>
                  </a:lnTo>
                  <a:cubicBezTo>
                    <a:pt x="344831" y="889159"/>
                    <a:pt x="339602" y="888505"/>
                    <a:pt x="338512" y="885671"/>
                  </a:cubicBezTo>
                  <a:cubicBezTo>
                    <a:pt x="336333" y="879785"/>
                    <a:pt x="342434" y="878259"/>
                    <a:pt x="370109" y="878259"/>
                  </a:cubicBezTo>
                  <a:lnTo>
                    <a:pt x="396693" y="878259"/>
                  </a:lnTo>
                  <a:lnTo>
                    <a:pt x="396693" y="738734"/>
                  </a:lnTo>
                  <a:lnTo>
                    <a:pt x="396693" y="599209"/>
                  </a:lnTo>
                  <a:lnTo>
                    <a:pt x="370109" y="599209"/>
                  </a:lnTo>
                  <a:cubicBezTo>
                    <a:pt x="342434" y="599209"/>
                    <a:pt x="336333" y="597683"/>
                    <a:pt x="338512" y="591797"/>
                  </a:cubicBezTo>
                  <a:cubicBezTo>
                    <a:pt x="339602" y="588963"/>
                    <a:pt x="344831" y="588309"/>
                    <a:pt x="367712" y="587873"/>
                  </a:cubicBezTo>
                  <a:lnTo>
                    <a:pt x="395604" y="587219"/>
                  </a:lnTo>
                  <a:lnTo>
                    <a:pt x="396257" y="553863"/>
                  </a:lnTo>
                  <a:lnTo>
                    <a:pt x="396911" y="520508"/>
                  </a:lnTo>
                  <a:lnTo>
                    <a:pt x="338730" y="435049"/>
                  </a:lnTo>
                  <a:cubicBezTo>
                    <a:pt x="306698" y="387960"/>
                    <a:pt x="277062" y="346320"/>
                    <a:pt x="272922" y="342614"/>
                  </a:cubicBezTo>
                  <a:cubicBezTo>
                    <a:pt x="265077" y="335420"/>
                    <a:pt x="259847" y="333676"/>
                    <a:pt x="256143" y="337382"/>
                  </a:cubicBezTo>
                  <a:cubicBezTo>
                    <a:pt x="250477" y="342832"/>
                    <a:pt x="237621" y="339562"/>
                    <a:pt x="237621" y="333022"/>
                  </a:cubicBezTo>
                  <a:cubicBezTo>
                    <a:pt x="237621" y="328444"/>
                    <a:pt x="240889" y="327572"/>
                    <a:pt x="243069" y="331060"/>
                  </a:cubicBezTo>
                  <a:cubicBezTo>
                    <a:pt x="244158" y="332804"/>
                    <a:pt x="245466" y="332586"/>
                    <a:pt x="247645" y="330842"/>
                  </a:cubicBezTo>
                  <a:cubicBezTo>
                    <a:pt x="249388" y="329534"/>
                    <a:pt x="253528" y="328880"/>
                    <a:pt x="257233" y="329752"/>
                  </a:cubicBezTo>
                  <a:cubicBezTo>
                    <a:pt x="265295" y="331278"/>
                    <a:pt x="265513" y="329316"/>
                    <a:pt x="258322" y="317979"/>
                  </a:cubicBezTo>
                  <a:cubicBezTo>
                    <a:pt x="252003" y="307951"/>
                    <a:pt x="248516" y="306861"/>
                    <a:pt x="248516" y="314709"/>
                  </a:cubicBezTo>
                  <a:cubicBezTo>
                    <a:pt x="248516" y="322339"/>
                    <a:pt x="242415" y="324302"/>
                    <a:pt x="237839" y="318197"/>
                  </a:cubicBezTo>
                  <a:cubicBezTo>
                    <a:pt x="232609" y="311439"/>
                    <a:pt x="226725" y="314273"/>
                    <a:pt x="226725" y="323430"/>
                  </a:cubicBezTo>
                  <a:cubicBezTo>
                    <a:pt x="226725" y="330624"/>
                    <a:pt x="223457" y="335638"/>
                    <a:pt x="221932" y="330842"/>
                  </a:cubicBezTo>
                  <a:cubicBezTo>
                    <a:pt x="221496" y="329316"/>
                    <a:pt x="219317" y="329316"/>
                    <a:pt x="214958" y="331278"/>
                  </a:cubicBezTo>
                  <a:cubicBezTo>
                    <a:pt x="209729" y="333676"/>
                    <a:pt x="208421" y="333676"/>
                    <a:pt x="206024" y="330406"/>
                  </a:cubicBezTo>
                  <a:cubicBezTo>
                    <a:pt x="204717" y="328444"/>
                    <a:pt x="202756" y="327354"/>
                    <a:pt x="202102" y="328226"/>
                  </a:cubicBezTo>
                  <a:cubicBezTo>
                    <a:pt x="201230" y="328880"/>
                    <a:pt x="200577" y="327354"/>
                    <a:pt x="200577" y="324738"/>
                  </a:cubicBezTo>
                  <a:cubicBezTo>
                    <a:pt x="200577" y="321467"/>
                    <a:pt x="199051" y="319287"/>
                    <a:pt x="196001" y="318633"/>
                  </a:cubicBezTo>
                  <a:cubicBezTo>
                    <a:pt x="192732" y="317761"/>
                    <a:pt x="191860" y="316017"/>
                    <a:pt x="192296" y="311657"/>
                  </a:cubicBezTo>
                  <a:cubicBezTo>
                    <a:pt x="192950" y="306861"/>
                    <a:pt x="193821" y="305989"/>
                    <a:pt x="198833" y="306643"/>
                  </a:cubicBezTo>
                  <a:cubicBezTo>
                    <a:pt x="203627" y="307079"/>
                    <a:pt x="205153" y="306207"/>
                    <a:pt x="206242" y="301411"/>
                  </a:cubicBezTo>
                  <a:cubicBezTo>
                    <a:pt x="208203" y="293344"/>
                    <a:pt x="202974" y="288112"/>
                    <a:pt x="196654" y="292036"/>
                  </a:cubicBezTo>
                  <a:cubicBezTo>
                    <a:pt x="190117" y="296179"/>
                    <a:pt x="188592" y="293126"/>
                    <a:pt x="193168" y="285060"/>
                  </a:cubicBezTo>
                  <a:cubicBezTo>
                    <a:pt x="198615" y="275904"/>
                    <a:pt x="200795" y="275250"/>
                    <a:pt x="207985" y="282008"/>
                  </a:cubicBezTo>
                  <a:cubicBezTo>
                    <a:pt x="214958" y="288330"/>
                    <a:pt x="218009" y="287458"/>
                    <a:pt x="218009" y="278956"/>
                  </a:cubicBezTo>
                  <a:cubicBezTo>
                    <a:pt x="218009" y="275686"/>
                    <a:pt x="219099" y="271980"/>
                    <a:pt x="220188" y="270890"/>
                  </a:cubicBezTo>
                  <a:cubicBezTo>
                    <a:pt x="221714" y="269364"/>
                    <a:pt x="221060" y="268710"/>
                    <a:pt x="217573" y="268710"/>
                  </a:cubicBezTo>
                  <a:cubicBezTo>
                    <a:pt x="212997" y="268928"/>
                    <a:pt x="212562" y="268056"/>
                    <a:pt x="212997" y="259553"/>
                  </a:cubicBezTo>
                  <a:cubicBezTo>
                    <a:pt x="213433" y="247563"/>
                    <a:pt x="207985" y="246691"/>
                    <a:pt x="206024" y="258681"/>
                  </a:cubicBezTo>
                  <a:cubicBezTo>
                    <a:pt x="203627" y="271980"/>
                    <a:pt x="203409" y="272634"/>
                    <a:pt x="198615" y="270018"/>
                  </a:cubicBezTo>
                  <a:cubicBezTo>
                    <a:pt x="192296" y="266748"/>
                    <a:pt x="190335" y="267402"/>
                    <a:pt x="188810" y="273288"/>
                  </a:cubicBezTo>
                  <a:cubicBezTo>
                    <a:pt x="187066" y="280482"/>
                    <a:pt x="180965" y="283316"/>
                    <a:pt x="172467" y="280918"/>
                  </a:cubicBezTo>
                  <a:cubicBezTo>
                    <a:pt x="165929" y="279174"/>
                    <a:pt x="165711" y="279174"/>
                    <a:pt x="165711" y="285714"/>
                  </a:cubicBezTo>
                  <a:cubicBezTo>
                    <a:pt x="165711" y="291600"/>
                    <a:pt x="165276" y="292254"/>
                    <a:pt x="160046" y="290946"/>
                  </a:cubicBezTo>
                  <a:cubicBezTo>
                    <a:pt x="155688" y="289856"/>
                    <a:pt x="154162" y="290292"/>
                    <a:pt x="153509" y="293344"/>
                  </a:cubicBezTo>
                  <a:cubicBezTo>
                    <a:pt x="152855" y="295743"/>
                    <a:pt x="150240" y="298359"/>
                    <a:pt x="147625" y="299449"/>
                  </a:cubicBezTo>
                  <a:cubicBezTo>
                    <a:pt x="145010" y="300757"/>
                    <a:pt x="142613" y="303809"/>
                    <a:pt x="142177" y="306425"/>
                  </a:cubicBezTo>
                  <a:cubicBezTo>
                    <a:pt x="141306" y="312747"/>
                    <a:pt x="148715" y="320159"/>
                    <a:pt x="154598" y="318633"/>
                  </a:cubicBezTo>
                  <a:cubicBezTo>
                    <a:pt x="158520" y="317543"/>
                    <a:pt x="159174" y="318415"/>
                    <a:pt x="159174" y="324302"/>
                  </a:cubicBezTo>
                  <a:cubicBezTo>
                    <a:pt x="159174" y="328880"/>
                    <a:pt x="160264" y="331060"/>
                    <a:pt x="162443" y="331060"/>
                  </a:cubicBezTo>
                  <a:cubicBezTo>
                    <a:pt x="164186" y="331060"/>
                    <a:pt x="165711" y="332586"/>
                    <a:pt x="165711" y="334330"/>
                  </a:cubicBezTo>
                  <a:cubicBezTo>
                    <a:pt x="165711" y="336074"/>
                    <a:pt x="164840" y="337600"/>
                    <a:pt x="163750" y="337600"/>
                  </a:cubicBezTo>
                  <a:cubicBezTo>
                    <a:pt x="162661" y="337600"/>
                    <a:pt x="160700" y="336074"/>
                    <a:pt x="159174" y="334330"/>
                  </a:cubicBezTo>
                  <a:cubicBezTo>
                    <a:pt x="157649" y="332586"/>
                    <a:pt x="154816" y="331060"/>
                    <a:pt x="152855" y="331060"/>
                  </a:cubicBezTo>
                  <a:cubicBezTo>
                    <a:pt x="150676" y="331060"/>
                    <a:pt x="146971" y="325828"/>
                    <a:pt x="143267" y="317979"/>
                  </a:cubicBezTo>
                  <a:cubicBezTo>
                    <a:pt x="138909" y="308605"/>
                    <a:pt x="135858" y="304899"/>
                    <a:pt x="132807" y="304899"/>
                  </a:cubicBezTo>
                  <a:cubicBezTo>
                    <a:pt x="130410" y="304899"/>
                    <a:pt x="128667" y="303373"/>
                    <a:pt x="128667" y="301411"/>
                  </a:cubicBezTo>
                  <a:cubicBezTo>
                    <a:pt x="128667" y="299013"/>
                    <a:pt x="129757" y="298359"/>
                    <a:pt x="132154" y="299231"/>
                  </a:cubicBezTo>
                  <a:cubicBezTo>
                    <a:pt x="136294" y="300757"/>
                    <a:pt x="143921" y="294871"/>
                    <a:pt x="143921" y="290292"/>
                  </a:cubicBezTo>
                  <a:cubicBezTo>
                    <a:pt x="143921" y="288766"/>
                    <a:pt x="146318" y="287458"/>
                    <a:pt x="149368" y="287458"/>
                  </a:cubicBezTo>
                  <a:cubicBezTo>
                    <a:pt x="152855" y="287458"/>
                    <a:pt x="154816" y="286150"/>
                    <a:pt x="154816" y="283970"/>
                  </a:cubicBezTo>
                  <a:cubicBezTo>
                    <a:pt x="154816" y="280918"/>
                    <a:pt x="153291" y="280700"/>
                    <a:pt x="145664" y="281790"/>
                  </a:cubicBezTo>
                  <a:cubicBezTo>
                    <a:pt x="140652" y="282662"/>
                    <a:pt x="135204" y="284842"/>
                    <a:pt x="133679" y="287022"/>
                  </a:cubicBezTo>
                  <a:cubicBezTo>
                    <a:pt x="130846" y="290292"/>
                    <a:pt x="130628" y="290074"/>
                    <a:pt x="131718" y="283752"/>
                  </a:cubicBezTo>
                  <a:cubicBezTo>
                    <a:pt x="132372" y="279392"/>
                    <a:pt x="131718" y="276122"/>
                    <a:pt x="129757" y="274378"/>
                  </a:cubicBezTo>
                  <a:cubicBezTo>
                    <a:pt x="127360" y="272416"/>
                    <a:pt x="127142" y="270672"/>
                    <a:pt x="128667" y="267838"/>
                  </a:cubicBezTo>
                  <a:cubicBezTo>
                    <a:pt x="131936" y="261951"/>
                    <a:pt x="131282" y="250397"/>
                    <a:pt x="128013" y="250397"/>
                  </a:cubicBezTo>
                  <a:cubicBezTo>
                    <a:pt x="123655" y="250397"/>
                    <a:pt x="119951" y="255193"/>
                    <a:pt x="119951" y="260643"/>
                  </a:cubicBezTo>
                  <a:cubicBezTo>
                    <a:pt x="119951" y="265658"/>
                    <a:pt x="114939" y="267620"/>
                    <a:pt x="112542" y="263695"/>
                  </a:cubicBezTo>
                  <a:cubicBezTo>
                    <a:pt x="110145" y="259771"/>
                    <a:pt x="114067" y="247563"/>
                    <a:pt x="118208" y="246691"/>
                  </a:cubicBezTo>
                  <a:cubicBezTo>
                    <a:pt x="120387" y="246037"/>
                    <a:pt x="122130" y="244511"/>
                    <a:pt x="122130" y="243421"/>
                  </a:cubicBezTo>
                  <a:cubicBezTo>
                    <a:pt x="122130" y="242331"/>
                    <a:pt x="124963" y="241895"/>
                    <a:pt x="128667" y="242767"/>
                  </a:cubicBezTo>
                  <a:cubicBezTo>
                    <a:pt x="135640" y="244293"/>
                    <a:pt x="135858" y="243857"/>
                    <a:pt x="133897" y="233174"/>
                  </a:cubicBezTo>
                  <a:cubicBezTo>
                    <a:pt x="132372" y="225762"/>
                    <a:pt x="128885" y="224672"/>
                    <a:pt x="121258" y="229904"/>
                  </a:cubicBezTo>
                  <a:cubicBezTo>
                    <a:pt x="114503" y="234046"/>
                    <a:pt x="113196" y="232084"/>
                    <a:pt x="112978" y="216170"/>
                  </a:cubicBezTo>
                  <a:cubicBezTo>
                    <a:pt x="112542" y="201999"/>
                    <a:pt x="114721" y="193715"/>
                    <a:pt x="118426" y="193715"/>
                  </a:cubicBezTo>
                  <a:cubicBezTo>
                    <a:pt x="119951" y="193715"/>
                    <a:pt x="124745" y="190009"/>
                    <a:pt x="129321" y="185213"/>
                  </a:cubicBezTo>
                  <a:cubicBezTo>
                    <a:pt x="136294" y="178019"/>
                    <a:pt x="136948" y="176492"/>
                    <a:pt x="134115" y="174094"/>
                  </a:cubicBezTo>
                  <a:cubicBezTo>
                    <a:pt x="132372" y="172568"/>
                    <a:pt x="130846" y="170170"/>
                    <a:pt x="130846" y="168426"/>
                  </a:cubicBezTo>
                  <a:cubicBezTo>
                    <a:pt x="130846" y="164066"/>
                    <a:pt x="126706" y="162540"/>
                    <a:pt x="123002" y="165592"/>
                  </a:cubicBezTo>
                  <a:cubicBezTo>
                    <a:pt x="120605" y="167554"/>
                    <a:pt x="119733" y="170824"/>
                    <a:pt x="120605" y="176492"/>
                  </a:cubicBezTo>
                  <a:cubicBezTo>
                    <a:pt x="121476" y="183905"/>
                    <a:pt x="119297" y="189355"/>
                    <a:pt x="115157" y="189355"/>
                  </a:cubicBezTo>
                  <a:cubicBezTo>
                    <a:pt x="112542" y="189355"/>
                    <a:pt x="112978" y="181943"/>
                    <a:pt x="115811" y="179109"/>
                  </a:cubicBezTo>
                  <a:cubicBezTo>
                    <a:pt x="117554" y="177364"/>
                    <a:pt x="117118" y="174748"/>
                    <a:pt x="114503" y="169952"/>
                  </a:cubicBezTo>
                  <a:cubicBezTo>
                    <a:pt x="110799" y="162540"/>
                    <a:pt x="111670" y="158834"/>
                    <a:pt x="116900" y="158834"/>
                  </a:cubicBezTo>
                  <a:cubicBezTo>
                    <a:pt x="122130" y="158834"/>
                    <a:pt x="123002" y="152512"/>
                    <a:pt x="118643" y="147497"/>
                  </a:cubicBezTo>
                  <a:cubicBezTo>
                    <a:pt x="114503" y="143137"/>
                    <a:pt x="114503" y="143137"/>
                    <a:pt x="118861" y="143791"/>
                  </a:cubicBezTo>
                  <a:cubicBezTo>
                    <a:pt x="121258" y="144445"/>
                    <a:pt x="124527" y="147497"/>
                    <a:pt x="126052" y="150768"/>
                  </a:cubicBezTo>
                  <a:cubicBezTo>
                    <a:pt x="129103" y="157308"/>
                    <a:pt x="131064" y="157744"/>
                    <a:pt x="137819" y="154256"/>
                  </a:cubicBezTo>
                  <a:cubicBezTo>
                    <a:pt x="142177" y="151858"/>
                    <a:pt x="141960" y="151640"/>
                    <a:pt x="135422" y="145535"/>
                  </a:cubicBezTo>
                  <a:cubicBezTo>
                    <a:pt x="131500" y="142047"/>
                    <a:pt x="127578" y="139213"/>
                    <a:pt x="126488" y="139213"/>
                  </a:cubicBezTo>
                  <a:cubicBezTo>
                    <a:pt x="122348" y="139213"/>
                    <a:pt x="120169" y="120901"/>
                    <a:pt x="124309" y="118502"/>
                  </a:cubicBezTo>
                  <a:cubicBezTo>
                    <a:pt x="127796" y="116322"/>
                    <a:pt x="126924" y="102806"/>
                    <a:pt x="123002" y="101280"/>
                  </a:cubicBezTo>
                  <a:cubicBezTo>
                    <a:pt x="121258" y="100626"/>
                    <a:pt x="120387" y="99100"/>
                    <a:pt x="121040" y="97792"/>
                  </a:cubicBezTo>
                  <a:cubicBezTo>
                    <a:pt x="121912" y="96484"/>
                    <a:pt x="120387" y="92342"/>
                    <a:pt x="117990" y="88199"/>
                  </a:cubicBezTo>
                  <a:cubicBezTo>
                    <a:pt x="113414" y="81005"/>
                    <a:pt x="111888" y="71631"/>
                    <a:pt x="115157" y="71631"/>
                  </a:cubicBezTo>
                  <a:cubicBezTo>
                    <a:pt x="116029" y="71631"/>
                    <a:pt x="117990" y="74683"/>
                    <a:pt x="119515" y="78171"/>
                  </a:cubicBezTo>
                  <a:cubicBezTo>
                    <a:pt x="123219" y="86237"/>
                    <a:pt x="127578" y="86891"/>
                    <a:pt x="125616" y="79261"/>
                  </a:cubicBezTo>
                  <a:cubicBezTo>
                    <a:pt x="124963" y="76209"/>
                    <a:pt x="123655" y="71413"/>
                    <a:pt x="123002" y="68361"/>
                  </a:cubicBezTo>
                  <a:cubicBezTo>
                    <a:pt x="122130" y="64655"/>
                    <a:pt x="122784" y="61384"/>
                    <a:pt x="124963" y="58986"/>
                  </a:cubicBezTo>
                  <a:cubicBezTo>
                    <a:pt x="126924" y="56806"/>
                    <a:pt x="128013" y="53100"/>
                    <a:pt x="127360" y="50484"/>
                  </a:cubicBezTo>
                  <a:cubicBezTo>
                    <a:pt x="126706" y="48086"/>
                    <a:pt x="127142" y="45252"/>
                    <a:pt x="128449" y="44598"/>
                  </a:cubicBezTo>
                  <a:cubicBezTo>
                    <a:pt x="131064" y="42854"/>
                    <a:pt x="132807" y="48740"/>
                    <a:pt x="133461" y="62911"/>
                  </a:cubicBezTo>
                  <a:cubicBezTo>
                    <a:pt x="133897" y="69887"/>
                    <a:pt x="134986" y="72721"/>
                    <a:pt x="137383" y="72721"/>
                  </a:cubicBezTo>
                  <a:cubicBezTo>
                    <a:pt x="139780" y="72721"/>
                    <a:pt x="140434" y="70759"/>
                    <a:pt x="139998" y="65745"/>
                  </a:cubicBezTo>
                  <a:cubicBezTo>
                    <a:pt x="139780" y="61166"/>
                    <a:pt x="140652" y="58550"/>
                    <a:pt x="142177" y="58332"/>
                  </a:cubicBezTo>
                  <a:cubicBezTo>
                    <a:pt x="143703" y="58114"/>
                    <a:pt x="146100" y="57896"/>
                    <a:pt x="147189" y="57460"/>
                  </a:cubicBezTo>
                  <a:cubicBezTo>
                    <a:pt x="148497" y="57242"/>
                    <a:pt x="150458" y="56806"/>
                    <a:pt x="151983" y="56806"/>
                  </a:cubicBezTo>
                  <a:cubicBezTo>
                    <a:pt x="153291" y="56588"/>
                    <a:pt x="154380" y="53754"/>
                    <a:pt x="154162" y="50266"/>
                  </a:cubicBezTo>
                  <a:cubicBezTo>
                    <a:pt x="153727" y="44816"/>
                    <a:pt x="154380" y="44380"/>
                    <a:pt x="161789" y="44380"/>
                  </a:cubicBezTo>
                  <a:cubicBezTo>
                    <a:pt x="171377" y="44380"/>
                    <a:pt x="172467" y="43290"/>
                    <a:pt x="173338" y="34134"/>
                  </a:cubicBezTo>
                  <a:cubicBezTo>
                    <a:pt x="173774" y="28247"/>
                    <a:pt x="174864" y="26939"/>
                    <a:pt x="178568" y="27375"/>
                  </a:cubicBezTo>
                  <a:cubicBezTo>
                    <a:pt x="183580" y="28029"/>
                    <a:pt x="187284" y="22579"/>
                    <a:pt x="184016" y="19309"/>
                  </a:cubicBezTo>
                  <a:cubicBezTo>
                    <a:pt x="181401" y="16693"/>
                    <a:pt x="166147" y="21925"/>
                    <a:pt x="167237" y="24977"/>
                  </a:cubicBezTo>
                  <a:cubicBezTo>
                    <a:pt x="168326" y="28247"/>
                    <a:pt x="160046" y="35224"/>
                    <a:pt x="157213" y="33480"/>
                  </a:cubicBezTo>
                  <a:cubicBezTo>
                    <a:pt x="155906" y="32826"/>
                    <a:pt x="154816" y="30645"/>
                    <a:pt x="154816" y="28901"/>
                  </a:cubicBezTo>
                  <a:cubicBezTo>
                    <a:pt x="154816" y="23669"/>
                    <a:pt x="143049" y="25413"/>
                    <a:pt x="132590" y="32389"/>
                  </a:cubicBezTo>
                  <a:cubicBezTo>
                    <a:pt x="118426" y="41764"/>
                    <a:pt x="117336" y="43508"/>
                    <a:pt x="120169" y="52010"/>
                  </a:cubicBezTo>
                  <a:cubicBezTo>
                    <a:pt x="122130" y="57678"/>
                    <a:pt x="122130" y="59422"/>
                    <a:pt x="119733" y="60948"/>
                  </a:cubicBezTo>
                  <a:cubicBezTo>
                    <a:pt x="115157" y="63783"/>
                    <a:pt x="113414" y="63347"/>
                    <a:pt x="113196" y="59204"/>
                  </a:cubicBezTo>
                  <a:cubicBezTo>
                    <a:pt x="113196" y="56370"/>
                    <a:pt x="112542" y="56806"/>
                    <a:pt x="110799" y="60730"/>
                  </a:cubicBezTo>
                  <a:cubicBezTo>
                    <a:pt x="109055" y="64655"/>
                    <a:pt x="108184" y="302501"/>
                    <a:pt x="107530" y="884799"/>
                  </a:cubicBezTo>
                  <a:cubicBezTo>
                    <a:pt x="107094" y="1334984"/>
                    <a:pt x="106659" y="1713227"/>
                    <a:pt x="106223" y="1725218"/>
                  </a:cubicBezTo>
                  <a:cubicBezTo>
                    <a:pt x="105133" y="1764241"/>
                    <a:pt x="95763" y="1768819"/>
                    <a:pt x="38018" y="1759009"/>
                  </a:cubicBezTo>
                  <a:cubicBezTo>
                    <a:pt x="23854" y="1756611"/>
                    <a:pt x="10997" y="1755085"/>
                    <a:pt x="9472" y="1755521"/>
                  </a:cubicBezTo>
                  <a:cubicBezTo>
                    <a:pt x="7729" y="1756175"/>
                    <a:pt x="6639" y="1760317"/>
                    <a:pt x="6639" y="1765113"/>
                  </a:cubicBezTo>
                  <a:cubicBezTo>
                    <a:pt x="6639" y="1776014"/>
                    <a:pt x="15791" y="1789966"/>
                    <a:pt x="33442" y="1806099"/>
                  </a:cubicBezTo>
                  <a:cubicBezTo>
                    <a:pt x="49785" y="1820705"/>
                    <a:pt x="61552" y="1827899"/>
                    <a:pt x="78113" y="1833350"/>
                  </a:cubicBezTo>
                  <a:cubicBezTo>
                    <a:pt x="90098" y="1837056"/>
                    <a:pt x="116029" y="1837274"/>
                    <a:pt x="690432" y="1837274"/>
                  </a:cubicBezTo>
                  <a:cubicBezTo>
                    <a:pt x="1125594" y="1837492"/>
                    <a:pt x="1290114" y="1836838"/>
                    <a:pt x="1290114" y="1835094"/>
                  </a:cubicBezTo>
                  <a:close/>
                  <a:moveTo>
                    <a:pt x="1505842" y="1831169"/>
                  </a:moveTo>
                  <a:cubicBezTo>
                    <a:pt x="1517827" y="1825719"/>
                    <a:pt x="1516955" y="1820487"/>
                    <a:pt x="1500830" y="1796070"/>
                  </a:cubicBezTo>
                  <a:cubicBezTo>
                    <a:pt x="1483180" y="1769691"/>
                    <a:pt x="1472502" y="1748981"/>
                    <a:pt x="1466183" y="1728052"/>
                  </a:cubicBezTo>
                  <a:lnTo>
                    <a:pt x="1461171" y="1712137"/>
                  </a:lnTo>
                  <a:lnTo>
                    <a:pt x="1460081" y="1028684"/>
                  </a:lnTo>
                  <a:cubicBezTo>
                    <a:pt x="1459428" y="652839"/>
                    <a:pt x="1458774" y="345012"/>
                    <a:pt x="1458338" y="344794"/>
                  </a:cubicBezTo>
                  <a:cubicBezTo>
                    <a:pt x="1458120" y="344358"/>
                    <a:pt x="1456595" y="344140"/>
                    <a:pt x="1455070" y="344140"/>
                  </a:cubicBezTo>
                  <a:cubicBezTo>
                    <a:pt x="1451583" y="344140"/>
                    <a:pt x="1446353" y="333894"/>
                    <a:pt x="1448097" y="330842"/>
                  </a:cubicBezTo>
                  <a:cubicBezTo>
                    <a:pt x="1448968" y="329752"/>
                    <a:pt x="1451365" y="328880"/>
                    <a:pt x="1453544" y="328880"/>
                  </a:cubicBezTo>
                  <a:cubicBezTo>
                    <a:pt x="1458992" y="328880"/>
                    <a:pt x="1461171" y="325174"/>
                    <a:pt x="1457684" y="321031"/>
                  </a:cubicBezTo>
                  <a:cubicBezTo>
                    <a:pt x="1455723" y="318633"/>
                    <a:pt x="1452237" y="317761"/>
                    <a:pt x="1446571" y="318415"/>
                  </a:cubicBezTo>
                  <a:cubicBezTo>
                    <a:pt x="1440906" y="318851"/>
                    <a:pt x="1438291" y="318415"/>
                    <a:pt x="1438291" y="316453"/>
                  </a:cubicBezTo>
                  <a:cubicBezTo>
                    <a:pt x="1438291" y="314927"/>
                    <a:pt x="1439598" y="313619"/>
                    <a:pt x="1441341" y="313619"/>
                  </a:cubicBezTo>
                  <a:cubicBezTo>
                    <a:pt x="1442867" y="313619"/>
                    <a:pt x="1445482" y="312093"/>
                    <a:pt x="1447007" y="310349"/>
                  </a:cubicBezTo>
                  <a:cubicBezTo>
                    <a:pt x="1449186" y="307733"/>
                    <a:pt x="1449186" y="306425"/>
                    <a:pt x="1447007" y="303809"/>
                  </a:cubicBezTo>
                  <a:cubicBezTo>
                    <a:pt x="1444610" y="300975"/>
                    <a:pt x="1443738" y="301193"/>
                    <a:pt x="1438944" y="304899"/>
                  </a:cubicBezTo>
                  <a:cubicBezTo>
                    <a:pt x="1434586" y="308169"/>
                    <a:pt x="1432625" y="308605"/>
                    <a:pt x="1428485" y="306643"/>
                  </a:cubicBezTo>
                  <a:cubicBezTo>
                    <a:pt x="1423909" y="304681"/>
                    <a:pt x="1423691" y="303591"/>
                    <a:pt x="1425652" y="297923"/>
                  </a:cubicBezTo>
                  <a:cubicBezTo>
                    <a:pt x="1426960" y="294217"/>
                    <a:pt x="1427395" y="285496"/>
                    <a:pt x="1426524" y="277866"/>
                  </a:cubicBezTo>
                  <a:cubicBezTo>
                    <a:pt x="1425434" y="266094"/>
                    <a:pt x="1425652" y="263695"/>
                    <a:pt x="1429356" y="260425"/>
                  </a:cubicBezTo>
                  <a:cubicBezTo>
                    <a:pt x="1435240" y="254975"/>
                    <a:pt x="1441341" y="256719"/>
                    <a:pt x="1442213" y="264131"/>
                  </a:cubicBezTo>
                  <a:cubicBezTo>
                    <a:pt x="1443085" y="270454"/>
                    <a:pt x="1444610" y="271544"/>
                    <a:pt x="1448750" y="267402"/>
                  </a:cubicBezTo>
                  <a:cubicBezTo>
                    <a:pt x="1452890" y="263259"/>
                    <a:pt x="1451801" y="259989"/>
                    <a:pt x="1444828" y="253013"/>
                  </a:cubicBezTo>
                  <a:cubicBezTo>
                    <a:pt x="1437201" y="245383"/>
                    <a:pt x="1435676" y="237971"/>
                    <a:pt x="1442431" y="241677"/>
                  </a:cubicBezTo>
                  <a:cubicBezTo>
                    <a:pt x="1449840" y="245601"/>
                    <a:pt x="1457902" y="244511"/>
                    <a:pt x="1457902" y="239497"/>
                  </a:cubicBezTo>
                  <a:cubicBezTo>
                    <a:pt x="1457902" y="236881"/>
                    <a:pt x="1456813" y="235791"/>
                    <a:pt x="1455070" y="236445"/>
                  </a:cubicBezTo>
                  <a:cubicBezTo>
                    <a:pt x="1453544" y="236881"/>
                    <a:pt x="1450929" y="234918"/>
                    <a:pt x="1449186" y="232084"/>
                  </a:cubicBezTo>
                  <a:cubicBezTo>
                    <a:pt x="1446789" y="227506"/>
                    <a:pt x="1446789" y="225980"/>
                    <a:pt x="1449404" y="222928"/>
                  </a:cubicBezTo>
                  <a:cubicBezTo>
                    <a:pt x="1452019" y="219658"/>
                    <a:pt x="1451801" y="219440"/>
                    <a:pt x="1447007" y="220966"/>
                  </a:cubicBezTo>
                  <a:cubicBezTo>
                    <a:pt x="1443956" y="221838"/>
                    <a:pt x="1441559" y="222710"/>
                    <a:pt x="1441559" y="222928"/>
                  </a:cubicBezTo>
                  <a:cubicBezTo>
                    <a:pt x="1441559" y="224672"/>
                    <a:pt x="1436547" y="231212"/>
                    <a:pt x="1435458" y="230994"/>
                  </a:cubicBezTo>
                  <a:cubicBezTo>
                    <a:pt x="1434586" y="230994"/>
                    <a:pt x="1431536" y="230776"/>
                    <a:pt x="1428485" y="230776"/>
                  </a:cubicBezTo>
                  <a:cubicBezTo>
                    <a:pt x="1424998" y="230776"/>
                    <a:pt x="1423037" y="229468"/>
                    <a:pt x="1423037" y="227288"/>
                  </a:cubicBezTo>
                  <a:cubicBezTo>
                    <a:pt x="1423037" y="225108"/>
                    <a:pt x="1424127" y="224236"/>
                    <a:pt x="1426306" y="225108"/>
                  </a:cubicBezTo>
                  <a:cubicBezTo>
                    <a:pt x="1429792" y="226416"/>
                    <a:pt x="1438073" y="222710"/>
                    <a:pt x="1440906" y="218786"/>
                  </a:cubicBezTo>
                  <a:cubicBezTo>
                    <a:pt x="1443520" y="215298"/>
                    <a:pt x="1442867" y="202435"/>
                    <a:pt x="1439816" y="199383"/>
                  </a:cubicBezTo>
                  <a:cubicBezTo>
                    <a:pt x="1438291" y="197857"/>
                    <a:pt x="1433497" y="195241"/>
                    <a:pt x="1428921" y="193933"/>
                  </a:cubicBezTo>
                  <a:cubicBezTo>
                    <a:pt x="1421948" y="191535"/>
                    <a:pt x="1419986" y="191753"/>
                    <a:pt x="1415193" y="194587"/>
                  </a:cubicBezTo>
                  <a:cubicBezTo>
                    <a:pt x="1410834" y="197639"/>
                    <a:pt x="1410399" y="198947"/>
                    <a:pt x="1412142" y="202435"/>
                  </a:cubicBezTo>
                  <a:cubicBezTo>
                    <a:pt x="1414975" y="207668"/>
                    <a:pt x="1422383" y="208104"/>
                    <a:pt x="1427613" y="203307"/>
                  </a:cubicBezTo>
                  <a:cubicBezTo>
                    <a:pt x="1431753" y="199601"/>
                    <a:pt x="1436112" y="200691"/>
                    <a:pt x="1436112" y="205705"/>
                  </a:cubicBezTo>
                  <a:cubicBezTo>
                    <a:pt x="1436112" y="210938"/>
                    <a:pt x="1425870" y="220966"/>
                    <a:pt x="1420640" y="220966"/>
                  </a:cubicBezTo>
                  <a:cubicBezTo>
                    <a:pt x="1414975" y="220966"/>
                    <a:pt x="1414975" y="221838"/>
                    <a:pt x="1417589" y="236009"/>
                  </a:cubicBezTo>
                  <a:cubicBezTo>
                    <a:pt x="1419115" y="244075"/>
                    <a:pt x="1419115" y="244293"/>
                    <a:pt x="1414539" y="241895"/>
                  </a:cubicBezTo>
                  <a:cubicBezTo>
                    <a:pt x="1412142" y="240369"/>
                    <a:pt x="1409963" y="237971"/>
                    <a:pt x="1409963" y="236227"/>
                  </a:cubicBezTo>
                  <a:cubicBezTo>
                    <a:pt x="1409963" y="232520"/>
                    <a:pt x="1403208" y="231866"/>
                    <a:pt x="1399721" y="235354"/>
                  </a:cubicBezTo>
                  <a:cubicBezTo>
                    <a:pt x="1398196" y="236881"/>
                    <a:pt x="1397106" y="236009"/>
                    <a:pt x="1396017" y="232084"/>
                  </a:cubicBezTo>
                  <a:cubicBezTo>
                    <a:pt x="1394273" y="225108"/>
                    <a:pt x="1391223" y="224890"/>
                    <a:pt x="1384250" y="231430"/>
                  </a:cubicBezTo>
                  <a:cubicBezTo>
                    <a:pt x="1379674" y="235572"/>
                    <a:pt x="1378802" y="235791"/>
                    <a:pt x="1376623" y="232956"/>
                  </a:cubicBezTo>
                  <a:cubicBezTo>
                    <a:pt x="1372918" y="228378"/>
                    <a:pt x="1354614" y="228814"/>
                    <a:pt x="1353743" y="233610"/>
                  </a:cubicBezTo>
                  <a:cubicBezTo>
                    <a:pt x="1353089" y="236227"/>
                    <a:pt x="1355268" y="237317"/>
                    <a:pt x="1363548" y="237753"/>
                  </a:cubicBezTo>
                  <a:cubicBezTo>
                    <a:pt x="1371829" y="238189"/>
                    <a:pt x="1373790" y="239061"/>
                    <a:pt x="1373354" y="242113"/>
                  </a:cubicBezTo>
                  <a:cubicBezTo>
                    <a:pt x="1372483" y="247127"/>
                    <a:pt x="1376187" y="248871"/>
                    <a:pt x="1381635" y="246037"/>
                  </a:cubicBezTo>
                  <a:cubicBezTo>
                    <a:pt x="1384032" y="244947"/>
                    <a:pt x="1387954" y="242985"/>
                    <a:pt x="1390351" y="241677"/>
                  </a:cubicBezTo>
                  <a:cubicBezTo>
                    <a:pt x="1395581" y="239061"/>
                    <a:pt x="1397324" y="241459"/>
                    <a:pt x="1395581" y="250179"/>
                  </a:cubicBezTo>
                  <a:cubicBezTo>
                    <a:pt x="1394491" y="255629"/>
                    <a:pt x="1393184" y="256937"/>
                    <a:pt x="1388390" y="256937"/>
                  </a:cubicBezTo>
                  <a:cubicBezTo>
                    <a:pt x="1385121" y="256937"/>
                    <a:pt x="1381417" y="258027"/>
                    <a:pt x="1379892" y="259553"/>
                  </a:cubicBezTo>
                  <a:cubicBezTo>
                    <a:pt x="1376405" y="263041"/>
                    <a:pt x="1371175" y="258245"/>
                    <a:pt x="1370304" y="250833"/>
                  </a:cubicBezTo>
                  <a:cubicBezTo>
                    <a:pt x="1369650" y="244947"/>
                    <a:pt x="1369214" y="244729"/>
                    <a:pt x="1356140" y="244075"/>
                  </a:cubicBezTo>
                  <a:cubicBezTo>
                    <a:pt x="1353307" y="243857"/>
                    <a:pt x="1351128" y="242549"/>
                    <a:pt x="1351128" y="240587"/>
                  </a:cubicBezTo>
                  <a:cubicBezTo>
                    <a:pt x="1351128" y="238625"/>
                    <a:pt x="1349167" y="237317"/>
                    <a:pt x="1346552" y="237317"/>
                  </a:cubicBezTo>
                  <a:cubicBezTo>
                    <a:pt x="1343065" y="237317"/>
                    <a:pt x="1342194" y="236227"/>
                    <a:pt x="1342847" y="231430"/>
                  </a:cubicBezTo>
                  <a:cubicBezTo>
                    <a:pt x="1343283" y="226634"/>
                    <a:pt x="1342411" y="225326"/>
                    <a:pt x="1338053" y="224236"/>
                  </a:cubicBezTo>
                  <a:cubicBezTo>
                    <a:pt x="1332388" y="222928"/>
                    <a:pt x="1329119" y="215516"/>
                    <a:pt x="1334131" y="215516"/>
                  </a:cubicBezTo>
                  <a:cubicBezTo>
                    <a:pt x="1335656" y="215516"/>
                    <a:pt x="1341322" y="217914"/>
                    <a:pt x="1346770" y="220748"/>
                  </a:cubicBezTo>
                  <a:cubicBezTo>
                    <a:pt x="1354178" y="224672"/>
                    <a:pt x="1357883" y="225326"/>
                    <a:pt x="1361805" y="224018"/>
                  </a:cubicBezTo>
                  <a:cubicBezTo>
                    <a:pt x="1365728" y="222492"/>
                    <a:pt x="1366381" y="221402"/>
                    <a:pt x="1364420" y="219004"/>
                  </a:cubicBezTo>
                  <a:cubicBezTo>
                    <a:pt x="1362895" y="217260"/>
                    <a:pt x="1359844" y="216388"/>
                    <a:pt x="1357447" y="217042"/>
                  </a:cubicBezTo>
                  <a:cubicBezTo>
                    <a:pt x="1353525" y="218132"/>
                    <a:pt x="1344591" y="211810"/>
                    <a:pt x="1344591" y="207886"/>
                  </a:cubicBezTo>
                  <a:cubicBezTo>
                    <a:pt x="1344591" y="204833"/>
                    <a:pt x="1357665" y="207232"/>
                    <a:pt x="1359626" y="210720"/>
                  </a:cubicBezTo>
                  <a:cubicBezTo>
                    <a:pt x="1361587" y="213990"/>
                    <a:pt x="1361805" y="213990"/>
                    <a:pt x="1362023" y="209630"/>
                  </a:cubicBezTo>
                  <a:cubicBezTo>
                    <a:pt x="1362023" y="206796"/>
                    <a:pt x="1361151" y="204615"/>
                    <a:pt x="1359844" y="204615"/>
                  </a:cubicBezTo>
                  <a:cubicBezTo>
                    <a:pt x="1358537" y="204615"/>
                    <a:pt x="1358754" y="202435"/>
                    <a:pt x="1360280" y="199165"/>
                  </a:cubicBezTo>
                  <a:cubicBezTo>
                    <a:pt x="1361805" y="195677"/>
                    <a:pt x="1363984" y="193933"/>
                    <a:pt x="1366163" y="194587"/>
                  </a:cubicBezTo>
                  <a:cubicBezTo>
                    <a:pt x="1368125" y="195241"/>
                    <a:pt x="1373354" y="196331"/>
                    <a:pt x="1377930" y="197203"/>
                  </a:cubicBezTo>
                  <a:cubicBezTo>
                    <a:pt x="1386647" y="198729"/>
                    <a:pt x="1388826" y="203525"/>
                    <a:pt x="1381635" y="205705"/>
                  </a:cubicBezTo>
                  <a:cubicBezTo>
                    <a:pt x="1377277" y="207014"/>
                    <a:pt x="1375533" y="214208"/>
                    <a:pt x="1379238" y="216388"/>
                  </a:cubicBezTo>
                  <a:cubicBezTo>
                    <a:pt x="1380327" y="217260"/>
                    <a:pt x="1384032" y="217914"/>
                    <a:pt x="1387518" y="217914"/>
                  </a:cubicBezTo>
                  <a:cubicBezTo>
                    <a:pt x="1390787" y="218132"/>
                    <a:pt x="1395799" y="219222"/>
                    <a:pt x="1398414" y="220530"/>
                  </a:cubicBezTo>
                  <a:cubicBezTo>
                    <a:pt x="1401246" y="221838"/>
                    <a:pt x="1404079" y="222274"/>
                    <a:pt x="1404733" y="221402"/>
                  </a:cubicBezTo>
                  <a:cubicBezTo>
                    <a:pt x="1405605" y="220748"/>
                    <a:pt x="1406258" y="210720"/>
                    <a:pt x="1406476" y="199383"/>
                  </a:cubicBezTo>
                  <a:cubicBezTo>
                    <a:pt x="1406476" y="188047"/>
                    <a:pt x="1407566" y="178019"/>
                    <a:pt x="1408437" y="177146"/>
                  </a:cubicBezTo>
                  <a:cubicBezTo>
                    <a:pt x="1409309" y="176056"/>
                    <a:pt x="1412142" y="176492"/>
                    <a:pt x="1414321" y="178019"/>
                  </a:cubicBezTo>
                  <a:cubicBezTo>
                    <a:pt x="1416718" y="179545"/>
                    <a:pt x="1420422" y="180635"/>
                    <a:pt x="1422601" y="180635"/>
                  </a:cubicBezTo>
                  <a:cubicBezTo>
                    <a:pt x="1424563" y="180635"/>
                    <a:pt x="1428703" y="182161"/>
                    <a:pt x="1431318" y="184123"/>
                  </a:cubicBezTo>
                  <a:cubicBezTo>
                    <a:pt x="1437201" y="188047"/>
                    <a:pt x="1440252" y="186739"/>
                    <a:pt x="1436330" y="181943"/>
                  </a:cubicBezTo>
                  <a:cubicBezTo>
                    <a:pt x="1433497" y="178455"/>
                    <a:pt x="1435022" y="169734"/>
                    <a:pt x="1438291" y="169734"/>
                  </a:cubicBezTo>
                  <a:cubicBezTo>
                    <a:pt x="1440688" y="169734"/>
                    <a:pt x="1446135" y="158616"/>
                    <a:pt x="1448097" y="150332"/>
                  </a:cubicBezTo>
                  <a:cubicBezTo>
                    <a:pt x="1449186" y="145317"/>
                    <a:pt x="1448314" y="143137"/>
                    <a:pt x="1443520" y="139431"/>
                  </a:cubicBezTo>
                  <a:cubicBezTo>
                    <a:pt x="1438291" y="135289"/>
                    <a:pt x="1437855" y="134199"/>
                    <a:pt x="1440034" y="129185"/>
                  </a:cubicBezTo>
                  <a:cubicBezTo>
                    <a:pt x="1443303" y="122209"/>
                    <a:pt x="1443303" y="121773"/>
                    <a:pt x="1439816" y="121773"/>
                  </a:cubicBezTo>
                  <a:cubicBezTo>
                    <a:pt x="1437201" y="121773"/>
                    <a:pt x="1427395" y="110654"/>
                    <a:pt x="1427395" y="107602"/>
                  </a:cubicBezTo>
                  <a:cubicBezTo>
                    <a:pt x="1427395" y="106948"/>
                    <a:pt x="1429356" y="106512"/>
                    <a:pt x="1431971" y="106512"/>
                  </a:cubicBezTo>
                  <a:cubicBezTo>
                    <a:pt x="1435240" y="106512"/>
                    <a:pt x="1436112" y="105422"/>
                    <a:pt x="1435022" y="102370"/>
                  </a:cubicBezTo>
                  <a:cubicBezTo>
                    <a:pt x="1434150" y="99754"/>
                    <a:pt x="1435894" y="95830"/>
                    <a:pt x="1439598" y="91470"/>
                  </a:cubicBezTo>
                  <a:cubicBezTo>
                    <a:pt x="1443085" y="87327"/>
                    <a:pt x="1444610" y="83621"/>
                    <a:pt x="1443520" y="82531"/>
                  </a:cubicBezTo>
                  <a:cubicBezTo>
                    <a:pt x="1441341" y="80351"/>
                    <a:pt x="1427395" y="86237"/>
                    <a:pt x="1427395" y="89507"/>
                  </a:cubicBezTo>
                  <a:cubicBezTo>
                    <a:pt x="1427395" y="90598"/>
                    <a:pt x="1426306" y="90816"/>
                    <a:pt x="1425216" y="90161"/>
                  </a:cubicBezTo>
                  <a:cubicBezTo>
                    <a:pt x="1423909" y="89289"/>
                    <a:pt x="1423473" y="87763"/>
                    <a:pt x="1424345" y="86673"/>
                  </a:cubicBezTo>
                  <a:cubicBezTo>
                    <a:pt x="1424998" y="85583"/>
                    <a:pt x="1426088" y="79915"/>
                    <a:pt x="1426524" y="74029"/>
                  </a:cubicBezTo>
                  <a:cubicBezTo>
                    <a:pt x="1427177" y="66399"/>
                    <a:pt x="1426524" y="62693"/>
                    <a:pt x="1424127" y="60730"/>
                  </a:cubicBezTo>
                  <a:cubicBezTo>
                    <a:pt x="1420204" y="57460"/>
                    <a:pt x="1415410" y="60512"/>
                    <a:pt x="1413013" y="67925"/>
                  </a:cubicBezTo>
                  <a:cubicBezTo>
                    <a:pt x="1412360" y="70541"/>
                    <a:pt x="1410181" y="74465"/>
                    <a:pt x="1408437" y="76427"/>
                  </a:cubicBezTo>
                  <a:cubicBezTo>
                    <a:pt x="1406476" y="78607"/>
                    <a:pt x="1405605" y="81877"/>
                    <a:pt x="1406476" y="83839"/>
                  </a:cubicBezTo>
                  <a:cubicBezTo>
                    <a:pt x="1407784" y="87327"/>
                    <a:pt x="1408219" y="87109"/>
                    <a:pt x="1411052" y="83403"/>
                  </a:cubicBezTo>
                  <a:cubicBezTo>
                    <a:pt x="1413885" y="79479"/>
                    <a:pt x="1414321" y="79479"/>
                    <a:pt x="1417807" y="82967"/>
                  </a:cubicBezTo>
                  <a:cubicBezTo>
                    <a:pt x="1421076" y="86019"/>
                    <a:pt x="1421294" y="87763"/>
                    <a:pt x="1419115" y="91688"/>
                  </a:cubicBezTo>
                  <a:cubicBezTo>
                    <a:pt x="1417807" y="94522"/>
                    <a:pt x="1416282" y="100190"/>
                    <a:pt x="1416064" y="104332"/>
                  </a:cubicBezTo>
                  <a:cubicBezTo>
                    <a:pt x="1415193" y="113270"/>
                    <a:pt x="1409309" y="115014"/>
                    <a:pt x="1408219" y="106512"/>
                  </a:cubicBezTo>
                  <a:cubicBezTo>
                    <a:pt x="1407130" y="99536"/>
                    <a:pt x="1403861" y="95612"/>
                    <a:pt x="1398849" y="95612"/>
                  </a:cubicBezTo>
                  <a:cubicBezTo>
                    <a:pt x="1392748" y="95612"/>
                    <a:pt x="1391441" y="90816"/>
                    <a:pt x="1396452" y="86673"/>
                  </a:cubicBezTo>
                  <a:cubicBezTo>
                    <a:pt x="1400375" y="83621"/>
                    <a:pt x="1400593" y="82749"/>
                    <a:pt x="1397760" y="81659"/>
                  </a:cubicBezTo>
                  <a:cubicBezTo>
                    <a:pt x="1395581" y="80787"/>
                    <a:pt x="1394927" y="78825"/>
                    <a:pt x="1395581" y="76427"/>
                  </a:cubicBezTo>
                  <a:cubicBezTo>
                    <a:pt x="1397324" y="70977"/>
                    <a:pt x="1388826" y="62693"/>
                    <a:pt x="1385993" y="67271"/>
                  </a:cubicBezTo>
                  <a:cubicBezTo>
                    <a:pt x="1384250" y="69887"/>
                    <a:pt x="1385557" y="108474"/>
                    <a:pt x="1387300" y="110654"/>
                  </a:cubicBezTo>
                  <a:cubicBezTo>
                    <a:pt x="1387736" y="111090"/>
                    <a:pt x="1389479" y="110218"/>
                    <a:pt x="1391223" y="108910"/>
                  </a:cubicBezTo>
                  <a:cubicBezTo>
                    <a:pt x="1396452" y="104550"/>
                    <a:pt x="1399067" y="107820"/>
                    <a:pt x="1396452" y="115232"/>
                  </a:cubicBezTo>
                  <a:cubicBezTo>
                    <a:pt x="1394055" y="122209"/>
                    <a:pt x="1391441" y="123517"/>
                    <a:pt x="1389479" y="119156"/>
                  </a:cubicBezTo>
                  <a:cubicBezTo>
                    <a:pt x="1388826" y="117194"/>
                    <a:pt x="1387736" y="117412"/>
                    <a:pt x="1385993" y="120247"/>
                  </a:cubicBezTo>
                  <a:cubicBezTo>
                    <a:pt x="1384685" y="122209"/>
                    <a:pt x="1381635" y="123953"/>
                    <a:pt x="1379238" y="123953"/>
                  </a:cubicBezTo>
                  <a:cubicBezTo>
                    <a:pt x="1374226" y="123953"/>
                    <a:pt x="1371175" y="130275"/>
                    <a:pt x="1375098" y="132673"/>
                  </a:cubicBezTo>
                  <a:cubicBezTo>
                    <a:pt x="1378584" y="134853"/>
                    <a:pt x="1385993" y="132891"/>
                    <a:pt x="1387518" y="129185"/>
                  </a:cubicBezTo>
                  <a:cubicBezTo>
                    <a:pt x="1389262" y="124607"/>
                    <a:pt x="1394055" y="125479"/>
                    <a:pt x="1397760" y="130929"/>
                  </a:cubicBezTo>
                  <a:lnTo>
                    <a:pt x="1401246" y="135725"/>
                  </a:lnTo>
                  <a:lnTo>
                    <a:pt x="1406040" y="131147"/>
                  </a:lnTo>
                  <a:cubicBezTo>
                    <a:pt x="1409745" y="127441"/>
                    <a:pt x="1410181" y="125697"/>
                    <a:pt x="1408219" y="123299"/>
                  </a:cubicBezTo>
                  <a:cubicBezTo>
                    <a:pt x="1406040" y="120901"/>
                    <a:pt x="1406258" y="119593"/>
                    <a:pt x="1408655" y="117630"/>
                  </a:cubicBezTo>
                  <a:cubicBezTo>
                    <a:pt x="1410834" y="115886"/>
                    <a:pt x="1412142" y="115668"/>
                    <a:pt x="1413231" y="117412"/>
                  </a:cubicBezTo>
                  <a:cubicBezTo>
                    <a:pt x="1413885" y="118502"/>
                    <a:pt x="1418025" y="119593"/>
                    <a:pt x="1422166" y="119593"/>
                  </a:cubicBezTo>
                  <a:cubicBezTo>
                    <a:pt x="1426306" y="119593"/>
                    <a:pt x="1429574" y="120247"/>
                    <a:pt x="1429574" y="121337"/>
                  </a:cubicBezTo>
                  <a:cubicBezTo>
                    <a:pt x="1429356" y="125043"/>
                    <a:pt x="1425216" y="129403"/>
                    <a:pt x="1421512" y="129403"/>
                  </a:cubicBezTo>
                  <a:cubicBezTo>
                    <a:pt x="1418243" y="129403"/>
                    <a:pt x="1417589" y="131365"/>
                    <a:pt x="1417372" y="140957"/>
                  </a:cubicBezTo>
                  <a:cubicBezTo>
                    <a:pt x="1417372" y="147279"/>
                    <a:pt x="1416064" y="153602"/>
                    <a:pt x="1414757" y="154910"/>
                  </a:cubicBezTo>
                  <a:cubicBezTo>
                    <a:pt x="1411488" y="158180"/>
                    <a:pt x="1411488" y="161014"/>
                    <a:pt x="1414321" y="161014"/>
                  </a:cubicBezTo>
                  <a:cubicBezTo>
                    <a:pt x="1415628" y="161014"/>
                    <a:pt x="1416500" y="159488"/>
                    <a:pt x="1416500" y="157744"/>
                  </a:cubicBezTo>
                  <a:cubicBezTo>
                    <a:pt x="1416500" y="156000"/>
                    <a:pt x="1417372" y="154474"/>
                    <a:pt x="1418461" y="154474"/>
                  </a:cubicBezTo>
                  <a:cubicBezTo>
                    <a:pt x="1419551" y="154474"/>
                    <a:pt x="1421076" y="149678"/>
                    <a:pt x="1421948" y="143573"/>
                  </a:cubicBezTo>
                  <a:cubicBezTo>
                    <a:pt x="1422819" y="137687"/>
                    <a:pt x="1424127" y="132237"/>
                    <a:pt x="1425216" y="131583"/>
                  </a:cubicBezTo>
                  <a:cubicBezTo>
                    <a:pt x="1426088" y="130929"/>
                    <a:pt x="1429356" y="132455"/>
                    <a:pt x="1431971" y="134853"/>
                  </a:cubicBezTo>
                  <a:cubicBezTo>
                    <a:pt x="1436983" y="138995"/>
                    <a:pt x="1436983" y="139431"/>
                    <a:pt x="1433279" y="142265"/>
                  </a:cubicBezTo>
                  <a:cubicBezTo>
                    <a:pt x="1430446" y="144445"/>
                    <a:pt x="1430010" y="146843"/>
                    <a:pt x="1430882" y="152076"/>
                  </a:cubicBezTo>
                  <a:cubicBezTo>
                    <a:pt x="1431971" y="157308"/>
                    <a:pt x="1431536" y="158834"/>
                    <a:pt x="1429139" y="158834"/>
                  </a:cubicBezTo>
                  <a:cubicBezTo>
                    <a:pt x="1426960" y="158834"/>
                    <a:pt x="1426088" y="160360"/>
                    <a:pt x="1426742" y="163848"/>
                  </a:cubicBezTo>
                  <a:cubicBezTo>
                    <a:pt x="1427831" y="170170"/>
                    <a:pt x="1422601" y="177364"/>
                    <a:pt x="1417807" y="175620"/>
                  </a:cubicBezTo>
                  <a:cubicBezTo>
                    <a:pt x="1415846" y="174748"/>
                    <a:pt x="1414321" y="172132"/>
                    <a:pt x="1414321" y="169734"/>
                  </a:cubicBezTo>
                  <a:cubicBezTo>
                    <a:pt x="1414321" y="165156"/>
                    <a:pt x="1411270" y="163848"/>
                    <a:pt x="1408873" y="167554"/>
                  </a:cubicBezTo>
                  <a:cubicBezTo>
                    <a:pt x="1408219" y="168862"/>
                    <a:pt x="1404079" y="169734"/>
                    <a:pt x="1400157" y="169734"/>
                  </a:cubicBezTo>
                  <a:cubicBezTo>
                    <a:pt x="1393838" y="169734"/>
                    <a:pt x="1392312" y="168862"/>
                    <a:pt x="1391223" y="164284"/>
                  </a:cubicBezTo>
                  <a:cubicBezTo>
                    <a:pt x="1389479" y="157090"/>
                    <a:pt x="1391659" y="154910"/>
                    <a:pt x="1396888" y="158398"/>
                  </a:cubicBezTo>
                  <a:cubicBezTo>
                    <a:pt x="1402990" y="162104"/>
                    <a:pt x="1405605" y="161668"/>
                    <a:pt x="1407566" y="156218"/>
                  </a:cubicBezTo>
                  <a:cubicBezTo>
                    <a:pt x="1409745" y="149896"/>
                    <a:pt x="1405822" y="143137"/>
                    <a:pt x="1401029" y="144663"/>
                  </a:cubicBezTo>
                  <a:cubicBezTo>
                    <a:pt x="1398632" y="145535"/>
                    <a:pt x="1397106" y="144227"/>
                    <a:pt x="1396235" y="141175"/>
                  </a:cubicBezTo>
                  <a:cubicBezTo>
                    <a:pt x="1394927" y="136597"/>
                    <a:pt x="1394709" y="136597"/>
                    <a:pt x="1389915" y="139649"/>
                  </a:cubicBezTo>
                  <a:cubicBezTo>
                    <a:pt x="1386211" y="142047"/>
                    <a:pt x="1384903" y="145099"/>
                    <a:pt x="1385121" y="150332"/>
                  </a:cubicBezTo>
                  <a:cubicBezTo>
                    <a:pt x="1385121" y="160142"/>
                    <a:pt x="1382506" y="161450"/>
                    <a:pt x="1373354" y="156218"/>
                  </a:cubicBezTo>
                  <a:cubicBezTo>
                    <a:pt x="1366381" y="152512"/>
                    <a:pt x="1365510" y="152294"/>
                    <a:pt x="1363766" y="155346"/>
                  </a:cubicBezTo>
                  <a:cubicBezTo>
                    <a:pt x="1361151" y="160142"/>
                    <a:pt x="1355486" y="159706"/>
                    <a:pt x="1355486" y="154910"/>
                  </a:cubicBezTo>
                  <a:cubicBezTo>
                    <a:pt x="1355486" y="149024"/>
                    <a:pt x="1353525" y="147933"/>
                    <a:pt x="1348513" y="150768"/>
                  </a:cubicBezTo>
                  <a:cubicBezTo>
                    <a:pt x="1344155" y="153384"/>
                    <a:pt x="1337182" y="167336"/>
                    <a:pt x="1339143" y="169298"/>
                  </a:cubicBezTo>
                  <a:cubicBezTo>
                    <a:pt x="1339797" y="169952"/>
                    <a:pt x="1341976" y="168862"/>
                    <a:pt x="1344155" y="166900"/>
                  </a:cubicBezTo>
                  <a:cubicBezTo>
                    <a:pt x="1349167" y="162322"/>
                    <a:pt x="1353307" y="162104"/>
                    <a:pt x="1353307" y="166464"/>
                  </a:cubicBezTo>
                  <a:cubicBezTo>
                    <a:pt x="1353307" y="172132"/>
                    <a:pt x="1359408" y="172568"/>
                    <a:pt x="1365510" y="167772"/>
                  </a:cubicBezTo>
                  <a:cubicBezTo>
                    <a:pt x="1372483" y="162322"/>
                    <a:pt x="1381635" y="161232"/>
                    <a:pt x="1377277" y="166464"/>
                  </a:cubicBezTo>
                  <a:cubicBezTo>
                    <a:pt x="1375751" y="168208"/>
                    <a:pt x="1373354" y="169734"/>
                    <a:pt x="1371829" y="169734"/>
                  </a:cubicBezTo>
                  <a:cubicBezTo>
                    <a:pt x="1370521" y="169734"/>
                    <a:pt x="1367471" y="171696"/>
                    <a:pt x="1365292" y="174094"/>
                  </a:cubicBezTo>
                  <a:cubicBezTo>
                    <a:pt x="1362241" y="177364"/>
                    <a:pt x="1362023" y="179109"/>
                    <a:pt x="1363984" y="181507"/>
                  </a:cubicBezTo>
                  <a:cubicBezTo>
                    <a:pt x="1366163" y="183905"/>
                    <a:pt x="1365292" y="185431"/>
                    <a:pt x="1360280" y="189137"/>
                  </a:cubicBezTo>
                  <a:cubicBezTo>
                    <a:pt x="1354178" y="193279"/>
                    <a:pt x="1351128" y="193279"/>
                    <a:pt x="1351128" y="188701"/>
                  </a:cubicBezTo>
                  <a:cubicBezTo>
                    <a:pt x="1351128" y="187611"/>
                    <a:pt x="1352653" y="187175"/>
                    <a:pt x="1354396" y="188047"/>
                  </a:cubicBezTo>
                  <a:cubicBezTo>
                    <a:pt x="1356358" y="188701"/>
                    <a:pt x="1357665" y="188047"/>
                    <a:pt x="1357665" y="186303"/>
                  </a:cubicBezTo>
                  <a:cubicBezTo>
                    <a:pt x="1357665" y="182161"/>
                    <a:pt x="1349602" y="180635"/>
                    <a:pt x="1338053" y="182815"/>
                  </a:cubicBezTo>
                  <a:cubicBezTo>
                    <a:pt x="1326286" y="184995"/>
                    <a:pt x="1319749" y="182379"/>
                    <a:pt x="1321274" y="175838"/>
                  </a:cubicBezTo>
                  <a:cubicBezTo>
                    <a:pt x="1321928" y="173440"/>
                    <a:pt x="1321492" y="169734"/>
                    <a:pt x="1320185" y="167554"/>
                  </a:cubicBezTo>
                  <a:cubicBezTo>
                    <a:pt x="1318877" y="165592"/>
                    <a:pt x="1318442" y="162104"/>
                    <a:pt x="1319095" y="160142"/>
                  </a:cubicBezTo>
                  <a:cubicBezTo>
                    <a:pt x="1321492" y="154256"/>
                    <a:pt x="1326504" y="158616"/>
                    <a:pt x="1328030" y="167772"/>
                  </a:cubicBezTo>
                  <a:cubicBezTo>
                    <a:pt x="1328683" y="172350"/>
                    <a:pt x="1330209" y="176274"/>
                    <a:pt x="1331080" y="176274"/>
                  </a:cubicBezTo>
                  <a:cubicBezTo>
                    <a:pt x="1333695" y="176274"/>
                    <a:pt x="1332824" y="157526"/>
                    <a:pt x="1329773" y="154038"/>
                  </a:cubicBezTo>
                  <a:cubicBezTo>
                    <a:pt x="1327594" y="151422"/>
                    <a:pt x="1328030" y="149678"/>
                    <a:pt x="1331734" y="144881"/>
                  </a:cubicBezTo>
                  <a:cubicBezTo>
                    <a:pt x="1335874" y="139431"/>
                    <a:pt x="1336746" y="139213"/>
                    <a:pt x="1340014" y="142483"/>
                  </a:cubicBezTo>
                  <a:cubicBezTo>
                    <a:pt x="1342194" y="144227"/>
                    <a:pt x="1346552" y="145535"/>
                    <a:pt x="1349602" y="145317"/>
                  </a:cubicBezTo>
                  <a:cubicBezTo>
                    <a:pt x="1354614" y="144881"/>
                    <a:pt x="1355268" y="144009"/>
                    <a:pt x="1354832" y="138123"/>
                  </a:cubicBezTo>
                  <a:cubicBezTo>
                    <a:pt x="1354396" y="132673"/>
                    <a:pt x="1355268" y="131583"/>
                    <a:pt x="1359408" y="131583"/>
                  </a:cubicBezTo>
                  <a:cubicBezTo>
                    <a:pt x="1367471" y="131583"/>
                    <a:pt x="1369214" y="125915"/>
                    <a:pt x="1362895" y="119374"/>
                  </a:cubicBezTo>
                  <a:cubicBezTo>
                    <a:pt x="1356140" y="112180"/>
                    <a:pt x="1357665" y="105422"/>
                    <a:pt x="1365945" y="107602"/>
                  </a:cubicBezTo>
                  <a:cubicBezTo>
                    <a:pt x="1369432" y="108474"/>
                    <a:pt x="1372701" y="107602"/>
                    <a:pt x="1375315" y="105204"/>
                  </a:cubicBezTo>
                  <a:cubicBezTo>
                    <a:pt x="1380981" y="100190"/>
                    <a:pt x="1380545" y="96048"/>
                    <a:pt x="1374008" y="92996"/>
                  </a:cubicBezTo>
                  <a:cubicBezTo>
                    <a:pt x="1369214" y="90816"/>
                    <a:pt x="1367689" y="91252"/>
                    <a:pt x="1362241" y="96484"/>
                  </a:cubicBezTo>
                  <a:lnTo>
                    <a:pt x="1356140" y="102370"/>
                  </a:lnTo>
                  <a:lnTo>
                    <a:pt x="1352653" y="94086"/>
                  </a:lnTo>
                  <a:cubicBezTo>
                    <a:pt x="1349602" y="86455"/>
                    <a:pt x="1349602" y="85583"/>
                    <a:pt x="1352653" y="83185"/>
                  </a:cubicBezTo>
                  <a:cubicBezTo>
                    <a:pt x="1355704" y="81005"/>
                    <a:pt x="1356793" y="81223"/>
                    <a:pt x="1359190" y="84711"/>
                  </a:cubicBezTo>
                  <a:cubicBezTo>
                    <a:pt x="1362459" y="89289"/>
                    <a:pt x="1369650" y="90379"/>
                    <a:pt x="1375098" y="86891"/>
                  </a:cubicBezTo>
                  <a:cubicBezTo>
                    <a:pt x="1377930" y="85147"/>
                    <a:pt x="1377930" y="84711"/>
                    <a:pt x="1374662" y="84711"/>
                  </a:cubicBezTo>
                  <a:cubicBezTo>
                    <a:pt x="1367035" y="84711"/>
                    <a:pt x="1360062" y="79915"/>
                    <a:pt x="1360498" y="75119"/>
                  </a:cubicBezTo>
                  <a:cubicBezTo>
                    <a:pt x="1360934" y="71413"/>
                    <a:pt x="1359844" y="70759"/>
                    <a:pt x="1355486" y="71195"/>
                  </a:cubicBezTo>
                  <a:cubicBezTo>
                    <a:pt x="1352435" y="71631"/>
                    <a:pt x="1347205" y="72067"/>
                    <a:pt x="1343937" y="72067"/>
                  </a:cubicBezTo>
                  <a:cubicBezTo>
                    <a:pt x="1340450" y="72067"/>
                    <a:pt x="1338489" y="72939"/>
                    <a:pt x="1339797" y="73593"/>
                  </a:cubicBezTo>
                  <a:cubicBezTo>
                    <a:pt x="1340886" y="74247"/>
                    <a:pt x="1341758" y="81659"/>
                    <a:pt x="1341976" y="89943"/>
                  </a:cubicBezTo>
                  <a:cubicBezTo>
                    <a:pt x="1341976" y="101062"/>
                    <a:pt x="1343065" y="105640"/>
                    <a:pt x="1345462" y="106948"/>
                  </a:cubicBezTo>
                  <a:cubicBezTo>
                    <a:pt x="1347205" y="108038"/>
                    <a:pt x="1350256" y="110436"/>
                    <a:pt x="1352217" y="112180"/>
                  </a:cubicBezTo>
                  <a:cubicBezTo>
                    <a:pt x="1355268" y="115232"/>
                    <a:pt x="1355268" y="116104"/>
                    <a:pt x="1352653" y="119374"/>
                  </a:cubicBezTo>
                  <a:cubicBezTo>
                    <a:pt x="1350910" y="121337"/>
                    <a:pt x="1348949" y="124825"/>
                    <a:pt x="1348513" y="127223"/>
                  </a:cubicBezTo>
                  <a:cubicBezTo>
                    <a:pt x="1347423" y="133545"/>
                    <a:pt x="1334131" y="133763"/>
                    <a:pt x="1328247" y="127659"/>
                  </a:cubicBezTo>
                  <a:cubicBezTo>
                    <a:pt x="1324979" y="123953"/>
                    <a:pt x="1318660" y="111090"/>
                    <a:pt x="1318442" y="106948"/>
                  </a:cubicBezTo>
                  <a:cubicBezTo>
                    <a:pt x="1318442" y="106730"/>
                    <a:pt x="1320185" y="107384"/>
                    <a:pt x="1322364" y="108474"/>
                  </a:cubicBezTo>
                  <a:cubicBezTo>
                    <a:pt x="1324325" y="109564"/>
                    <a:pt x="1327594" y="111090"/>
                    <a:pt x="1329555" y="111526"/>
                  </a:cubicBezTo>
                  <a:cubicBezTo>
                    <a:pt x="1331952" y="112398"/>
                    <a:pt x="1332824" y="114578"/>
                    <a:pt x="1331952" y="119374"/>
                  </a:cubicBezTo>
                  <a:cubicBezTo>
                    <a:pt x="1331080" y="125043"/>
                    <a:pt x="1331734" y="126133"/>
                    <a:pt x="1335438" y="126133"/>
                  </a:cubicBezTo>
                  <a:cubicBezTo>
                    <a:pt x="1343065" y="126133"/>
                    <a:pt x="1345244" y="114142"/>
                    <a:pt x="1337835" y="111962"/>
                  </a:cubicBezTo>
                  <a:cubicBezTo>
                    <a:pt x="1334131" y="110654"/>
                    <a:pt x="1333477" y="109128"/>
                    <a:pt x="1334349" y="103678"/>
                  </a:cubicBezTo>
                  <a:cubicBezTo>
                    <a:pt x="1335003" y="98664"/>
                    <a:pt x="1334131" y="96048"/>
                    <a:pt x="1330644" y="93214"/>
                  </a:cubicBezTo>
                  <a:cubicBezTo>
                    <a:pt x="1325850" y="89289"/>
                    <a:pt x="1320621" y="89943"/>
                    <a:pt x="1320621" y="94740"/>
                  </a:cubicBezTo>
                  <a:cubicBezTo>
                    <a:pt x="1320621" y="96484"/>
                    <a:pt x="1318660" y="97792"/>
                    <a:pt x="1316263" y="97792"/>
                  </a:cubicBezTo>
                  <a:cubicBezTo>
                    <a:pt x="1312340" y="97792"/>
                    <a:pt x="1311904" y="99318"/>
                    <a:pt x="1311904" y="110000"/>
                  </a:cubicBezTo>
                  <a:cubicBezTo>
                    <a:pt x="1311904" y="116540"/>
                    <a:pt x="1312994" y="123953"/>
                    <a:pt x="1314083" y="126133"/>
                  </a:cubicBezTo>
                  <a:cubicBezTo>
                    <a:pt x="1315827" y="129403"/>
                    <a:pt x="1315391" y="130711"/>
                    <a:pt x="1312122" y="132673"/>
                  </a:cubicBezTo>
                  <a:cubicBezTo>
                    <a:pt x="1309725" y="133763"/>
                    <a:pt x="1305803" y="134853"/>
                    <a:pt x="1303188" y="134853"/>
                  </a:cubicBezTo>
                  <a:cubicBezTo>
                    <a:pt x="1300573" y="134853"/>
                    <a:pt x="1299048" y="135725"/>
                    <a:pt x="1299919" y="136815"/>
                  </a:cubicBezTo>
                  <a:cubicBezTo>
                    <a:pt x="1300573" y="137905"/>
                    <a:pt x="1300137" y="139431"/>
                    <a:pt x="1298830" y="140303"/>
                  </a:cubicBezTo>
                  <a:cubicBezTo>
                    <a:pt x="1297523" y="140957"/>
                    <a:pt x="1295997" y="139867"/>
                    <a:pt x="1295126" y="137687"/>
                  </a:cubicBezTo>
                  <a:cubicBezTo>
                    <a:pt x="1294254" y="135507"/>
                    <a:pt x="1292293" y="132455"/>
                    <a:pt x="1290767" y="130711"/>
                  </a:cubicBezTo>
                  <a:cubicBezTo>
                    <a:pt x="1286845" y="127005"/>
                    <a:pt x="1288370" y="122645"/>
                    <a:pt x="1293164" y="123517"/>
                  </a:cubicBezTo>
                  <a:cubicBezTo>
                    <a:pt x="1297087" y="124171"/>
                    <a:pt x="1301881" y="114360"/>
                    <a:pt x="1300137" y="109346"/>
                  </a:cubicBezTo>
                  <a:cubicBezTo>
                    <a:pt x="1299484" y="107820"/>
                    <a:pt x="1295779" y="106512"/>
                    <a:pt x="1291421" y="106512"/>
                  </a:cubicBezTo>
                  <a:cubicBezTo>
                    <a:pt x="1279218" y="106512"/>
                    <a:pt x="1273117" y="103024"/>
                    <a:pt x="1269412" y="94086"/>
                  </a:cubicBezTo>
                  <a:lnTo>
                    <a:pt x="1265926" y="85801"/>
                  </a:lnTo>
                  <a:lnTo>
                    <a:pt x="1260478" y="92342"/>
                  </a:lnTo>
                  <a:cubicBezTo>
                    <a:pt x="1245878" y="109782"/>
                    <a:pt x="1247186" y="109128"/>
                    <a:pt x="1231061" y="107602"/>
                  </a:cubicBezTo>
                  <a:cubicBezTo>
                    <a:pt x="1217333" y="106294"/>
                    <a:pt x="1216243" y="106512"/>
                    <a:pt x="1214936" y="110872"/>
                  </a:cubicBezTo>
                  <a:cubicBezTo>
                    <a:pt x="1212974" y="116976"/>
                    <a:pt x="1217333" y="121991"/>
                    <a:pt x="1223652" y="120465"/>
                  </a:cubicBezTo>
                  <a:cubicBezTo>
                    <a:pt x="1227138" y="119593"/>
                    <a:pt x="1229535" y="120683"/>
                    <a:pt x="1231932" y="124171"/>
                  </a:cubicBezTo>
                  <a:lnTo>
                    <a:pt x="1235419" y="128967"/>
                  </a:lnTo>
                  <a:lnTo>
                    <a:pt x="1243264" y="123081"/>
                  </a:lnTo>
                  <a:cubicBezTo>
                    <a:pt x="1247622" y="119593"/>
                    <a:pt x="1252198" y="114578"/>
                    <a:pt x="1253287" y="111526"/>
                  </a:cubicBezTo>
                  <a:cubicBezTo>
                    <a:pt x="1255031" y="106512"/>
                    <a:pt x="1256120" y="106294"/>
                    <a:pt x="1263529" y="107384"/>
                  </a:cubicBezTo>
                  <a:cubicBezTo>
                    <a:pt x="1276385" y="109782"/>
                    <a:pt x="1279218" y="110872"/>
                    <a:pt x="1279218" y="114142"/>
                  </a:cubicBezTo>
                  <a:cubicBezTo>
                    <a:pt x="1279218" y="115886"/>
                    <a:pt x="1277693" y="116540"/>
                    <a:pt x="1275078" y="115886"/>
                  </a:cubicBezTo>
                  <a:cubicBezTo>
                    <a:pt x="1268323" y="114142"/>
                    <a:pt x="1267669" y="119156"/>
                    <a:pt x="1274206" y="122209"/>
                  </a:cubicBezTo>
                  <a:cubicBezTo>
                    <a:pt x="1281397" y="125697"/>
                    <a:pt x="1283359" y="132019"/>
                    <a:pt x="1277693" y="133109"/>
                  </a:cubicBezTo>
                  <a:cubicBezTo>
                    <a:pt x="1272027" y="134417"/>
                    <a:pt x="1266144" y="132455"/>
                    <a:pt x="1266144" y="129403"/>
                  </a:cubicBezTo>
                  <a:cubicBezTo>
                    <a:pt x="1266144" y="128095"/>
                    <a:pt x="1264183" y="125043"/>
                    <a:pt x="1261786" y="122863"/>
                  </a:cubicBezTo>
                  <a:cubicBezTo>
                    <a:pt x="1257428" y="118938"/>
                    <a:pt x="1257210" y="118938"/>
                    <a:pt x="1252634" y="123517"/>
                  </a:cubicBezTo>
                  <a:cubicBezTo>
                    <a:pt x="1248493" y="127441"/>
                    <a:pt x="1247840" y="130711"/>
                    <a:pt x="1247840" y="143573"/>
                  </a:cubicBezTo>
                  <a:cubicBezTo>
                    <a:pt x="1247840" y="163194"/>
                    <a:pt x="1250019" y="165374"/>
                    <a:pt x="1260260" y="155564"/>
                  </a:cubicBezTo>
                  <a:cubicBezTo>
                    <a:pt x="1268105" y="147933"/>
                    <a:pt x="1272681" y="147061"/>
                    <a:pt x="1272681" y="153602"/>
                  </a:cubicBezTo>
                  <a:cubicBezTo>
                    <a:pt x="1272681" y="155346"/>
                    <a:pt x="1271156" y="156654"/>
                    <a:pt x="1269412" y="156654"/>
                  </a:cubicBezTo>
                  <a:cubicBezTo>
                    <a:pt x="1267451" y="156654"/>
                    <a:pt x="1264836" y="159052"/>
                    <a:pt x="1263529" y="162104"/>
                  </a:cubicBezTo>
                  <a:cubicBezTo>
                    <a:pt x="1262222" y="165156"/>
                    <a:pt x="1260042" y="167772"/>
                    <a:pt x="1258735" y="167772"/>
                  </a:cubicBezTo>
                  <a:cubicBezTo>
                    <a:pt x="1257428" y="167990"/>
                    <a:pt x="1254813" y="168208"/>
                    <a:pt x="1253069" y="168426"/>
                  </a:cubicBezTo>
                  <a:cubicBezTo>
                    <a:pt x="1251108" y="168426"/>
                    <a:pt x="1249583" y="171260"/>
                    <a:pt x="1249147" y="175184"/>
                  </a:cubicBezTo>
                  <a:cubicBezTo>
                    <a:pt x="1248275" y="185431"/>
                    <a:pt x="1244135" y="191753"/>
                    <a:pt x="1239123" y="191099"/>
                  </a:cubicBezTo>
                  <a:cubicBezTo>
                    <a:pt x="1236291" y="190663"/>
                    <a:pt x="1234983" y="189137"/>
                    <a:pt x="1235419" y="187175"/>
                  </a:cubicBezTo>
                  <a:cubicBezTo>
                    <a:pt x="1237598" y="179327"/>
                    <a:pt x="1237816" y="170606"/>
                    <a:pt x="1235855" y="167554"/>
                  </a:cubicBezTo>
                  <a:cubicBezTo>
                    <a:pt x="1233894" y="164720"/>
                    <a:pt x="1232804" y="164720"/>
                    <a:pt x="1228882" y="167118"/>
                  </a:cubicBezTo>
                  <a:cubicBezTo>
                    <a:pt x="1222780" y="171042"/>
                    <a:pt x="1222344" y="170170"/>
                    <a:pt x="1225395" y="160360"/>
                  </a:cubicBezTo>
                  <a:cubicBezTo>
                    <a:pt x="1228010" y="152076"/>
                    <a:pt x="1229971" y="150550"/>
                    <a:pt x="1232368" y="154474"/>
                  </a:cubicBezTo>
                  <a:cubicBezTo>
                    <a:pt x="1234329" y="157744"/>
                    <a:pt x="1242174" y="157090"/>
                    <a:pt x="1242174" y="153820"/>
                  </a:cubicBezTo>
                  <a:cubicBezTo>
                    <a:pt x="1242174" y="152294"/>
                    <a:pt x="1240867" y="149024"/>
                    <a:pt x="1239123" y="146625"/>
                  </a:cubicBezTo>
                  <a:cubicBezTo>
                    <a:pt x="1237162" y="144227"/>
                    <a:pt x="1236508" y="140303"/>
                    <a:pt x="1237162" y="137033"/>
                  </a:cubicBezTo>
                  <a:cubicBezTo>
                    <a:pt x="1238470" y="132019"/>
                    <a:pt x="1238252" y="131801"/>
                    <a:pt x="1234765" y="134635"/>
                  </a:cubicBezTo>
                  <a:cubicBezTo>
                    <a:pt x="1231714" y="137251"/>
                    <a:pt x="1230625" y="137033"/>
                    <a:pt x="1227356" y="133981"/>
                  </a:cubicBezTo>
                  <a:cubicBezTo>
                    <a:pt x="1222344" y="129621"/>
                    <a:pt x="1220383" y="131365"/>
                    <a:pt x="1220383" y="139649"/>
                  </a:cubicBezTo>
                  <a:cubicBezTo>
                    <a:pt x="1220383" y="142919"/>
                    <a:pt x="1219512" y="145753"/>
                    <a:pt x="1218204" y="145753"/>
                  </a:cubicBezTo>
                  <a:cubicBezTo>
                    <a:pt x="1217115" y="145753"/>
                    <a:pt x="1216025" y="141829"/>
                    <a:pt x="1216025" y="137251"/>
                  </a:cubicBezTo>
                  <a:cubicBezTo>
                    <a:pt x="1216025" y="127223"/>
                    <a:pt x="1212321" y="123735"/>
                    <a:pt x="1208180" y="129403"/>
                  </a:cubicBezTo>
                  <a:cubicBezTo>
                    <a:pt x="1206001" y="132455"/>
                    <a:pt x="1205784" y="134199"/>
                    <a:pt x="1207745" y="136379"/>
                  </a:cubicBezTo>
                  <a:cubicBezTo>
                    <a:pt x="1209488" y="138559"/>
                    <a:pt x="1209488" y="140085"/>
                    <a:pt x="1207745" y="141829"/>
                  </a:cubicBezTo>
                  <a:cubicBezTo>
                    <a:pt x="1206219" y="143355"/>
                    <a:pt x="1205130" y="146625"/>
                    <a:pt x="1205130" y="149460"/>
                  </a:cubicBezTo>
                  <a:cubicBezTo>
                    <a:pt x="1205130" y="161232"/>
                    <a:pt x="1196196" y="149678"/>
                    <a:pt x="1195978" y="137469"/>
                  </a:cubicBezTo>
                  <a:cubicBezTo>
                    <a:pt x="1195760" y="133327"/>
                    <a:pt x="1193581" y="128095"/>
                    <a:pt x="1190530" y="124825"/>
                  </a:cubicBezTo>
                  <a:cubicBezTo>
                    <a:pt x="1187915" y="121773"/>
                    <a:pt x="1185518" y="118720"/>
                    <a:pt x="1185518" y="118066"/>
                  </a:cubicBezTo>
                  <a:cubicBezTo>
                    <a:pt x="1185518" y="117194"/>
                    <a:pt x="1183993" y="114796"/>
                    <a:pt x="1181814" y="112616"/>
                  </a:cubicBezTo>
                  <a:cubicBezTo>
                    <a:pt x="1179853" y="110436"/>
                    <a:pt x="1178763" y="108038"/>
                    <a:pt x="1179417" y="107384"/>
                  </a:cubicBezTo>
                  <a:cubicBezTo>
                    <a:pt x="1181378" y="105640"/>
                    <a:pt x="1189876" y="111526"/>
                    <a:pt x="1189876" y="114796"/>
                  </a:cubicBezTo>
                  <a:cubicBezTo>
                    <a:pt x="1189876" y="116322"/>
                    <a:pt x="1192273" y="118502"/>
                    <a:pt x="1195106" y="119593"/>
                  </a:cubicBezTo>
                  <a:cubicBezTo>
                    <a:pt x="1197939" y="120683"/>
                    <a:pt x="1200990" y="122645"/>
                    <a:pt x="1201861" y="123735"/>
                  </a:cubicBezTo>
                  <a:cubicBezTo>
                    <a:pt x="1204694" y="128531"/>
                    <a:pt x="1206219" y="125915"/>
                    <a:pt x="1206437" y="116322"/>
                  </a:cubicBezTo>
                  <a:cubicBezTo>
                    <a:pt x="1206655" y="109346"/>
                    <a:pt x="1205784" y="106512"/>
                    <a:pt x="1203604" y="106512"/>
                  </a:cubicBezTo>
                  <a:cubicBezTo>
                    <a:pt x="1202079" y="106512"/>
                    <a:pt x="1200772" y="107602"/>
                    <a:pt x="1200772" y="108692"/>
                  </a:cubicBezTo>
                  <a:cubicBezTo>
                    <a:pt x="1200772" y="110000"/>
                    <a:pt x="1199900" y="110872"/>
                    <a:pt x="1198593" y="110872"/>
                  </a:cubicBezTo>
                  <a:cubicBezTo>
                    <a:pt x="1197503" y="110872"/>
                    <a:pt x="1196413" y="108910"/>
                    <a:pt x="1196413" y="106512"/>
                  </a:cubicBezTo>
                  <a:cubicBezTo>
                    <a:pt x="1196413" y="103678"/>
                    <a:pt x="1193799" y="100844"/>
                    <a:pt x="1188787" y="98446"/>
                  </a:cubicBezTo>
                  <a:cubicBezTo>
                    <a:pt x="1182685" y="95612"/>
                    <a:pt x="1181160" y="93432"/>
                    <a:pt x="1181160" y="88635"/>
                  </a:cubicBezTo>
                  <a:cubicBezTo>
                    <a:pt x="1181160" y="83621"/>
                    <a:pt x="1182032" y="82531"/>
                    <a:pt x="1186608" y="82531"/>
                  </a:cubicBezTo>
                  <a:cubicBezTo>
                    <a:pt x="1190530" y="82531"/>
                    <a:pt x="1192709" y="84057"/>
                    <a:pt x="1194234" y="87981"/>
                  </a:cubicBezTo>
                  <a:cubicBezTo>
                    <a:pt x="1196631" y="94304"/>
                    <a:pt x="1198375" y="94740"/>
                    <a:pt x="1204258" y="90161"/>
                  </a:cubicBezTo>
                  <a:cubicBezTo>
                    <a:pt x="1208398" y="86891"/>
                    <a:pt x="1208398" y="86891"/>
                    <a:pt x="1204258" y="83621"/>
                  </a:cubicBezTo>
                  <a:cubicBezTo>
                    <a:pt x="1201861" y="81877"/>
                    <a:pt x="1198593" y="80351"/>
                    <a:pt x="1197067" y="80351"/>
                  </a:cubicBezTo>
                  <a:cubicBezTo>
                    <a:pt x="1195542" y="80351"/>
                    <a:pt x="1194234" y="78825"/>
                    <a:pt x="1194234" y="77081"/>
                  </a:cubicBezTo>
                  <a:cubicBezTo>
                    <a:pt x="1194234" y="75337"/>
                    <a:pt x="1195542" y="73811"/>
                    <a:pt x="1197285" y="73811"/>
                  </a:cubicBezTo>
                  <a:cubicBezTo>
                    <a:pt x="1199028" y="73811"/>
                    <a:pt x="1200772" y="72503"/>
                    <a:pt x="1201425" y="71195"/>
                  </a:cubicBezTo>
                  <a:cubicBezTo>
                    <a:pt x="1202515" y="67707"/>
                    <a:pt x="1209488" y="72939"/>
                    <a:pt x="1209488" y="77299"/>
                  </a:cubicBezTo>
                  <a:cubicBezTo>
                    <a:pt x="1209488" y="78825"/>
                    <a:pt x="1211449" y="80787"/>
                    <a:pt x="1213846" y="81441"/>
                  </a:cubicBezTo>
                  <a:cubicBezTo>
                    <a:pt x="1217115" y="82531"/>
                    <a:pt x="1218204" y="84711"/>
                    <a:pt x="1218204" y="90379"/>
                  </a:cubicBezTo>
                  <a:cubicBezTo>
                    <a:pt x="1218204" y="99536"/>
                    <a:pt x="1221255" y="99754"/>
                    <a:pt x="1230407" y="91470"/>
                  </a:cubicBezTo>
                  <a:cubicBezTo>
                    <a:pt x="1238034" y="84711"/>
                    <a:pt x="1239777" y="73157"/>
                    <a:pt x="1234329" y="67271"/>
                  </a:cubicBezTo>
                  <a:cubicBezTo>
                    <a:pt x="1232586" y="65527"/>
                    <a:pt x="1229535" y="61603"/>
                    <a:pt x="1227138" y="58768"/>
                  </a:cubicBezTo>
                  <a:cubicBezTo>
                    <a:pt x="1224524" y="55280"/>
                    <a:pt x="1221909" y="53972"/>
                    <a:pt x="1219730" y="54844"/>
                  </a:cubicBezTo>
                  <a:cubicBezTo>
                    <a:pt x="1213846" y="57024"/>
                    <a:pt x="1215154" y="62911"/>
                    <a:pt x="1221473" y="62911"/>
                  </a:cubicBezTo>
                  <a:cubicBezTo>
                    <a:pt x="1226485" y="62911"/>
                    <a:pt x="1226921" y="63783"/>
                    <a:pt x="1226921" y="71631"/>
                  </a:cubicBezTo>
                  <a:cubicBezTo>
                    <a:pt x="1226921" y="76427"/>
                    <a:pt x="1226049" y="80351"/>
                    <a:pt x="1224741" y="80351"/>
                  </a:cubicBezTo>
                  <a:cubicBezTo>
                    <a:pt x="1223652" y="80351"/>
                    <a:pt x="1222562" y="79479"/>
                    <a:pt x="1222562" y="78389"/>
                  </a:cubicBezTo>
                  <a:cubicBezTo>
                    <a:pt x="1222562" y="75555"/>
                    <a:pt x="1213192" y="66181"/>
                    <a:pt x="1208616" y="64437"/>
                  </a:cubicBezTo>
                  <a:cubicBezTo>
                    <a:pt x="1205784" y="63347"/>
                    <a:pt x="1204912" y="61603"/>
                    <a:pt x="1206001" y="57460"/>
                  </a:cubicBezTo>
                  <a:cubicBezTo>
                    <a:pt x="1207091" y="52882"/>
                    <a:pt x="1206655" y="52010"/>
                    <a:pt x="1202951" y="52010"/>
                  </a:cubicBezTo>
                  <a:cubicBezTo>
                    <a:pt x="1200336" y="52010"/>
                    <a:pt x="1197503" y="54190"/>
                    <a:pt x="1195978" y="57460"/>
                  </a:cubicBezTo>
                  <a:cubicBezTo>
                    <a:pt x="1191184" y="68143"/>
                    <a:pt x="1185082" y="63565"/>
                    <a:pt x="1184429" y="48522"/>
                  </a:cubicBezTo>
                  <a:cubicBezTo>
                    <a:pt x="1184211" y="40892"/>
                    <a:pt x="1184646" y="39802"/>
                    <a:pt x="1186608" y="42636"/>
                  </a:cubicBezTo>
                  <a:cubicBezTo>
                    <a:pt x="1188569" y="45252"/>
                    <a:pt x="1191184" y="45906"/>
                    <a:pt x="1197067" y="44816"/>
                  </a:cubicBezTo>
                  <a:cubicBezTo>
                    <a:pt x="1201425" y="44162"/>
                    <a:pt x="1205566" y="44598"/>
                    <a:pt x="1206219" y="45688"/>
                  </a:cubicBezTo>
                  <a:cubicBezTo>
                    <a:pt x="1208834" y="49830"/>
                    <a:pt x="1215154" y="47432"/>
                    <a:pt x="1219076" y="40892"/>
                  </a:cubicBezTo>
                  <a:cubicBezTo>
                    <a:pt x="1221255" y="37186"/>
                    <a:pt x="1222562" y="33698"/>
                    <a:pt x="1221909" y="33262"/>
                  </a:cubicBezTo>
                  <a:cubicBezTo>
                    <a:pt x="1219947" y="31081"/>
                    <a:pt x="1196413" y="30645"/>
                    <a:pt x="1195106" y="32608"/>
                  </a:cubicBezTo>
                  <a:cubicBezTo>
                    <a:pt x="1193145" y="36096"/>
                    <a:pt x="1181160" y="34788"/>
                    <a:pt x="1181160" y="31299"/>
                  </a:cubicBezTo>
                  <a:cubicBezTo>
                    <a:pt x="1181160" y="29555"/>
                    <a:pt x="1180070" y="28029"/>
                    <a:pt x="1178981" y="28029"/>
                  </a:cubicBezTo>
                  <a:cubicBezTo>
                    <a:pt x="1175712" y="28029"/>
                    <a:pt x="1172008" y="38712"/>
                    <a:pt x="1173751" y="43726"/>
                  </a:cubicBezTo>
                  <a:cubicBezTo>
                    <a:pt x="1174405" y="45906"/>
                    <a:pt x="1173751" y="49394"/>
                    <a:pt x="1172226" y="51356"/>
                  </a:cubicBezTo>
                  <a:cubicBezTo>
                    <a:pt x="1169829" y="54190"/>
                    <a:pt x="1170047" y="55062"/>
                    <a:pt x="1172879" y="57242"/>
                  </a:cubicBezTo>
                  <a:cubicBezTo>
                    <a:pt x="1178763" y="61603"/>
                    <a:pt x="1175712" y="83185"/>
                    <a:pt x="1168086" y="91252"/>
                  </a:cubicBezTo>
                  <a:cubicBezTo>
                    <a:pt x="1160241" y="99754"/>
                    <a:pt x="1163074" y="105640"/>
                    <a:pt x="1171354" y="97792"/>
                  </a:cubicBezTo>
                  <a:cubicBezTo>
                    <a:pt x="1176584" y="92996"/>
                    <a:pt x="1177020" y="92778"/>
                    <a:pt x="1180506" y="96266"/>
                  </a:cubicBezTo>
                  <a:cubicBezTo>
                    <a:pt x="1183993" y="99754"/>
                    <a:pt x="1183993" y="100190"/>
                    <a:pt x="1180724" y="103460"/>
                  </a:cubicBezTo>
                  <a:cubicBezTo>
                    <a:pt x="1177020" y="107384"/>
                    <a:pt x="1157408" y="109346"/>
                    <a:pt x="1152614" y="106512"/>
                  </a:cubicBezTo>
                  <a:cubicBezTo>
                    <a:pt x="1149999" y="104768"/>
                    <a:pt x="1151307" y="97356"/>
                    <a:pt x="1156319" y="85583"/>
                  </a:cubicBezTo>
                  <a:cubicBezTo>
                    <a:pt x="1157626" y="82313"/>
                    <a:pt x="1150435" y="79697"/>
                    <a:pt x="1147602" y="82531"/>
                  </a:cubicBezTo>
                  <a:cubicBezTo>
                    <a:pt x="1146295" y="83839"/>
                    <a:pt x="1144334" y="83621"/>
                    <a:pt x="1141719" y="81223"/>
                  </a:cubicBezTo>
                  <a:cubicBezTo>
                    <a:pt x="1138668" y="78389"/>
                    <a:pt x="1138232" y="76863"/>
                    <a:pt x="1140193" y="72503"/>
                  </a:cubicBezTo>
                  <a:cubicBezTo>
                    <a:pt x="1143026" y="66617"/>
                    <a:pt x="1139322" y="60294"/>
                    <a:pt x="1133438" y="60948"/>
                  </a:cubicBezTo>
                  <a:cubicBezTo>
                    <a:pt x="1131477" y="61166"/>
                    <a:pt x="1127119" y="60294"/>
                    <a:pt x="1123632" y="58768"/>
                  </a:cubicBezTo>
                  <a:cubicBezTo>
                    <a:pt x="1118403" y="56588"/>
                    <a:pt x="1117531" y="55280"/>
                    <a:pt x="1118403" y="49830"/>
                  </a:cubicBezTo>
                  <a:cubicBezTo>
                    <a:pt x="1119274" y="44380"/>
                    <a:pt x="1118838" y="43508"/>
                    <a:pt x="1115570" y="44380"/>
                  </a:cubicBezTo>
                  <a:cubicBezTo>
                    <a:pt x="1112955" y="45252"/>
                    <a:pt x="1110122" y="43508"/>
                    <a:pt x="1106854" y="38930"/>
                  </a:cubicBezTo>
                  <a:cubicBezTo>
                    <a:pt x="1101624" y="32171"/>
                    <a:pt x="1097266" y="30427"/>
                    <a:pt x="1095740" y="35006"/>
                  </a:cubicBezTo>
                  <a:cubicBezTo>
                    <a:pt x="1093997" y="40238"/>
                    <a:pt x="1089639" y="33916"/>
                    <a:pt x="1090075" y="26939"/>
                  </a:cubicBezTo>
                  <a:cubicBezTo>
                    <a:pt x="1090293" y="22143"/>
                    <a:pt x="1088985" y="18001"/>
                    <a:pt x="1086370" y="14949"/>
                  </a:cubicBezTo>
                  <a:cubicBezTo>
                    <a:pt x="1081140" y="9281"/>
                    <a:pt x="1082230" y="8409"/>
                    <a:pt x="1093561" y="9935"/>
                  </a:cubicBezTo>
                  <a:cubicBezTo>
                    <a:pt x="1102060" y="11025"/>
                    <a:pt x="1102931" y="11679"/>
                    <a:pt x="1101842" y="16257"/>
                  </a:cubicBezTo>
                  <a:cubicBezTo>
                    <a:pt x="1101188" y="18873"/>
                    <a:pt x="1101624" y="23887"/>
                    <a:pt x="1103149" y="26939"/>
                  </a:cubicBezTo>
                  <a:cubicBezTo>
                    <a:pt x="1105110" y="31517"/>
                    <a:pt x="1106854" y="32608"/>
                    <a:pt x="1111212" y="31735"/>
                  </a:cubicBezTo>
                  <a:cubicBezTo>
                    <a:pt x="1114262" y="31081"/>
                    <a:pt x="1118403" y="31517"/>
                    <a:pt x="1120146" y="32389"/>
                  </a:cubicBezTo>
                  <a:cubicBezTo>
                    <a:pt x="1122107" y="33480"/>
                    <a:pt x="1124940" y="33480"/>
                    <a:pt x="1126683" y="32389"/>
                  </a:cubicBezTo>
                  <a:cubicBezTo>
                    <a:pt x="1130823" y="29773"/>
                    <a:pt x="1139322" y="34352"/>
                    <a:pt x="1140629" y="40020"/>
                  </a:cubicBezTo>
                  <a:cubicBezTo>
                    <a:pt x="1141283" y="42854"/>
                    <a:pt x="1141283" y="48086"/>
                    <a:pt x="1140629" y="51792"/>
                  </a:cubicBezTo>
                  <a:cubicBezTo>
                    <a:pt x="1139540" y="57024"/>
                    <a:pt x="1139975" y="58550"/>
                    <a:pt x="1142590" y="58550"/>
                  </a:cubicBezTo>
                  <a:cubicBezTo>
                    <a:pt x="1144334" y="58550"/>
                    <a:pt x="1146295" y="60730"/>
                    <a:pt x="1146949" y="63565"/>
                  </a:cubicBezTo>
                  <a:cubicBezTo>
                    <a:pt x="1147820" y="66181"/>
                    <a:pt x="1150435" y="69451"/>
                    <a:pt x="1153268" y="70541"/>
                  </a:cubicBezTo>
                  <a:cubicBezTo>
                    <a:pt x="1156101" y="71849"/>
                    <a:pt x="1158498" y="74901"/>
                    <a:pt x="1158933" y="77735"/>
                  </a:cubicBezTo>
                  <a:cubicBezTo>
                    <a:pt x="1159805" y="83185"/>
                    <a:pt x="1161984" y="83839"/>
                    <a:pt x="1165689" y="79479"/>
                  </a:cubicBezTo>
                  <a:cubicBezTo>
                    <a:pt x="1167650" y="77081"/>
                    <a:pt x="1167868" y="75119"/>
                    <a:pt x="1165906" y="71849"/>
                  </a:cubicBezTo>
                  <a:cubicBezTo>
                    <a:pt x="1164381" y="68579"/>
                    <a:pt x="1164163" y="65963"/>
                    <a:pt x="1165906" y="63129"/>
                  </a:cubicBezTo>
                  <a:cubicBezTo>
                    <a:pt x="1168521" y="58114"/>
                    <a:pt x="1166124" y="55716"/>
                    <a:pt x="1161548" y="58768"/>
                  </a:cubicBezTo>
                  <a:cubicBezTo>
                    <a:pt x="1156319" y="61821"/>
                    <a:pt x="1154575" y="61166"/>
                    <a:pt x="1155447" y="55934"/>
                  </a:cubicBezTo>
                  <a:cubicBezTo>
                    <a:pt x="1155883" y="52882"/>
                    <a:pt x="1158062" y="50484"/>
                    <a:pt x="1161548" y="49612"/>
                  </a:cubicBezTo>
                  <a:lnTo>
                    <a:pt x="1166996" y="48304"/>
                  </a:lnTo>
                  <a:lnTo>
                    <a:pt x="1160895" y="45688"/>
                  </a:lnTo>
                  <a:cubicBezTo>
                    <a:pt x="1157408" y="44380"/>
                    <a:pt x="1153922" y="43290"/>
                    <a:pt x="1152832" y="43290"/>
                  </a:cubicBezTo>
                  <a:cubicBezTo>
                    <a:pt x="1151960" y="43290"/>
                    <a:pt x="1150435" y="40892"/>
                    <a:pt x="1149781" y="37840"/>
                  </a:cubicBezTo>
                  <a:cubicBezTo>
                    <a:pt x="1148910" y="34352"/>
                    <a:pt x="1146949" y="32389"/>
                    <a:pt x="1144116" y="32389"/>
                  </a:cubicBezTo>
                  <a:cubicBezTo>
                    <a:pt x="1141719" y="32389"/>
                    <a:pt x="1139758" y="30863"/>
                    <a:pt x="1139758" y="29119"/>
                  </a:cubicBezTo>
                  <a:cubicBezTo>
                    <a:pt x="1139758" y="27375"/>
                    <a:pt x="1140847" y="25849"/>
                    <a:pt x="1141937" y="25849"/>
                  </a:cubicBezTo>
                  <a:cubicBezTo>
                    <a:pt x="1143244" y="25849"/>
                    <a:pt x="1144116" y="24323"/>
                    <a:pt x="1144116" y="22361"/>
                  </a:cubicBezTo>
                  <a:cubicBezTo>
                    <a:pt x="1144116" y="19309"/>
                    <a:pt x="1143462" y="19309"/>
                    <a:pt x="1140847" y="21489"/>
                  </a:cubicBezTo>
                  <a:cubicBezTo>
                    <a:pt x="1135399" y="26067"/>
                    <a:pt x="1134310" y="21925"/>
                    <a:pt x="1139322" y="16475"/>
                  </a:cubicBezTo>
                  <a:cubicBezTo>
                    <a:pt x="1141937" y="13641"/>
                    <a:pt x="1144116" y="10371"/>
                    <a:pt x="1144116" y="8845"/>
                  </a:cubicBezTo>
                  <a:cubicBezTo>
                    <a:pt x="1144116" y="5575"/>
                    <a:pt x="1121235" y="5139"/>
                    <a:pt x="916402" y="5139"/>
                  </a:cubicBezTo>
                  <a:lnTo>
                    <a:pt x="739897" y="5139"/>
                  </a:lnTo>
                  <a:lnTo>
                    <a:pt x="740551" y="10371"/>
                  </a:lnTo>
                  <a:cubicBezTo>
                    <a:pt x="741205" y="13859"/>
                    <a:pt x="740333" y="15167"/>
                    <a:pt x="738372" y="14513"/>
                  </a:cubicBezTo>
                  <a:cubicBezTo>
                    <a:pt x="736847" y="13859"/>
                    <a:pt x="735539" y="11679"/>
                    <a:pt x="735539" y="9281"/>
                  </a:cubicBezTo>
                  <a:cubicBezTo>
                    <a:pt x="735539" y="5357"/>
                    <a:pt x="732924" y="5139"/>
                    <a:pt x="664719" y="5139"/>
                  </a:cubicBezTo>
                  <a:lnTo>
                    <a:pt x="593899" y="5139"/>
                  </a:lnTo>
                  <a:lnTo>
                    <a:pt x="593899" y="13859"/>
                  </a:lnTo>
                  <a:cubicBezTo>
                    <a:pt x="593899" y="21053"/>
                    <a:pt x="593246" y="22579"/>
                    <a:pt x="589541" y="22579"/>
                  </a:cubicBezTo>
                  <a:cubicBezTo>
                    <a:pt x="584529" y="22579"/>
                    <a:pt x="582350" y="14295"/>
                    <a:pt x="586273" y="9499"/>
                  </a:cubicBezTo>
                  <a:cubicBezTo>
                    <a:pt x="587580" y="7973"/>
                    <a:pt x="587798" y="6229"/>
                    <a:pt x="586926" y="5575"/>
                  </a:cubicBezTo>
                  <a:cubicBezTo>
                    <a:pt x="586055" y="4921"/>
                    <a:pt x="561649" y="4921"/>
                    <a:pt x="532885" y="5357"/>
                  </a:cubicBezTo>
                  <a:cubicBezTo>
                    <a:pt x="504122" y="5793"/>
                    <a:pt x="477319" y="6229"/>
                    <a:pt x="473615" y="6229"/>
                  </a:cubicBezTo>
                  <a:cubicBezTo>
                    <a:pt x="466859" y="6229"/>
                    <a:pt x="466642" y="6665"/>
                    <a:pt x="466642" y="14513"/>
                  </a:cubicBezTo>
                  <a:cubicBezTo>
                    <a:pt x="466859" y="18873"/>
                    <a:pt x="466642" y="24541"/>
                    <a:pt x="466206" y="26939"/>
                  </a:cubicBezTo>
                  <a:cubicBezTo>
                    <a:pt x="465116" y="32608"/>
                    <a:pt x="471436" y="33698"/>
                    <a:pt x="477101" y="28683"/>
                  </a:cubicBezTo>
                  <a:cubicBezTo>
                    <a:pt x="479716" y="26721"/>
                    <a:pt x="481677" y="22797"/>
                    <a:pt x="481895" y="20399"/>
                  </a:cubicBezTo>
                  <a:cubicBezTo>
                    <a:pt x="481895" y="16257"/>
                    <a:pt x="482113" y="16475"/>
                    <a:pt x="483856" y="21053"/>
                  </a:cubicBezTo>
                  <a:cubicBezTo>
                    <a:pt x="484946" y="23669"/>
                    <a:pt x="486907" y="25849"/>
                    <a:pt x="488214" y="25849"/>
                  </a:cubicBezTo>
                  <a:cubicBezTo>
                    <a:pt x="489304" y="25849"/>
                    <a:pt x="490393" y="30427"/>
                    <a:pt x="490393" y="35878"/>
                  </a:cubicBezTo>
                  <a:cubicBezTo>
                    <a:pt x="490393" y="45034"/>
                    <a:pt x="489958" y="45906"/>
                    <a:pt x="486035" y="44816"/>
                  </a:cubicBezTo>
                  <a:cubicBezTo>
                    <a:pt x="482985" y="43944"/>
                    <a:pt x="480588" y="45252"/>
                    <a:pt x="478191" y="48958"/>
                  </a:cubicBezTo>
                  <a:cubicBezTo>
                    <a:pt x="473179" y="56370"/>
                    <a:pt x="468603" y="55716"/>
                    <a:pt x="468603" y="47650"/>
                  </a:cubicBezTo>
                  <a:cubicBezTo>
                    <a:pt x="468603" y="41110"/>
                    <a:pt x="463591" y="36532"/>
                    <a:pt x="460322" y="40020"/>
                  </a:cubicBezTo>
                  <a:cubicBezTo>
                    <a:pt x="459451" y="40892"/>
                    <a:pt x="458797" y="48522"/>
                    <a:pt x="458797" y="57024"/>
                  </a:cubicBezTo>
                  <a:cubicBezTo>
                    <a:pt x="458797" y="66181"/>
                    <a:pt x="457925" y="72503"/>
                    <a:pt x="456618" y="72503"/>
                  </a:cubicBezTo>
                  <a:cubicBezTo>
                    <a:pt x="455528" y="72285"/>
                    <a:pt x="450734" y="71413"/>
                    <a:pt x="446158" y="70759"/>
                  </a:cubicBezTo>
                  <a:cubicBezTo>
                    <a:pt x="439621" y="69451"/>
                    <a:pt x="438096" y="69887"/>
                    <a:pt x="438096" y="72721"/>
                  </a:cubicBezTo>
                  <a:cubicBezTo>
                    <a:pt x="438096" y="74465"/>
                    <a:pt x="437442" y="75991"/>
                    <a:pt x="436570" y="75991"/>
                  </a:cubicBezTo>
                  <a:cubicBezTo>
                    <a:pt x="435481" y="76209"/>
                    <a:pt x="432648" y="77953"/>
                    <a:pt x="429815" y="80133"/>
                  </a:cubicBezTo>
                  <a:cubicBezTo>
                    <a:pt x="424368" y="84929"/>
                    <a:pt x="425457" y="91252"/>
                    <a:pt x="431776" y="91252"/>
                  </a:cubicBezTo>
                  <a:cubicBezTo>
                    <a:pt x="436788" y="91252"/>
                    <a:pt x="437224" y="94740"/>
                    <a:pt x="432648" y="99318"/>
                  </a:cubicBezTo>
                  <a:cubicBezTo>
                    <a:pt x="428072" y="103896"/>
                    <a:pt x="430905" y="107166"/>
                    <a:pt x="438096" y="105640"/>
                  </a:cubicBezTo>
                  <a:cubicBezTo>
                    <a:pt x="446812" y="104114"/>
                    <a:pt x="450952" y="109346"/>
                    <a:pt x="445722" y="115232"/>
                  </a:cubicBezTo>
                  <a:cubicBezTo>
                    <a:pt x="443543" y="117630"/>
                    <a:pt x="440928" y="119593"/>
                    <a:pt x="439621" y="119593"/>
                  </a:cubicBezTo>
                  <a:cubicBezTo>
                    <a:pt x="436788" y="119593"/>
                    <a:pt x="424803" y="106294"/>
                    <a:pt x="426111" y="104332"/>
                  </a:cubicBezTo>
                  <a:cubicBezTo>
                    <a:pt x="426764" y="103460"/>
                    <a:pt x="424803" y="101062"/>
                    <a:pt x="421753" y="99100"/>
                  </a:cubicBezTo>
                  <a:cubicBezTo>
                    <a:pt x="418702" y="97138"/>
                    <a:pt x="416523" y="93868"/>
                    <a:pt x="416741" y="91688"/>
                  </a:cubicBezTo>
                  <a:cubicBezTo>
                    <a:pt x="417394" y="82313"/>
                    <a:pt x="416305" y="80351"/>
                    <a:pt x="411293" y="81441"/>
                  </a:cubicBezTo>
                  <a:cubicBezTo>
                    <a:pt x="408242" y="82095"/>
                    <a:pt x="404538" y="80787"/>
                    <a:pt x="401269" y="77953"/>
                  </a:cubicBezTo>
                  <a:cubicBezTo>
                    <a:pt x="396911" y="74465"/>
                    <a:pt x="396040" y="71849"/>
                    <a:pt x="396475" y="64655"/>
                  </a:cubicBezTo>
                  <a:lnTo>
                    <a:pt x="396911" y="55716"/>
                  </a:lnTo>
                  <a:lnTo>
                    <a:pt x="389284" y="57024"/>
                  </a:lnTo>
                  <a:cubicBezTo>
                    <a:pt x="383837" y="57896"/>
                    <a:pt x="381440" y="57242"/>
                    <a:pt x="380568" y="55062"/>
                  </a:cubicBezTo>
                  <a:cubicBezTo>
                    <a:pt x="378825" y="50702"/>
                    <a:pt x="381222" y="45470"/>
                    <a:pt x="384926" y="45470"/>
                  </a:cubicBezTo>
                  <a:cubicBezTo>
                    <a:pt x="387105" y="45470"/>
                    <a:pt x="387541" y="43726"/>
                    <a:pt x="386670" y="38930"/>
                  </a:cubicBezTo>
                  <a:cubicBezTo>
                    <a:pt x="385798" y="34788"/>
                    <a:pt x="386234" y="32389"/>
                    <a:pt x="387759" y="32389"/>
                  </a:cubicBezTo>
                  <a:cubicBezTo>
                    <a:pt x="389067" y="32389"/>
                    <a:pt x="390156" y="33480"/>
                    <a:pt x="390156" y="35006"/>
                  </a:cubicBezTo>
                  <a:cubicBezTo>
                    <a:pt x="390156" y="36314"/>
                    <a:pt x="391899" y="35878"/>
                    <a:pt x="394296" y="33698"/>
                  </a:cubicBezTo>
                  <a:cubicBezTo>
                    <a:pt x="399308" y="29119"/>
                    <a:pt x="404974" y="29773"/>
                    <a:pt x="408460" y="35006"/>
                  </a:cubicBezTo>
                  <a:cubicBezTo>
                    <a:pt x="410204" y="37840"/>
                    <a:pt x="409768" y="40456"/>
                    <a:pt x="406935" y="45470"/>
                  </a:cubicBezTo>
                  <a:cubicBezTo>
                    <a:pt x="404320" y="49830"/>
                    <a:pt x="403448" y="53754"/>
                    <a:pt x="404538" y="57024"/>
                  </a:cubicBezTo>
                  <a:cubicBezTo>
                    <a:pt x="405627" y="59640"/>
                    <a:pt x="406063" y="63129"/>
                    <a:pt x="405627" y="64655"/>
                  </a:cubicBezTo>
                  <a:cubicBezTo>
                    <a:pt x="405192" y="66835"/>
                    <a:pt x="406499" y="67271"/>
                    <a:pt x="410204" y="66181"/>
                  </a:cubicBezTo>
                  <a:cubicBezTo>
                    <a:pt x="418048" y="63783"/>
                    <a:pt x="418484" y="62475"/>
                    <a:pt x="414126" y="53754"/>
                  </a:cubicBezTo>
                  <a:cubicBezTo>
                    <a:pt x="409550" y="44380"/>
                    <a:pt x="411947" y="41110"/>
                    <a:pt x="418484" y="47650"/>
                  </a:cubicBezTo>
                  <a:cubicBezTo>
                    <a:pt x="426764" y="55934"/>
                    <a:pt x="429815" y="52446"/>
                    <a:pt x="423932" y="40892"/>
                  </a:cubicBezTo>
                  <a:cubicBezTo>
                    <a:pt x="420663" y="34788"/>
                    <a:pt x="420663" y="34352"/>
                    <a:pt x="425675" y="32608"/>
                  </a:cubicBezTo>
                  <a:cubicBezTo>
                    <a:pt x="432430" y="29991"/>
                    <a:pt x="438096" y="21053"/>
                    <a:pt x="436570" y="15167"/>
                  </a:cubicBezTo>
                  <a:cubicBezTo>
                    <a:pt x="435481" y="11025"/>
                    <a:pt x="436352" y="10589"/>
                    <a:pt x="443325" y="10589"/>
                  </a:cubicBezTo>
                  <a:cubicBezTo>
                    <a:pt x="447684" y="10589"/>
                    <a:pt x="451170" y="11461"/>
                    <a:pt x="451170" y="12769"/>
                  </a:cubicBezTo>
                  <a:cubicBezTo>
                    <a:pt x="451170" y="13859"/>
                    <a:pt x="447684" y="18219"/>
                    <a:pt x="443543" y="22361"/>
                  </a:cubicBezTo>
                  <a:cubicBezTo>
                    <a:pt x="439403" y="26721"/>
                    <a:pt x="435917" y="31517"/>
                    <a:pt x="435917" y="33480"/>
                  </a:cubicBezTo>
                  <a:cubicBezTo>
                    <a:pt x="435917" y="37186"/>
                    <a:pt x="439403" y="37840"/>
                    <a:pt x="441364" y="34570"/>
                  </a:cubicBezTo>
                  <a:cubicBezTo>
                    <a:pt x="442236" y="33262"/>
                    <a:pt x="445940" y="32826"/>
                    <a:pt x="449863" y="33480"/>
                  </a:cubicBezTo>
                  <a:cubicBezTo>
                    <a:pt x="457489" y="35006"/>
                    <a:pt x="463809" y="30427"/>
                    <a:pt x="460758" y="25413"/>
                  </a:cubicBezTo>
                  <a:cubicBezTo>
                    <a:pt x="459886" y="23887"/>
                    <a:pt x="459233" y="19091"/>
                    <a:pt x="459669" y="14513"/>
                  </a:cubicBezTo>
                  <a:lnTo>
                    <a:pt x="460322" y="6229"/>
                  </a:lnTo>
                  <a:lnTo>
                    <a:pt x="438314" y="6229"/>
                  </a:lnTo>
                  <a:cubicBezTo>
                    <a:pt x="419791" y="6229"/>
                    <a:pt x="416087" y="6883"/>
                    <a:pt x="414126" y="10153"/>
                  </a:cubicBezTo>
                  <a:cubicBezTo>
                    <a:pt x="411947" y="13641"/>
                    <a:pt x="411947" y="13641"/>
                    <a:pt x="409768" y="10153"/>
                  </a:cubicBezTo>
                  <a:cubicBezTo>
                    <a:pt x="408242" y="7755"/>
                    <a:pt x="404756" y="6229"/>
                    <a:pt x="401051" y="6229"/>
                  </a:cubicBezTo>
                  <a:cubicBezTo>
                    <a:pt x="394950" y="6229"/>
                    <a:pt x="394514" y="6665"/>
                    <a:pt x="394514" y="14949"/>
                  </a:cubicBezTo>
                  <a:cubicBezTo>
                    <a:pt x="394514" y="20835"/>
                    <a:pt x="393643" y="23669"/>
                    <a:pt x="391464" y="23669"/>
                  </a:cubicBezTo>
                  <a:cubicBezTo>
                    <a:pt x="387105" y="23669"/>
                    <a:pt x="383401" y="18437"/>
                    <a:pt x="384055" y="12551"/>
                  </a:cubicBezTo>
                  <a:cubicBezTo>
                    <a:pt x="384708" y="7755"/>
                    <a:pt x="384055" y="7319"/>
                    <a:pt x="374903" y="7755"/>
                  </a:cubicBezTo>
                  <a:cubicBezTo>
                    <a:pt x="369455" y="7973"/>
                    <a:pt x="364443" y="8191"/>
                    <a:pt x="363571" y="8191"/>
                  </a:cubicBezTo>
                  <a:cubicBezTo>
                    <a:pt x="362700" y="8409"/>
                    <a:pt x="362264" y="12115"/>
                    <a:pt x="362482" y="16693"/>
                  </a:cubicBezTo>
                  <a:cubicBezTo>
                    <a:pt x="362918" y="23887"/>
                    <a:pt x="362264" y="24759"/>
                    <a:pt x="358124" y="24541"/>
                  </a:cubicBezTo>
                  <a:cubicBezTo>
                    <a:pt x="353983" y="24541"/>
                    <a:pt x="353112" y="25631"/>
                    <a:pt x="353112" y="30645"/>
                  </a:cubicBezTo>
                  <a:cubicBezTo>
                    <a:pt x="353112" y="36750"/>
                    <a:pt x="348318" y="39148"/>
                    <a:pt x="345267" y="34352"/>
                  </a:cubicBezTo>
                  <a:cubicBezTo>
                    <a:pt x="344613" y="33044"/>
                    <a:pt x="341999" y="32608"/>
                    <a:pt x="339384" y="33262"/>
                  </a:cubicBezTo>
                  <a:cubicBezTo>
                    <a:pt x="336987" y="33916"/>
                    <a:pt x="333064" y="33480"/>
                    <a:pt x="330885" y="32171"/>
                  </a:cubicBezTo>
                  <a:cubicBezTo>
                    <a:pt x="325655" y="29337"/>
                    <a:pt x="318247" y="33262"/>
                    <a:pt x="318247" y="39148"/>
                  </a:cubicBezTo>
                  <a:cubicBezTo>
                    <a:pt x="318247" y="41546"/>
                    <a:pt x="319772" y="43944"/>
                    <a:pt x="321515" y="44598"/>
                  </a:cubicBezTo>
                  <a:cubicBezTo>
                    <a:pt x="324784" y="45906"/>
                    <a:pt x="326309" y="54190"/>
                    <a:pt x="323258" y="54190"/>
                  </a:cubicBezTo>
                  <a:cubicBezTo>
                    <a:pt x="321297" y="54190"/>
                    <a:pt x="307351" y="40238"/>
                    <a:pt x="307351" y="38276"/>
                  </a:cubicBezTo>
                  <a:cubicBezTo>
                    <a:pt x="307351" y="37622"/>
                    <a:pt x="309312" y="35006"/>
                    <a:pt x="311927" y="32608"/>
                  </a:cubicBezTo>
                  <a:cubicBezTo>
                    <a:pt x="314542" y="30209"/>
                    <a:pt x="316068" y="27157"/>
                    <a:pt x="315632" y="25413"/>
                  </a:cubicBezTo>
                  <a:cubicBezTo>
                    <a:pt x="314978" y="23887"/>
                    <a:pt x="317375" y="21489"/>
                    <a:pt x="321079" y="19745"/>
                  </a:cubicBezTo>
                  <a:cubicBezTo>
                    <a:pt x="326963" y="17347"/>
                    <a:pt x="328270" y="17565"/>
                    <a:pt x="332411" y="21489"/>
                  </a:cubicBezTo>
                  <a:cubicBezTo>
                    <a:pt x="338948" y="27593"/>
                    <a:pt x="342216" y="26939"/>
                    <a:pt x="342216" y="19309"/>
                  </a:cubicBezTo>
                  <a:cubicBezTo>
                    <a:pt x="342216" y="14295"/>
                    <a:pt x="343306" y="12769"/>
                    <a:pt x="346357" y="12769"/>
                  </a:cubicBezTo>
                  <a:cubicBezTo>
                    <a:pt x="348754" y="12769"/>
                    <a:pt x="351369" y="13859"/>
                    <a:pt x="352240" y="15167"/>
                  </a:cubicBezTo>
                  <a:cubicBezTo>
                    <a:pt x="353112" y="16911"/>
                    <a:pt x="354201" y="16693"/>
                    <a:pt x="355509" y="14731"/>
                  </a:cubicBezTo>
                  <a:cubicBezTo>
                    <a:pt x="356380" y="13205"/>
                    <a:pt x="356816" y="11243"/>
                    <a:pt x="356380" y="10371"/>
                  </a:cubicBezTo>
                  <a:cubicBezTo>
                    <a:pt x="354855" y="7973"/>
                    <a:pt x="317375" y="8627"/>
                    <a:pt x="314542" y="11025"/>
                  </a:cubicBezTo>
                  <a:cubicBezTo>
                    <a:pt x="312581" y="12551"/>
                    <a:pt x="311709" y="12551"/>
                    <a:pt x="311709" y="10807"/>
                  </a:cubicBezTo>
                  <a:cubicBezTo>
                    <a:pt x="311709" y="8845"/>
                    <a:pt x="302121" y="8627"/>
                    <a:pt x="287304" y="10371"/>
                  </a:cubicBezTo>
                  <a:cubicBezTo>
                    <a:pt x="286214" y="10589"/>
                    <a:pt x="285561" y="12115"/>
                    <a:pt x="285561" y="13859"/>
                  </a:cubicBezTo>
                  <a:cubicBezTo>
                    <a:pt x="285561" y="18219"/>
                    <a:pt x="291662" y="20617"/>
                    <a:pt x="294931" y="17347"/>
                  </a:cubicBezTo>
                  <a:cubicBezTo>
                    <a:pt x="296238" y="16039"/>
                    <a:pt x="298199" y="14949"/>
                    <a:pt x="299071" y="14949"/>
                  </a:cubicBezTo>
                  <a:cubicBezTo>
                    <a:pt x="302557" y="14949"/>
                    <a:pt x="300596" y="19963"/>
                    <a:pt x="294059" y="28465"/>
                  </a:cubicBezTo>
                  <a:cubicBezTo>
                    <a:pt x="287740" y="36314"/>
                    <a:pt x="287522" y="37622"/>
                    <a:pt x="289919" y="42418"/>
                  </a:cubicBezTo>
                  <a:cubicBezTo>
                    <a:pt x="291662" y="45252"/>
                    <a:pt x="294059" y="47650"/>
                    <a:pt x="295802" y="47650"/>
                  </a:cubicBezTo>
                  <a:cubicBezTo>
                    <a:pt x="297328" y="47650"/>
                    <a:pt x="298635" y="48522"/>
                    <a:pt x="298635" y="49394"/>
                  </a:cubicBezTo>
                  <a:cubicBezTo>
                    <a:pt x="298635" y="52228"/>
                    <a:pt x="288393" y="57024"/>
                    <a:pt x="285996" y="55498"/>
                  </a:cubicBezTo>
                  <a:cubicBezTo>
                    <a:pt x="283164" y="53754"/>
                    <a:pt x="275973" y="62039"/>
                    <a:pt x="277934" y="64873"/>
                  </a:cubicBezTo>
                  <a:cubicBezTo>
                    <a:pt x="278587" y="66181"/>
                    <a:pt x="280984" y="67271"/>
                    <a:pt x="283164" y="67271"/>
                  </a:cubicBezTo>
                  <a:cubicBezTo>
                    <a:pt x="289047" y="67271"/>
                    <a:pt x="292098" y="71849"/>
                    <a:pt x="292098" y="80787"/>
                  </a:cubicBezTo>
                  <a:cubicBezTo>
                    <a:pt x="292098" y="89071"/>
                    <a:pt x="294495" y="91034"/>
                    <a:pt x="300160" y="87327"/>
                  </a:cubicBezTo>
                  <a:cubicBezTo>
                    <a:pt x="301904" y="86237"/>
                    <a:pt x="302121" y="82749"/>
                    <a:pt x="300596" y="74901"/>
                  </a:cubicBezTo>
                  <a:cubicBezTo>
                    <a:pt x="297763" y="60076"/>
                    <a:pt x="299507" y="53536"/>
                    <a:pt x="305826" y="55498"/>
                  </a:cubicBezTo>
                  <a:cubicBezTo>
                    <a:pt x="314324" y="57896"/>
                    <a:pt x="314978" y="60076"/>
                    <a:pt x="310838" y="71631"/>
                  </a:cubicBezTo>
                  <a:cubicBezTo>
                    <a:pt x="308659" y="77735"/>
                    <a:pt x="307569" y="83403"/>
                    <a:pt x="308441" y="84275"/>
                  </a:cubicBezTo>
                  <a:cubicBezTo>
                    <a:pt x="309312" y="85147"/>
                    <a:pt x="310620" y="84493"/>
                    <a:pt x="311056" y="83185"/>
                  </a:cubicBezTo>
                  <a:cubicBezTo>
                    <a:pt x="311709" y="81659"/>
                    <a:pt x="314542" y="80351"/>
                    <a:pt x="317375" y="80351"/>
                  </a:cubicBezTo>
                  <a:cubicBezTo>
                    <a:pt x="322169" y="80351"/>
                    <a:pt x="322605" y="79479"/>
                    <a:pt x="322605" y="68361"/>
                  </a:cubicBezTo>
                  <a:cubicBezTo>
                    <a:pt x="322605" y="57242"/>
                    <a:pt x="323041" y="56370"/>
                    <a:pt x="327617" y="57024"/>
                  </a:cubicBezTo>
                  <a:cubicBezTo>
                    <a:pt x="331757" y="57460"/>
                    <a:pt x="332411" y="56370"/>
                    <a:pt x="332411" y="49830"/>
                  </a:cubicBezTo>
                  <a:cubicBezTo>
                    <a:pt x="332411" y="41110"/>
                    <a:pt x="337205" y="38712"/>
                    <a:pt x="342652" y="44816"/>
                  </a:cubicBezTo>
                  <a:cubicBezTo>
                    <a:pt x="348754" y="51574"/>
                    <a:pt x="348318" y="57024"/>
                    <a:pt x="341563" y="60294"/>
                  </a:cubicBezTo>
                  <a:cubicBezTo>
                    <a:pt x="333936" y="64001"/>
                    <a:pt x="330885" y="71631"/>
                    <a:pt x="332629" y="82095"/>
                  </a:cubicBezTo>
                  <a:cubicBezTo>
                    <a:pt x="333718" y="89289"/>
                    <a:pt x="333064" y="90598"/>
                    <a:pt x="327835" y="93650"/>
                  </a:cubicBezTo>
                  <a:cubicBezTo>
                    <a:pt x="322169" y="97138"/>
                    <a:pt x="321733" y="98228"/>
                    <a:pt x="322387" y="110000"/>
                  </a:cubicBezTo>
                  <a:cubicBezTo>
                    <a:pt x="322823" y="119156"/>
                    <a:pt x="324130" y="124171"/>
                    <a:pt x="327181" y="127441"/>
                  </a:cubicBezTo>
                  <a:cubicBezTo>
                    <a:pt x="330232" y="130711"/>
                    <a:pt x="330667" y="132455"/>
                    <a:pt x="328924" y="134199"/>
                  </a:cubicBezTo>
                  <a:cubicBezTo>
                    <a:pt x="325438" y="137687"/>
                    <a:pt x="328706" y="142047"/>
                    <a:pt x="333718" y="140739"/>
                  </a:cubicBezTo>
                  <a:cubicBezTo>
                    <a:pt x="335897" y="140085"/>
                    <a:pt x="338730" y="140957"/>
                    <a:pt x="340255" y="142701"/>
                  </a:cubicBezTo>
                  <a:cubicBezTo>
                    <a:pt x="341563" y="144445"/>
                    <a:pt x="343960" y="145753"/>
                    <a:pt x="345485" y="145753"/>
                  </a:cubicBezTo>
                  <a:cubicBezTo>
                    <a:pt x="348972" y="145753"/>
                    <a:pt x="351151" y="153384"/>
                    <a:pt x="348318" y="156218"/>
                  </a:cubicBezTo>
                  <a:cubicBezTo>
                    <a:pt x="345703" y="158834"/>
                    <a:pt x="348536" y="170170"/>
                    <a:pt x="351804" y="169080"/>
                  </a:cubicBezTo>
                  <a:cubicBezTo>
                    <a:pt x="353112" y="168644"/>
                    <a:pt x="354201" y="164938"/>
                    <a:pt x="354419" y="160796"/>
                  </a:cubicBezTo>
                  <a:cubicBezTo>
                    <a:pt x="354637" y="149896"/>
                    <a:pt x="354855" y="149460"/>
                    <a:pt x="358777" y="153166"/>
                  </a:cubicBezTo>
                  <a:cubicBezTo>
                    <a:pt x="362482" y="157090"/>
                    <a:pt x="364007" y="157308"/>
                    <a:pt x="367930" y="154910"/>
                  </a:cubicBezTo>
                  <a:cubicBezTo>
                    <a:pt x="372070" y="152294"/>
                    <a:pt x="368583" y="145753"/>
                    <a:pt x="363136" y="145753"/>
                  </a:cubicBezTo>
                  <a:cubicBezTo>
                    <a:pt x="360739" y="145753"/>
                    <a:pt x="356380" y="145099"/>
                    <a:pt x="353766" y="144445"/>
                  </a:cubicBezTo>
                  <a:cubicBezTo>
                    <a:pt x="349189" y="143137"/>
                    <a:pt x="349189" y="142919"/>
                    <a:pt x="352458" y="137905"/>
                  </a:cubicBezTo>
                  <a:cubicBezTo>
                    <a:pt x="354419" y="134853"/>
                    <a:pt x="354855" y="132673"/>
                    <a:pt x="353548" y="132673"/>
                  </a:cubicBezTo>
                  <a:cubicBezTo>
                    <a:pt x="352240" y="132673"/>
                    <a:pt x="350279" y="134199"/>
                    <a:pt x="349189" y="136161"/>
                  </a:cubicBezTo>
                  <a:cubicBezTo>
                    <a:pt x="346357" y="141393"/>
                    <a:pt x="341563" y="137687"/>
                    <a:pt x="343088" y="131583"/>
                  </a:cubicBezTo>
                  <a:cubicBezTo>
                    <a:pt x="344178" y="127441"/>
                    <a:pt x="343306" y="126351"/>
                    <a:pt x="338076" y="125479"/>
                  </a:cubicBezTo>
                  <a:cubicBezTo>
                    <a:pt x="330885" y="123953"/>
                    <a:pt x="327399" y="116758"/>
                    <a:pt x="331321" y="112180"/>
                  </a:cubicBezTo>
                  <a:cubicBezTo>
                    <a:pt x="332629" y="110436"/>
                    <a:pt x="333282" y="107820"/>
                    <a:pt x="333064" y="106294"/>
                  </a:cubicBezTo>
                  <a:cubicBezTo>
                    <a:pt x="332629" y="104550"/>
                    <a:pt x="334590" y="103024"/>
                    <a:pt x="336987" y="102588"/>
                  </a:cubicBezTo>
                  <a:cubicBezTo>
                    <a:pt x="342652" y="101716"/>
                    <a:pt x="345703" y="107820"/>
                    <a:pt x="341999" y="112398"/>
                  </a:cubicBezTo>
                  <a:cubicBezTo>
                    <a:pt x="337858" y="117194"/>
                    <a:pt x="344613" y="123081"/>
                    <a:pt x="350497" y="119811"/>
                  </a:cubicBezTo>
                  <a:cubicBezTo>
                    <a:pt x="355073" y="117412"/>
                    <a:pt x="359649" y="120901"/>
                    <a:pt x="362482" y="128967"/>
                  </a:cubicBezTo>
                  <a:cubicBezTo>
                    <a:pt x="363353" y="130929"/>
                    <a:pt x="365315" y="132673"/>
                    <a:pt x="367058" y="132673"/>
                  </a:cubicBezTo>
                  <a:cubicBezTo>
                    <a:pt x="369019" y="132673"/>
                    <a:pt x="371198" y="135289"/>
                    <a:pt x="371852" y="138777"/>
                  </a:cubicBezTo>
                  <a:cubicBezTo>
                    <a:pt x="372723" y="142047"/>
                    <a:pt x="374249" y="145753"/>
                    <a:pt x="375338" y="147279"/>
                  </a:cubicBezTo>
                  <a:cubicBezTo>
                    <a:pt x="376428" y="148588"/>
                    <a:pt x="377082" y="151640"/>
                    <a:pt x="376864" y="153820"/>
                  </a:cubicBezTo>
                  <a:cubicBezTo>
                    <a:pt x="376210" y="159706"/>
                    <a:pt x="381004" y="170170"/>
                    <a:pt x="384273" y="169080"/>
                  </a:cubicBezTo>
                  <a:cubicBezTo>
                    <a:pt x="385798" y="168644"/>
                    <a:pt x="386670" y="165810"/>
                    <a:pt x="386234" y="162540"/>
                  </a:cubicBezTo>
                  <a:cubicBezTo>
                    <a:pt x="385580" y="157308"/>
                    <a:pt x="386234" y="156654"/>
                    <a:pt x="392335" y="156654"/>
                  </a:cubicBezTo>
                  <a:cubicBezTo>
                    <a:pt x="399308" y="156654"/>
                    <a:pt x="402577" y="152730"/>
                    <a:pt x="400180" y="146843"/>
                  </a:cubicBezTo>
                  <a:cubicBezTo>
                    <a:pt x="399308" y="144227"/>
                    <a:pt x="398001" y="144009"/>
                    <a:pt x="394732" y="145535"/>
                  </a:cubicBezTo>
                  <a:cubicBezTo>
                    <a:pt x="391246" y="147497"/>
                    <a:pt x="389067" y="146407"/>
                    <a:pt x="381440" y="139213"/>
                  </a:cubicBezTo>
                  <a:cubicBezTo>
                    <a:pt x="373159" y="131365"/>
                    <a:pt x="372723" y="130493"/>
                    <a:pt x="377082" y="130493"/>
                  </a:cubicBezTo>
                  <a:cubicBezTo>
                    <a:pt x="381222" y="130493"/>
                    <a:pt x="381440" y="129839"/>
                    <a:pt x="379261" y="127223"/>
                  </a:cubicBezTo>
                  <a:cubicBezTo>
                    <a:pt x="376428" y="123735"/>
                    <a:pt x="377953" y="119593"/>
                    <a:pt x="382529" y="119593"/>
                  </a:cubicBezTo>
                  <a:cubicBezTo>
                    <a:pt x="386887" y="119593"/>
                    <a:pt x="388849" y="123735"/>
                    <a:pt x="386016" y="127005"/>
                  </a:cubicBezTo>
                  <a:cubicBezTo>
                    <a:pt x="384708" y="128531"/>
                    <a:pt x="384055" y="131583"/>
                    <a:pt x="384926" y="133545"/>
                  </a:cubicBezTo>
                  <a:cubicBezTo>
                    <a:pt x="386670" y="137905"/>
                    <a:pt x="393643" y="138123"/>
                    <a:pt x="395386" y="133763"/>
                  </a:cubicBezTo>
                  <a:cubicBezTo>
                    <a:pt x="396040" y="132019"/>
                    <a:pt x="399308" y="130493"/>
                    <a:pt x="402359" y="130493"/>
                  </a:cubicBezTo>
                  <a:cubicBezTo>
                    <a:pt x="412383" y="130493"/>
                    <a:pt x="421099" y="118502"/>
                    <a:pt x="414126" y="114142"/>
                  </a:cubicBezTo>
                  <a:cubicBezTo>
                    <a:pt x="410421" y="111744"/>
                    <a:pt x="413472" y="109564"/>
                    <a:pt x="420009" y="109782"/>
                  </a:cubicBezTo>
                  <a:cubicBezTo>
                    <a:pt x="425021" y="110000"/>
                    <a:pt x="426111" y="111090"/>
                    <a:pt x="426764" y="116540"/>
                  </a:cubicBezTo>
                  <a:cubicBezTo>
                    <a:pt x="427200" y="121773"/>
                    <a:pt x="426329" y="123735"/>
                    <a:pt x="421753" y="125697"/>
                  </a:cubicBezTo>
                  <a:cubicBezTo>
                    <a:pt x="418702" y="127005"/>
                    <a:pt x="416305" y="130057"/>
                    <a:pt x="416305" y="132237"/>
                  </a:cubicBezTo>
                  <a:cubicBezTo>
                    <a:pt x="416305" y="134417"/>
                    <a:pt x="415215" y="137251"/>
                    <a:pt x="413690" y="138777"/>
                  </a:cubicBezTo>
                  <a:cubicBezTo>
                    <a:pt x="411729" y="140739"/>
                    <a:pt x="411947" y="142047"/>
                    <a:pt x="414998" y="144227"/>
                  </a:cubicBezTo>
                  <a:cubicBezTo>
                    <a:pt x="418702" y="146843"/>
                    <a:pt x="418702" y="147279"/>
                    <a:pt x="415215" y="150114"/>
                  </a:cubicBezTo>
                  <a:cubicBezTo>
                    <a:pt x="411947" y="152948"/>
                    <a:pt x="411947" y="153384"/>
                    <a:pt x="416741" y="157090"/>
                  </a:cubicBezTo>
                  <a:cubicBezTo>
                    <a:pt x="420663" y="160142"/>
                    <a:pt x="421099" y="161450"/>
                    <a:pt x="418702" y="162976"/>
                  </a:cubicBezTo>
                  <a:cubicBezTo>
                    <a:pt x="417177" y="164066"/>
                    <a:pt x="415433" y="168426"/>
                    <a:pt x="414998" y="173004"/>
                  </a:cubicBezTo>
                  <a:lnTo>
                    <a:pt x="414344" y="180853"/>
                  </a:lnTo>
                  <a:lnTo>
                    <a:pt x="423060" y="180417"/>
                  </a:lnTo>
                  <a:cubicBezTo>
                    <a:pt x="429597" y="179763"/>
                    <a:pt x="432430" y="180635"/>
                    <a:pt x="433955" y="183469"/>
                  </a:cubicBezTo>
                  <a:cubicBezTo>
                    <a:pt x="435263" y="185431"/>
                    <a:pt x="437878" y="187175"/>
                    <a:pt x="439839" y="187175"/>
                  </a:cubicBezTo>
                  <a:cubicBezTo>
                    <a:pt x="442018" y="187175"/>
                    <a:pt x="444851" y="188265"/>
                    <a:pt x="446376" y="189791"/>
                  </a:cubicBezTo>
                  <a:cubicBezTo>
                    <a:pt x="450081" y="193497"/>
                    <a:pt x="449645" y="206141"/>
                    <a:pt x="445722" y="207668"/>
                  </a:cubicBezTo>
                  <a:cubicBezTo>
                    <a:pt x="443979" y="208322"/>
                    <a:pt x="442454" y="210284"/>
                    <a:pt x="442454" y="211810"/>
                  </a:cubicBezTo>
                  <a:cubicBezTo>
                    <a:pt x="442454" y="213554"/>
                    <a:pt x="440928" y="216170"/>
                    <a:pt x="439185" y="217696"/>
                  </a:cubicBezTo>
                  <a:cubicBezTo>
                    <a:pt x="437442" y="219222"/>
                    <a:pt x="436135" y="222492"/>
                    <a:pt x="436352" y="225108"/>
                  </a:cubicBezTo>
                  <a:cubicBezTo>
                    <a:pt x="436352" y="227506"/>
                    <a:pt x="435917" y="232302"/>
                    <a:pt x="435045" y="235354"/>
                  </a:cubicBezTo>
                  <a:cubicBezTo>
                    <a:pt x="433955" y="239279"/>
                    <a:pt x="434391" y="241677"/>
                    <a:pt x="436788" y="243639"/>
                  </a:cubicBezTo>
                  <a:cubicBezTo>
                    <a:pt x="438749" y="245383"/>
                    <a:pt x="440275" y="248435"/>
                    <a:pt x="440275" y="250833"/>
                  </a:cubicBezTo>
                  <a:cubicBezTo>
                    <a:pt x="440275" y="254321"/>
                    <a:pt x="441364" y="254975"/>
                    <a:pt x="445940" y="254103"/>
                  </a:cubicBezTo>
                  <a:cubicBezTo>
                    <a:pt x="450516" y="253231"/>
                    <a:pt x="452478" y="254539"/>
                    <a:pt x="456182" y="260425"/>
                  </a:cubicBezTo>
                  <a:cubicBezTo>
                    <a:pt x="458797" y="264567"/>
                    <a:pt x="462283" y="267838"/>
                    <a:pt x="464027" y="267838"/>
                  </a:cubicBezTo>
                  <a:cubicBezTo>
                    <a:pt x="465552" y="267838"/>
                    <a:pt x="470128" y="269800"/>
                    <a:pt x="474268" y="272198"/>
                  </a:cubicBezTo>
                  <a:cubicBezTo>
                    <a:pt x="484728" y="278738"/>
                    <a:pt x="486253" y="273506"/>
                    <a:pt x="476447" y="264567"/>
                  </a:cubicBezTo>
                  <a:cubicBezTo>
                    <a:pt x="469910" y="258681"/>
                    <a:pt x="468603" y="256283"/>
                    <a:pt x="469692" y="251923"/>
                  </a:cubicBezTo>
                  <a:cubicBezTo>
                    <a:pt x="470782" y="247781"/>
                    <a:pt x="470128" y="245819"/>
                    <a:pt x="466642" y="243857"/>
                  </a:cubicBezTo>
                  <a:cubicBezTo>
                    <a:pt x="460540" y="240805"/>
                    <a:pt x="460758" y="239061"/>
                    <a:pt x="468385" y="230776"/>
                  </a:cubicBezTo>
                  <a:cubicBezTo>
                    <a:pt x="480370" y="217478"/>
                    <a:pt x="481241" y="216170"/>
                    <a:pt x="479934" y="210066"/>
                  </a:cubicBezTo>
                  <a:cubicBezTo>
                    <a:pt x="478844" y="204179"/>
                    <a:pt x="479062" y="203961"/>
                    <a:pt x="486253" y="205487"/>
                  </a:cubicBezTo>
                  <a:cubicBezTo>
                    <a:pt x="493226" y="206796"/>
                    <a:pt x="494098" y="206359"/>
                    <a:pt x="496277" y="200037"/>
                  </a:cubicBezTo>
                  <a:cubicBezTo>
                    <a:pt x="498238" y="195241"/>
                    <a:pt x="499981" y="193497"/>
                    <a:pt x="502378" y="194587"/>
                  </a:cubicBezTo>
                  <a:cubicBezTo>
                    <a:pt x="504122" y="195241"/>
                    <a:pt x="508698" y="195241"/>
                    <a:pt x="512402" y="194369"/>
                  </a:cubicBezTo>
                  <a:cubicBezTo>
                    <a:pt x="518286" y="193279"/>
                    <a:pt x="518939" y="192407"/>
                    <a:pt x="517632" y="187611"/>
                  </a:cubicBezTo>
                  <a:cubicBezTo>
                    <a:pt x="516324" y="182597"/>
                    <a:pt x="516760" y="182379"/>
                    <a:pt x="523080" y="183469"/>
                  </a:cubicBezTo>
                  <a:cubicBezTo>
                    <a:pt x="528745" y="184777"/>
                    <a:pt x="530053" y="184123"/>
                    <a:pt x="532232" y="179327"/>
                  </a:cubicBezTo>
                  <a:cubicBezTo>
                    <a:pt x="534193" y="175184"/>
                    <a:pt x="534193" y="172786"/>
                    <a:pt x="532232" y="169516"/>
                  </a:cubicBezTo>
                  <a:cubicBezTo>
                    <a:pt x="530706" y="167336"/>
                    <a:pt x="529617" y="164066"/>
                    <a:pt x="529617" y="162322"/>
                  </a:cubicBezTo>
                  <a:cubicBezTo>
                    <a:pt x="529617" y="158834"/>
                    <a:pt x="540294" y="155782"/>
                    <a:pt x="549664" y="156218"/>
                  </a:cubicBezTo>
                  <a:cubicBezTo>
                    <a:pt x="557509" y="156872"/>
                    <a:pt x="559034" y="153602"/>
                    <a:pt x="554240" y="145753"/>
                  </a:cubicBezTo>
                  <a:cubicBezTo>
                    <a:pt x="549011" y="136597"/>
                    <a:pt x="542909" y="137251"/>
                    <a:pt x="533321" y="147497"/>
                  </a:cubicBezTo>
                  <a:cubicBezTo>
                    <a:pt x="531796" y="149024"/>
                    <a:pt x="528527" y="152512"/>
                    <a:pt x="525912" y="155128"/>
                  </a:cubicBezTo>
                  <a:cubicBezTo>
                    <a:pt x="523515" y="157744"/>
                    <a:pt x="520900" y="161886"/>
                    <a:pt x="520465" y="164284"/>
                  </a:cubicBezTo>
                  <a:cubicBezTo>
                    <a:pt x="520029" y="166682"/>
                    <a:pt x="517850" y="168862"/>
                    <a:pt x="515235" y="169298"/>
                  </a:cubicBezTo>
                  <a:cubicBezTo>
                    <a:pt x="512838" y="169734"/>
                    <a:pt x="509787" y="172568"/>
                    <a:pt x="508480" y="176274"/>
                  </a:cubicBezTo>
                  <a:cubicBezTo>
                    <a:pt x="507172" y="179981"/>
                    <a:pt x="504340" y="182815"/>
                    <a:pt x="502596" y="182815"/>
                  </a:cubicBezTo>
                  <a:cubicBezTo>
                    <a:pt x="500635" y="182815"/>
                    <a:pt x="498020" y="185431"/>
                    <a:pt x="496931" y="188483"/>
                  </a:cubicBezTo>
                  <a:cubicBezTo>
                    <a:pt x="494534" y="194805"/>
                    <a:pt x="488868" y="194369"/>
                    <a:pt x="489958" y="188047"/>
                  </a:cubicBezTo>
                  <a:cubicBezTo>
                    <a:pt x="490176" y="185867"/>
                    <a:pt x="490611" y="179327"/>
                    <a:pt x="490829" y="173876"/>
                  </a:cubicBezTo>
                  <a:cubicBezTo>
                    <a:pt x="491265" y="165156"/>
                    <a:pt x="491701" y="164066"/>
                    <a:pt x="494316" y="166900"/>
                  </a:cubicBezTo>
                  <a:cubicBezTo>
                    <a:pt x="496931" y="169516"/>
                    <a:pt x="498238" y="169298"/>
                    <a:pt x="504340" y="165592"/>
                  </a:cubicBezTo>
                  <a:cubicBezTo>
                    <a:pt x="516324" y="157962"/>
                    <a:pt x="511966" y="153384"/>
                    <a:pt x="496495" y="157526"/>
                  </a:cubicBezTo>
                  <a:cubicBezTo>
                    <a:pt x="491919" y="158834"/>
                    <a:pt x="490611" y="158398"/>
                    <a:pt x="489304" y="154692"/>
                  </a:cubicBezTo>
                  <a:cubicBezTo>
                    <a:pt x="488650" y="152076"/>
                    <a:pt x="488650" y="148151"/>
                    <a:pt x="489304" y="145753"/>
                  </a:cubicBezTo>
                  <a:cubicBezTo>
                    <a:pt x="490393" y="142047"/>
                    <a:pt x="491919" y="141393"/>
                    <a:pt x="498020" y="142701"/>
                  </a:cubicBezTo>
                  <a:cubicBezTo>
                    <a:pt x="504993" y="144009"/>
                    <a:pt x="505647" y="143573"/>
                    <a:pt x="508698" y="136161"/>
                  </a:cubicBezTo>
                  <a:cubicBezTo>
                    <a:pt x="510441" y="131801"/>
                    <a:pt x="511530" y="126787"/>
                    <a:pt x="510877" y="125043"/>
                  </a:cubicBezTo>
                  <a:cubicBezTo>
                    <a:pt x="509351" y="121119"/>
                    <a:pt x="511748" y="120901"/>
                    <a:pt x="519375" y="124607"/>
                  </a:cubicBezTo>
                  <a:cubicBezTo>
                    <a:pt x="525694" y="127441"/>
                    <a:pt x="527220" y="130493"/>
                    <a:pt x="522208" y="130493"/>
                  </a:cubicBezTo>
                  <a:cubicBezTo>
                    <a:pt x="518286" y="130493"/>
                    <a:pt x="512184" y="138777"/>
                    <a:pt x="512184" y="144009"/>
                  </a:cubicBezTo>
                  <a:cubicBezTo>
                    <a:pt x="512184" y="149242"/>
                    <a:pt x="517196" y="149024"/>
                    <a:pt x="521990" y="143573"/>
                  </a:cubicBezTo>
                  <a:cubicBezTo>
                    <a:pt x="524169" y="141175"/>
                    <a:pt x="527656" y="139213"/>
                    <a:pt x="530053" y="139213"/>
                  </a:cubicBezTo>
                  <a:cubicBezTo>
                    <a:pt x="532232" y="139213"/>
                    <a:pt x="533975" y="137687"/>
                    <a:pt x="533975" y="135943"/>
                  </a:cubicBezTo>
                  <a:cubicBezTo>
                    <a:pt x="533975" y="133981"/>
                    <a:pt x="535936" y="132673"/>
                    <a:pt x="538551" y="132673"/>
                  </a:cubicBezTo>
                  <a:cubicBezTo>
                    <a:pt x="542909" y="132673"/>
                    <a:pt x="543127" y="131801"/>
                    <a:pt x="542038" y="122427"/>
                  </a:cubicBezTo>
                  <a:cubicBezTo>
                    <a:pt x="540730" y="113488"/>
                    <a:pt x="540948" y="112398"/>
                    <a:pt x="543563" y="115886"/>
                  </a:cubicBezTo>
                  <a:cubicBezTo>
                    <a:pt x="547267" y="120683"/>
                    <a:pt x="553369" y="120683"/>
                    <a:pt x="555112" y="116104"/>
                  </a:cubicBezTo>
                  <a:cubicBezTo>
                    <a:pt x="557073" y="110654"/>
                    <a:pt x="552715" y="105422"/>
                    <a:pt x="546831" y="106076"/>
                  </a:cubicBezTo>
                  <a:cubicBezTo>
                    <a:pt x="533975" y="107602"/>
                    <a:pt x="531796" y="108692"/>
                    <a:pt x="531796" y="114142"/>
                  </a:cubicBezTo>
                  <a:cubicBezTo>
                    <a:pt x="531796" y="124607"/>
                    <a:pt x="516324" y="118066"/>
                    <a:pt x="511530" y="105640"/>
                  </a:cubicBezTo>
                  <a:cubicBezTo>
                    <a:pt x="509569" y="100408"/>
                    <a:pt x="504340" y="101498"/>
                    <a:pt x="499328" y="108256"/>
                  </a:cubicBezTo>
                  <a:cubicBezTo>
                    <a:pt x="495187" y="113706"/>
                    <a:pt x="494534" y="113706"/>
                    <a:pt x="492355" y="110436"/>
                  </a:cubicBezTo>
                  <a:cubicBezTo>
                    <a:pt x="491265" y="108256"/>
                    <a:pt x="488214" y="106512"/>
                    <a:pt x="486035" y="106512"/>
                  </a:cubicBezTo>
                  <a:cubicBezTo>
                    <a:pt x="483638" y="106512"/>
                    <a:pt x="481677" y="105858"/>
                    <a:pt x="481677" y="104986"/>
                  </a:cubicBezTo>
                  <a:cubicBezTo>
                    <a:pt x="481677" y="103896"/>
                    <a:pt x="481023" y="101062"/>
                    <a:pt x="480370" y="98228"/>
                  </a:cubicBezTo>
                  <a:lnTo>
                    <a:pt x="479062" y="93432"/>
                  </a:lnTo>
                  <a:lnTo>
                    <a:pt x="504557" y="94522"/>
                  </a:lnTo>
                  <a:cubicBezTo>
                    <a:pt x="526566" y="95830"/>
                    <a:pt x="530488" y="95394"/>
                    <a:pt x="533975" y="92342"/>
                  </a:cubicBezTo>
                  <a:cubicBezTo>
                    <a:pt x="538333" y="88417"/>
                    <a:pt x="542691" y="89507"/>
                    <a:pt x="542691" y="94740"/>
                  </a:cubicBezTo>
                  <a:cubicBezTo>
                    <a:pt x="542691" y="98664"/>
                    <a:pt x="545742" y="98664"/>
                    <a:pt x="549228" y="94522"/>
                  </a:cubicBezTo>
                  <a:cubicBezTo>
                    <a:pt x="551625" y="91688"/>
                    <a:pt x="551190" y="90379"/>
                    <a:pt x="546831" y="87327"/>
                  </a:cubicBezTo>
                  <a:cubicBezTo>
                    <a:pt x="541384" y="83403"/>
                    <a:pt x="536372" y="82531"/>
                    <a:pt x="522644" y="82313"/>
                  </a:cubicBezTo>
                  <a:cubicBezTo>
                    <a:pt x="513274" y="82313"/>
                    <a:pt x="511966" y="80133"/>
                    <a:pt x="519375" y="77081"/>
                  </a:cubicBezTo>
                  <a:cubicBezTo>
                    <a:pt x="521990" y="75773"/>
                    <a:pt x="523951" y="73375"/>
                    <a:pt x="523515" y="71195"/>
                  </a:cubicBezTo>
                  <a:cubicBezTo>
                    <a:pt x="523297" y="69233"/>
                    <a:pt x="523951" y="67053"/>
                    <a:pt x="525259" y="66181"/>
                  </a:cubicBezTo>
                  <a:cubicBezTo>
                    <a:pt x="526348" y="65527"/>
                    <a:pt x="527438" y="65963"/>
                    <a:pt x="527438" y="67271"/>
                  </a:cubicBezTo>
                  <a:cubicBezTo>
                    <a:pt x="527438" y="69015"/>
                    <a:pt x="529399" y="69451"/>
                    <a:pt x="532668" y="68579"/>
                  </a:cubicBezTo>
                  <a:cubicBezTo>
                    <a:pt x="536590" y="67707"/>
                    <a:pt x="538333" y="68361"/>
                    <a:pt x="539205" y="70977"/>
                  </a:cubicBezTo>
                  <a:cubicBezTo>
                    <a:pt x="539641" y="73157"/>
                    <a:pt x="539641" y="71195"/>
                    <a:pt x="538987" y="66835"/>
                  </a:cubicBezTo>
                  <a:cubicBezTo>
                    <a:pt x="537897" y="59640"/>
                    <a:pt x="538333" y="58550"/>
                    <a:pt x="542255" y="58550"/>
                  </a:cubicBezTo>
                  <a:cubicBezTo>
                    <a:pt x="544870" y="58550"/>
                    <a:pt x="547485" y="57460"/>
                    <a:pt x="548139" y="56370"/>
                  </a:cubicBezTo>
                  <a:cubicBezTo>
                    <a:pt x="549011" y="55062"/>
                    <a:pt x="550754" y="54844"/>
                    <a:pt x="552061" y="55716"/>
                  </a:cubicBezTo>
                  <a:cubicBezTo>
                    <a:pt x="553587" y="56806"/>
                    <a:pt x="556637" y="57460"/>
                    <a:pt x="559034" y="57460"/>
                  </a:cubicBezTo>
                  <a:cubicBezTo>
                    <a:pt x="562303" y="57460"/>
                    <a:pt x="563610" y="59204"/>
                    <a:pt x="564046" y="64655"/>
                  </a:cubicBezTo>
                  <a:cubicBezTo>
                    <a:pt x="564700" y="71413"/>
                    <a:pt x="561431" y="74465"/>
                    <a:pt x="559470" y="69015"/>
                  </a:cubicBezTo>
                  <a:cubicBezTo>
                    <a:pt x="558816" y="66835"/>
                    <a:pt x="557291" y="67271"/>
                    <a:pt x="554022" y="70105"/>
                  </a:cubicBezTo>
                  <a:cubicBezTo>
                    <a:pt x="550318" y="73593"/>
                    <a:pt x="549882" y="75119"/>
                    <a:pt x="551843" y="80569"/>
                  </a:cubicBezTo>
                  <a:cubicBezTo>
                    <a:pt x="554458" y="87981"/>
                    <a:pt x="557073" y="88635"/>
                    <a:pt x="559034" y="82531"/>
                  </a:cubicBezTo>
                  <a:cubicBezTo>
                    <a:pt x="561431" y="74683"/>
                    <a:pt x="564482" y="77953"/>
                    <a:pt x="564482" y="88635"/>
                  </a:cubicBezTo>
                  <a:cubicBezTo>
                    <a:pt x="564264" y="94304"/>
                    <a:pt x="564264" y="102806"/>
                    <a:pt x="564264" y="107602"/>
                  </a:cubicBezTo>
                  <a:cubicBezTo>
                    <a:pt x="564482" y="112398"/>
                    <a:pt x="563392" y="118502"/>
                    <a:pt x="561867" y="121119"/>
                  </a:cubicBezTo>
                  <a:cubicBezTo>
                    <a:pt x="560124" y="124825"/>
                    <a:pt x="560124" y="126787"/>
                    <a:pt x="562303" y="129403"/>
                  </a:cubicBezTo>
                  <a:cubicBezTo>
                    <a:pt x="564482" y="132019"/>
                    <a:pt x="564482" y="133545"/>
                    <a:pt x="562739" y="135289"/>
                  </a:cubicBezTo>
                  <a:cubicBezTo>
                    <a:pt x="559252" y="138777"/>
                    <a:pt x="559470" y="143573"/>
                    <a:pt x="562957" y="143573"/>
                  </a:cubicBezTo>
                  <a:cubicBezTo>
                    <a:pt x="569276" y="143573"/>
                    <a:pt x="577556" y="149242"/>
                    <a:pt x="577556" y="153384"/>
                  </a:cubicBezTo>
                  <a:cubicBezTo>
                    <a:pt x="577556" y="157090"/>
                    <a:pt x="578864" y="157744"/>
                    <a:pt x="585837" y="157744"/>
                  </a:cubicBezTo>
                  <a:cubicBezTo>
                    <a:pt x="595643" y="157526"/>
                    <a:pt x="599347" y="155564"/>
                    <a:pt x="599347" y="150114"/>
                  </a:cubicBezTo>
                  <a:cubicBezTo>
                    <a:pt x="599347" y="142919"/>
                    <a:pt x="603923" y="142919"/>
                    <a:pt x="611114" y="149896"/>
                  </a:cubicBezTo>
                  <a:lnTo>
                    <a:pt x="617869" y="156872"/>
                  </a:lnTo>
                  <a:lnTo>
                    <a:pt x="612204" y="155564"/>
                  </a:lnTo>
                  <a:cubicBezTo>
                    <a:pt x="607192" y="154256"/>
                    <a:pt x="605884" y="155346"/>
                    <a:pt x="600437" y="164284"/>
                  </a:cubicBezTo>
                  <a:cubicBezTo>
                    <a:pt x="596079" y="171696"/>
                    <a:pt x="595207" y="175184"/>
                    <a:pt x="596950" y="176928"/>
                  </a:cubicBezTo>
                  <a:cubicBezTo>
                    <a:pt x="598693" y="178673"/>
                    <a:pt x="599347" y="178455"/>
                    <a:pt x="599347" y="175838"/>
                  </a:cubicBezTo>
                  <a:cubicBezTo>
                    <a:pt x="599347" y="171914"/>
                    <a:pt x="605231" y="168862"/>
                    <a:pt x="606974" y="171914"/>
                  </a:cubicBezTo>
                  <a:cubicBezTo>
                    <a:pt x="607628" y="173004"/>
                    <a:pt x="607192" y="176056"/>
                    <a:pt x="605884" y="178455"/>
                  </a:cubicBezTo>
                  <a:cubicBezTo>
                    <a:pt x="604141" y="181943"/>
                    <a:pt x="604359" y="183469"/>
                    <a:pt x="608063" y="186521"/>
                  </a:cubicBezTo>
                  <a:cubicBezTo>
                    <a:pt x="613511" y="191317"/>
                    <a:pt x="613729" y="193715"/>
                    <a:pt x="608281" y="193715"/>
                  </a:cubicBezTo>
                  <a:cubicBezTo>
                    <a:pt x="600873" y="193715"/>
                    <a:pt x="599347" y="198511"/>
                    <a:pt x="603923" y="208322"/>
                  </a:cubicBezTo>
                  <a:cubicBezTo>
                    <a:pt x="608281" y="217696"/>
                    <a:pt x="611332" y="220748"/>
                    <a:pt x="616780" y="220966"/>
                  </a:cubicBezTo>
                  <a:cubicBezTo>
                    <a:pt x="618523" y="220966"/>
                    <a:pt x="620484" y="223364"/>
                    <a:pt x="621138" y="226416"/>
                  </a:cubicBezTo>
                  <a:cubicBezTo>
                    <a:pt x="622010" y="229686"/>
                    <a:pt x="623971" y="231648"/>
                    <a:pt x="626150" y="231648"/>
                  </a:cubicBezTo>
                  <a:cubicBezTo>
                    <a:pt x="630508" y="231212"/>
                    <a:pt x="630944" y="233174"/>
                    <a:pt x="627457" y="236663"/>
                  </a:cubicBezTo>
                  <a:cubicBezTo>
                    <a:pt x="623971" y="240151"/>
                    <a:pt x="626586" y="243203"/>
                    <a:pt x="633559" y="244293"/>
                  </a:cubicBezTo>
                  <a:cubicBezTo>
                    <a:pt x="637045" y="244947"/>
                    <a:pt x="641403" y="246255"/>
                    <a:pt x="643582" y="247127"/>
                  </a:cubicBezTo>
                  <a:cubicBezTo>
                    <a:pt x="650338" y="249961"/>
                    <a:pt x="647941" y="241241"/>
                    <a:pt x="639660" y="233392"/>
                  </a:cubicBezTo>
                  <a:cubicBezTo>
                    <a:pt x="632687" y="226416"/>
                    <a:pt x="632469" y="225762"/>
                    <a:pt x="635520" y="220966"/>
                  </a:cubicBezTo>
                  <a:cubicBezTo>
                    <a:pt x="637699" y="217696"/>
                    <a:pt x="640096" y="216388"/>
                    <a:pt x="643147" y="217042"/>
                  </a:cubicBezTo>
                  <a:cubicBezTo>
                    <a:pt x="648812" y="218568"/>
                    <a:pt x="650338" y="221620"/>
                    <a:pt x="647505" y="225108"/>
                  </a:cubicBezTo>
                  <a:cubicBezTo>
                    <a:pt x="645761" y="227288"/>
                    <a:pt x="645761" y="228596"/>
                    <a:pt x="648158" y="230558"/>
                  </a:cubicBezTo>
                  <a:cubicBezTo>
                    <a:pt x="650555" y="232520"/>
                    <a:pt x="652952" y="232520"/>
                    <a:pt x="659054" y="229904"/>
                  </a:cubicBezTo>
                  <a:cubicBezTo>
                    <a:pt x="666245" y="226852"/>
                    <a:pt x="666898" y="227070"/>
                    <a:pt x="667988" y="230776"/>
                  </a:cubicBezTo>
                  <a:cubicBezTo>
                    <a:pt x="671257" y="240805"/>
                    <a:pt x="681716" y="235572"/>
                    <a:pt x="679101" y="225108"/>
                  </a:cubicBezTo>
                  <a:cubicBezTo>
                    <a:pt x="677794" y="219876"/>
                    <a:pt x="678012" y="219440"/>
                    <a:pt x="683024" y="220748"/>
                  </a:cubicBezTo>
                  <a:cubicBezTo>
                    <a:pt x="686074" y="221402"/>
                    <a:pt x="689125" y="220966"/>
                    <a:pt x="689997" y="219658"/>
                  </a:cubicBezTo>
                  <a:cubicBezTo>
                    <a:pt x="690650" y="218350"/>
                    <a:pt x="693265" y="217696"/>
                    <a:pt x="695444" y="218350"/>
                  </a:cubicBezTo>
                  <a:cubicBezTo>
                    <a:pt x="697841" y="219004"/>
                    <a:pt x="701764" y="217696"/>
                    <a:pt x="704379" y="215516"/>
                  </a:cubicBezTo>
                  <a:cubicBezTo>
                    <a:pt x="708519" y="212246"/>
                    <a:pt x="708737" y="211156"/>
                    <a:pt x="706340" y="208322"/>
                  </a:cubicBezTo>
                  <a:cubicBezTo>
                    <a:pt x="703071" y="204397"/>
                    <a:pt x="704814" y="200255"/>
                    <a:pt x="709608" y="200255"/>
                  </a:cubicBezTo>
                  <a:cubicBezTo>
                    <a:pt x="711569" y="200255"/>
                    <a:pt x="712659" y="198729"/>
                    <a:pt x="712223" y="196549"/>
                  </a:cubicBezTo>
                  <a:cubicBezTo>
                    <a:pt x="711787" y="193933"/>
                    <a:pt x="709390" y="192625"/>
                    <a:pt x="705686" y="192625"/>
                  </a:cubicBezTo>
                  <a:cubicBezTo>
                    <a:pt x="702199" y="192625"/>
                    <a:pt x="697841" y="190227"/>
                    <a:pt x="694355" y="186521"/>
                  </a:cubicBezTo>
                  <a:cubicBezTo>
                    <a:pt x="691086" y="183033"/>
                    <a:pt x="687164" y="180853"/>
                    <a:pt x="685421" y="181289"/>
                  </a:cubicBezTo>
                  <a:cubicBezTo>
                    <a:pt x="681280" y="183033"/>
                    <a:pt x="677576" y="178019"/>
                    <a:pt x="678230" y="171696"/>
                  </a:cubicBezTo>
                  <a:cubicBezTo>
                    <a:pt x="679101" y="164938"/>
                    <a:pt x="670603" y="164066"/>
                    <a:pt x="669513" y="170824"/>
                  </a:cubicBezTo>
                  <a:cubicBezTo>
                    <a:pt x="669078" y="173222"/>
                    <a:pt x="666681" y="176274"/>
                    <a:pt x="664066" y="177364"/>
                  </a:cubicBezTo>
                  <a:cubicBezTo>
                    <a:pt x="661233" y="178673"/>
                    <a:pt x="659054" y="181943"/>
                    <a:pt x="658618" y="185431"/>
                  </a:cubicBezTo>
                  <a:cubicBezTo>
                    <a:pt x="657746" y="191971"/>
                    <a:pt x="650555" y="195677"/>
                    <a:pt x="646633" y="191753"/>
                  </a:cubicBezTo>
                  <a:cubicBezTo>
                    <a:pt x="640967" y="186085"/>
                    <a:pt x="634648" y="193279"/>
                    <a:pt x="638788" y="200909"/>
                  </a:cubicBezTo>
                  <a:cubicBezTo>
                    <a:pt x="640750" y="204397"/>
                    <a:pt x="636174" y="206141"/>
                    <a:pt x="623099" y="206577"/>
                  </a:cubicBezTo>
                  <a:cubicBezTo>
                    <a:pt x="616344" y="206796"/>
                    <a:pt x="613511" y="200037"/>
                    <a:pt x="615908" y="190227"/>
                  </a:cubicBezTo>
                  <a:cubicBezTo>
                    <a:pt x="616780" y="187175"/>
                    <a:pt x="616126" y="182379"/>
                    <a:pt x="614601" y="179327"/>
                  </a:cubicBezTo>
                  <a:cubicBezTo>
                    <a:pt x="612204" y="174966"/>
                    <a:pt x="612204" y="173440"/>
                    <a:pt x="615254" y="170170"/>
                  </a:cubicBezTo>
                  <a:cubicBezTo>
                    <a:pt x="617433" y="167990"/>
                    <a:pt x="618959" y="164720"/>
                    <a:pt x="618959" y="162976"/>
                  </a:cubicBezTo>
                  <a:cubicBezTo>
                    <a:pt x="618959" y="161232"/>
                    <a:pt x="620048" y="158616"/>
                    <a:pt x="621138" y="157526"/>
                  </a:cubicBezTo>
                  <a:cubicBezTo>
                    <a:pt x="622881" y="155782"/>
                    <a:pt x="622445" y="154256"/>
                    <a:pt x="620048" y="152294"/>
                  </a:cubicBezTo>
                  <a:cubicBezTo>
                    <a:pt x="618305" y="150768"/>
                    <a:pt x="616780" y="147715"/>
                    <a:pt x="616780" y="145535"/>
                  </a:cubicBezTo>
                  <a:cubicBezTo>
                    <a:pt x="616780" y="143137"/>
                    <a:pt x="614383" y="140303"/>
                    <a:pt x="611332" y="138777"/>
                  </a:cubicBezTo>
                  <a:cubicBezTo>
                    <a:pt x="605449" y="136161"/>
                    <a:pt x="604359" y="132891"/>
                    <a:pt x="608281" y="128967"/>
                  </a:cubicBezTo>
                  <a:cubicBezTo>
                    <a:pt x="611768" y="125479"/>
                    <a:pt x="616780" y="127877"/>
                    <a:pt x="616780" y="133109"/>
                  </a:cubicBezTo>
                  <a:cubicBezTo>
                    <a:pt x="616780" y="136161"/>
                    <a:pt x="618087" y="137251"/>
                    <a:pt x="621792" y="136597"/>
                  </a:cubicBezTo>
                  <a:cubicBezTo>
                    <a:pt x="626150" y="135943"/>
                    <a:pt x="626586" y="134635"/>
                    <a:pt x="627239" y="119811"/>
                  </a:cubicBezTo>
                  <a:lnTo>
                    <a:pt x="627893" y="103678"/>
                  </a:lnTo>
                  <a:lnTo>
                    <a:pt x="622227" y="104768"/>
                  </a:lnTo>
                  <a:cubicBezTo>
                    <a:pt x="618305" y="105640"/>
                    <a:pt x="616780" y="104986"/>
                    <a:pt x="616780" y="102588"/>
                  </a:cubicBezTo>
                  <a:cubicBezTo>
                    <a:pt x="616780" y="99972"/>
                    <a:pt x="615908" y="99972"/>
                    <a:pt x="611332" y="103024"/>
                  </a:cubicBezTo>
                  <a:cubicBezTo>
                    <a:pt x="608499" y="104986"/>
                    <a:pt x="605013" y="106512"/>
                    <a:pt x="603705" y="106512"/>
                  </a:cubicBezTo>
                  <a:cubicBezTo>
                    <a:pt x="600219" y="106512"/>
                    <a:pt x="601090" y="99754"/>
                    <a:pt x="605013" y="95176"/>
                  </a:cubicBezTo>
                  <a:cubicBezTo>
                    <a:pt x="607846" y="92342"/>
                    <a:pt x="608063" y="90598"/>
                    <a:pt x="606102" y="88417"/>
                  </a:cubicBezTo>
                  <a:cubicBezTo>
                    <a:pt x="604141" y="86019"/>
                    <a:pt x="604359" y="84711"/>
                    <a:pt x="606756" y="82531"/>
                  </a:cubicBezTo>
                  <a:cubicBezTo>
                    <a:pt x="612640" y="77953"/>
                    <a:pt x="613075" y="71849"/>
                    <a:pt x="608281" y="67707"/>
                  </a:cubicBezTo>
                  <a:cubicBezTo>
                    <a:pt x="605231" y="65309"/>
                    <a:pt x="603705" y="61384"/>
                    <a:pt x="603487" y="56370"/>
                  </a:cubicBezTo>
                  <a:cubicBezTo>
                    <a:pt x="603270" y="44816"/>
                    <a:pt x="605013" y="34570"/>
                    <a:pt x="607628" y="31953"/>
                  </a:cubicBezTo>
                  <a:cubicBezTo>
                    <a:pt x="609153" y="30427"/>
                    <a:pt x="609371" y="28247"/>
                    <a:pt x="608063" y="25849"/>
                  </a:cubicBezTo>
                  <a:cubicBezTo>
                    <a:pt x="605013" y="20181"/>
                    <a:pt x="611114" y="15385"/>
                    <a:pt x="615908" y="19527"/>
                  </a:cubicBezTo>
                  <a:cubicBezTo>
                    <a:pt x="618959" y="22143"/>
                    <a:pt x="620048" y="21707"/>
                    <a:pt x="624189" y="16475"/>
                  </a:cubicBezTo>
                  <a:cubicBezTo>
                    <a:pt x="628329" y="11461"/>
                    <a:pt x="630508" y="10589"/>
                    <a:pt x="640314" y="10589"/>
                  </a:cubicBezTo>
                  <a:cubicBezTo>
                    <a:pt x="652517" y="10589"/>
                    <a:pt x="651645" y="9935"/>
                    <a:pt x="652517" y="24105"/>
                  </a:cubicBezTo>
                  <a:cubicBezTo>
                    <a:pt x="652734" y="26285"/>
                    <a:pt x="654042" y="29119"/>
                    <a:pt x="655567" y="30645"/>
                  </a:cubicBezTo>
                  <a:cubicBezTo>
                    <a:pt x="659272" y="34352"/>
                    <a:pt x="658836" y="38930"/>
                    <a:pt x="654914" y="38930"/>
                  </a:cubicBezTo>
                  <a:cubicBezTo>
                    <a:pt x="653170" y="38930"/>
                    <a:pt x="651645" y="37404"/>
                    <a:pt x="651645" y="35660"/>
                  </a:cubicBezTo>
                  <a:cubicBezTo>
                    <a:pt x="651645" y="30427"/>
                    <a:pt x="647723" y="31735"/>
                    <a:pt x="642493" y="38930"/>
                  </a:cubicBezTo>
                  <a:cubicBezTo>
                    <a:pt x="637917" y="45252"/>
                    <a:pt x="632033" y="47650"/>
                    <a:pt x="632033" y="43290"/>
                  </a:cubicBezTo>
                  <a:cubicBezTo>
                    <a:pt x="632033" y="42200"/>
                    <a:pt x="630944" y="41110"/>
                    <a:pt x="629854" y="41110"/>
                  </a:cubicBezTo>
                  <a:cubicBezTo>
                    <a:pt x="628547" y="41110"/>
                    <a:pt x="627675" y="43290"/>
                    <a:pt x="627893" y="46124"/>
                  </a:cubicBezTo>
                  <a:cubicBezTo>
                    <a:pt x="628983" y="57896"/>
                    <a:pt x="628111" y="59204"/>
                    <a:pt x="620048" y="57896"/>
                  </a:cubicBezTo>
                  <a:cubicBezTo>
                    <a:pt x="611768" y="56588"/>
                    <a:pt x="609153" y="58550"/>
                    <a:pt x="611332" y="65091"/>
                  </a:cubicBezTo>
                  <a:cubicBezTo>
                    <a:pt x="612422" y="68579"/>
                    <a:pt x="614601" y="69451"/>
                    <a:pt x="622227" y="69451"/>
                  </a:cubicBezTo>
                  <a:cubicBezTo>
                    <a:pt x="636174" y="69451"/>
                    <a:pt x="638571" y="67925"/>
                    <a:pt x="638571" y="59422"/>
                  </a:cubicBezTo>
                  <a:cubicBezTo>
                    <a:pt x="638571" y="53536"/>
                    <a:pt x="639442" y="52010"/>
                    <a:pt x="642929" y="52010"/>
                  </a:cubicBezTo>
                  <a:cubicBezTo>
                    <a:pt x="645761" y="52010"/>
                    <a:pt x="647287" y="50484"/>
                    <a:pt x="647287" y="47650"/>
                  </a:cubicBezTo>
                  <a:cubicBezTo>
                    <a:pt x="647287" y="42200"/>
                    <a:pt x="652734" y="39584"/>
                    <a:pt x="656875" y="43072"/>
                  </a:cubicBezTo>
                  <a:cubicBezTo>
                    <a:pt x="658400" y="44380"/>
                    <a:pt x="665155" y="45688"/>
                    <a:pt x="672128" y="45688"/>
                  </a:cubicBezTo>
                  <a:cubicBezTo>
                    <a:pt x="678883" y="45906"/>
                    <a:pt x="684331" y="46342"/>
                    <a:pt x="684331" y="46996"/>
                  </a:cubicBezTo>
                  <a:cubicBezTo>
                    <a:pt x="684331" y="47432"/>
                    <a:pt x="681934" y="48740"/>
                    <a:pt x="678883" y="49830"/>
                  </a:cubicBezTo>
                  <a:cubicBezTo>
                    <a:pt x="672128" y="52446"/>
                    <a:pt x="671692" y="58114"/>
                    <a:pt x="678448" y="58986"/>
                  </a:cubicBezTo>
                  <a:cubicBezTo>
                    <a:pt x="681498" y="59422"/>
                    <a:pt x="683459" y="61384"/>
                    <a:pt x="683895" y="64219"/>
                  </a:cubicBezTo>
                  <a:cubicBezTo>
                    <a:pt x="684331" y="67925"/>
                    <a:pt x="683242" y="69015"/>
                    <a:pt x="677794" y="69887"/>
                  </a:cubicBezTo>
                  <a:cubicBezTo>
                    <a:pt x="674089" y="70541"/>
                    <a:pt x="669295" y="69451"/>
                    <a:pt x="666898" y="67925"/>
                  </a:cubicBezTo>
                  <a:cubicBezTo>
                    <a:pt x="660797" y="63565"/>
                    <a:pt x="657528" y="66399"/>
                    <a:pt x="659054" y="74901"/>
                  </a:cubicBezTo>
                  <a:cubicBezTo>
                    <a:pt x="659925" y="79479"/>
                    <a:pt x="659490" y="82531"/>
                    <a:pt x="657964" y="82967"/>
                  </a:cubicBezTo>
                  <a:cubicBezTo>
                    <a:pt x="656221" y="83621"/>
                    <a:pt x="656221" y="86673"/>
                    <a:pt x="657528" y="93432"/>
                  </a:cubicBezTo>
                  <a:lnTo>
                    <a:pt x="659272" y="102806"/>
                  </a:lnTo>
                  <a:lnTo>
                    <a:pt x="670167" y="91688"/>
                  </a:lnTo>
                  <a:cubicBezTo>
                    <a:pt x="676704" y="84929"/>
                    <a:pt x="683024" y="80351"/>
                    <a:pt x="685856" y="80351"/>
                  </a:cubicBezTo>
                  <a:cubicBezTo>
                    <a:pt x="692394" y="80351"/>
                    <a:pt x="698713" y="89289"/>
                    <a:pt x="700456" y="101062"/>
                  </a:cubicBezTo>
                  <a:cubicBezTo>
                    <a:pt x="702199" y="111962"/>
                    <a:pt x="705686" y="115886"/>
                    <a:pt x="707647" y="108910"/>
                  </a:cubicBezTo>
                  <a:cubicBezTo>
                    <a:pt x="709390" y="102152"/>
                    <a:pt x="713095" y="106076"/>
                    <a:pt x="711569" y="113052"/>
                  </a:cubicBezTo>
                  <a:cubicBezTo>
                    <a:pt x="710916" y="116540"/>
                    <a:pt x="711352" y="121119"/>
                    <a:pt x="712659" y="123299"/>
                  </a:cubicBezTo>
                  <a:cubicBezTo>
                    <a:pt x="714402" y="126133"/>
                    <a:pt x="714620" y="128967"/>
                    <a:pt x="712877" y="133545"/>
                  </a:cubicBezTo>
                  <a:cubicBezTo>
                    <a:pt x="710480" y="139649"/>
                    <a:pt x="710262" y="139649"/>
                    <a:pt x="704814" y="135943"/>
                  </a:cubicBezTo>
                  <a:cubicBezTo>
                    <a:pt x="698713" y="132019"/>
                    <a:pt x="695444" y="133109"/>
                    <a:pt x="699149" y="137687"/>
                  </a:cubicBezTo>
                  <a:cubicBezTo>
                    <a:pt x="701110" y="139867"/>
                    <a:pt x="700892" y="141611"/>
                    <a:pt x="698495" y="144881"/>
                  </a:cubicBezTo>
                  <a:cubicBezTo>
                    <a:pt x="693701" y="151204"/>
                    <a:pt x="694573" y="153820"/>
                    <a:pt x="701982" y="156436"/>
                  </a:cubicBezTo>
                  <a:cubicBezTo>
                    <a:pt x="710916" y="159488"/>
                    <a:pt x="712877" y="157962"/>
                    <a:pt x="712223" y="148369"/>
                  </a:cubicBezTo>
                  <a:cubicBezTo>
                    <a:pt x="711787" y="142047"/>
                    <a:pt x="712441" y="140303"/>
                    <a:pt x="715710" y="139649"/>
                  </a:cubicBezTo>
                  <a:cubicBezTo>
                    <a:pt x="718760" y="138995"/>
                    <a:pt x="719414" y="139649"/>
                    <a:pt x="718543" y="142265"/>
                  </a:cubicBezTo>
                  <a:cubicBezTo>
                    <a:pt x="717671" y="144227"/>
                    <a:pt x="718107" y="147715"/>
                    <a:pt x="719632" y="149896"/>
                  </a:cubicBezTo>
                  <a:cubicBezTo>
                    <a:pt x="722683" y="154910"/>
                    <a:pt x="720504" y="161014"/>
                    <a:pt x="714838" y="162540"/>
                  </a:cubicBezTo>
                  <a:cubicBezTo>
                    <a:pt x="712441" y="163194"/>
                    <a:pt x="710480" y="165374"/>
                    <a:pt x="710480" y="167336"/>
                  </a:cubicBezTo>
                  <a:cubicBezTo>
                    <a:pt x="710480" y="173004"/>
                    <a:pt x="708301" y="174312"/>
                    <a:pt x="703289" y="171478"/>
                  </a:cubicBezTo>
                  <a:cubicBezTo>
                    <a:pt x="699802" y="169734"/>
                    <a:pt x="698277" y="169952"/>
                    <a:pt x="695880" y="173222"/>
                  </a:cubicBezTo>
                  <a:cubicBezTo>
                    <a:pt x="694355" y="175402"/>
                    <a:pt x="693265" y="178237"/>
                    <a:pt x="693701" y="179545"/>
                  </a:cubicBezTo>
                  <a:cubicBezTo>
                    <a:pt x="694791" y="181943"/>
                    <a:pt x="696316" y="181943"/>
                    <a:pt x="711352" y="179763"/>
                  </a:cubicBezTo>
                  <a:lnTo>
                    <a:pt x="721375" y="178237"/>
                  </a:lnTo>
                  <a:lnTo>
                    <a:pt x="720940" y="185431"/>
                  </a:lnTo>
                  <a:cubicBezTo>
                    <a:pt x="720286" y="191753"/>
                    <a:pt x="720940" y="192625"/>
                    <a:pt x="726169" y="193279"/>
                  </a:cubicBezTo>
                  <a:cubicBezTo>
                    <a:pt x="730963" y="193933"/>
                    <a:pt x="732707" y="192843"/>
                    <a:pt x="734450" y="188483"/>
                  </a:cubicBezTo>
                  <a:cubicBezTo>
                    <a:pt x="736629" y="182815"/>
                    <a:pt x="743820" y="180635"/>
                    <a:pt x="746435" y="184995"/>
                  </a:cubicBezTo>
                  <a:cubicBezTo>
                    <a:pt x="748832" y="188919"/>
                    <a:pt x="740333" y="200255"/>
                    <a:pt x="735103" y="200255"/>
                  </a:cubicBezTo>
                  <a:cubicBezTo>
                    <a:pt x="729874" y="200255"/>
                    <a:pt x="728348" y="203307"/>
                    <a:pt x="732271" y="205705"/>
                  </a:cubicBezTo>
                  <a:cubicBezTo>
                    <a:pt x="735757" y="207886"/>
                    <a:pt x="734886" y="215734"/>
                    <a:pt x="730745" y="220312"/>
                  </a:cubicBezTo>
                  <a:cubicBezTo>
                    <a:pt x="727259" y="224236"/>
                    <a:pt x="727259" y="224890"/>
                    <a:pt x="730963" y="230776"/>
                  </a:cubicBezTo>
                  <a:cubicBezTo>
                    <a:pt x="732924" y="234482"/>
                    <a:pt x="734014" y="238407"/>
                    <a:pt x="733360" y="239497"/>
                  </a:cubicBezTo>
                  <a:cubicBezTo>
                    <a:pt x="731399" y="242767"/>
                    <a:pt x="736411" y="248217"/>
                    <a:pt x="739897" y="246909"/>
                  </a:cubicBezTo>
                  <a:cubicBezTo>
                    <a:pt x="743820" y="245383"/>
                    <a:pt x="746435" y="233174"/>
                    <a:pt x="743384" y="230122"/>
                  </a:cubicBezTo>
                  <a:cubicBezTo>
                    <a:pt x="739897" y="226634"/>
                    <a:pt x="740333" y="219876"/>
                    <a:pt x="744038" y="219876"/>
                  </a:cubicBezTo>
                  <a:cubicBezTo>
                    <a:pt x="747524" y="219876"/>
                    <a:pt x="752972" y="208104"/>
                    <a:pt x="751011" y="204833"/>
                  </a:cubicBezTo>
                  <a:cubicBezTo>
                    <a:pt x="750139" y="203743"/>
                    <a:pt x="750575" y="202217"/>
                    <a:pt x="751882" y="201345"/>
                  </a:cubicBezTo>
                  <a:cubicBezTo>
                    <a:pt x="753190" y="200473"/>
                    <a:pt x="753626" y="195459"/>
                    <a:pt x="752754" y="188047"/>
                  </a:cubicBezTo>
                  <a:cubicBezTo>
                    <a:pt x="751882" y="180635"/>
                    <a:pt x="752100" y="176274"/>
                    <a:pt x="753408" y="176274"/>
                  </a:cubicBezTo>
                  <a:cubicBezTo>
                    <a:pt x="757984" y="176274"/>
                    <a:pt x="760599" y="182815"/>
                    <a:pt x="762778" y="199165"/>
                  </a:cubicBezTo>
                  <a:cubicBezTo>
                    <a:pt x="763867" y="208540"/>
                    <a:pt x="765393" y="216606"/>
                    <a:pt x="766046" y="217260"/>
                  </a:cubicBezTo>
                  <a:cubicBezTo>
                    <a:pt x="766482" y="217914"/>
                    <a:pt x="768443" y="217042"/>
                    <a:pt x="770404" y="215516"/>
                  </a:cubicBezTo>
                  <a:cubicBezTo>
                    <a:pt x="772584" y="213772"/>
                    <a:pt x="773673" y="208976"/>
                    <a:pt x="773673" y="201563"/>
                  </a:cubicBezTo>
                  <a:cubicBezTo>
                    <a:pt x="773673" y="195241"/>
                    <a:pt x="774763" y="189137"/>
                    <a:pt x="776070" y="187829"/>
                  </a:cubicBezTo>
                  <a:cubicBezTo>
                    <a:pt x="777595" y="186303"/>
                    <a:pt x="777160" y="184559"/>
                    <a:pt x="774545" y="181725"/>
                  </a:cubicBezTo>
                  <a:cubicBezTo>
                    <a:pt x="771276" y="178673"/>
                    <a:pt x="771058" y="176928"/>
                    <a:pt x="773237" y="171042"/>
                  </a:cubicBezTo>
                  <a:cubicBezTo>
                    <a:pt x="774763" y="167118"/>
                    <a:pt x="775852" y="160796"/>
                    <a:pt x="775852" y="156872"/>
                  </a:cubicBezTo>
                  <a:cubicBezTo>
                    <a:pt x="775852" y="151204"/>
                    <a:pt x="776506" y="149896"/>
                    <a:pt x="779339" y="150986"/>
                  </a:cubicBezTo>
                  <a:cubicBezTo>
                    <a:pt x="781300" y="151640"/>
                    <a:pt x="783915" y="152294"/>
                    <a:pt x="785440" y="152294"/>
                  </a:cubicBezTo>
                  <a:cubicBezTo>
                    <a:pt x="787183" y="152294"/>
                    <a:pt x="787837" y="154474"/>
                    <a:pt x="787183" y="158834"/>
                  </a:cubicBezTo>
                  <a:cubicBezTo>
                    <a:pt x="786312" y="164284"/>
                    <a:pt x="787183" y="165592"/>
                    <a:pt x="792195" y="167554"/>
                  </a:cubicBezTo>
                  <a:cubicBezTo>
                    <a:pt x="796335" y="169080"/>
                    <a:pt x="798950" y="169080"/>
                    <a:pt x="800912" y="167554"/>
                  </a:cubicBezTo>
                  <a:cubicBezTo>
                    <a:pt x="807231" y="162322"/>
                    <a:pt x="805705" y="169516"/>
                    <a:pt x="798950" y="177582"/>
                  </a:cubicBezTo>
                  <a:cubicBezTo>
                    <a:pt x="795028" y="182161"/>
                    <a:pt x="792195" y="187175"/>
                    <a:pt x="792631" y="188483"/>
                  </a:cubicBezTo>
                  <a:cubicBezTo>
                    <a:pt x="793067" y="189791"/>
                    <a:pt x="791759" y="192189"/>
                    <a:pt x="790016" y="193715"/>
                  </a:cubicBezTo>
                  <a:cubicBezTo>
                    <a:pt x="786965" y="196331"/>
                    <a:pt x="786094" y="196113"/>
                    <a:pt x="784568" y="193715"/>
                  </a:cubicBezTo>
                  <a:cubicBezTo>
                    <a:pt x="783479" y="191971"/>
                    <a:pt x="783479" y="189573"/>
                    <a:pt x="784568" y="188265"/>
                  </a:cubicBezTo>
                  <a:cubicBezTo>
                    <a:pt x="785658" y="186957"/>
                    <a:pt x="785658" y="184559"/>
                    <a:pt x="784786" y="183033"/>
                  </a:cubicBezTo>
                  <a:cubicBezTo>
                    <a:pt x="783261" y="180853"/>
                    <a:pt x="782607" y="181289"/>
                    <a:pt x="781300" y="184777"/>
                  </a:cubicBezTo>
                  <a:cubicBezTo>
                    <a:pt x="779339" y="191099"/>
                    <a:pt x="781518" y="199819"/>
                    <a:pt x="785004" y="199601"/>
                  </a:cubicBezTo>
                  <a:cubicBezTo>
                    <a:pt x="792195" y="199383"/>
                    <a:pt x="794592" y="200691"/>
                    <a:pt x="797207" y="206141"/>
                  </a:cubicBezTo>
                  <a:cubicBezTo>
                    <a:pt x="800912" y="214426"/>
                    <a:pt x="800476" y="217260"/>
                    <a:pt x="795464" y="218786"/>
                  </a:cubicBezTo>
                  <a:cubicBezTo>
                    <a:pt x="793067" y="219440"/>
                    <a:pt x="791106" y="221402"/>
                    <a:pt x="791106" y="223146"/>
                  </a:cubicBezTo>
                  <a:cubicBezTo>
                    <a:pt x="791106" y="226634"/>
                    <a:pt x="796989" y="232956"/>
                    <a:pt x="800040" y="232956"/>
                  </a:cubicBezTo>
                  <a:cubicBezTo>
                    <a:pt x="801129" y="232956"/>
                    <a:pt x="800476" y="235354"/>
                    <a:pt x="798515" y="238407"/>
                  </a:cubicBezTo>
                  <a:cubicBezTo>
                    <a:pt x="796335" y="241677"/>
                    <a:pt x="792849" y="243857"/>
                    <a:pt x="789798" y="243857"/>
                  </a:cubicBezTo>
                  <a:cubicBezTo>
                    <a:pt x="783915" y="243857"/>
                    <a:pt x="783261" y="246037"/>
                    <a:pt x="787183" y="249961"/>
                  </a:cubicBezTo>
                  <a:cubicBezTo>
                    <a:pt x="789362" y="252141"/>
                    <a:pt x="789362" y="253231"/>
                    <a:pt x="786748" y="254757"/>
                  </a:cubicBezTo>
                  <a:cubicBezTo>
                    <a:pt x="781736" y="258027"/>
                    <a:pt x="780428" y="257373"/>
                    <a:pt x="778903" y="251705"/>
                  </a:cubicBezTo>
                  <a:cubicBezTo>
                    <a:pt x="778249" y="248653"/>
                    <a:pt x="775852" y="244729"/>
                    <a:pt x="773455" y="242549"/>
                  </a:cubicBezTo>
                  <a:cubicBezTo>
                    <a:pt x="768443" y="237971"/>
                    <a:pt x="771494" y="230776"/>
                    <a:pt x="778249" y="230776"/>
                  </a:cubicBezTo>
                  <a:cubicBezTo>
                    <a:pt x="781300" y="230776"/>
                    <a:pt x="782389" y="229686"/>
                    <a:pt x="781736" y="227724"/>
                  </a:cubicBezTo>
                  <a:cubicBezTo>
                    <a:pt x="781082" y="226198"/>
                    <a:pt x="783043" y="221184"/>
                    <a:pt x="786094" y="216606"/>
                  </a:cubicBezTo>
                  <a:cubicBezTo>
                    <a:pt x="790016" y="210720"/>
                    <a:pt x="790888" y="207886"/>
                    <a:pt x="789145" y="206141"/>
                  </a:cubicBezTo>
                  <a:cubicBezTo>
                    <a:pt x="787401" y="204397"/>
                    <a:pt x="785222" y="205269"/>
                    <a:pt x="781300" y="208976"/>
                  </a:cubicBezTo>
                  <a:cubicBezTo>
                    <a:pt x="774327" y="215516"/>
                    <a:pt x="762778" y="233392"/>
                    <a:pt x="762778" y="237535"/>
                  </a:cubicBezTo>
                  <a:cubicBezTo>
                    <a:pt x="762778" y="239279"/>
                    <a:pt x="759727" y="241895"/>
                    <a:pt x="756241" y="243203"/>
                  </a:cubicBezTo>
                  <a:cubicBezTo>
                    <a:pt x="749050" y="245819"/>
                    <a:pt x="747524" y="252359"/>
                    <a:pt x="752972" y="256937"/>
                  </a:cubicBezTo>
                  <a:cubicBezTo>
                    <a:pt x="755587" y="259117"/>
                    <a:pt x="757548" y="259117"/>
                    <a:pt x="762560" y="256937"/>
                  </a:cubicBezTo>
                  <a:cubicBezTo>
                    <a:pt x="771712" y="253231"/>
                    <a:pt x="778467" y="255847"/>
                    <a:pt x="776724" y="262387"/>
                  </a:cubicBezTo>
                  <a:cubicBezTo>
                    <a:pt x="775634" y="266530"/>
                    <a:pt x="776506" y="267620"/>
                    <a:pt x="780646" y="268274"/>
                  </a:cubicBezTo>
                  <a:cubicBezTo>
                    <a:pt x="785004" y="268928"/>
                    <a:pt x="785658" y="270018"/>
                    <a:pt x="785658" y="279610"/>
                  </a:cubicBezTo>
                  <a:cubicBezTo>
                    <a:pt x="785876" y="288548"/>
                    <a:pt x="785004" y="290292"/>
                    <a:pt x="780864" y="292036"/>
                  </a:cubicBezTo>
                  <a:cubicBezTo>
                    <a:pt x="778031" y="293126"/>
                    <a:pt x="775852" y="295743"/>
                    <a:pt x="775852" y="297705"/>
                  </a:cubicBezTo>
                  <a:cubicBezTo>
                    <a:pt x="775852" y="302065"/>
                    <a:pt x="768008" y="307951"/>
                    <a:pt x="764957" y="305989"/>
                  </a:cubicBezTo>
                  <a:cubicBezTo>
                    <a:pt x="763867" y="305335"/>
                    <a:pt x="763431" y="301847"/>
                    <a:pt x="764303" y="298359"/>
                  </a:cubicBezTo>
                  <a:cubicBezTo>
                    <a:pt x="765828" y="289856"/>
                    <a:pt x="760599" y="287676"/>
                    <a:pt x="752754" y="293781"/>
                  </a:cubicBezTo>
                  <a:cubicBezTo>
                    <a:pt x="746870" y="298359"/>
                    <a:pt x="743166" y="298141"/>
                    <a:pt x="743166" y="292908"/>
                  </a:cubicBezTo>
                  <a:cubicBezTo>
                    <a:pt x="743166" y="287894"/>
                    <a:pt x="738808" y="286804"/>
                    <a:pt x="734232" y="290946"/>
                  </a:cubicBezTo>
                  <a:cubicBezTo>
                    <a:pt x="732053" y="292908"/>
                    <a:pt x="730092" y="296833"/>
                    <a:pt x="730092" y="299449"/>
                  </a:cubicBezTo>
                  <a:cubicBezTo>
                    <a:pt x="730092" y="304899"/>
                    <a:pt x="722247" y="308387"/>
                    <a:pt x="718107" y="304899"/>
                  </a:cubicBezTo>
                  <a:cubicBezTo>
                    <a:pt x="715056" y="302501"/>
                    <a:pt x="712659" y="304245"/>
                    <a:pt x="712659" y="308823"/>
                  </a:cubicBezTo>
                  <a:cubicBezTo>
                    <a:pt x="712659" y="310567"/>
                    <a:pt x="713966" y="311439"/>
                    <a:pt x="715492" y="310785"/>
                  </a:cubicBezTo>
                  <a:cubicBezTo>
                    <a:pt x="717235" y="310131"/>
                    <a:pt x="719850" y="310567"/>
                    <a:pt x="721375" y="311439"/>
                  </a:cubicBezTo>
                  <a:cubicBezTo>
                    <a:pt x="723990" y="312965"/>
                    <a:pt x="723990" y="314273"/>
                    <a:pt x="721375" y="319069"/>
                  </a:cubicBezTo>
                  <a:cubicBezTo>
                    <a:pt x="718760" y="323866"/>
                    <a:pt x="718978" y="325610"/>
                    <a:pt x="722029" y="332150"/>
                  </a:cubicBezTo>
                  <a:cubicBezTo>
                    <a:pt x="727695" y="344140"/>
                    <a:pt x="726169" y="345448"/>
                    <a:pt x="716363" y="336510"/>
                  </a:cubicBezTo>
                  <a:cubicBezTo>
                    <a:pt x="712005" y="332368"/>
                    <a:pt x="710698" y="329534"/>
                    <a:pt x="711787" y="325828"/>
                  </a:cubicBezTo>
                  <a:cubicBezTo>
                    <a:pt x="712441" y="322557"/>
                    <a:pt x="711569" y="319505"/>
                    <a:pt x="709173" y="317107"/>
                  </a:cubicBezTo>
                  <a:cubicBezTo>
                    <a:pt x="704379" y="312311"/>
                    <a:pt x="700892" y="315581"/>
                    <a:pt x="700674" y="324956"/>
                  </a:cubicBezTo>
                  <a:cubicBezTo>
                    <a:pt x="700674" y="328880"/>
                    <a:pt x="699149" y="332586"/>
                    <a:pt x="696970" y="334112"/>
                  </a:cubicBezTo>
                  <a:cubicBezTo>
                    <a:pt x="691740" y="337382"/>
                    <a:pt x="689561" y="334112"/>
                    <a:pt x="693047" y="327790"/>
                  </a:cubicBezTo>
                  <a:cubicBezTo>
                    <a:pt x="697188" y="319941"/>
                    <a:pt x="693265" y="316017"/>
                    <a:pt x="685421" y="320159"/>
                  </a:cubicBezTo>
                  <a:cubicBezTo>
                    <a:pt x="679101" y="323648"/>
                    <a:pt x="676051" y="321685"/>
                    <a:pt x="679973" y="316889"/>
                  </a:cubicBezTo>
                  <a:cubicBezTo>
                    <a:pt x="681716" y="314709"/>
                    <a:pt x="681934" y="313619"/>
                    <a:pt x="680191" y="313619"/>
                  </a:cubicBezTo>
                  <a:cubicBezTo>
                    <a:pt x="678883" y="313619"/>
                    <a:pt x="677794" y="314709"/>
                    <a:pt x="677794" y="315799"/>
                  </a:cubicBezTo>
                  <a:cubicBezTo>
                    <a:pt x="677794" y="317107"/>
                    <a:pt x="674307" y="317979"/>
                    <a:pt x="670167" y="317979"/>
                  </a:cubicBezTo>
                  <a:cubicBezTo>
                    <a:pt x="661233" y="317979"/>
                    <a:pt x="660361" y="321249"/>
                    <a:pt x="667116" y="329534"/>
                  </a:cubicBezTo>
                  <a:cubicBezTo>
                    <a:pt x="670603" y="334330"/>
                    <a:pt x="671039" y="336074"/>
                    <a:pt x="669078" y="339780"/>
                  </a:cubicBezTo>
                  <a:cubicBezTo>
                    <a:pt x="666027" y="345666"/>
                    <a:pt x="661669" y="344358"/>
                    <a:pt x="660797" y="337382"/>
                  </a:cubicBezTo>
                  <a:cubicBezTo>
                    <a:pt x="660361" y="334548"/>
                    <a:pt x="658618" y="330624"/>
                    <a:pt x="656875" y="328662"/>
                  </a:cubicBezTo>
                  <a:cubicBezTo>
                    <a:pt x="654914" y="326482"/>
                    <a:pt x="654696" y="324520"/>
                    <a:pt x="656221" y="322994"/>
                  </a:cubicBezTo>
                  <a:cubicBezTo>
                    <a:pt x="657528" y="321685"/>
                    <a:pt x="657528" y="319069"/>
                    <a:pt x="656221" y="315145"/>
                  </a:cubicBezTo>
                  <a:cubicBezTo>
                    <a:pt x="654260" y="310349"/>
                    <a:pt x="654696" y="309041"/>
                    <a:pt x="658182" y="307079"/>
                  </a:cubicBezTo>
                  <a:cubicBezTo>
                    <a:pt x="660361" y="305989"/>
                    <a:pt x="663848" y="304899"/>
                    <a:pt x="665591" y="304899"/>
                  </a:cubicBezTo>
                  <a:cubicBezTo>
                    <a:pt x="667988" y="304899"/>
                    <a:pt x="669078" y="302937"/>
                    <a:pt x="669078" y="298577"/>
                  </a:cubicBezTo>
                  <a:cubicBezTo>
                    <a:pt x="669078" y="295089"/>
                    <a:pt x="668424" y="291818"/>
                    <a:pt x="667552" y="291164"/>
                  </a:cubicBezTo>
                  <a:cubicBezTo>
                    <a:pt x="666463" y="290728"/>
                    <a:pt x="667116" y="290728"/>
                    <a:pt x="668642" y="290946"/>
                  </a:cubicBezTo>
                  <a:cubicBezTo>
                    <a:pt x="670167" y="291382"/>
                    <a:pt x="673436" y="289202"/>
                    <a:pt x="676051" y="286368"/>
                  </a:cubicBezTo>
                  <a:cubicBezTo>
                    <a:pt x="678883" y="283098"/>
                    <a:pt x="683024" y="280918"/>
                    <a:pt x="686510" y="280918"/>
                  </a:cubicBezTo>
                  <a:cubicBezTo>
                    <a:pt x="698931" y="280918"/>
                    <a:pt x="706558" y="263477"/>
                    <a:pt x="698931" y="251923"/>
                  </a:cubicBezTo>
                  <a:cubicBezTo>
                    <a:pt x="695662" y="246909"/>
                    <a:pt x="695662" y="246255"/>
                    <a:pt x="698713" y="243639"/>
                  </a:cubicBezTo>
                  <a:cubicBezTo>
                    <a:pt x="700674" y="242113"/>
                    <a:pt x="703071" y="238625"/>
                    <a:pt x="704161" y="235791"/>
                  </a:cubicBezTo>
                  <a:cubicBezTo>
                    <a:pt x="706122" y="230558"/>
                    <a:pt x="711352" y="229032"/>
                    <a:pt x="713749" y="232956"/>
                  </a:cubicBezTo>
                  <a:cubicBezTo>
                    <a:pt x="714402" y="234046"/>
                    <a:pt x="713966" y="237099"/>
                    <a:pt x="712659" y="239497"/>
                  </a:cubicBezTo>
                  <a:cubicBezTo>
                    <a:pt x="710916" y="242549"/>
                    <a:pt x="710916" y="245165"/>
                    <a:pt x="712877" y="248435"/>
                  </a:cubicBezTo>
                  <a:cubicBezTo>
                    <a:pt x="714620" y="251705"/>
                    <a:pt x="714620" y="253667"/>
                    <a:pt x="712877" y="255411"/>
                  </a:cubicBezTo>
                  <a:cubicBezTo>
                    <a:pt x="708519" y="259771"/>
                    <a:pt x="710262" y="263477"/>
                    <a:pt x="717017" y="263477"/>
                  </a:cubicBezTo>
                  <a:cubicBezTo>
                    <a:pt x="723990" y="263477"/>
                    <a:pt x="724862" y="264786"/>
                    <a:pt x="721375" y="270018"/>
                  </a:cubicBezTo>
                  <a:cubicBezTo>
                    <a:pt x="719632" y="272852"/>
                    <a:pt x="718543" y="272852"/>
                    <a:pt x="714620" y="270454"/>
                  </a:cubicBezTo>
                  <a:cubicBezTo>
                    <a:pt x="711787" y="268710"/>
                    <a:pt x="709173" y="268274"/>
                    <a:pt x="707865" y="269582"/>
                  </a:cubicBezTo>
                  <a:cubicBezTo>
                    <a:pt x="705250" y="272198"/>
                    <a:pt x="715056" y="290510"/>
                    <a:pt x="719850" y="291382"/>
                  </a:cubicBezTo>
                  <a:cubicBezTo>
                    <a:pt x="722901" y="292036"/>
                    <a:pt x="723554" y="290510"/>
                    <a:pt x="723554" y="283316"/>
                  </a:cubicBezTo>
                  <a:cubicBezTo>
                    <a:pt x="723554" y="275250"/>
                    <a:pt x="724208" y="274378"/>
                    <a:pt x="728784" y="274378"/>
                  </a:cubicBezTo>
                  <a:cubicBezTo>
                    <a:pt x="731617" y="274378"/>
                    <a:pt x="734668" y="275904"/>
                    <a:pt x="735321" y="277866"/>
                  </a:cubicBezTo>
                  <a:cubicBezTo>
                    <a:pt x="736411" y="280482"/>
                    <a:pt x="738372" y="281136"/>
                    <a:pt x="743166" y="280046"/>
                  </a:cubicBezTo>
                  <a:cubicBezTo>
                    <a:pt x="747960" y="279174"/>
                    <a:pt x="751011" y="280046"/>
                    <a:pt x="754061" y="283098"/>
                  </a:cubicBezTo>
                  <a:cubicBezTo>
                    <a:pt x="756458" y="285496"/>
                    <a:pt x="759727" y="286804"/>
                    <a:pt x="761688" y="286150"/>
                  </a:cubicBezTo>
                  <a:cubicBezTo>
                    <a:pt x="763431" y="285278"/>
                    <a:pt x="764957" y="285932"/>
                    <a:pt x="764957" y="287240"/>
                  </a:cubicBezTo>
                  <a:cubicBezTo>
                    <a:pt x="764957" y="288984"/>
                    <a:pt x="766264" y="288766"/>
                    <a:pt x="769315" y="287022"/>
                  </a:cubicBezTo>
                  <a:cubicBezTo>
                    <a:pt x="774981" y="283316"/>
                    <a:pt x="774763" y="281354"/>
                    <a:pt x="768225" y="278302"/>
                  </a:cubicBezTo>
                  <a:cubicBezTo>
                    <a:pt x="765175" y="276994"/>
                    <a:pt x="762778" y="274378"/>
                    <a:pt x="762778" y="272416"/>
                  </a:cubicBezTo>
                  <a:cubicBezTo>
                    <a:pt x="762778" y="264786"/>
                    <a:pt x="759509" y="263041"/>
                    <a:pt x="753626" y="267620"/>
                  </a:cubicBezTo>
                  <a:cubicBezTo>
                    <a:pt x="747960" y="272198"/>
                    <a:pt x="743166" y="270454"/>
                    <a:pt x="743166" y="264131"/>
                  </a:cubicBezTo>
                  <a:cubicBezTo>
                    <a:pt x="743166" y="262605"/>
                    <a:pt x="741859" y="261297"/>
                    <a:pt x="740115" y="261297"/>
                  </a:cubicBezTo>
                  <a:cubicBezTo>
                    <a:pt x="738590" y="261297"/>
                    <a:pt x="735975" y="259771"/>
                    <a:pt x="734450" y="258027"/>
                  </a:cubicBezTo>
                  <a:cubicBezTo>
                    <a:pt x="732924" y="256283"/>
                    <a:pt x="729656" y="254757"/>
                    <a:pt x="727041" y="254757"/>
                  </a:cubicBezTo>
                  <a:cubicBezTo>
                    <a:pt x="724426" y="254757"/>
                    <a:pt x="720504" y="253449"/>
                    <a:pt x="718325" y="251923"/>
                  </a:cubicBezTo>
                  <a:cubicBezTo>
                    <a:pt x="714838" y="249307"/>
                    <a:pt x="715056" y="248871"/>
                    <a:pt x="720068" y="244075"/>
                  </a:cubicBezTo>
                  <a:cubicBezTo>
                    <a:pt x="724426" y="239933"/>
                    <a:pt x="725080" y="237971"/>
                    <a:pt x="723336" y="233610"/>
                  </a:cubicBezTo>
                  <a:cubicBezTo>
                    <a:pt x="722247" y="230776"/>
                    <a:pt x="721375" y="223800"/>
                    <a:pt x="721375" y="218132"/>
                  </a:cubicBezTo>
                  <a:cubicBezTo>
                    <a:pt x="721375" y="212464"/>
                    <a:pt x="720286" y="206359"/>
                    <a:pt x="719196" y="204615"/>
                  </a:cubicBezTo>
                  <a:cubicBezTo>
                    <a:pt x="717453" y="201781"/>
                    <a:pt x="716799" y="201781"/>
                    <a:pt x="713313" y="205051"/>
                  </a:cubicBezTo>
                  <a:cubicBezTo>
                    <a:pt x="710480" y="208104"/>
                    <a:pt x="710044" y="209630"/>
                    <a:pt x="712223" y="211592"/>
                  </a:cubicBezTo>
                  <a:cubicBezTo>
                    <a:pt x="716363" y="215734"/>
                    <a:pt x="715492" y="220312"/>
                    <a:pt x="710698" y="218786"/>
                  </a:cubicBezTo>
                  <a:cubicBezTo>
                    <a:pt x="708519" y="218132"/>
                    <a:pt x="705468" y="219004"/>
                    <a:pt x="703943" y="220966"/>
                  </a:cubicBezTo>
                  <a:cubicBezTo>
                    <a:pt x="702417" y="222710"/>
                    <a:pt x="698931" y="224236"/>
                    <a:pt x="696098" y="224236"/>
                  </a:cubicBezTo>
                  <a:cubicBezTo>
                    <a:pt x="692829" y="224236"/>
                    <a:pt x="690868" y="225544"/>
                    <a:pt x="690868" y="227506"/>
                  </a:cubicBezTo>
                  <a:cubicBezTo>
                    <a:pt x="690868" y="229250"/>
                    <a:pt x="692829" y="230776"/>
                    <a:pt x="695226" y="230776"/>
                  </a:cubicBezTo>
                  <a:cubicBezTo>
                    <a:pt x="700456" y="230776"/>
                    <a:pt x="700892" y="234482"/>
                    <a:pt x="695880" y="239933"/>
                  </a:cubicBezTo>
                  <a:cubicBezTo>
                    <a:pt x="693701" y="242331"/>
                    <a:pt x="689343" y="243857"/>
                    <a:pt x="684113" y="243857"/>
                  </a:cubicBezTo>
                  <a:cubicBezTo>
                    <a:pt x="670385" y="243857"/>
                    <a:pt x="670603" y="252795"/>
                    <a:pt x="684331" y="255629"/>
                  </a:cubicBezTo>
                  <a:cubicBezTo>
                    <a:pt x="691958" y="257155"/>
                    <a:pt x="694791" y="261951"/>
                    <a:pt x="690650" y="266966"/>
                  </a:cubicBezTo>
                  <a:cubicBezTo>
                    <a:pt x="688689" y="269364"/>
                    <a:pt x="684985" y="270236"/>
                    <a:pt x="678012" y="269582"/>
                  </a:cubicBezTo>
                  <a:cubicBezTo>
                    <a:pt x="668424" y="268928"/>
                    <a:pt x="667988" y="269146"/>
                    <a:pt x="667988" y="274814"/>
                  </a:cubicBezTo>
                  <a:cubicBezTo>
                    <a:pt x="667988" y="281790"/>
                    <a:pt x="665373" y="285060"/>
                    <a:pt x="663412" y="280046"/>
                  </a:cubicBezTo>
                  <a:cubicBezTo>
                    <a:pt x="661015" y="273506"/>
                    <a:pt x="657746" y="276558"/>
                    <a:pt x="658618" y="284842"/>
                  </a:cubicBezTo>
                  <a:cubicBezTo>
                    <a:pt x="659272" y="291818"/>
                    <a:pt x="658618" y="292908"/>
                    <a:pt x="654478" y="292908"/>
                  </a:cubicBezTo>
                  <a:cubicBezTo>
                    <a:pt x="652081" y="292908"/>
                    <a:pt x="649030" y="293562"/>
                    <a:pt x="648158" y="294653"/>
                  </a:cubicBezTo>
                  <a:cubicBezTo>
                    <a:pt x="645544" y="297269"/>
                    <a:pt x="642929" y="296397"/>
                    <a:pt x="642929" y="292908"/>
                  </a:cubicBezTo>
                  <a:cubicBezTo>
                    <a:pt x="642929" y="291164"/>
                    <a:pt x="642057" y="289638"/>
                    <a:pt x="640967" y="289638"/>
                  </a:cubicBezTo>
                  <a:cubicBezTo>
                    <a:pt x="637917" y="289638"/>
                    <a:pt x="636174" y="295961"/>
                    <a:pt x="637699" y="301847"/>
                  </a:cubicBezTo>
                  <a:cubicBezTo>
                    <a:pt x="638788" y="305989"/>
                    <a:pt x="640096" y="306861"/>
                    <a:pt x="643147" y="305989"/>
                  </a:cubicBezTo>
                  <a:cubicBezTo>
                    <a:pt x="645544" y="305117"/>
                    <a:pt x="647287" y="305553"/>
                    <a:pt x="647287" y="306861"/>
                  </a:cubicBezTo>
                  <a:cubicBezTo>
                    <a:pt x="647287" y="308169"/>
                    <a:pt x="645979" y="309259"/>
                    <a:pt x="644236" y="309259"/>
                  </a:cubicBezTo>
                  <a:cubicBezTo>
                    <a:pt x="642493" y="309259"/>
                    <a:pt x="639878" y="312529"/>
                    <a:pt x="638353" y="316453"/>
                  </a:cubicBezTo>
                  <a:cubicBezTo>
                    <a:pt x="637045" y="320159"/>
                    <a:pt x="633123" y="325610"/>
                    <a:pt x="629854" y="328226"/>
                  </a:cubicBezTo>
                  <a:cubicBezTo>
                    <a:pt x="624407" y="332586"/>
                    <a:pt x="623535" y="332804"/>
                    <a:pt x="619177" y="329752"/>
                  </a:cubicBezTo>
                  <a:cubicBezTo>
                    <a:pt x="616126" y="327572"/>
                    <a:pt x="614819" y="324956"/>
                    <a:pt x="615690" y="322557"/>
                  </a:cubicBezTo>
                  <a:cubicBezTo>
                    <a:pt x="616344" y="320377"/>
                    <a:pt x="614819" y="316235"/>
                    <a:pt x="612422" y="312965"/>
                  </a:cubicBezTo>
                  <a:cubicBezTo>
                    <a:pt x="607410" y="306643"/>
                    <a:pt x="606756" y="302719"/>
                    <a:pt x="610896" y="302719"/>
                  </a:cubicBezTo>
                  <a:cubicBezTo>
                    <a:pt x="614383" y="302719"/>
                    <a:pt x="619830" y="308605"/>
                    <a:pt x="622010" y="314491"/>
                  </a:cubicBezTo>
                  <a:cubicBezTo>
                    <a:pt x="623317" y="318415"/>
                    <a:pt x="623753" y="318415"/>
                    <a:pt x="627239" y="315145"/>
                  </a:cubicBezTo>
                  <a:cubicBezTo>
                    <a:pt x="630508" y="311657"/>
                    <a:pt x="630508" y="311003"/>
                    <a:pt x="627021" y="305117"/>
                  </a:cubicBezTo>
                  <a:cubicBezTo>
                    <a:pt x="625060" y="301629"/>
                    <a:pt x="623317" y="298141"/>
                    <a:pt x="623317" y="297487"/>
                  </a:cubicBezTo>
                  <a:cubicBezTo>
                    <a:pt x="623317" y="294435"/>
                    <a:pt x="638135" y="283098"/>
                    <a:pt x="642493" y="283098"/>
                  </a:cubicBezTo>
                  <a:cubicBezTo>
                    <a:pt x="648376" y="283098"/>
                    <a:pt x="648812" y="277648"/>
                    <a:pt x="643582" y="271544"/>
                  </a:cubicBezTo>
                  <a:cubicBezTo>
                    <a:pt x="639660" y="267402"/>
                    <a:pt x="639878" y="267402"/>
                    <a:pt x="647505" y="268274"/>
                  </a:cubicBezTo>
                  <a:cubicBezTo>
                    <a:pt x="654914" y="268928"/>
                    <a:pt x="655349" y="268710"/>
                    <a:pt x="653824" y="263477"/>
                  </a:cubicBezTo>
                  <a:cubicBezTo>
                    <a:pt x="652952" y="259771"/>
                    <a:pt x="650773" y="257809"/>
                    <a:pt x="646851" y="257373"/>
                  </a:cubicBezTo>
                  <a:cubicBezTo>
                    <a:pt x="643582" y="256937"/>
                    <a:pt x="639878" y="255193"/>
                    <a:pt x="638571" y="253449"/>
                  </a:cubicBezTo>
                  <a:cubicBezTo>
                    <a:pt x="637045" y="251705"/>
                    <a:pt x="633994" y="250397"/>
                    <a:pt x="631597" y="250397"/>
                  </a:cubicBezTo>
                  <a:cubicBezTo>
                    <a:pt x="628111" y="250397"/>
                    <a:pt x="627457" y="251705"/>
                    <a:pt x="627893" y="257591"/>
                  </a:cubicBezTo>
                  <a:cubicBezTo>
                    <a:pt x="628547" y="262823"/>
                    <a:pt x="627893" y="264349"/>
                    <a:pt x="625496" y="263913"/>
                  </a:cubicBezTo>
                  <a:cubicBezTo>
                    <a:pt x="618305" y="262169"/>
                    <a:pt x="616562" y="258463"/>
                    <a:pt x="616998" y="245383"/>
                  </a:cubicBezTo>
                  <a:cubicBezTo>
                    <a:pt x="617651" y="231212"/>
                    <a:pt x="614165" y="226416"/>
                    <a:pt x="606320" y="230558"/>
                  </a:cubicBezTo>
                  <a:cubicBezTo>
                    <a:pt x="598040" y="234918"/>
                    <a:pt x="589106" y="228814"/>
                    <a:pt x="595207" y="222710"/>
                  </a:cubicBezTo>
                  <a:cubicBezTo>
                    <a:pt x="598911" y="219004"/>
                    <a:pt x="593246" y="191971"/>
                    <a:pt x="588234" y="189137"/>
                  </a:cubicBezTo>
                  <a:cubicBezTo>
                    <a:pt x="584747" y="187393"/>
                    <a:pt x="584312" y="185431"/>
                    <a:pt x="585183" y="179763"/>
                  </a:cubicBezTo>
                  <a:cubicBezTo>
                    <a:pt x="586491" y="173440"/>
                    <a:pt x="585837" y="171914"/>
                    <a:pt x="578646" y="166682"/>
                  </a:cubicBezTo>
                  <a:cubicBezTo>
                    <a:pt x="571237" y="161014"/>
                    <a:pt x="570583" y="160796"/>
                    <a:pt x="566661" y="164284"/>
                  </a:cubicBezTo>
                  <a:cubicBezTo>
                    <a:pt x="563828" y="166900"/>
                    <a:pt x="562521" y="167118"/>
                    <a:pt x="561867" y="165156"/>
                  </a:cubicBezTo>
                  <a:cubicBezTo>
                    <a:pt x="561431" y="163630"/>
                    <a:pt x="559470" y="162976"/>
                    <a:pt x="557073" y="163848"/>
                  </a:cubicBezTo>
                  <a:cubicBezTo>
                    <a:pt x="554240" y="164938"/>
                    <a:pt x="553587" y="166900"/>
                    <a:pt x="554894" y="173004"/>
                  </a:cubicBezTo>
                  <a:cubicBezTo>
                    <a:pt x="555984" y="179545"/>
                    <a:pt x="555766" y="180635"/>
                    <a:pt x="552061" y="180635"/>
                  </a:cubicBezTo>
                  <a:cubicBezTo>
                    <a:pt x="549882" y="180635"/>
                    <a:pt x="546831" y="179545"/>
                    <a:pt x="545306" y="178019"/>
                  </a:cubicBezTo>
                  <a:cubicBezTo>
                    <a:pt x="540948" y="173658"/>
                    <a:pt x="542255" y="179109"/>
                    <a:pt x="547703" y="186957"/>
                  </a:cubicBezTo>
                  <a:cubicBezTo>
                    <a:pt x="550318" y="191099"/>
                    <a:pt x="554022" y="196985"/>
                    <a:pt x="555984" y="200037"/>
                  </a:cubicBezTo>
                  <a:cubicBezTo>
                    <a:pt x="558163" y="203961"/>
                    <a:pt x="561649" y="205923"/>
                    <a:pt x="566225" y="206359"/>
                  </a:cubicBezTo>
                  <a:cubicBezTo>
                    <a:pt x="570801" y="206796"/>
                    <a:pt x="573198" y="208322"/>
                    <a:pt x="573198" y="210502"/>
                  </a:cubicBezTo>
                  <a:cubicBezTo>
                    <a:pt x="573198" y="212464"/>
                    <a:pt x="573634" y="213554"/>
                    <a:pt x="574288" y="213118"/>
                  </a:cubicBezTo>
                  <a:cubicBezTo>
                    <a:pt x="574724" y="212464"/>
                    <a:pt x="574724" y="208322"/>
                    <a:pt x="573852" y="203743"/>
                  </a:cubicBezTo>
                  <a:cubicBezTo>
                    <a:pt x="572980" y="198511"/>
                    <a:pt x="571673" y="196113"/>
                    <a:pt x="569712" y="196767"/>
                  </a:cubicBezTo>
                  <a:cubicBezTo>
                    <a:pt x="566225" y="198075"/>
                    <a:pt x="559470" y="187829"/>
                    <a:pt x="560995" y="183687"/>
                  </a:cubicBezTo>
                  <a:cubicBezTo>
                    <a:pt x="563175" y="178237"/>
                    <a:pt x="579736" y="181507"/>
                    <a:pt x="579736" y="187393"/>
                  </a:cubicBezTo>
                  <a:cubicBezTo>
                    <a:pt x="579736" y="188701"/>
                    <a:pt x="582132" y="191753"/>
                    <a:pt x="585401" y="194151"/>
                  </a:cubicBezTo>
                  <a:cubicBezTo>
                    <a:pt x="590413" y="198075"/>
                    <a:pt x="590631" y="198947"/>
                    <a:pt x="587580" y="202217"/>
                  </a:cubicBezTo>
                  <a:cubicBezTo>
                    <a:pt x="585183" y="204833"/>
                    <a:pt x="584312" y="210284"/>
                    <a:pt x="584312" y="219658"/>
                  </a:cubicBezTo>
                  <a:cubicBezTo>
                    <a:pt x="584529" y="229686"/>
                    <a:pt x="583658" y="234264"/>
                    <a:pt x="580607" y="237535"/>
                  </a:cubicBezTo>
                  <a:cubicBezTo>
                    <a:pt x="577774" y="240805"/>
                    <a:pt x="577339" y="242331"/>
                    <a:pt x="579300" y="244293"/>
                  </a:cubicBezTo>
                  <a:cubicBezTo>
                    <a:pt x="581043" y="246037"/>
                    <a:pt x="582132" y="246037"/>
                    <a:pt x="583004" y="243421"/>
                  </a:cubicBezTo>
                  <a:cubicBezTo>
                    <a:pt x="584312" y="240151"/>
                    <a:pt x="587362" y="240151"/>
                    <a:pt x="601308" y="242985"/>
                  </a:cubicBezTo>
                  <a:cubicBezTo>
                    <a:pt x="605231" y="243857"/>
                    <a:pt x="606102" y="245165"/>
                    <a:pt x="605013" y="248871"/>
                  </a:cubicBezTo>
                  <a:cubicBezTo>
                    <a:pt x="604359" y="251487"/>
                    <a:pt x="605231" y="254975"/>
                    <a:pt x="607192" y="257155"/>
                  </a:cubicBezTo>
                  <a:cubicBezTo>
                    <a:pt x="611114" y="261515"/>
                    <a:pt x="609153" y="268056"/>
                    <a:pt x="604359" y="266312"/>
                  </a:cubicBezTo>
                  <a:cubicBezTo>
                    <a:pt x="602398" y="265440"/>
                    <a:pt x="601526" y="263259"/>
                    <a:pt x="602180" y="259771"/>
                  </a:cubicBezTo>
                  <a:cubicBezTo>
                    <a:pt x="602834" y="255847"/>
                    <a:pt x="602180" y="254757"/>
                    <a:pt x="599565" y="255193"/>
                  </a:cubicBezTo>
                  <a:cubicBezTo>
                    <a:pt x="596732" y="255847"/>
                    <a:pt x="596296" y="258245"/>
                    <a:pt x="596732" y="267620"/>
                  </a:cubicBezTo>
                  <a:cubicBezTo>
                    <a:pt x="597386" y="279392"/>
                    <a:pt x="595425" y="282880"/>
                    <a:pt x="589106" y="283098"/>
                  </a:cubicBezTo>
                  <a:cubicBezTo>
                    <a:pt x="587144" y="283098"/>
                    <a:pt x="586709" y="280918"/>
                    <a:pt x="587580" y="276558"/>
                  </a:cubicBezTo>
                  <a:cubicBezTo>
                    <a:pt x="588452" y="272852"/>
                    <a:pt x="587798" y="268710"/>
                    <a:pt x="586491" y="266966"/>
                  </a:cubicBezTo>
                  <a:cubicBezTo>
                    <a:pt x="584747" y="264786"/>
                    <a:pt x="584529" y="263477"/>
                    <a:pt x="586273" y="262387"/>
                  </a:cubicBezTo>
                  <a:cubicBezTo>
                    <a:pt x="591067" y="259335"/>
                    <a:pt x="588234" y="256719"/>
                    <a:pt x="581697" y="258027"/>
                  </a:cubicBezTo>
                  <a:cubicBezTo>
                    <a:pt x="575159" y="259553"/>
                    <a:pt x="574942" y="259335"/>
                    <a:pt x="575595" y="251923"/>
                  </a:cubicBezTo>
                  <a:cubicBezTo>
                    <a:pt x="576031" y="247563"/>
                    <a:pt x="575595" y="243421"/>
                    <a:pt x="574724" y="242549"/>
                  </a:cubicBezTo>
                  <a:cubicBezTo>
                    <a:pt x="573852" y="241677"/>
                    <a:pt x="573198" y="239061"/>
                    <a:pt x="573198" y="236881"/>
                  </a:cubicBezTo>
                  <a:cubicBezTo>
                    <a:pt x="573198" y="234482"/>
                    <a:pt x="571673" y="232956"/>
                    <a:pt x="569058" y="232956"/>
                  </a:cubicBezTo>
                  <a:cubicBezTo>
                    <a:pt x="566661" y="232956"/>
                    <a:pt x="564046" y="231866"/>
                    <a:pt x="563175" y="230558"/>
                  </a:cubicBezTo>
                  <a:cubicBezTo>
                    <a:pt x="562521" y="229250"/>
                    <a:pt x="559470" y="228814"/>
                    <a:pt x="556637" y="229468"/>
                  </a:cubicBezTo>
                  <a:cubicBezTo>
                    <a:pt x="550972" y="230994"/>
                    <a:pt x="549446" y="227724"/>
                    <a:pt x="554894" y="225544"/>
                  </a:cubicBezTo>
                  <a:cubicBezTo>
                    <a:pt x="557945" y="224454"/>
                    <a:pt x="557945" y="223800"/>
                    <a:pt x="554894" y="219658"/>
                  </a:cubicBezTo>
                  <a:cubicBezTo>
                    <a:pt x="552933" y="216824"/>
                    <a:pt x="552061" y="212464"/>
                    <a:pt x="552715" y="208976"/>
                  </a:cubicBezTo>
                  <a:cubicBezTo>
                    <a:pt x="553805" y="204397"/>
                    <a:pt x="552715" y="201999"/>
                    <a:pt x="548139" y="198293"/>
                  </a:cubicBezTo>
                  <a:cubicBezTo>
                    <a:pt x="542038" y="193715"/>
                    <a:pt x="533103" y="192189"/>
                    <a:pt x="530924" y="195459"/>
                  </a:cubicBezTo>
                  <a:cubicBezTo>
                    <a:pt x="529181" y="198511"/>
                    <a:pt x="536154" y="206796"/>
                    <a:pt x="540294" y="206796"/>
                  </a:cubicBezTo>
                  <a:cubicBezTo>
                    <a:pt x="545088" y="206796"/>
                    <a:pt x="547485" y="211374"/>
                    <a:pt x="544652" y="215734"/>
                  </a:cubicBezTo>
                  <a:cubicBezTo>
                    <a:pt x="543563" y="217478"/>
                    <a:pt x="543345" y="220530"/>
                    <a:pt x="543999" y="222492"/>
                  </a:cubicBezTo>
                  <a:cubicBezTo>
                    <a:pt x="544652" y="224672"/>
                    <a:pt x="543345" y="227070"/>
                    <a:pt x="540730" y="228378"/>
                  </a:cubicBezTo>
                  <a:cubicBezTo>
                    <a:pt x="538333" y="229686"/>
                    <a:pt x="536154" y="232956"/>
                    <a:pt x="535718" y="235572"/>
                  </a:cubicBezTo>
                  <a:cubicBezTo>
                    <a:pt x="534847" y="242331"/>
                    <a:pt x="530053" y="242985"/>
                    <a:pt x="528309" y="236445"/>
                  </a:cubicBezTo>
                  <a:cubicBezTo>
                    <a:pt x="527438" y="232956"/>
                    <a:pt x="528309" y="227724"/>
                    <a:pt x="530488" y="223364"/>
                  </a:cubicBezTo>
                  <a:cubicBezTo>
                    <a:pt x="535064" y="213772"/>
                    <a:pt x="534847" y="207450"/>
                    <a:pt x="530271" y="206359"/>
                  </a:cubicBezTo>
                  <a:cubicBezTo>
                    <a:pt x="524823" y="204833"/>
                    <a:pt x="521118" y="206577"/>
                    <a:pt x="518504" y="211374"/>
                  </a:cubicBezTo>
                  <a:cubicBezTo>
                    <a:pt x="516760" y="214862"/>
                    <a:pt x="517196" y="216388"/>
                    <a:pt x="520900" y="219440"/>
                  </a:cubicBezTo>
                  <a:cubicBezTo>
                    <a:pt x="525041" y="222710"/>
                    <a:pt x="525259" y="224018"/>
                    <a:pt x="522862" y="230558"/>
                  </a:cubicBezTo>
                  <a:cubicBezTo>
                    <a:pt x="520683" y="236445"/>
                    <a:pt x="520900" y="239061"/>
                    <a:pt x="523951" y="245165"/>
                  </a:cubicBezTo>
                  <a:cubicBezTo>
                    <a:pt x="525912" y="249307"/>
                    <a:pt x="527438" y="253667"/>
                    <a:pt x="527438" y="254757"/>
                  </a:cubicBezTo>
                  <a:cubicBezTo>
                    <a:pt x="527438" y="257809"/>
                    <a:pt x="521554" y="257373"/>
                    <a:pt x="520029" y="254321"/>
                  </a:cubicBezTo>
                  <a:cubicBezTo>
                    <a:pt x="519375" y="252141"/>
                    <a:pt x="518286" y="252359"/>
                    <a:pt x="516107" y="254975"/>
                  </a:cubicBezTo>
                  <a:cubicBezTo>
                    <a:pt x="514581" y="256937"/>
                    <a:pt x="510659" y="258899"/>
                    <a:pt x="507172" y="259553"/>
                  </a:cubicBezTo>
                  <a:cubicBezTo>
                    <a:pt x="501507" y="260643"/>
                    <a:pt x="501289" y="260207"/>
                    <a:pt x="501289" y="252577"/>
                  </a:cubicBezTo>
                  <a:cubicBezTo>
                    <a:pt x="501289" y="247781"/>
                    <a:pt x="499546" y="242113"/>
                    <a:pt x="496931" y="238843"/>
                  </a:cubicBezTo>
                  <a:cubicBezTo>
                    <a:pt x="494534" y="235791"/>
                    <a:pt x="492573" y="232738"/>
                    <a:pt x="492573" y="232084"/>
                  </a:cubicBezTo>
                  <a:cubicBezTo>
                    <a:pt x="492573" y="229250"/>
                    <a:pt x="504557" y="230994"/>
                    <a:pt x="508262" y="234482"/>
                  </a:cubicBezTo>
                  <a:cubicBezTo>
                    <a:pt x="512838" y="238625"/>
                    <a:pt x="516107" y="236663"/>
                    <a:pt x="512402" y="232084"/>
                  </a:cubicBezTo>
                  <a:cubicBezTo>
                    <a:pt x="510659" y="230122"/>
                    <a:pt x="510223" y="226852"/>
                    <a:pt x="511313" y="223800"/>
                  </a:cubicBezTo>
                  <a:cubicBezTo>
                    <a:pt x="512620" y="219440"/>
                    <a:pt x="512402" y="219222"/>
                    <a:pt x="509351" y="221620"/>
                  </a:cubicBezTo>
                  <a:cubicBezTo>
                    <a:pt x="507390" y="223364"/>
                    <a:pt x="504775" y="224018"/>
                    <a:pt x="503468" y="223146"/>
                  </a:cubicBezTo>
                  <a:cubicBezTo>
                    <a:pt x="499763" y="220966"/>
                    <a:pt x="501071" y="215080"/>
                    <a:pt x="505429" y="213990"/>
                  </a:cubicBezTo>
                  <a:cubicBezTo>
                    <a:pt x="510223" y="212682"/>
                    <a:pt x="512620" y="206577"/>
                    <a:pt x="509787" y="202217"/>
                  </a:cubicBezTo>
                  <a:cubicBezTo>
                    <a:pt x="508480" y="199819"/>
                    <a:pt x="507390" y="200037"/>
                    <a:pt x="503904" y="203089"/>
                  </a:cubicBezTo>
                  <a:cubicBezTo>
                    <a:pt x="501725" y="205051"/>
                    <a:pt x="499110" y="206796"/>
                    <a:pt x="498238" y="206796"/>
                  </a:cubicBezTo>
                  <a:cubicBezTo>
                    <a:pt x="495841" y="206796"/>
                    <a:pt x="488432" y="215952"/>
                    <a:pt x="488214" y="219004"/>
                  </a:cubicBezTo>
                  <a:cubicBezTo>
                    <a:pt x="488214" y="220094"/>
                    <a:pt x="485382" y="224236"/>
                    <a:pt x="481677" y="227724"/>
                  </a:cubicBezTo>
                  <a:cubicBezTo>
                    <a:pt x="477101" y="232520"/>
                    <a:pt x="475794" y="235791"/>
                    <a:pt x="476665" y="239279"/>
                  </a:cubicBezTo>
                  <a:cubicBezTo>
                    <a:pt x="477755" y="243203"/>
                    <a:pt x="478844" y="243857"/>
                    <a:pt x="484074" y="242767"/>
                  </a:cubicBezTo>
                  <a:cubicBezTo>
                    <a:pt x="487561" y="241895"/>
                    <a:pt x="490393" y="242113"/>
                    <a:pt x="490393" y="243203"/>
                  </a:cubicBezTo>
                  <a:cubicBezTo>
                    <a:pt x="490393" y="244075"/>
                    <a:pt x="491047" y="247127"/>
                    <a:pt x="491701" y="249961"/>
                  </a:cubicBezTo>
                  <a:cubicBezTo>
                    <a:pt x="492790" y="254103"/>
                    <a:pt x="492137" y="254757"/>
                    <a:pt x="487343" y="254757"/>
                  </a:cubicBezTo>
                  <a:cubicBezTo>
                    <a:pt x="482985" y="254757"/>
                    <a:pt x="482113" y="255629"/>
                    <a:pt x="483203" y="258681"/>
                  </a:cubicBezTo>
                  <a:cubicBezTo>
                    <a:pt x="483856" y="260643"/>
                    <a:pt x="486907" y="264567"/>
                    <a:pt x="489522" y="266966"/>
                  </a:cubicBezTo>
                  <a:cubicBezTo>
                    <a:pt x="495841" y="272634"/>
                    <a:pt x="496277" y="280046"/>
                    <a:pt x="490393" y="281572"/>
                  </a:cubicBezTo>
                  <a:cubicBezTo>
                    <a:pt x="487779" y="282226"/>
                    <a:pt x="486035" y="284624"/>
                    <a:pt x="486035" y="287022"/>
                  </a:cubicBezTo>
                  <a:cubicBezTo>
                    <a:pt x="486035" y="297487"/>
                    <a:pt x="499328" y="295525"/>
                    <a:pt x="504775" y="284188"/>
                  </a:cubicBezTo>
                  <a:cubicBezTo>
                    <a:pt x="508262" y="276558"/>
                    <a:pt x="507608" y="268492"/>
                    <a:pt x="503468" y="271108"/>
                  </a:cubicBezTo>
                  <a:cubicBezTo>
                    <a:pt x="502378" y="271762"/>
                    <a:pt x="501289" y="271544"/>
                    <a:pt x="501289" y="270454"/>
                  </a:cubicBezTo>
                  <a:cubicBezTo>
                    <a:pt x="501289" y="267838"/>
                    <a:pt x="512402" y="267184"/>
                    <a:pt x="537026" y="268492"/>
                  </a:cubicBezTo>
                  <a:cubicBezTo>
                    <a:pt x="540512" y="268710"/>
                    <a:pt x="543781" y="267620"/>
                    <a:pt x="544217" y="266312"/>
                  </a:cubicBezTo>
                  <a:cubicBezTo>
                    <a:pt x="544870" y="264786"/>
                    <a:pt x="543999" y="263477"/>
                    <a:pt x="542473" y="263477"/>
                  </a:cubicBezTo>
                  <a:cubicBezTo>
                    <a:pt x="538115" y="263477"/>
                    <a:pt x="532014" y="256719"/>
                    <a:pt x="533321" y="253449"/>
                  </a:cubicBezTo>
                  <a:cubicBezTo>
                    <a:pt x="534847" y="249089"/>
                    <a:pt x="539205" y="249743"/>
                    <a:pt x="543563" y="254539"/>
                  </a:cubicBezTo>
                  <a:cubicBezTo>
                    <a:pt x="545742" y="256937"/>
                    <a:pt x="548793" y="258245"/>
                    <a:pt x="550318" y="257809"/>
                  </a:cubicBezTo>
                  <a:cubicBezTo>
                    <a:pt x="551843" y="257155"/>
                    <a:pt x="555112" y="258899"/>
                    <a:pt x="557727" y="261515"/>
                  </a:cubicBezTo>
                  <a:cubicBezTo>
                    <a:pt x="561867" y="265876"/>
                    <a:pt x="562739" y="266094"/>
                    <a:pt x="567751" y="263477"/>
                  </a:cubicBezTo>
                  <a:cubicBezTo>
                    <a:pt x="570801" y="261951"/>
                    <a:pt x="573852" y="261297"/>
                    <a:pt x="574724" y="261951"/>
                  </a:cubicBezTo>
                  <a:cubicBezTo>
                    <a:pt x="575813" y="263259"/>
                    <a:pt x="574942" y="265658"/>
                    <a:pt x="569276" y="276994"/>
                  </a:cubicBezTo>
                  <a:cubicBezTo>
                    <a:pt x="568840" y="277648"/>
                    <a:pt x="570801" y="278738"/>
                    <a:pt x="573634" y="279174"/>
                  </a:cubicBezTo>
                  <a:cubicBezTo>
                    <a:pt x="576467" y="279610"/>
                    <a:pt x="579736" y="282444"/>
                    <a:pt x="581479" y="285932"/>
                  </a:cubicBezTo>
                  <a:cubicBezTo>
                    <a:pt x="583658" y="290510"/>
                    <a:pt x="585183" y="291382"/>
                    <a:pt x="587144" y="289856"/>
                  </a:cubicBezTo>
                  <a:cubicBezTo>
                    <a:pt x="589106" y="288112"/>
                    <a:pt x="591067" y="288548"/>
                    <a:pt x="594117" y="290728"/>
                  </a:cubicBezTo>
                  <a:cubicBezTo>
                    <a:pt x="600001" y="295089"/>
                    <a:pt x="603705" y="294653"/>
                    <a:pt x="603705" y="289638"/>
                  </a:cubicBezTo>
                  <a:cubicBezTo>
                    <a:pt x="603705" y="282662"/>
                    <a:pt x="610678" y="270236"/>
                    <a:pt x="615472" y="268710"/>
                  </a:cubicBezTo>
                  <a:cubicBezTo>
                    <a:pt x="618305" y="267838"/>
                    <a:pt x="620702" y="268710"/>
                    <a:pt x="622663" y="271326"/>
                  </a:cubicBezTo>
                  <a:cubicBezTo>
                    <a:pt x="626804" y="276994"/>
                    <a:pt x="626150" y="280482"/>
                    <a:pt x="620702" y="282226"/>
                  </a:cubicBezTo>
                  <a:cubicBezTo>
                    <a:pt x="614601" y="283970"/>
                    <a:pt x="612422" y="287022"/>
                    <a:pt x="612422" y="293562"/>
                  </a:cubicBezTo>
                  <a:cubicBezTo>
                    <a:pt x="612422" y="296833"/>
                    <a:pt x="611114" y="298359"/>
                    <a:pt x="608499" y="298359"/>
                  </a:cubicBezTo>
                  <a:cubicBezTo>
                    <a:pt x="603487" y="298359"/>
                    <a:pt x="586273" y="311439"/>
                    <a:pt x="586273" y="315145"/>
                  </a:cubicBezTo>
                  <a:cubicBezTo>
                    <a:pt x="586273" y="317107"/>
                    <a:pt x="589541" y="317979"/>
                    <a:pt x="596079" y="317979"/>
                  </a:cubicBezTo>
                  <a:cubicBezTo>
                    <a:pt x="602398" y="317979"/>
                    <a:pt x="605884" y="319069"/>
                    <a:pt x="606102" y="320813"/>
                  </a:cubicBezTo>
                  <a:cubicBezTo>
                    <a:pt x="606538" y="325392"/>
                    <a:pt x="607192" y="327572"/>
                    <a:pt x="608935" y="331714"/>
                  </a:cubicBezTo>
                  <a:cubicBezTo>
                    <a:pt x="610025" y="333894"/>
                    <a:pt x="609589" y="336728"/>
                    <a:pt x="608063" y="338690"/>
                  </a:cubicBezTo>
                  <a:cubicBezTo>
                    <a:pt x="603923" y="343486"/>
                    <a:pt x="602180" y="342614"/>
                    <a:pt x="600655" y="334984"/>
                  </a:cubicBezTo>
                  <a:cubicBezTo>
                    <a:pt x="599347" y="328662"/>
                    <a:pt x="599129" y="328444"/>
                    <a:pt x="595425" y="331714"/>
                  </a:cubicBezTo>
                  <a:cubicBezTo>
                    <a:pt x="589759" y="336946"/>
                    <a:pt x="587144" y="336292"/>
                    <a:pt x="584094" y="328880"/>
                  </a:cubicBezTo>
                  <a:cubicBezTo>
                    <a:pt x="580171" y="319505"/>
                    <a:pt x="569712" y="312311"/>
                    <a:pt x="565354" y="315799"/>
                  </a:cubicBezTo>
                  <a:cubicBezTo>
                    <a:pt x="563610" y="317325"/>
                    <a:pt x="562521" y="321031"/>
                    <a:pt x="562739" y="324302"/>
                  </a:cubicBezTo>
                  <a:cubicBezTo>
                    <a:pt x="563175" y="328662"/>
                    <a:pt x="562521" y="329752"/>
                    <a:pt x="559688" y="329316"/>
                  </a:cubicBezTo>
                  <a:cubicBezTo>
                    <a:pt x="557509" y="329098"/>
                    <a:pt x="553587" y="330842"/>
                    <a:pt x="550972" y="333240"/>
                  </a:cubicBezTo>
                  <a:cubicBezTo>
                    <a:pt x="548139" y="335856"/>
                    <a:pt x="544435" y="339126"/>
                    <a:pt x="542691" y="340652"/>
                  </a:cubicBezTo>
                  <a:cubicBezTo>
                    <a:pt x="540948" y="342178"/>
                    <a:pt x="534193" y="344140"/>
                    <a:pt x="528091" y="344576"/>
                  </a:cubicBezTo>
                  <a:cubicBezTo>
                    <a:pt x="518721" y="345448"/>
                    <a:pt x="515889" y="344794"/>
                    <a:pt x="513056" y="341742"/>
                  </a:cubicBezTo>
                  <a:cubicBezTo>
                    <a:pt x="510877" y="339344"/>
                    <a:pt x="506737" y="337600"/>
                    <a:pt x="503468" y="337600"/>
                  </a:cubicBezTo>
                  <a:cubicBezTo>
                    <a:pt x="496277" y="337600"/>
                    <a:pt x="486471" y="328008"/>
                    <a:pt x="489740" y="324084"/>
                  </a:cubicBezTo>
                  <a:cubicBezTo>
                    <a:pt x="492790" y="320159"/>
                    <a:pt x="490611" y="304899"/>
                    <a:pt x="487125" y="304899"/>
                  </a:cubicBezTo>
                  <a:cubicBezTo>
                    <a:pt x="483203" y="304899"/>
                    <a:pt x="477319" y="314709"/>
                    <a:pt x="477319" y="321031"/>
                  </a:cubicBezTo>
                  <a:cubicBezTo>
                    <a:pt x="477319" y="324084"/>
                    <a:pt x="478844" y="327354"/>
                    <a:pt x="480806" y="328444"/>
                  </a:cubicBezTo>
                  <a:cubicBezTo>
                    <a:pt x="486253" y="331496"/>
                    <a:pt x="483856" y="340652"/>
                    <a:pt x="477319" y="341524"/>
                  </a:cubicBezTo>
                  <a:cubicBezTo>
                    <a:pt x="474268" y="341960"/>
                    <a:pt x="471000" y="343050"/>
                    <a:pt x="469910" y="344140"/>
                  </a:cubicBezTo>
                  <a:cubicBezTo>
                    <a:pt x="468821" y="345230"/>
                    <a:pt x="566879" y="491295"/>
                    <a:pt x="689997" y="672460"/>
                  </a:cubicBezTo>
                  <a:cubicBezTo>
                    <a:pt x="812243" y="851880"/>
                    <a:pt x="914441" y="1002741"/>
                    <a:pt x="917492" y="1007755"/>
                  </a:cubicBezTo>
                  <a:cubicBezTo>
                    <a:pt x="927080" y="1023888"/>
                    <a:pt x="1478168" y="1834222"/>
                    <a:pt x="1480565" y="1835748"/>
                  </a:cubicBezTo>
                  <a:cubicBezTo>
                    <a:pt x="1483833" y="1837928"/>
                    <a:pt x="1496472" y="1835748"/>
                    <a:pt x="1505842" y="1831169"/>
                  </a:cubicBezTo>
                  <a:close/>
                  <a:moveTo>
                    <a:pt x="530271" y="326264"/>
                  </a:moveTo>
                  <a:cubicBezTo>
                    <a:pt x="529835" y="319505"/>
                    <a:pt x="530488" y="318197"/>
                    <a:pt x="534629" y="317543"/>
                  </a:cubicBezTo>
                  <a:cubicBezTo>
                    <a:pt x="538769" y="316889"/>
                    <a:pt x="539423" y="315581"/>
                    <a:pt x="538987" y="308169"/>
                  </a:cubicBezTo>
                  <a:cubicBezTo>
                    <a:pt x="538333" y="295743"/>
                    <a:pt x="536154" y="287022"/>
                    <a:pt x="532232" y="282662"/>
                  </a:cubicBezTo>
                  <a:cubicBezTo>
                    <a:pt x="527002" y="276558"/>
                    <a:pt x="523080" y="277866"/>
                    <a:pt x="523080" y="285496"/>
                  </a:cubicBezTo>
                  <a:cubicBezTo>
                    <a:pt x="523080" y="290292"/>
                    <a:pt x="521772" y="292472"/>
                    <a:pt x="518939" y="293344"/>
                  </a:cubicBezTo>
                  <a:cubicBezTo>
                    <a:pt x="515235" y="294217"/>
                    <a:pt x="512184" y="302065"/>
                    <a:pt x="512184" y="311003"/>
                  </a:cubicBezTo>
                  <a:cubicBezTo>
                    <a:pt x="512184" y="313837"/>
                    <a:pt x="512838" y="313837"/>
                    <a:pt x="516324" y="310567"/>
                  </a:cubicBezTo>
                  <a:cubicBezTo>
                    <a:pt x="519811" y="307297"/>
                    <a:pt x="521118" y="307297"/>
                    <a:pt x="525041" y="309695"/>
                  </a:cubicBezTo>
                  <a:cubicBezTo>
                    <a:pt x="530271" y="312965"/>
                    <a:pt x="530924" y="315799"/>
                    <a:pt x="526566" y="315799"/>
                  </a:cubicBezTo>
                  <a:cubicBezTo>
                    <a:pt x="525041" y="315799"/>
                    <a:pt x="522426" y="318851"/>
                    <a:pt x="520900" y="322339"/>
                  </a:cubicBezTo>
                  <a:cubicBezTo>
                    <a:pt x="518721" y="327572"/>
                    <a:pt x="518721" y="329534"/>
                    <a:pt x="520900" y="332150"/>
                  </a:cubicBezTo>
                  <a:cubicBezTo>
                    <a:pt x="525912" y="338254"/>
                    <a:pt x="530706" y="334984"/>
                    <a:pt x="530271" y="326264"/>
                  </a:cubicBezTo>
                  <a:close/>
                  <a:moveTo>
                    <a:pt x="474268" y="326046"/>
                  </a:moveTo>
                  <a:cubicBezTo>
                    <a:pt x="474922" y="319287"/>
                    <a:pt x="471000" y="317979"/>
                    <a:pt x="469256" y="324520"/>
                  </a:cubicBezTo>
                  <a:cubicBezTo>
                    <a:pt x="468603" y="326918"/>
                    <a:pt x="466206" y="328880"/>
                    <a:pt x="464027" y="328880"/>
                  </a:cubicBezTo>
                  <a:cubicBezTo>
                    <a:pt x="461630" y="328880"/>
                    <a:pt x="459886" y="329752"/>
                    <a:pt x="459886" y="331060"/>
                  </a:cubicBezTo>
                  <a:cubicBezTo>
                    <a:pt x="459886" y="332150"/>
                    <a:pt x="462937" y="333022"/>
                    <a:pt x="466642" y="332586"/>
                  </a:cubicBezTo>
                  <a:cubicBezTo>
                    <a:pt x="472307" y="332150"/>
                    <a:pt x="473615" y="331060"/>
                    <a:pt x="474268" y="326046"/>
                  </a:cubicBezTo>
                  <a:close/>
                  <a:moveTo>
                    <a:pt x="210382" y="320159"/>
                  </a:moveTo>
                  <a:cubicBezTo>
                    <a:pt x="211036" y="319069"/>
                    <a:pt x="210600" y="317979"/>
                    <a:pt x="209511" y="317979"/>
                  </a:cubicBezTo>
                  <a:cubicBezTo>
                    <a:pt x="208203" y="317979"/>
                    <a:pt x="207114" y="319069"/>
                    <a:pt x="207114" y="320159"/>
                  </a:cubicBezTo>
                  <a:cubicBezTo>
                    <a:pt x="207114" y="321467"/>
                    <a:pt x="207550" y="322339"/>
                    <a:pt x="207985" y="322339"/>
                  </a:cubicBezTo>
                  <a:cubicBezTo>
                    <a:pt x="208639" y="322339"/>
                    <a:pt x="209729" y="321467"/>
                    <a:pt x="210382" y="320159"/>
                  </a:cubicBezTo>
                  <a:close/>
                  <a:moveTo>
                    <a:pt x="222149" y="314491"/>
                  </a:moveTo>
                  <a:cubicBezTo>
                    <a:pt x="222585" y="312311"/>
                    <a:pt x="224764" y="307733"/>
                    <a:pt x="226943" y="304463"/>
                  </a:cubicBezTo>
                  <a:cubicBezTo>
                    <a:pt x="229340" y="301411"/>
                    <a:pt x="231084" y="297705"/>
                    <a:pt x="231084" y="296397"/>
                  </a:cubicBezTo>
                  <a:cubicBezTo>
                    <a:pt x="231084" y="295089"/>
                    <a:pt x="232609" y="293999"/>
                    <a:pt x="234352" y="293999"/>
                  </a:cubicBezTo>
                  <a:cubicBezTo>
                    <a:pt x="238492" y="293999"/>
                    <a:pt x="238710" y="286586"/>
                    <a:pt x="234570" y="283316"/>
                  </a:cubicBezTo>
                  <a:cubicBezTo>
                    <a:pt x="231955" y="281136"/>
                    <a:pt x="230866" y="281572"/>
                    <a:pt x="228905" y="285278"/>
                  </a:cubicBezTo>
                  <a:cubicBezTo>
                    <a:pt x="227597" y="287894"/>
                    <a:pt x="226943" y="291382"/>
                    <a:pt x="227597" y="293126"/>
                  </a:cubicBezTo>
                  <a:cubicBezTo>
                    <a:pt x="229122" y="296833"/>
                    <a:pt x="224329" y="297051"/>
                    <a:pt x="220406" y="293562"/>
                  </a:cubicBezTo>
                  <a:cubicBezTo>
                    <a:pt x="218009" y="291164"/>
                    <a:pt x="217791" y="292036"/>
                    <a:pt x="219099" y="297923"/>
                  </a:cubicBezTo>
                  <a:cubicBezTo>
                    <a:pt x="220188" y="303373"/>
                    <a:pt x="219752" y="304899"/>
                    <a:pt x="217138" y="304899"/>
                  </a:cubicBezTo>
                  <a:cubicBezTo>
                    <a:pt x="212126" y="304899"/>
                    <a:pt x="210600" y="309041"/>
                    <a:pt x="213869" y="314927"/>
                  </a:cubicBezTo>
                  <a:cubicBezTo>
                    <a:pt x="216920" y="321031"/>
                    <a:pt x="220842" y="320813"/>
                    <a:pt x="222149" y="314491"/>
                  </a:cubicBezTo>
                  <a:close/>
                  <a:moveTo>
                    <a:pt x="500853" y="313837"/>
                  </a:moveTo>
                  <a:cubicBezTo>
                    <a:pt x="501725" y="307515"/>
                    <a:pt x="498020" y="302937"/>
                    <a:pt x="494534" y="306425"/>
                  </a:cubicBezTo>
                  <a:cubicBezTo>
                    <a:pt x="491701" y="309259"/>
                    <a:pt x="494316" y="320595"/>
                    <a:pt x="497802" y="319505"/>
                  </a:cubicBezTo>
                  <a:cubicBezTo>
                    <a:pt x="499110" y="319069"/>
                    <a:pt x="500635" y="316453"/>
                    <a:pt x="500853" y="313837"/>
                  </a:cubicBezTo>
                  <a:close/>
                  <a:moveTo>
                    <a:pt x="564046" y="310131"/>
                  </a:moveTo>
                  <a:cubicBezTo>
                    <a:pt x="566225" y="308823"/>
                    <a:pt x="561649" y="300539"/>
                    <a:pt x="558816" y="300539"/>
                  </a:cubicBezTo>
                  <a:cubicBezTo>
                    <a:pt x="555766" y="300539"/>
                    <a:pt x="551408" y="308823"/>
                    <a:pt x="551408" y="314927"/>
                  </a:cubicBezTo>
                  <a:cubicBezTo>
                    <a:pt x="551408" y="317979"/>
                    <a:pt x="553587" y="317107"/>
                    <a:pt x="564046" y="310131"/>
                  </a:cubicBezTo>
                  <a:close/>
                  <a:moveTo>
                    <a:pt x="701110" y="303373"/>
                  </a:moveTo>
                  <a:cubicBezTo>
                    <a:pt x="701764" y="301847"/>
                    <a:pt x="703507" y="300539"/>
                    <a:pt x="705032" y="300539"/>
                  </a:cubicBezTo>
                  <a:cubicBezTo>
                    <a:pt x="706558" y="300539"/>
                    <a:pt x="708955" y="299231"/>
                    <a:pt x="710262" y="297487"/>
                  </a:cubicBezTo>
                  <a:cubicBezTo>
                    <a:pt x="712223" y="295089"/>
                    <a:pt x="712005" y="293562"/>
                    <a:pt x="709390" y="290946"/>
                  </a:cubicBezTo>
                  <a:cubicBezTo>
                    <a:pt x="705250" y="287022"/>
                    <a:pt x="701764" y="286368"/>
                    <a:pt x="701764" y="289856"/>
                  </a:cubicBezTo>
                  <a:cubicBezTo>
                    <a:pt x="701764" y="291164"/>
                    <a:pt x="698713" y="295307"/>
                    <a:pt x="694791" y="299013"/>
                  </a:cubicBezTo>
                  <a:lnTo>
                    <a:pt x="688035" y="305989"/>
                  </a:lnTo>
                  <a:lnTo>
                    <a:pt x="689561" y="299885"/>
                  </a:lnTo>
                  <a:cubicBezTo>
                    <a:pt x="691522" y="291600"/>
                    <a:pt x="687818" y="286586"/>
                    <a:pt x="681934" y="289856"/>
                  </a:cubicBezTo>
                  <a:cubicBezTo>
                    <a:pt x="676268" y="292690"/>
                    <a:pt x="676704" y="302283"/>
                    <a:pt x="682370" y="308605"/>
                  </a:cubicBezTo>
                  <a:cubicBezTo>
                    <a:pt x="686946" y="313401"/>
                    <a:pt x="687382" y="313401"/>
                    <a:pt x="693701" y="309695"/>
                  </a:cubicBezTo>
                  <a:cubicBezTo>
                    <a:pt x="697188" y="307733"/>
                    <a:pt x="700456" y="304681"/>
                    <a:pt x="701110" y="303373"/>
                  </a:cubicBezTo>
                  <a:close/>
                  <a:moveTo>
                    <a:pt x="456618" y="299231"/>
                  </a:moveTo>
                  <a:cubicBezTo>
                    <a:pt x="456618" y="294435"/>
                    <a:pt x="455528" y="292908"/>
                    <a:pt x="452260" y="292908"/>
                  </a:cubicBezTo>
                  <a:cubicBezTo>
                    <a:pt x="448773" y="292908"/>
                    <a:pt x="448119" y="291600"/>
                    <a:pt x="448555" y="286804"/>
                  </a:cubicBezTo>
                  <a:cubicBezTo>
                    <a:pt x="448991" y="282226"/>
                    <a:pt x="448337" y="280918"/>
                    <a:pt x="444633" y="280918"/>
                  </a:cubicBezTo>
                  <a:cubicBezTo>
                    <a:pt x="439403" y="280918"/>
                    <a:pt x="438967" y="276122"/>
                    <a:pt x="443543" y="272198"/>
                  </a:cubicBezTo>
                  <a:cubicBezTo>
                    <a:pt x="448773" y="267838"/>
                    <a:pt x="447466" y="265004"/>
                    <a:pt x="440928" y="266748"/>
                  </a:cubicBezTo>
                  <a:cubicBezTo>
                    <a:pt x="431994" y="268928"/>
                    <a:pt x="430905" y="270890"/>
                    <a:pt x="435481" y="276776"/>
                  </a:cubicBezTo>
                  <a:cubicBezTo>
                    <a:pt x="438314" y="280264"/>
                    <a:pt x="439185" y="283316"/>
                    <a:pt x="438096" y="286368"/>
                  </a:cubicBezTo>
                  <a:cubicBezTo>
                    <a:pt x="436135" y="291164"/>
                    <a:pt x="437442" y="300103"/>
                    <a:pt x="440711" y="304027"/>
                  </a:cubicBezTo>
                  <a:cubicBezTo>
                    <a:pt x="441582" y="305553"/>
                    <a:pt x="445722" y="306207"/>
                    <a:pt x="449645" y="305989"/>
                  </a:cubicBezTo>
                  <a:cubicBezTo>
                    <a:pt x="455746" y="305553"/>
                    <a:pt x="456618" y="304681"/>
                    <a:pt x="456618" y="299231"/>
                  </a:cubicBezTo>
                  <a:close/>
                  <a:moveTo>
                    <a:pt x="582786" y="305771"/>
                  </a:moveTo>
                  <a:cubicBezTo>
                    <a:pt x="588452" y="303591"/>
                    <a:pt x="584312" y="298141"/>
                    <a:pt x="577992" y="299885"/>
                  </a:cubicBezTo>
                  <a:cubicBezTo>
                    <a:pt x="573198" y="300975"/>
                    <a:pt x="572762" y="300539"/>
                    <a:pt x="573852" y="296397"/>
                  </a:cubicBezTo>
                  <a:cubicBezTo>
                    <a:pt x="575377" y="290292"/>
                    <a:pt x="569930" y="287676"/>
                    <a:pt x="565136" y="292472"/>
                  </a:cubicBezTo>
                  <a:cubicBezTo>
                    <a:pt x="561213" y="296397"/>
                    <a:pt x="562957" y="300539"/>
                    <a:pt x="568622" y="300539"/>
                  </a:cubicBezTo>
                  <a:cubicBezTo>
                    <a:pt x="570801" y="300539"/>
                    <a:pt x="573852" y="302065"/>
                    <a:pt x="575377" y="303809"/>
                  </a:cubicBezTo>
                  <a:cubicBezTo>
                    <a:pt x="578428" y="307515"/>
                    <a:pt x="578210" y="307515"/>
                    <a:pt x="582786" y="305771"/>
                  </a:cubicBezTo>
                  <a:close/>
                  <a:moveTo>
                    <a:pt x="472961" y="302719"/>
                  </a:moveTo>
                  <a:cubicBezTo>
                    <a:pt x="472961" y="301629"/>
                    <a:pt x="471871" y="300539"/>
                    <a:pt x="470564" y="300539"/>
                  </a:cubicBezTo>
                  <a:cubicBezTo>
                    <a:pt x="469474" y="300539"/>
                    <a:pt x="469039" y="301629"/>
                    <a:pt x="469692" y="302719"/>
                  </a:cubicBezTo>
                  <a:cubicBezTo>
                    <a:pt x="470346" y="304027"/>
                    <a:pt x="471436" y="304899"/>
                    <a:pt x="472089" y="304899"/>
                  </a:cubicBezTo>
                  <a:cubicBezTo>
                    <a:pt x="472525" y="304899"/>
                    <a:pt x="472961" y="304027"/>
                    <a:pt x="472961" y="302719"/>
                  </a:cubicBezTo>
                  <a:close/>
                  <a:moveTo>
                    <a:pt x="1444392" y="295961"/>
                  </a:moveTo>
                  <a:lnTo>
                    <a:pt x="1446135" y="291600"/>
                  </a:lnTo>
                  <a:lnTo>
                    <a:pt x="1450058" y="295961"/>
                  </a:lnTo>
                  <a:cubicBezTo>
                    <a:pt x="1456595" y="303155"/>
                    <a:pt x="1457902" y="301411"/>
                    <a:pt x="1457902" y="287240"/>
                  </a:cubicBezTo>
                  <a:cubicBezTo>
                    <a:pt x="1457902" y="275904"/>
                    <a:pt x="1457467" y="274160"/>
                    <a:pt x="1454416" y="275250"/>
                  </a:cubicBezTo>
                  <a:cubicBezTo>
                    <a:pt x="1452455" y="276122"/>
                    <a:pt x="1449404" y="275468"/>
                    <a:pt x="1447879" y="274160"/>
                  </a:cubicBezTo>
                  <a:cubicBezTo>
                    <a:pt x="1445700" y="272416"/>
                    <a:pt x="1443738" y="273288"/>
                    <a:pt x="1439598" y="278084"/>
                  </a:cubicBezTo>
                  <a:cubicBezTo>
                    <a:pt x="1436330" y="281790"/>
                    <a:pt x="1435022" y="285060"/>
                    <a:pt x="1436330" y="286368"/>
                  </a:cubicBezTo>
                  <a:cubicBezTo>
                    <a:pt x="1437419" y="287458"/>
                    <a:pt x="1438291" y="291164"/>
                    <a:pt x="1438291" y="294435"/>
                  </a:cubicBezTo>
                  <a:cubicBezTo>
                    <a:pt x="1438291" y="301629"/>
                    <a:pt x="1441995" y="302501"/>
                    <a:pt x="1444392" y="295961"/>
                  </a:cubicBezTo>
                  <a:close/>
                  <a:moveTo>
                    <a:pt x="474704" y="288984"/>
                  </a:moveTo>
                  <a:cubicBezTo>
                    <a:pt x="475140" y="286804"/>
                    <a:pt x="474050" y="285278"/>
                    <a:pt x="472089" y="285278"/>
                  </a:cubicBezTo>
                  <a:cubicBezTo>
                    <a:pt x="469910" y="285278"/>
                    <a:pt x="468603" y="287240"/>
                    <a:pt x="468603" y="289856"/>
                  </a:cubicBezTo>
                  <a:cubicBezTo>
                    <a:pt x="468603" y="295089"/>
                    <a:pt x="473615" y="294435"/>
                    <a:pt x="474704" y="288984"/>
                  </a:cubicBezTo>
                  <a:close/>
                  <a:moveTo>
                    <a:pt x="560342" y="287022"/>
                  </a:moveTo>
                  <a:cubicBezTo>
                    <a:pt x="565572" y="280482"/>
                    <a:pt x="565572" y="278084"/>
                    <a:pt x="559906" y="279828"/>
                  </a:cubicBezTo>
                  <a:cubicBezTo>
                    <a:pt x="556855" y="280918"/>
                    <a:pt x="553805" y="279828"/>
                    <a:pt x="550100" y="276340"/>
                  </a:cubicBezTo>
                  <a:lnTo>
                    <a:pt x="544870" y="271544"/>
                  </a:lnTo>
                  <a:lnTo>
                    <a:pt x="544870" y="276776"/>
                  </a:lnTo>
                  <a:cubicBezTo>
                    <a:pt x="544870" y="282662"/>
                    <a:pt x="550318" y="291818"/>
                    <a:pt x="553805" y="291818"/>
                  </a:cubicBezTo>
                  <a:cubicBezTo>
                    <a:pt x="555112" y="291818"/>
                    <a:pt x="557945" y="289638"/>
                    <a:pt x="560342" y="287022"/>
                  </a:cubicBezTo>
                  <a:close/>
                  <a:moveTo>
                    <a:pt x="431776" y="265440"/>
                  </a:moveTo>
                  <a:lnTo>
                    <a:pt x="438096" y="259553"/>
                  </a:lnTo>
                  <a:lnTo>
                    <a:pt x="434391" y="251705"/>
                  </a:lnTo>
                  <a:cubicBezTo>
                    <a:pt x="430905" y="244293"/>
                    <a:pt x="427418" y="242113"/>
                    <a:pt x="424368" y="245165"/>
                  </a:cubicBezTo>
                  <a:cubicBezTo>
                    <a:pt x="423714" y="246037"/>
                    <a:pt x="423932" y="248435"/>
                    <a:pt x="425239" y="250615"/>
                  </a:cubicBezTo>
                  <a:cubicBezTo>
                    <a:pt x="426982" y="254103"/>
                    <a:pt x="426547" y="254757"/>
                    <a:pt x="423060" y="254757"/>
                  </a:cubicBezTo>
                  <a:cubicBezTo>
                    <a:pt x="416741" y="254757"/>
                    <a:pt x="415215" y="262605"/>
                    <a:pt x="419791" y="271544"/>
                  </a:cubicBezTo>
                  <a:cubicBezTo>
                    <a:pt x="423060" y="277212"/>
                    <a:pt x="424150" y="278084"/>
                    <a:pt x="424803" y="275250"/>
                  </a:cubicBezTo>
                  <a:cubicBezTo>
                    <a:pt x="425239" y="273070"/>
                    <a:pt x="428290" y="268710"/>
                    <a:pt x="431776" y="265440"/>
                  </a:cubicBezTo>
                  <a:close/>
                  <a:moveTo>
                    <a:pt x="173556" y="270672"/>
                  </a:moveTo>
                  <a:cubicBezTo>
                    <a:pt x="171377" y="268492"/>
                    <a:pt x="169416" y="271762"/>
                    <a:pt x="171377" y="274596"/>
                  </a:cubicBezTo>
                  <a:cubicBezTo>
                    <a:pt x="172684" y="276994"/>
                    <a:pt x="173120" y="276994"/>
                    <a:pt x="173992" y="274596"/>
                  </a:cubicBezTo>
                  <a:cubicBezTo>
                    <a:pt x="174428" y="273070"/>
                    <a:pt x="174210" y="271326"/>
                    <a:pt x="173556" y="270672"/>
                  </a:cubicBezTo>
                  <a:close/>
                  <a:moveTo>
                    <a:pt x="159392" y="262387"/>
                  </a:moveTo>
                  <a:cubicBezTo>
                    <a:pt x="153073" y="254975"/>
                    <a:pt x="150458" y="245383"/>
                    <a:pt x="154380" y="242985"/>
                  </a:cubicBezTo>
                  <a:cubicBezTo>
                    <a:pt x="157867" y="240805"/>
                    <a:pt x="165711" y="248435"/>
                    <a:pt x="165711" y="253667"/>
                  </a:cubicBezTo>
                  <a:cubicBezTo>
                    <a:pt x="165711" y="256501"/>
                    <a:pt x="166801" y="259553"/>
                    <a:pt x="168108" y="260425"/>
                  </a:cubicBezTo>
                  <a:cubicBezTo>
                    <a:pt x="175299" y="264786"/>
                    <a:pt x="177478" y="245601"/>
                    <a:pt x="170723" y="236227"/>
                  </a:cubicBezTo>
                  <a:cubicBezTo>
                    <a:pt x="167891" y="232302"/>
                    <a:pt x="165058" y="230994"/>
                    <a:pt x="160917" y="231212"/>
                  </a:cubicBezTo>
                  <a:cubicBezTo>
                    <a:pt x="155470" y="231648"/>
                    <a:pt x="146100" y="225762"/>
                    <a:pt x="146100" y="221620"/>
                  </a:cubicBezTo>
                  <a:cubicBezTo>
                    <a:pt x="146100" y="220748"/>
                    <a:pt x="149804" y="219876"/>
                    <a:pt x="154598" y="219876"/>
                  </a:cubicBezTo>
                  <a:cubicBezTo>
                    <a:pt x="159392" y="219876"/>
                    <a:pt x="164186" y="218568"/>
                    <a:pt x="165711" y="216606"/>
                  </a:cubicBezTo>
                  <a:cubicBezTo>
                    <a:pt x="170505" y="210720"/>
                    <a:pt x="174428" y="212682"/>
                    <a:pt x="174428" y="220966"/>
                  </a:cubicBezTo>
                  <a:cubicBezTo>
                    <a:pt x="174428" y="225762"/>
                    <a:pt x="176171" y="230558"/>
                    <a:pt x="178786" y="233392"/>
                  </a:cubicBezTo>
                  <a:cubicBezTo>
                    <a:pt x="181183" y="236009"/>
                    <a:pt x="183144" y="237753"/>
                    <a:pt x="183362" y="237099"/>
                  </a:cubicBezTo>
                  <a:cubicBezTo>
                    <a:pt x="183362" y="236663"/>
                    <a:pt x="183798" y="230994"/>
                    <a:pt x="184016" y="224672"/>
                  </a:cubicBezTo>
                  <a:cubicBezTo>
                    <a:pt x="184669" y="214208"/>
                    <a:pt x="184234" y="213118"/>
                    <a:pt x="179440" y="212028"/>
                  </a:cubicBezTo>
                  <a:cubicBezTo>
                    <a:pt x="175081" y="210938"/>
                    <a:pt x="174428" y="209412"/>
                    <a:pt x="174864" y="203961"/>
                  </a:cubicBezTo>
                  <a:cubicBezTo>
                    <a:pt x="175517" y="198293"/>
                    <a:pt x="174646" y="197203"/>
                    <a:pt x="168980" y="195677"/>
                  </a:cubicBezTo>
                  <a:cubicBezTo>
                    <a:pt x="164186" y="194369"/>
                    <a:pt x="162007" y="194587"/>
                    <a:pt x="160700" y="196985"/>
                  </a:cubicBezTo>
                  <a:cubicBezTo>
                    <a:pt x="158085" y="201999"/>
                    <a:pt x="151983" y="201127"/>
                    <a:pt x="153291" y="195895"/>
                  </a:cubicBezTo>
                  <a:cubicBezTo>
                    <a:pt x="153944" y="193715"/>
                    <a:pt x="153073" y="190009"/>
                    <a:pt x="151330" y="187829"/>
                  </a:cubicBezTo>
                  <a:cubicBezTo>
                    <a:pt x="147843" y="183251"/>
                    <a:pt x="147407" y="178455"/>
                    <a:pt x="150458" y="178455"/>
                  </a:cubicBezTo>
                  <a:cubicBezTo>
                    <a:pt x="151765" y="178455"/>
                    <a:pt x="152637" y="180199"/>
                    <a:pt x="152637" y="182379"/>
                  </a:cubicBezTo>
                  <a:cubicBezTo>
                    <a:pt x="152637" y="186303"/>
                    <a:pt x="160046" y="192189"/>
                    <a:pt x="162225" y="190009"/>
                  </a:cubicBezTo>
                  <a:cubicBezTo>
                    <a:pt x="165276" y="186739"/>
                    <a:pt x="163097" y="176492"/>
                    <a:pt x="158303" y="171696"/>
                  </a:cubicBezTo>
                  <a:cubicBezTo>
                    <a:pt x="155470" y="168862"/>
                    <a:pt x="151547" y="163194"/>
                    <a:pt x="149586" y="159488"/>
                  </a:cubicBezTo>
                  <a:cubicBezTo>
                    <a:pt x="145228" y="150768"/>
                    <a:pt x="143049" y="150332"/>
                    <a:pt x="144574" y="158180"/>
                  </a:cubicBezTo>
                  <a:cubicBezTo>
                    <a:pt x="145228" y="161450"/>
                    <a:pt x="144139" y="166246"/>
                    <a:pt x="142395" y="169080"/>
                  </a:cubicBezTo>
                  <a:cubicBezTo>
                    <a:pt x="139563" y="173222"/>
                    <a:pt x="139345" y="175402"/>
                    <a:pt x="141524" y="179763"/>
                  </a:cubicBezTo>
                  <a:cubicBezTo>
                    <a:pt x="142831" y="182815"/>
                    <a:pt x="143921" y="188047"/>
                    <a:pt x="143921" y="191317"/>
                  </a:cubicBezTo>
                  <a:cubicBezTo>
                    <a:pt x="143921" y="195241"/>
                    <a:pt x="145664" y="198729"/>
                    <a:pt x="148715" y="200691"/>
                  </a:cubicBezTo>
                  <a:cubicBezTo>
                    <a:pt x="151983" y="202871"/>
                    <a:pt x="152855" y="205051"/>
                    <a:pt x="151983" y="207668"/>
                  </a:cubicBezTo>
                  <a:cubicBezTo>
                    <a:pt x="150458" y="211374"/>
                    <a:pt x="150022" y="211374"/>
                    <a:pt x="145446" y="208322"/>
                  </a:cubicBezTo>
                  <a:cubicBezTo>
                    <a:pt x="141742" y="205923"/>
                    <a:pt x="139345" y="205705"/>
                    <a:pt x="136512" y="207232"/>
                  </a:cubicBezTo>
                  <a:cubicBezTo>
                    <a:pt x="133243" y="209194"/>
                    <a:pt x="132807" y="208758"/>
                    <a:pt x="133897" y="204833"/>
                  </a:cubicBezTo>
                  <a:cubicBezTo>
                    <a:pt x="134551" y="202217"/>
                    <a:pt x="135858" y="198293"/>
                    <a:pt x="136512" y="195895"/>
                  </a:cubicBezTo>
                  <a:cubicBezTo>
                    <a:pt x="137166" y="193497"/>
                    <a:pt x="136730" y="191535"/>
                    <a:pt x="135422" y="191535"/>
                  </a:cubicBezTo>
                  <a:cubicBezTo>
                    <a:pt x="134115" y="191535"/>
                    <a:pt x="133025" y="193061"/>
                    <a:pt x="133025" y="195023"/>
                  </a:cubicBezTo>
                  <a:cubicBezTo>
                    <a:pt x="133025" y="196767"/>
                    <a:pt x="130193" y="199165"/>
                    <a:pt x="126924" y="200473"/>
                  </a:cubicBezTo>
                  <a:cubicBezTo>
                    <a:pt x="123219" y="201781"/>
                    <a:pt x="119951" y="205051"/>
                    <a:pt x="118208" y="209412"/>
                  </a:cubicBezTo>
                  <a:cubicBezTo>
                    <a:pt x="115157" y="217696"/>
                    <a:pt x="116464" y="220312"/>
                    <a:pt x="122784" y="217914"/>
                  </a:cubicBezTo>
                  <a:cubicBezTo>
                    <a:pt x="127578" y="215952"/>
                    <a:pt x="141960" y="221838"/>
                    <a:pt x="141960" y="225762"/>
                  </a:cubicBezTo>
                  <a:cubicBezTo>
                    <a:pt x="141960" y="226634"/>
                    <a:pt x="143485" y="229250"/>
                    <a:pt x="145446" y="231212"/>
                  </a:cubicBezTo>
                  <a:cubicBezTo>
                    <a:pt x="148497" y="234482"/>
                    <a:pt x="148279" y="235572"/>
                    <a:pt x="144139" y="240805"/>
                  </a:cubicBezTo>
                  <a:cubicBezTo>
                    <a:pt x="140652" y="245165"/>
                    <a:pt x="139780" y="248435"/>
                    <a:pt x="140870" y="253885"/>
                  </a:cubicBezTo>
                  <a:cubicBezTo>
                    <a:pt x="141960" y="259553"/>
                    <a:pt x="141306" y="261515"/>
                    <a:pt x="137601" y="263913"/>
                  </a:cubicBezTo>
                  <a:cubicBezTo>
                    <a:pt x="132807" y="266748"/>
                    <a:pt x="131282" y="272198"/>
                    <a:pt x="135204" y="272198"/>
                  </a:cubicBezTo>
                  <a:cubicBezTo>
                    <a:pt x="136512" y="272198"/>
                    <a:pt x="137383" y="271326"/>
                    <a:pt x="137383" y="270236"/>
                  </a:cubicBezTo>
                  <a:cubicBezTo>
                    <a:pt x="137383" y="267184"/>
                    <a:pt x="153073" y="268056"/>
                    <a:pt x="157867" y="271326"/>
                  </a:cubicBezTo>
                  <a:cubicBezTo>
                    <a:pt x="165711" y="276776"/>
                    <a:pt x="166801" y="270890"/>
                    <a:pt x="159392" y="262387"/>
                  </a:cubicBezTo>
                  <a:close/>
                  <a:moveTo>
                    <a:pt x="1438073" y="268710"/>
                  </a:moveTo>
                  <a:cubicBezTo>
                    <a:pt x="1436765" y="266966"/>
                    <a:pt x="1434804" y="265658"/>
                    <a:pt x="1433715" y="265658"/>
                  </a:cubicBezTo>
                  <a:cubicBezTo>
                    <a:pt x="1430664" y="265658"/>
                    <a:pt x="1431318" y="271762"/>
                    <a:pt x="1434586" y="272852"/>
                  </a:cubicBezTo>
                  <a:cubicBezTo>
                    <a:pt x="1438944" y="274378"/>
                    <a:pt x="1440906" y="271980"/>
                    <a:pt x="1438073" y="268710"/>
                  </a:cubicBezTo>
                  <a:close/>
                  <a:moveTo>
                    <a:pt x="189899" y="263041"/>
                  </a:moveTo>
                  <a:cubicBezTo>
                    <a:pt x="191207" y="260207"/>
                    <a:pt x="194257" y="256283"/>
                    <a:pt x="196436" y="254103"/>
                  </a:cubicBezTo>
                  <a:cubicBezTo>
                    <a:pt x="201012" y="249743"/>
                    <a:pt x="202102" y="240805"/>
                    <a:pt x="197962" y="242113"/>
                  </a:cubicBezTo>
                  <a:cubicBezTo>
                    <a:pt x="196436" y="242767"/>
                    <a:pt x="194039" y="245383"/>
                    <a:pt x="192732" y="247999"/>
                  </a:cubicBezTo>
                  <a:cubicBezTo>
                    <a:pt x="191425" y="250615"/>
                    <a:pt x="188156" y="254321"/>
                    <a:pt x="185541" y="256065"/>
                  </a:cubicBezTo>
                  <a:cubicBezTo>
                    <a:pt x="180311" y="259771"/>
                    <a:pt x="179440" y="267838"/>
                    <a:pt x="184234" y="267838"/>
                  </a:cubicBezTo>
                  <a:cubicBezTo>
                    <a:pt x="185977" y="267838"/>
                    <a:pt x="188592" y="265658"/>
                    <a:pt x="189899" y="263041"/>
                  </a:cubicBezTo>
                  <a:close/>
                  <a:moveTo>
                    <a:pt x="553587" y="266966"/>
                  </a:moveTo>
                  <a:cubicBezTo>
                    <a:pt x="553587" y="266312"/>
                    <a:pt x="552715" y="265222"/>
                    <a:pt x="551408" y="264567"/>
                  </a:cubicBezTo>
                  <a:cubicBezTo>
                    <a:pt x="550318" y="263913"/>
                    <a:pt x="549228" y="264349"/>
                    <a:pt x="549228" y="265440"/>
                  </a:cubicBezTo>
                  <a:cubicBezTo>
                    <a:pt x="549228" y="266748"/>
                    <a:pt x="550318" y="267838"/>
                    <a:pt x="551408" y="267838"/>
                  </a:cubicBezTo>
                  <a:cubicBezTo>
                    <a:pt x="552715" y="267838"/>
                    <a:pt x="553587" y="267402"/>
                    <a:pt x="553587" y="266966"/>
                  </a:cubicBezTo>
                  <a:close/>
                  <a:moveTo>
                    <a:pt x="671257" y="258027"/>
                  </a:moveTo>
                  <a:cubicBezTo>
                    <a:pt x="671257" y="256283"/>
                    <a:pt x="670167" y="254757"/>
                    <a:pt x="668860" y="254757"/>
                  </a:cubicBezTo>
                  <a:cubicBezTo>
                    <a:pt x="667334" y="254757"/>
                    <a:pt x="666898" y="252577"/>
                    <a:pt x="667770" y="249307"/>
                  </a:cubicBezTo>
                  <a:cubicBezTo>
                    <a:pt x="669731" y="241895"/>
                    <a:pt x="664066" y="241895"/>
                    <a:pt x="660797" y="249307"/>
                  </a:cubicBezTo>
                  <a:cubicBezTo>
                    <a:pt x="656657" y="258463"/>
                    <a:pt x="657528" y="261297"/>
                    <a:pt x="664719" y="261297"/>
                  </a:cubicBezTo>
                  <a:cubicBezTo>
                    <a:pt x="669078" y="261297"/>
                    <a:pt x="671257" y="260207"/>
                    <a:pt x="671257" y="258027"/>
                  </a:cubicBezTo>
                  <a:close/>
                  <a:moveTo>
                    <a:pt x="512184" y="251269"/>
                  </a:moveTo>
                  <a:cubicBezTo>
                    <a:pt x="512184" y="249525"/>
                    <a:pt x="513274" y="248217"/>
                    <a:pt x="514363" y="248217"/>
                  </a:cubicBezTo>
                  <a:cubicBezTo>
                    <a:pt x="515671" y="248217"/>
                    <a:pt x="516542" y="246691"/>
                    <a:pt x="516542" y="244947"/>
                  </a:cubicBezTo>
                  <a:cubicBezTo>
                    <a:pt x="516542" y="243203"/>
                    <a:pt x="515889" y="241677"/>
                    <a:pt x="515017" y="241677"/>
                  </a:cubicBezTo>
                  <a:cubicBezTo>
                    <a:pt x="511966" y="241895"/>
                    <a:pt x="505429" y="252577"/>
                    <a:pt x="506737" y="254757"/>
                  </a:cubicBezTo>
                  <a:cubicBezTo>
                    <a:pt x="508480" y="257591"/>
                    <a:pt x="512184" y="255411"/>
                    <a:pt x="512184" y="251269"/>
                  </a:cubicBezTo>
                  <a:close/>
                  <a:moveTo>
                    <a:pt x="183580" y="243421"/>
                  </a:moveTo>
                  <a:cubicBezTo>
                    <a:pt x="182054" y="241895"/>
                    <a:pt x="180965" y="241677"/>
                    <a:pt x="180965" y="242985"/>
                  </a:cubicBezTo>
                  <a:cubicBezTo>
                    <a:pt x="180965" y="246037"/>
                    <a:pt x="183580" y="248653"/>
                    <a:pt x="185105" y="247127"/>
                  </a:cubicBezTo>
                  <a:cubicBezTo>
                    <a:pt x="185541" y="246473"/>
                    <a:pt x="184887" y="244729"/>
                    <a:pt x="183580" y="243421"/>
                  </a:cubicBezTo>
                  <a:close/>
                  <a:moveTo>
                    <a:pt x="404102" y="238625"/>
                  </a:moveTo>
                  <a:cubicBezTo>
                    <a:pt x="403231" y="232956"/>
                    <a:pt x="403666" y="230994"/>
                    <a:pt x="406499" y="229904"/>
                  </a:cubicBezTo>
                  <a:cubicBezTo>
                    <a:pt x="411293" y="228160"/>
                    <a:pt x="416305" y="232084"/>
                    <a:pt x="416305" y="237535"/>
                  </a:cubicBezTo>
                  <a:cubicBezTo>
                    <a:pt x="416305" y="239715"/>
                    <a:pt x="417394" y="242113"/>
                    <a:pt x="418484" y="242767"/>
                  </a:cubicBezTo>
                  <a:cubicBezTo>
                    <a:pt x="419791" y="243421"/>
                    <a:pt x="420663" y="242985"/>
                    <a:pt x="420663" y="241677"/>
                  </a:cubicBezTo>
                  <a:cubicBezTo>
                    <a:pt x="420663" y="240369"/>
                    <a:pt x="423060" y="236009"/>
                    <a:pt x="426111" y="232084"/>
                  </a:cubicBezTo>
                  <a:cubicBezTo>
                    <a:pt x="431776" y="224672"/>
                    <a:pt x="433084" y="219876"/>
                    <a:pt x="429379" y="219876"/>
                  </a:cubicBezTo>
                  <a:cubicBezTo>
                    <a:pt x="424803" y="219876"/>
                    <a:pt x="427418" y="214644"/>
                    <a:pt x="435263" y="207886"/>
                  </a:cubicBezTo>
                  <a:cubicBezTo>
                    <a:pt x="441146" y="202871"/>
                    <a:pt x="442890" y="200037"/>
                    <a:pt x="441800" y="197203"/>
                  </a:cubicBezTo>
                  <a:cubicBezTo>
                    <a:pt x="440493" y="194151"/>
                    <a:pt x="438749" y="193497"/>
                    <a:pt x="434173" y="194369"/>
                  </a:cubicBezTo>
                  <a:cubicBezTo>
                    <a:pt x="430687" y="195023"/>
                    <a:pt x="426547" y="194369"/>
                    <a:pt x="423932" y="192407"/>
                  </a:cubicBezTo>
                  <a:cubicBezTo>
                    <a:pt x="420009" y="189573"/>
                    <a:pt x="419356" y="189791"/>
                    <a:pt x="416087" y="193933"/>
                  </a:cubicBezTo>
                  <a:cubicBezTo>
                    <a:pt x="411511" y="200037"/>
                    <a:pt x="405410" y="198075"/>
                    <a:pt x="405410" y="190445"/>
                  </a:cubicBezTo>
                  <a:cubicBezTo>
                    <a:pt x="405410" y="186521"/>
                    <a:pt x="404320" y="184995"/>
                    <a:pt x="401269" y="184995"/>
                  </a:cubicBezTo>
                  <a:cubicBezTo>
                    <a:pt x="397565" y="184995"/>
                    <a:pt x="394514" y="181071"/>
                    <a:pt x="394514" y="176056"/>
                  </a:cubicBezTo>
                  <a:cubicBezTo>
                    <a:pt x="394514" y="174966"/>
                    <a:pt x="396257" y="174094"/>
                    <a:pt x="398437" y="174094"/>
                  </a:cubicBezTo>
                  <a:cubicBezTo>
                    <a:pt x="404538" y="173876"/>
                    <a:pt x="412818" y="166464"/>
                    <a:pt x="411293" y="162322"/>
                  </a:cubicBezTo>
                  <a:cubicBezTo>
                    <a:pt x="409114" y="157090"/>
                    <a:pt x="403231" y="158834"/>
                    <a:pt x="399090" y="165810"/>
                  </a:cubicBezTo>
                  <a:cubicBezTo>
                    <a:pt x="395822" y="171260"/>
                    <a:pt x="383401" y="182815"/>
                    <a:pt x="380568" y="182815"/>
                  </a:cubicBezTo>
                  <a:cubicBezTo>
                    <a:pt x="379914" y="182815"/>
                    <a:pt x="379261" y="179981"/>
                    <a:pt x="379261" y="176710"/>
                  </a:cubicBezTo>
                  <a:cubicBezTo>
                    <a:pt x="379261" y="171914"/>
                    <a:pt x="377735" y="169734"/>
                    <a:pt x="373377" y="167772"/>
                  </a:cubicBezTo>
                  <a:cubicBezTo>
                    <a:pt x="367930" y="165156"/>
                    <a:pt x="367058" y="165592"/>
                    <a:pt x="362482" y="171260"/>
                  </a:cubicBezTo>
                  <a:cubicBezTo>
                    <a:pt x="357252" y="177582"/>
                    <a:pt x="355945" y="182815"/>
                    <a:pt x="359431" y="182815"/>
                  </a:cubicBezTo>
                  <a:cubicBezTo>
                    <a:pt x="360739" y="182815"/>
                    <a:pt x="362264" y="181725"/>
                    <a:pt x="362918" y="180417"/>
                  </a:cubicBezTo>
                  <a:cubicBezTo>
                    <a:pt x="365968" y="175838"/>
                    <a:pt x="371634" y="179545"/>
                    <a:pt x="371634" y="186085"/>
                  </a:cubicBezTo>
                  <a:cubicBezTo>
                    <a:pt x="371634" y="191971"/>
                    <a:pt x="372288" y="192625"/>
                    <a:pt x="378389" y="192189"/>
                  </a:cubicBezTo>
                  <a:cubicBezTo>
                    <a:pt x="382965" y="191753"/>
                    <a:pt x="385798" y="192625"/>
                    <a:pt x="386670" y="195023"/>
                  </a:cubicBezTo>
                  <a:cubicBezTo>
                    <a:pt x="387541" y="197639"/>
                    <a:pt x="388849" y="197857"/>
                    <a:pt x="392335" y="195895"/>
                  </a:cubicBezTo>
                  <a:cubicBezTo>
                    <a:pt x="399308" y="192189"/>
                    <a:pt x="406063" y="197421"/>
                    <a:pt x="404538" y="205487"/>
                  </a:cubicBezTo>
                  <a:cubicBezTo>
                    <a:pt x="403666" y="208976"/>
                    <a:pt x="404102" y="212900"/>
                    <a:pt x="405410" y="214426"/>
                  </a:cubicBezTo>
                  <a:cubicBezTo>
                    <a:pt x="406935" y="216170"/>
                    <a:pt x="406281" y="218350"/>
                    <a:pt x="403013" y="221184"/>
                  </a:cubicBezTo>
                  <a:cubicBezTo>
                    <a:pt x="399308" y="224672"/>
                    <a:pt x="398219" y="224672"/>
                    <a:pt x="396693" y="222056"/>
                  </a:cubicBezTo>
                  <a:cubicBezTo>
                    <a:pt x="395386" y="220312"/>
                    <a:pt x="394514" y="215734"/>
                    <a:pt x="394514" y="212028"/>
                  </a:cubicBezTo>
                  <a:cubicBezTo>
                    <a:pt x="394514" y="208322"/>
                    <a:pt x="392771" y="203743"/>
                    <a:pt x="390592" y="201781"/>
                  </a:cubicBezTo>
                  <a:cubicBezTo>
                    <a:pt x="387105" y="198511"/>
                    <a:pt x="386234" y="198511"/>
                    <a:pt x="381876" y="201563"/>
                  </a:cubicBezTo>
                  <a:cubicBezTo>
                    <a:pt x="375556" y="205923"/>
                    <a:pt x="375774" y="208758"/>
                    <a:pt x="382747" y="208322"/>
                  </a:cubicBezTo>
                  <a:cubicBezTo>
                    <a:pt x="390374" y="207668"/>
                    <a:pt x="394950" y="214644"/>
                    <a:pt x="389720" y="218568"/>
                  </a:cubicBezTo>
                  <a:cubicBezTo>
                    <a:pt x="385362" y="221838"/>
                    <a:pt x="386670" y="224236"/>
                    <a:pt x="392771" y="224236"/>
                  </a:cubicBezTo>
                  <a:cubicBezTo>
                    <a:pt x="395386" y="224236"/>
                    <a:pt x="396693" y="225762"/>
                    <a:pt x="396693" y="229468"/>
                  </a:cubicBezTo>
                  <a:cubicBezTo>
                    <a:pt x="396693" y="236881"/>
                    <a:pt x="401051" y="248435"/>
                    <a:pt x="403448" y="246909"/>
                  </a:cubicBezTo>
                  <a:cubicBezTo>
                    <a:pt x="404538" y="246255"/>
                    <a:pt x="404974" y="242549"/>
                    <a:pt x="404102" y="238625"/>
                  </a:cubicBezTo>
                  <a:close/>
                  <a:moveTo>
                    <a:pt x="195347" y="224890"/>
                  </a:moveTo>
                  <a:cubicBezTo>
                    <a:pt x="193168" y="222710"/>
                    <a:pt x="191207" y="225980"/>
                    <a:pt x="193168" y="228814"/>
                  </a:cubicBezTo>
                  <a:cubicBezTo>
                    <a:pt x="194475" y="231212"/>
                    <a:pt x="194911" y="231212"/>
                    <a:pt x="195783" y="228814"/>
                  </a:cubicBezTo>
                  <a:cubicBezTo>
                    <a:pt x="196218" y="227288"/>
                    <a:pt x="196001" y="225544"/>
                    <a:pt x="195347" y="224890"/>
                  </a:cubicBezTo>
                  <a:close/>
                  <a:moveTo>
                    <a:pt x="757330" y="226416"/>
                  </a:moveTo>
                  <a:cubicBezTo>
                    <a:pt x="759291" y="220530"/>
                    <a:pt x="757112" y="217914"/>
                    <a:pt x="751882" y="219222"/>
                  </a:cubicBezTo>
                  <a:cubicBezTo>
                    <a:pt x="746870" y="220530"/>
                    <a:pt x="746653" y="220966"/>
                    <a:pt x="749703" y="226634"/>
                  </a:cubicBezTo>
                  <a:cubicBezTo>
                    <a:pt x="752754" y="232084"/>
                    <a:pt x="755587" y="231866"/>
                    <a:pt x="757330" y="226416"/>
                  </a:cubicBezTo>
                  <a:close/>
                  <a:moveTo>
                    <a:pt x="569712" y="215080"/>
                  </a:moveTo>
                  <a:cubicBezTo>
                    <a:pt x="567751" y="212028"/>
                    <a:pt x="564482" y="215516"/>
                    <a:pt x="564482" y="220530"/>
                  </a:cubicBezTo>
                  <a:cubicBezTo>
                    <a:pt x="564700" y="225108"/>
                    <a:pt x="564700" y="225108"/>
                    <a:pt x="567751" y="221184"/>
                  </a:cubicBezTo>
                  <a:cubicBezTo>
                    <a:pt x="569494" y="219004"/>
                    <a:pt x="570365" y="216170"/>
                    <a:pt x="569712" y="215080"/>
                  </a:cubicBezTo>
                  <a:close/>
                  <a:moveTo>
                    <a:pt x="1455723" y="205487"/>
                  </a:moveTo>
                  <a:cubicBezTo>
                    <a:pt x="1455723" y="201563"/>
                    <a:pt x="1452673" y="201563"/>
                    <a:pt x="1449186" y="205705"/>
                  </a:cubicBezTo>
                  <a:cubicBezTo>
                    <a:pt x="1445700" y="209848"/>
                    <a:pt x="1448532" y="214426"/>
                    <a:pt x="1452673" y="210938"/>
                  </a:cubicBezTo>
                  <a:cubicBezTo>
                    <a:pt x="1454416" y="209630"/>
                    <a:pt x="1455723" y="207014"/>
                    <a:pt x="1455723" y="205487"/>
                  </a:cubicBezTo>
                  <a:close/>
                  <a:moveTo>
                    <a:pt x="629418" y="196331"/>
                  </a:moveTo>
                  <a:cubicBezTo>
                    <a:pt x="629854" y="194805"/>
                    <a:pt x="628765" y="193715"/>
                    <a:pt x="626804" y="193715"/>
                  </a:cubicBezTo>
                  <a:cubicBezTo>
                    <a:pt x="624842" y="193715"/>
                    <a:pt x="623317" y="195241"/>
                    <a:pt x="623317" y="197203"/>
                  </a:cubicBezTo>
                  <a:cubicBezTo>
                    <a:pt x="623317" y="200909"/>
                    <a:pt x="628111" y="200255"/>
                    <a:pt x="629418" y="196331"/>
                  </a:cubicBezTo>
                  <a:close/>
                  <a:moveTo>
                    <a:pt x="1448314" y="197857"/>
                  </a:moveTo>
                  <a:cubicBezTo>
                    <a:pt x="1448968" y="196549"/>
                    <a:pt x="1448750" y="194587"/>
                    <a:pt x="1447879" y="193715"/>
                  </a:cubicBezTo>
                  <a:cubicBezTo>
                    <a:pt x="1445264" y="191099"/>
                    <a:pt x="1439598" y="194805"/>
                    <a:pt x="1441341" y="197857"/>
                  </a:cubicBezTo>
                  <a:cubicBezTo>
                    <a:pt x="1443303" y="200909"/>
                    <a:pt x="1446353" y="200909"/>
                    <a:pt x="1448314" y="197857"/>
                  </a:cubicBezTo>
                  <a:close/>
                  <a:moveTo>
                    <a:pt x="599347" y="184777"/>
                  </a:moveTo>
                  <a:cubicBezTo>
                    <a:pt x="599347" y="182379"/>
                    <a:pt x="598476" y="181071"/>
                    <a:pt x="597168" y="181725"/>
                  </a:cubicBezTo>
                  <a:cubicBezTo>
                    <a:pt x="596079" y="182379"/>
                    <a:pt x="594989" y="184559"/>
                    <a:pt x="594989" y="186303"/>
                  </a:cubicBezTo>
                  <a:cubicBezTo>
                    <a:pt x="594989" y="188047"/>
                    <a:pt x="596079" y="189355"/>
                    <a:pt x="597168" y="189355"/>
                  </a:cubicBezTo>
                  <a:cubicBezTo>
                    <a:pt x="598476" y="189355"/>
                    <a:pt x="599347" y="187393"/>
                    <a:pt x="599347" y="184777"/>
                  </a:cubicBezTo>
                  <a:close/>
                  <a:moveTo>
                    <a:pt x="1452237" y="188047"/>
                  </a:moveTo>
                  <a:cubicBezTo>
                    <a:pt x="1456595" y="186303"/>
                    <a:pt x="1454634" y="182815"/>
                    <a:pt x="1448968" y="182815"/>
                  </a:cubicBezTo>
                  <a:cubicBezTo>
                    <a:pt x="1446789" y="182815"/>
                    <a:pt x="1444828" y="184341"/>
                    <a:pt x="1444828" y="186085"/>
                  </a:cubicBezTo>
                  <a:cubicBezTo>
                    <a:pt x="1444828" y="189573"/>
                    <a:pt x="1446789" y="190227"/>
                    <a:pt x="1452237" y="188047"/>
                  </a:cubicBezTo>
                  <a:close/>
                  <a:moveTo>
                    <a:pt x="626368" y="183687"/>
                  </a:moveTo>
                  <a:cubicBezTo>
                    <a:pt x="627239" y="181725"/>
                    <a:pt x="627239" y="179545"/>
                    <a:pt x="626586" y="178891"/>
                  </a:cubicBezTo>
                  <a:cubicBezTo>
                    <a:pt x="625060" y="177146"/>
                    <a:pt x="618959" y="183033"/>
                    <a:pt x="620266" y="185213"/>
                  </a:cubicBezTo>
                  <a:cubicBezTo>
                    <a:pt x="622010" y="188265"/>
                    <a:pt x="624842" y="187611"/>
                    <a:pt x="626368" y="183687"/>
                  </a:cubicBezTo>
                  <a:close/>
                  <a:moveTo>
                    <a:pt x="651645" y="173876"/>
                  </a:moveTo>
                  <a:cubicBezTo>
                    <a:pt x="651645" y="171696"/>
                    <a:pt x="650555" y="169298"/>
                    <a:pt x="649466" y="168644"/>
                  </a:cubicBezTo>
                  <a:cubicBezTo>
                    <a:pt x="648158" y="167772"/>
                    <a:pt x="647941" y="166246"/>
                    <a:pt x="648594" y="164938"/>
                  </a:cubicBezTo>
                  <a:cubicBezTo>
                    <a:pt x="649684" y="163412"/>
                    <a:pt x="651209" y="164066"/>
                    <a:pt x="653170" y="166682"/>
                  </a:cubicBezTo>
                  <a:cubicBezTo>
                    <a:pt x="655785" y="170170"/>
                    <a:pt x="656439" y="170388"/>
                    <a:pt x="658400" y="167554"/>
                  </a:cubicBezTo>
                  <a:cubicBezTo>
                    <a:pt x="660361" y="164284"/>
                    <a:pt x="660143" y="160796"/>
                    <a:pt x="657093" y="150768"/>
                  </a:cubicBezTo>
                  <a:cubicBezTo>
                    <a:pt x="654914" y="144009"/>
                    <a:pt x="659054" y="144445"/>
                    <a:pt x="662105" y="151204"/>
                  </a:cubicBezTo>
                  <a:cubicBezTo>
                    <a:pt x="664937" y="157526"/>
                    <a:pt x="667334" y="157962"/>
                    <a:pt x="671257" y="153384"/>
                  </a:cubicBezTo>
                  <a:cubicBezTo>
                    <a:pt x="675397" y="148369"/>
                    <a:pt x="676704" y="149242"/>
                    <a:pt x="681280" y="159924"/>
                  </a:cubicBezTo>
                  <a:cubicBezTo>
                    <a:pt x="683895" y="166464"/>
                    <a:pt x="686510" y="169734"/>
                    <a:pt x="688689" y="169298"/>
                  </a:cubicBezTo>
                  <a:cubicBezTo>
                    <a:pt x="692394" y="168426"/>
                    <a:pt x="694137" y="162322"/>
                    <a:pt x="691740" y="157090"/>
                  </a:cubicBezTo>
                  <a:cubicBezTo>
                    <a:pt x="690868" y="155128"/>
                    <a:pt x="690432" y="151640"/>
                    <a:pt x="690650" y="149460"/>
                  </a:cubicBezTo>
                  <a:cubicBezTo>
                    <a:pt x="690868" y="147279"/>
                    <a:pt x="689997" y="144227"/>
                    <a:pt x="688689" y="142483"/>
                  </a:cubicBezTo>
                  <a:cubicBezTo>
                    <a:pt x="686728" y="140303"/>
                    <a:pt x="686946" y="138341"/>
                    <a:pt x="688689" y="134635"/>
                  </a:cubicBezTo>
                  <a:cubicBezTo>
                    <a:pt x="691958" y="128531"/>
                    <a:pt x="689997" y="116104"/>
                    <a:pt x="684985" y="110218"/>
                  </a:cubicBezTo>
                  <a:cubicBezTo>
                    <a:pt x="682806" y="107820"/>
                    <a:pt x="682152" y="106294"/>
                    <a:pt x="683459" y="107166"/>
                  </a:cubicBezTo>
                  <a:cubicBezTo>
                    <a:pt x="684767" y="107820"/>
                    <a:pt x="688035" y="106294"/>
                    <a:pt x="690650" y="103460"/>
                  </a:cubicBezTo>
                  <a:cubicBezTo>
                    <a:pt x="695226" y="98446"/>
                    <a:pt x="695226" y="98446"/>
                    <a:pt x="691086" y="94522"/>
                  </a:cubicBezTo>
                  <a:cubicBezTo>
                    <a:pt x="686510" y="90598"/>
                    <a:pt x="679973" y="91470"/>
                    <a:pt x="679973" y="96048"/>
                  </a:cubicBezTo>
                  <a:cubicBezTo>
                    <a:pt x="679973" y="97574"/>
                    <a:pt x="676486" y="101280"/>
                    <a:pt x="672346" y="104332"/>
                  </a:cubicBezTo>
                  <a:cubicBezTo>
                    <a:pt x="667770" y="107602"/>
                    <a:pt x="664719" y="111744"/>
                    <a:pt x="664719" y="114796"/>
                  </a:cubicBezTo>
                  <a:cubicBezTo>
                    <a:pt x="664719" y="118938"/>
                    <a:pt x="663630" y="119593"/>
                    <a:pt x="655785" y="119593"/>
                  </a:cubicBezTo>
                  <a:cubicBezTo>
                    <a:pt x="647069" y="119593"/>
                    <a:pt x="646851" y="119593"/>
                    <a:pt x="648376" y="112834"/>
                  </a:cubicBezTo>
                  <a:cubicBezTo>
                    <a:pt x="649902" y="106294"/>
                    <a:pt x="649684" y="105858"/>
                    <a:pt x="644890" y="107166"/>
                  </a:cubicBezTo>
                  <a:cubicBezTo>
                    <a:pt x="642057" y="108038"/>
                    <a:pt x="637917" y="108692"/>
                    <a:pt x="635956" y="108692"/>
                  </a:cubicBezTo>
                  <a:cubicBezTo>
                    <a:pt x="633777" y="108692"/>
                    <a:pt x="632033" y="109782"/>
                    <a:pt x="632033" y="110872"/>
                  </a:cubicBezTo>
                  <a:cubicBezTo>
                    <a:pt x="632033" y="112180"/>
                    <a:pt x="633994" y="113052"/>
                    <a:pt x="636391" y="113052"/>
                  </a:cubicBezTo>
                  <a:cubicBezTo>
                    <a:pt x="638788" y="113052"/>
                    <a:pt x="640750" y="113706"/>
                    <a:pt x="640750" y="114360"/>
                  </a:cubicBezTo>
                  <a:cubicBezTo>
                    <a:pt x="640750" y="115014"/>
                    <a:pt x="638788" y="118066"/>
                    <a:pt x="636391" y="121119"/>
                  </a:cubicBezTo>
                  <a:cubicBezTo>
                    <a:pt x="633994" y="124171"/>
                    <a:pt x="632033" y="129185"/>
                    <a:pt x="632033" y="132237"/>
                  </a:cubicBezTo>
                  <a:cubicBezTo>
                    <a:pt x="632033" y="137687"/>
                    <a:pt x="632033" y="137687"/>
                    <a:pt x="636609" y="133545"/>
                  </a:cubicBezTo>
                  <a:cubicBezTo>
                    <a:pt x="640750" y="129839"/>
                    <a:pt x="641185" y="129621"/>
                    <a:pt x="643147" y="133327"/>
                  </a:cubicBezTo>
                  <a:cubicBezTo>
                    <a:pt x="644454" y="135289"/>
                    <a:pt x="646851" y="137033"/>
                    <a:pt x="648594" y="137033"/>
                  </a:cubicBezTo>
                  <a:cubicBezTo>
                    <a:pt x="650991" y="137033"/>
                    <a:pt x="651427" y="138559"/>
                    <a:pt x="650338" y="142701"/>
                  </a:cubicBezTo>
                  <a:cubicBezTo>
                    <a:pt x="649466" y="146407"/>
                    <a:pt x="649902" y="149024"/>
                    <a:pt x="651863" y="150550"/>
                  </a:cubicBezTo>
                  <a:cubicBezTo>
                    <a:pt x="654260" y="152076"/>
                    <a:pt x="654260" y="152948"/>
                    <a:pt x="652299" y="153820"/>
                  </a:cubicBezTo>
                  <a:cubicBezTo>
                    <a:pt x="650773" y="154256"/>
                    <a:pt x="649466" y="156218"/>
                    <a:pt x="649466" y="157962"/>
                  </a:cubicBezTo>
                  <a:cubicBezTo>
                    <a:pt x="649466" y="159706"/>
                    <a:pt x="648158" y="161014"/>
                    <a:pt x="646633" y="161014"/>
                  </a:cubicBezTo>
                  <a:cubicBezTo>
                    <a:pt x="645108" y="161014"/>
                    <a:pt x="642057" y="162322"/>
                    <a:pt x="639878" y="163848"/>
                  </a:cubicBezTo>
                  <a:cubicBezTo>
                    <a:pt x="636174" y="166682"/>
                    <a:pt x="636609" y="169298"/>
                    <a:pt x="643582" y="180199"/>
                  </a:cubicBezTo>
                  <a:cubicBezTo>
                    <a:pt x="645979" y="183905"/>
                    <a:pt x="651645" y="179545"/>
                    <a:pt x="651645" y="173876"/>
                  </a:cubicBezTo>
                  <a:close/>
                  <a:moveTo>
                    <a:pt x="632033" y="171696"/>
                  </a:moveTo>
                  <a:cubicBezTo>
                    <a:pt x="632033" y="170388"/>
                    <a:pt x="631162" y="170170"/>
                    <a:pt x="629854" y="170824"/>
                  </a:cubicBezTo>
                  <a:cubicBezTo>
                    <a:pt x="628765" y="171478"/>
                    <a:pt x="627675" y="173222"/>
                    <a:pt x="627675" y="174312"/>
                  </a:cubicBezTo>
                  <a:cubicBezTo>
                    <a:pt x="627675" y="175620"/>
                    <a:pt x="628765" y="175838"/>
                    <a:pt x="629854" y="175184"/>
                  </a:cubicBezTo>
                  <a:cubicBezTo>
                    <a:pt x="631162" y="174530"/>
                    <a:pt x="632033" y="172786"/>
                    <a:pt x="632033" y="171696"/>
                  </a:cubicBezTo>
                  <a:close/>
                  <a:moveTo>
                    <a:pt x="786094" y="171478"/>
                  </a:moveTo>
                  <a:cubicBezTo>
                    <a:pt x="785440" y="169734"/>
                    <a:pt x="784786" y="170388"/>
                    <a:pt x="784786" y="172786"/>
                  </a:cubicBezTo>
                  <a:cubicBezTo>
                    <a:pt x="784568" y="175184"/>
                    <a:pt x="785222" y="176492"/>
                    <a:pt x="785876" y="175620"/>
                  </a:cubicBezTo>
                  <a:cubicBezTo>
                    <a:pt x="786530" y="174966"/>
                    <a:pt x="786748" y="173004"/>
                    <a:pt x="786094" y="171478"/>
                  </a:cubicBezTo>
                  <a:close/>
                  <a:moveTo>
                    <a:pt x="1456595" y="170606"/>
                  </a:moveTo>
                  <a:cubicBezTo>
                    <a:pt x="1458992" y="164284"/>
                    <a:pt x="1457902" y="162540"/>
                    <a:pt x="1453980" y="166028"/>
                  </a:cubicBezTo>
                  <a:cubicBezTo>
                    <a:pt x="1451801" y="168208"/>
                    <a:pt x="1448750" y="169734"/>
                    <a:pt x="1447443" y="169734"/>
                  </a:cubicBezTo>
                  <a:cubicBezTo>
                    <a:pt x="1445917" y="169734"/>
                    <a:pt x="1444828" y="170824"/>
                    <a:pt x="1444828" y="171914"/>
                  </a:cubicBezTo>
                  <a:cubicBezTo>
                    <a:pt x="1444828" y="175402"/>
                    <a:pt x="1455070" y="174312"/>
                    <a:pt x="1456595" y="170606"/>
                  </a:cubicBezTo>
                  <a:close/>
                  <a:moveTo>
                    <a:pt x="638788" y="156000"/>
                  </a:moveTo>
                  <a:cubicBezTo>
                    <a:pt x="641839" y="148588"/>
                    <a:pt x="639442" y="142919"/>
                    <a:pt x="632687" y="141829"/>
                  </a:cubicBezTo>
                  <a:cubicBezTo>
                    <a:pt x="627457" y="140957"/>
                    <a:pt x="625278" y="148806"/>
                    <a:pt x="627021" y="160142"/>
                  </a:cubicBezTo>
                  <a:cubicBezTo>
                    <a:pt x="628111" y="166464"/>
                    <a:pt x="628765" y="166900"/>
                    <a:pt x="632251" y="164720"/>
                  </a:cubicBezTo>
                  <a:cubicBezTo>
                    <a:pt x="634430" y="163412"/>
                    <a:pt x="637481" y="159488"/>
                    <a:pt x="638788" y="156000"/>
                  </a:cubicBezTo>
                  <a:close/>
                  <a:moveTo>
                    <a:pt x="1375098" y="141393"/>
                  </a:moveTo>
                  <a:cubicBezTo>
                    <a:pt x="1375098" y="140303"/>
                    <a:pt x="1374226" y="139213"/>
                    <a:pt x="1373136" y="139213"/>
                  </a:cubicBezTo>
                  <a:cubicBezTo>
                    <a:pt x="1371829" y="139213"/>
                    <a:pt x="1370304" y="140303"/>
                    <a:pt x="1369650" y="141393"/>
                  </a:cubicBezTo>
                  <a:cubicBezTo>
                    <a:pt x="1368996" y="142701"/>
                    <a:pt x="1369868" y="143573"/>
                    <a:pt x="1371611" y="143573"/>
                  </a:cubicBezTo>
                  <a:cubicBezTo>
                    <a:pt x="1373572" y="143573"/>
                    <a:pt x="1375098" y="142701"/>
                    <a:pt x="1375098" y="141393"/>
                  </a:cubicBezTo>
                  <a:close/>
                  <a:moveTo>
                    <a:pt x="1453544" y="124607"/>
                  </a:moveTo>
                  <a:cubicBezTo>
                    <a:pt x="1458120" y="116758"/>
                    <a:pt x="1458120" y="116322"/>
                    <a:pt x="1454198" y="113706"/>
                  </a:cubicBezTo>
                  <a:cubicBezTo>
                    <a:pt x="1450711" y="111090"/>
                    <a:pt x="1450276" y="111308"/>
                    <a:pt x="1448968" y="115886"/>
                  </a:cubicBezTo>
                  <a:cubicBezTo>
                    <a:pt x="1448314" y="118720"/>
                    <a:pt x="1446571" y="122863"/>
                    <a:pt x="1445264" y="125479"/>
                  </a:cubicBezTo>
                  <a:cubicBezTo>
                    <a:pt x="1442867" y="129621"/>
                    <a:pt x="1443738" y="132673"/>
                    <a:pt x="1447225" y="132673"/>
                  </a:cubicBezTo>
                  <a:cubicBezTo>
                    <a:pt x="1448097" y="132673"/>
                    <a:pt x="1450929" y="128967"/>
                    <a:pt x="1453544" y="124607"/>
                  </a:cubicBezTo>
                  <a:close/>
                  <a:moveTo>
                    <a:pt x="705032" y="121773"/>
                  </a:moveTo>
                  <a:cubicBezTo>
                    <a:pt x="705686" y="120683"/>
                    <a:pt x="705250" y="119593"/>
                    <a:pt x="704161" y="119593"/>
                  </a:cubicBezTo>
                  <a:cubicBezTo>
                    <a:pt x="702853" y="119593"/>
                    <a:pt x="701764" y="120683"/>
                    <a:pt x="701764" y="121773"/>
                  </a:cubicBezTo>
                  <a:cubicBezTo>
                    <a:pt x="701764" y="123081"/>
                    <a:pt x="702199" y="123953"/>
                    <a:pt x="702635" y="123953"/>
                  </a:cubicBezTo>
                  <a:cubicBezTo>
                    <a:pt x="703289" y="123953"/>
                    <a:pt x="704379" y="123081"/>
                    <a:pt x="705032" y="121773"/>
                  </a:cubicBezTo>
                  <a:close/>
                  <a:moveTo>
                    <a:pt x="1375098" y="116322"/>
                  </a:moveTo>
                  <a:cubicBezTo>
                    <a:pt x="1375098" y="114578"/>
                    <a:pt x="1374226" y="113052"/>
                    <a:pt x="1372918" y="113052"/>
                  </a:cubicBezTo>
                  <a:cubicBezTo>
                    <a:pt x="1371829" y="113052"/>
                    <a:pt x="1370739" y="114578"/>
                    <a:pt x="1370739" y="116322"/>
                  </a:cubicBezTo>
                  <a:cubicBezTo>
                    <a:pt x="1370739" y="118066"/>
                    <a:pt x="1371829" y="119593"/>
                    <a:pt x="1372918" y="119593"/>
                  </a:cubicBezTo>
                  <a:cubicBezTo>
                    <a:pt x="1374226" y="119593"/>
                    <a:pt x="1375098" y="118066"/>
                    <a:pt x="1375098" y="116322"/>
                  </a:cubicBezTo>
                  <a:close/>
                  <a:moveTo>
                    <a:pt x="315632" y="112616"/>
                  </a:moveTo>
                  <a:cubicBezTo>
                    <a:pt x="310838" y="105422"/>
                    <a:pt x="306698" y="104768"/>
                    <a:pt x="309748" y="111744"/>
                  </a:cubicBezTo>
                  <a:cubicBezTo>
                    <a:pt x="311274" y="114796"/>
                    <a:pt x="313888" y="117412"/>
                    <a:pt x="315632" y="117412"/>
                  </a:cubicBezTo>
                  <a:cubicBezTo>
                    <a:pt x="318465" y="117412"/>
                    <a:pt x="318465" y="116758"/>
                    <a:pt x="315632" y="112616"/>
                  </a:cubicBezTo>
                  <a:close/>
                  <a:moveTo>
                    <a:pt x="1452673" y="96484"/>
                  </a:moveTo>
                  <a:cubicBezTo>
                    <a:pt x="1451365" y="92996"/>
                    <a:pt x="1450929" y="92996"/>
                    <a:pt x="1446571" y="97138"/>
                  </a:cubicBezTo>
                  <a:cubicBezTo>
                    <a:pt x="1443738" y="100190"/>
                    <a:pt x="1442649" y="103242"/>
                    <a:pt x="1443520" y="105640"/>
                  </a:cubicBezTo>
                  <a:cubicBezTo>
                    <a:pt x="1444828" y="109128"/>
                    <a:pt x="1445264" y="109128"/>
                    <a:pt x="1449622" y="104986"/>
                  </a:cubicBezTo>
                  <a:cubicBezTo>
                    <a:pt x="1452455" y="101934"/>
                    <a:pt x="1453544" y="98882"/>
                    <a:pt x="1452673" y="96484"/>
                  </a:cubicBezTo>
                  <a:close/>
                  <a:moveTo>
                    <a:pt x="1291421" y="98882"/>
                  </a:moveTo>
                  <a:cubicBezTo>
                    <a:pt x="1292293" y="95176"/>
                    <a:pt x="1294036" y="93650"/>
                    <a:pt x="1297305" y="94086"/>
                  </a:cubicBezTo>
                  <a:cubicBezTo>
                    <a:pt x="1300137" y="94304"/>
                    <a:pt x="1302316" y="92996"/>
                    <a:pt x="1302752" y="90816"/>
                  </a:cubicBezTo>
                  <a:cubicBezTo>
                    <a:pt x="1303188" y="87981"/>
                    <a:pt x="1302099" y="86891"/>
                    <a:pt x="1299048" y="86891"/>
                  </a:cubicBezTo>
                  <a:cubicBezTo>
                    <a:pt x="1296433" y="86891"/>
                    <a:pt x="1294472" y="86019"/>
                    <a:pt x="1294472" y="84711"/>
                  </a:cubicBezTo>
                  <a:cubicBezTo>
                    <a:pt x="1294472" y="83621"/>
                    <a:pt x="1293600" y="82531"/>
                    <a:pt x="1292293" y="82531"/>
                  </a:cubicBezTo>
                  <a:cubicBezTo>
                    <a:pt x="1291203" y="82531"/>
                    <a:pt x="1290114" y="84057"/>
                    <a:pt x="1290114" y="85801"/>
                  </a:cubicBezTo>
                  <a:cubicBezTo>
                    <a:pt x="1290114" y="87545"/>
                    <a:pt x="1288806" y="89071"/>
                    <a:pt x="1287063" y="89071"/>
                  </a:cubicBezTo>
                  <a:cubicBezTo>
                    <a:pt x="1282487" y="89071"/>
                    <a:pt x="1280744" y="92778"/>
                    <a:pt x="1282269" y="99100"/>
                  </a:cubicBezTo>
                  <a:cubicBezTo>
                    <a:pt x="1284012" y="105858"/>
                    <a:pt x="1289678" y="105858"/>
                    <a:pt x="1291421" y="98882"/>
                  </a:cubicBezTo>
                  <a:close/>
                  <a:moveTo>
                    <a:pt x="638571" y="94522"/>
                  </a:moveTo>
                  <a:cubicBezTo>
                    <a:pt x="638571" y="91470"/>
                    <a:pt x="639660" y="89071"/>
                    <a:pt x="640750" y="89071"/>
                  </a:cubicBezTo>
                  <a:cubicBezTo>
                    <a:pt x="642057" y="89071"/>
                    <a:pt x="642929" y="91034"/>
                    <a:pt x="642929" y="93432"/>
                  </a:cubicBezTo>
                  <a:cubicBezTo>
                    <a:pt x="642929" y="95830"/>
                    <a:pt x="644018" y="97792"/>
                    <a:pt x="645108" y="97792"/>
                  </a:cubicBezTo>
                  <a:cubicBezTo>
                    <a:pt x="646415" y="97792"/>
                    <a:pt x="647287" y="93868"/>
                    <a:pt x="647287" y="89071"/>
                  </a:cubicBezTo>
                  <a:cubicBezTo>
                    <a:pt x="647287" y="80787"/>
                    <a:pt x="645544" y="78389"/>
                    <a:pt x="642057" y="81877"/>
                  </a:cubicBezTo>
                  <a:cubicBezTo>
                    <a:pt x="641185" y="82749"/>
                    <a:pt x="636609" y="83185"/>
                    <a:pt x="631815" y="82749"/>
                  </a:cubicBezTo>
                  <a:cubicBezTo>
                    <a:pt x="622227" y="82095"/>
                    <a:pt x="616780" y="85147"/>
                    <a:pt x="616780" y="91688"/>
                  </a:cubicBezTo>
                  <a:cubicBezTo>
                    <a:pt x="616780" y="94958"/>
                    <a:pt x="617869" y="95612"/>
                    <a:pt x="620920" y="94522"/>
                  </a:cubicBezTo>
                  <a:cubicBezTo>
                    <a:pt x="623317" y="93868"/>
                    <a:pt x="626368" y="94522"/>
                    <a:pt x="628111" y="96484"/>
                  </a:cubicBezTo>
                  <a:cubicBezTo>
                    <a:pt x="632687" y="101934"/>
                    <a:pt x="638571" y="100844"/>
                    <a:pt x="638571" y="94522"/>
                  </a:cubicBezTo>
                  <a:close/>
                  <a:moveTo>
                    <a:pt x="1244353" y="97138"/>
                  </a:moveTo>
                  <a:cubicBezTo>
                    <a:pt x="1246096" y="95612"/>
                    <a:pt x="1249365" y="91906"/>
                    <a:pt x="1251326" y="88635"/>
                  </a:cubicBezTo>
                  <a:cubicBezTo>
                    <a:pt x="1254595" y="83621"/>
                    <a:pt x="1256556" y="82967"/>
                    <a:pt x="1266362" y="82967"/>
                  </a:cubicBezTo>
                  <a:cubicBezTo>
                    <a:pt x="1274642" y="82749"/>
                    <a:pt x="1278782" y="81659"/>
                    <a:pt x="1282269" y="78389"/>
                  </a:cubicBezTo>
                  <a:cubicBezTo>
                    <a:pt x="1284884" y="75773"/>
                    <a:pt x="1288370" y="73811"/>
                    <a:pt x="1289896" y="73811"/>
                  </a:cubicBezTo>
                  <a:cubicBezTo>
                    <a:pt x="1291421" y="73811"/>
                    <a:pt x="1292293" y="72503"/>
                    <a:pt x="1291639" y="71195"/>
                  </a:cubicBezTo>
                  <a:cubicBezTo>
                    <a:pt x="1291203" y="69669"/>
                    <a:pt x="1288152" y="68361"/>
                    <a:pt x="1284666" y="68361"/>
                  </a:cubicBezTo>
                  <a:cubicBezTo>
                    <a:pt x="1281179" y="68361"/>
                    <a:pt x="1277693" y="66617"/>
                    <a:pt x="1276168" y="64437"/>
                  </a:cubicBezTo>
                  <a:cubicBezTo>
                    <a:pt x="1274206" y="61166"/>
                    <a:pt x="1274642" y="59640"/>
                    <a:pt x="1278782" y="56370"/>
                  </a:cubicBezTo>
                  <a:cubicBezTo>
                    <a:pt x="1287063" y="49612"/>
                    <a:pt x="1290985" y="53318"/>
                    <a:pt x="1297087" y="73811"/>
                  </a:cubicBezTo>
                  <a:cubicBezTo>
                    <a:pt x="1299702" y="82531"/>
                    <a:pt x="1300573" y="83621"/>
                    <a:pt x="1306021" y="82967"/>
                  </a:cubicBezTo>
                  <a:cubicBezTo>
                    <a:pt x="1311033" y="82531"/>
                    <a:pt x="1311904" y="83185"/>
                    <a:pt x="1311904" y="87981"/>
                  </a:cubicBezTo>
                  <a:cubicBezTo>
                    <a:pt x="1311904" y="94958"/>
                    <a:pt x="1314955" y="94958"/>
                    <a:pt x="1318224" y="87763"/>
                  </a:cubicBezTo>
                  <a:cubicBezTo>
                    <a:pt x="1320185" y="83403"/>
                    <a:pt x="1321928" y="82313"/>
                    <a:pt x="1326068" y="82967"/>
                  </a:cubicBezTo>
                  <a:cubicBezTo>
                    <a:pt x="1330644" y="84057"/>
                    <a:pt x="1331080" y="83403"/>
                    <a:pt x="1329991" y="78171"/>
                  </a:cubicBezTo>
                  <a:cubicBezTo>
                    <a:pt x="1329119" y="73375"/>
                    <a:pt x="1329773" y="71849"/>
                    <a:pt x="1333477" y="70541"/>
                  </a:cubicBezTo>
                  <a:cubicBezTo>
                    <a:pt x="1341104" y="68143"/>
                    <a:pt x="1343283" y="61603"/>
                    <a:pt x="1339143" y="52882"/>
                  </a:cubicBezTo>
                  <a:cubicBezTo>
                    <a:pt x="1337182" y="48740"/>
                    <a:pt x="1335003" y="45470"/>
                    <a:pt x="1333913" y="45470"/>
                  </a:cubicBezTo>
                  <a:cubicBezTo>
                    <a:pt x="1330427" y="45470"/>
                    <a:pt x="1329337" y="48522"/>
                    <a:pt x="1331952" y="51356"/>
                  </a:cubicBezTo>
                  <a:cubicBezTo>
                    <a:pt x="1333913" y="53754"/>
                    <a:pt x="1332824" y="55716"/>
                    <a:pt x="1327594" y="60948"/>
                  </a:cubicBezTo>
                  <a:cubicBezTo>
                    <a:pt x="1323671" y="64655"/>
                    <a:pt x="1321057" y="68361"/>
                    <a:pt x="1321492" y="69233"/>
                  </a:cubicBezTo>
                  <a:cubicBezTo>
                    <a:pt x="1323453" y="72285"/>
                    <a:pt x="1318877" y="76645"/>
                    <a:pt x="1315391" y="75337"/>
                  </a:cubicBezTo>
                  <a:cubicBezTo>
                    <a:pt x="1312558" y="74247"/>
                    <a:pt x="1311904" y="72285"/>
                    <a:pt x="1312994" y="66399"/>
                  </a:cubicBezTo>
                  <a:cubicBezTo>
                    <a:pt x="1314301" y="60076"/>
                    <a:pt x="1313866" y="58768"/>
                    <a:pt x="1309943" y="57460"/>
                  </a:cubicBezTo>
                  <a:cubicBezTo>
                    <a:pt x="1307328" y="56806"/>
                    <a:pt x="1303624" y="56588"/>
                    <a:pt x="1301445" y="57242"/>
                  </a:cubicBezTo>
                  <a:cubicBezTo>
                    <a:pt x="1298612" y="58114"/>
                    <a:pt x="1296433" y="56370"/>
                    <a:pt x="1293382" y="50920"/>
                  </a:cubicBezTo>
                  <a:lnTo>
                    <a:pt x="1289242" y="43072"/>
                  </a:lnTo>
                  <a:lnTo>
                    <a:pt x="1296215" y="36750"/>
                  </a:lnTo>
                  <a:cubicBezTo>
                    <a:pt x="1302970" y="30645"/>
                    <a:pt x="1306021" y="19309"/>
                    <a:pt x="1301009" y="19309"/>
                  </a:cubicBezTo>
                  <a:cubicBezTo>
                    <a:pt x="1299919" y="19309"/>
                    <a:pt x="1298830" y="17347"/>
                    <a:pt x="1298830" y="14949"/>
                  </a:cubicBezTo>
                  <a:cubicBezTo>
                    <a:pt x="1298830" y="12551"/>
                    <a:pt x="1297305" y="10589"/>
                    <a:pt x="1295561" y="10589"/>
                  </a:cubicBezTo>
                  <a:cubicBezTo>
                    <a:pt x="1291857" y="10589"/>
                    <a:pt x="1289024" y="19527"/>
                    <a:pt x="1290767" y="25849"/>
                  </a:cubicBezTo>
                  <a:cubicBezTo>
                    <a:pt x="1291421" y="28029"/>
                    <a:pt x="1290549" y="31735"/>
                    <a:pt x="1289242" y="33698"/>
                  </a:cubicBezTo>
                  <a:cubicBezTo>
                    <a:pt x="1287063" y="36532"/>
                    <a:pt x="1285538" y="36750"/>
                    <a:pt x="1281833" y="34788"/>
                  </a:cubicBezTo>
                  <a:cubicBezTo>
                    <a:pt x="1277475" y="32389"/>
                    <a:pt x="1277257" y="32608"/>
                    <a:pt x="1278347" y="38712"/>
                  </a:cubicBezTo>
                  <a:cubicBezTo>
                    <a:pt x="1279654" y="44816"/>
                    <a:pt x="1274424" y="56370"/>
                    <a:pt x="1270284" y="56370"/>
                  </a:cubicBezTo>
                  <a:cubicBezTo>
                    <a:pt x="1267451" y="56370"/>
                    <a:pt x="1267887" y="46124"/>
                    <a:pt x="1270720" y="40892"/>
                  </a:cubicBezTo>
                  <a:cubicBezTo>
                    <a:pt x="1272463" y="37404"/>
                    <a:pt x="1272245" y="35442"/>
                    <a:pt x="1269630" y="32608"/>
                  </a:cubicBezTo>
                  <a:cubicBezTo>
                    <a:pt x="1263965" y="26285"/>
                    <a:pt x="1265272" y="21925"/>
                    <a:pt x="1273335" y="21053"/>
                  </a:cubicBezTo>
                  <a:cubicBezTo>
                    <a:pt x="1279218" y="20617"/>
                    <a:pt x="1280308" y="19527"/>
                    <a:pt x="1280308" y="14949"/>
                  </a:cubicBezTo>
                  <a:cubicBezTo>
                    <a:pt x="1280308" y="9935"/>
                    <a:pt x="1279436" y="9499"/>
                    <a:pt x="1270066" y="8845"/>
                  </a:cubicBezTo>
                  <a:cubicBezTo>
                    <a:pt x="1258953" y="8191"/>
                    <a:pt x="1259607" y="7319"/>
                    <a:pt x="1259171" y="24759"/>
                  </a:cubicBezTo>
                  <a:cubicBezTo>
                    <a:pt x="1258953" y="29555"/>
                    <a:pt x="1259825" y="35878"/>
                    <a:pt x="1260696" y="38712"/>
                  </a:cubicBezTo>
                  <a:cubicBezTo>
                    <a:pt x="1262222" y="43508"/>
                    <a:pt x="1262004" y="43726"/>
                    <a:pt x="1255684" y="42418"/>
                  </a:cubicBezTo>
                  <a:cubicBezTo>
                    <a:pt x="1249583" y="40892"/>
                    <a:pt x="1248929" y="41328"/>
                    <a:pt x="1247622" y="47432"/>
                  </a:cubicBezTo>
                  <a:cubicBezTo>
                    <a:pt x="1245878" y="55280"/>
                    <a:pt x="1247840" y="59422"/>
                    <a:pt x="1252416" y="57678"/>
                  </a:cubicBezTo>
                  <a:cubicBezTo>
                    <a:pt x="1254377" y="56806"/>
                    <a:pt x="1257863" y="58550"/>
                    <a:pt x="1260914" y="61821"/>
                  </a:cubicBezTo>
                  <a:cubicBezTo>
                    <a:pt x="1267015" y="68361"/>
                    <a:pt x="1267233" y="69451"/>
                    <a:pt x="1262875" y="69451"/>
                  </a:cubicBezTo>
                  <a:cubicBezTo>
                    <a:pt x="1258081" y="69451"/>
                    <a:pt x="1237816" y="91034"/>
                    <a:pt x="1237816" y="95830"/>
                  </a:cubicBezTo>
                  <a:cubicBezTo>
                    <a:pt x="1237816" y="100626"/>
                    <a:pt x="1239777" y="100844"/>
                    <a:pt x="1244353" y="97138"/>
                  </a:cubicBezTo>
                  <a:close/>
                  <a:moveTo>
                    <a:pt x="316068" y="91252"/>
                  </a:moveTo>
                  <a:cubicBezTo>
                    <a:pt x="316068" y="88853"/>
                    <a:pt x="315196" y="86891"/>
                    <a:pt x="313888" y="86891"/>
                  </a:cubicBezTo>
                  <a:cubicBezTo>
                    <a:pt x="312799" y="86891"/>
                    <a:pt x="311709" y="88853"/>
                    <a:pt x="311709" y="91252"/>
                  </a:cubicBezTo>
                  <a:cubicBezTo>
                    <a:pt x="311709" y="93650"/>
                    <a:pt x="312799" y="95612"/>
                    <a:pt x="313888" y="95612"/>
                  </a:cubicBezTo>
                  <a:cubicBezTo>
                    <a:pt x="315196" y="95612"/>
                    <a:pt x="316068" y="93650"/>
                    <a:pt x="316068" y="91252"/>
                  </a:cubicBezTo>
                  <a:close/>
                  <a:moveTo>
                    <a:pt x="1408873" y="93650"/>
                  </a:moveTo>
                  <a:cubicBezTo>
                    <a:pt x="1409527" y="92560"/>
                    <a:pt x="1409091" y="91034"/>
                    <a:pt x="1407784" y="90161"/>
                  </a:cubicBezTo>
                  <a:cubicBezTo>
                    <a:pt x="1406694" y="89507"/>
                    <a:pt x="1405605" y="90379"/>
                    <a:pt x="1405605" y="92124"/>
                  </a:cubicBezTo>
                  <a:cubicBezTo>
                    <a:pt x="1405605" y="96048"/>
                    <a:pt x="1406912" y="96702"/>
                    <a:pt x="1408873" y="93650"/>
                  </a:cubicBezTo>
                  <a:close/>
                  <a:moveTo>
                    <a:pt x="1457902" y="82749"/>
                  </a:moveTo>
                  <a:cubicBezTo>
                    <a:pt x="1457902" y="77735"/>
                    <a:pt x="1452455" y="75337"/>
                    <a:pt x="1449404" y="79043"/>
                  </a:cubicBezTo>
                  <a:cubicBezTo>
                    <a:pt x="1448097" y="80351"/>
                    <a:pt x="1447661" y="83839"/>
                    <a:pt x="1448532" y="86455"/>
                  </a:cubicBezTo>
                  <a:cubicBezTo>
                    <a:pt x="1449404" y="90379"/>
                    <a:pt x="1450494" y="90816"/>
                    <a:pt x="1453762" y="88853"/>
                  </a:cubicBezTo>
                  <a:cubicBezTo>
                    <a:pt x="1455941" y="87763"/>
                    <a:pt x="1457902" y="84929"/>
                    <a:pt x="1457902" y="82749"/>
                  </a:cubicBezTo>
                  <a:close/>
                  <a:moveTo>
                    <a:pt x="616780" y="83839"/>
                  </a:moveTo>
                  <a:cubicBezTo>
                    <a:pt x="616780" y="83185"/>
                    <a:pt x="615908" y="82095"/>
                    <a:pt x="614601" y="81441"/>
                  </a:cubicBezTo>
                  <a:cubicBezTo>
                    <a:pt x="613511" y="80787"/>
                    <a:pt x="612422" y="81223"/>
                    <a:pt x="612422" y="82313"/>
                  </a:cubicBezTo>
                  <a:cubicBezTo>
                    <a:pt x="612422" y="83621"/>
                    <a:pt x="613511" y="84711"/>
                    <a:pt x="614601" y="84711"/>
                  </a:cubicBezTo>
                  <a:cubicBezTo>
                    <a:pt x="615908" y="84711"/>
                    <a:pt x="616780" y="84275"/>
                    <a:pt x="616780" y="83839"/>
                  </a:cubicBezTo>
                  <a:close/>
                  <a:moveTo>
                    <a:pt x="427200" y="66835"/>
                  </a:moveTo>
                  <a:cubicBezTo>
                    <a:pt x="427200" y="60730"/>
                    <a:pt x="427200" y="60730"/>
                    <a:pt x="432648" y="64219"/>
                  </a:cubicBezTo>
                  <a:cubicBezTo>
                    <a:pt x="437660" y="67489"/>
                    <a:pt x="438096" y="67489"/>
                    <a:pt x="439403" y="64001"/>
                  </a:cubicBezTo>
                  <a:cubicBezTo>
                    <a:pt x="440275" y="62039"/>
                    <a:pt x="439839" y="59422"/>
                    <a:pt x="438314" y="57896"/>
                  </a:cubicBezTo>
                  <a:cubicBezTo>
                    <a:pt x="437006" y="56588"/>
                    <a:pt x="435917" y="53536"/>
                    <a:pt x="435917" y="51138"/>
                  </a:cubicBezTo>
                  <a:cubicBezTo>
                    <a:pt x="435917" y="47650"/>
                    <a:pt x="434827" y="48304"/>
                    <a:pt x="430469" y="54626"/>
                  </a:cubicBezTo>
                  <a:cubicBezTo>
                    <a:pt x="427418" y="59204"/>
                    <a:pt x="423060" y="63783"/>
                    <a:pt x="420663" y="65091"/>
                  </a:cubicBezTo>
                  <a:cubicBezTo>
                    <a:pt x="416523" y="67271"/>
                    <a:pt x="414780" y="75773"/>
                    <a:pt x="417830" y="78825"/>
                  </a:cubicBezTo>
                  <a:cubicBezTo>
                    <a:pt x="420445" y="81659"/>
                    <a:pt x="427200" y="73157"/>
                    <a:pt x="427200" y="66835"/>
                  </a:cubicBezTo>
                  <a:close/>
                  <a:moveTo>
                    <a:pt x="1374226" y="71195"/>
                  </a:moveTo>
                  <a:cubicBezTo>
                    <a:pt x="1370957" y="60948"/>
                    <a:pt x="1371611" y="59858"/>
                    <a:pt x="1381199" y="58114"/>
                  </a:cubicBezTo>
                  <a:cubicBezTo>
                    <a:pt x="1386429" y="57242"/>
                    <a:pt x="1392966" y="57460"/>
                    <a:pt x="1396017" y="58768"/>
                  </a:cubicBezTo>
                  <a:cubicBezTo>
                    <a:pt x="1403426" y="61384"/>
                    <a:pt x="1405605" y="59640"/>
                    <a:pt x="1405605" y="50702"/>
                  </a:cubicBezTo>
                  <a:cubicBezTo>
                    <a:pt x="1405605" y="44816"/>
                    <a:pt x="1404515" y="42636"/>
                    <a:pt x="1400157" y="40674"/>
                  </a:cubicBezTo>
                  <a:cubicBezTo>
                    <a:pt x="1391659" y="36968"/>
                    <a:pt x="1394055" y="29555"/>
                    <a:pt x="1404297" y="27811"/>
                  </a:cubicBezTo>
                  <a:cubicBezTo>
                    <a:pt x="1412578" y="26067"/>
                    <a:pt x="1410181" y="21925"/>
                    <a:pt x="1399067" y="19309"/>
                  </a:cubicBezTo>
                  <a:cubicBezTo>
                    <a:pt x="1390351" y="17129"/>
                    <a:pt x="1387300" y="17129"/>
                    <a:pt x="1384685" y="19527"/>
                  </a:cubicBezTo>
                  <a:cubicBezTo>
                    <a:pt x="1382506" y="21271"/>
                    <a:pt x="1380763" y="21489"/>
                    <a:pt x="1379238" y="19963"/>
                  </a:cubicBezTo>
                  <a:cubicBezTo>
                    <a:pt x="1377930" y="18655"/>
                    <a:pt x="1372483" y="18219"/>
                    <a:pt x="1367253" y="18873"/>
                  </a:cubicBezTo>
                  <a:cubicBezTo>
                    <a:pt x="1359626" y="19745"/>
                    <a:pt x="1357665" y="19309"/>
                    <a:pt x="1358101" y="16911"/>
                  </a:cubicBezTo>
                  <a:cubicBezTo>
                    <a:pt x="1359408" y="10589"/>
                    <a:pt x="1334131" y="12769"/>
                    <a:pt x="1331952" y="19091"/>
                  </a:cubicBezTo>
                  <a:cubicBezTo>
                    <a:pt x="1331298" y="21271"/>
                    <a:pt x="1332388" y="21707"/>
                    <a:pt x="1336528" y="20617"/>
                  </a:cubicBezTo>
                  <a:cubicBezTo>
                    <a:pt x="1341322" y="19527"/>
                    <a:pt x="1343283" y="20835"/>
                    <a:pt x="1349820" y="28901"/>
                  </a:cubicBezTo>
                  <a:cubicBezTo>
                    <a:pt x="1357447" y="37840"/>
                    <a:pt x="1359844" y="45470"/>
                    <a:pt x="1355486" y="45470"/>
                  </a:cubicBezTo>
                  <a:cubicBezTo>
                    <a:pt x="1354396" y="45470"/>
                    <a:pt x="1352217" y="43944"/>
                    <a:pt x="1350692" y="42200"/>
                  </a:cubicBezTo>
                  <a:cubicBezTo>
                    <a:pt x="1343283" y="33262"/>
                    <a:pt x="1341758" y="32171"/>
                    <a:pt x="1339797" y="34134"/>
                  </a:cubicBezTo>
                  <a:cubicBezTo>
                    <a:pt x="1334567" y="39366"/>
                    <a:pt x="1350910" y="58550"/>
                    <a:pt x="1360498" y="58550"/>
                  </a:cubicBezTo>
                  <a:cubicBezTo>
                    <a:pt x="1365945" y="58550"/>
                    <a:pt x="1366599" y="59204"/>
                    <a:pt x="1366381" y="64655"/>
                  </a:cubicBezTo>
                  <a:cubicBezTo>
                    <a:pt x="1365728" y="74683"/>
                    <a:pt x="1366163" y="75991"/>
                    <a:pt x="1370957" y="75991"/>
                  </a:cubicBezTo>
                  <a:cubicBezTo>
                    <a:pt x="1374662" y="75991"/>
                    <a:pt x="1375315" y="75119"/>
                    <a:pt x="1374226" y="71195"/>
                  </a:cubicBezTo>
                  <a:close/>
                  <a:moveTo>
                    <a:pt x="1453326" y="69451"/>
                  </a:moveTo>
                  <a:cubicBezTo>
                    <a:pt x="1457249" y="69451"/>
                    <a:pt x="1458120" y="68361"/>
                    <a:pt x="1457467" y="63565"/>
                  </a:cubicBezTo>
                  <a:cubicBezTo>
                    <a:pt x="1456813" y="57896"/>
                    <a:pt x="1456159" y="57460"/>
                    <a:pt x="1448750" y="58114"/>
                  </a:cubicBezTo>
                  <a:cubicBezTo>
                    <a:pt x="1444174" y="58550"/>
                    <a:pt x="1440470" y="57896"/>
                    <a:pt x="1440470" y="56806"/>
                  </a:cubicBezTo>
                  <a:cubicBezTo>
                    <a:pt x="1440470" y="55498"/>
                    <a:pt x="1438073" y="53100"/>
                    <a:pt x="1435022" y="51138"/>
                  </a:cubicBezTo>
                  <a:cubicBezTo>
                    <a:pt x="1430010" y="47868"/>
                    <a:pt x="1429574" y="47868"/>
                    <a:pt x="1427395" y="52228"/>
                  </a:cubicBezTo>
                  <a:cubicBezTo>
                    <a:pt x="1424345" y="57678"/>
                    <a:pt x="1427395" y="62257"/>
                    <a:pt x="1434586" y="63347"/>
                  </a:cubicBezTo>
                  <a:cubicBezTo>
                    <a:pt x="1437201" y="63783"/>
                    <a:pt x="1439162" y="65527"/>
                    <a:pt x="1438727" y="67053"/>
                  </a:cubicBezTo>
                  <a:cubicBezTo>
                    <a:pt x="1438291" y="68797"/>
                    <a:pt x="1438727" y="71631"/>
                    <a:pt x="1439380" y="73375"/>
                  </a:cubicBezTo>
                  <a:cubicBezTo>
                    <a:pt x="1440470" y="76209"/>
                    <a:pt x="1441123" y="76209"/>
                    <a:pt x="1444392" y="72939"/>
                  </a:cubicBezTo>
                  <a:cubicBezTo>
                    <a:pt x="1446571" y="70977"/>
                    <a:pt x="1450711" y="69451"/>
                    <a:pt x="1453326" y="69451"/>
                  </a:cubicBezTo>
                  <a:close/>
                  <a:moveTo>
                    <a:pt x="649466" y="65963"/>
                  </a:moveTo>
                  <a:cubicBezTo>
                    <a:pt x="649466" y="64219"/>
                    <a:pt x="648594" y="63347"/>
                    <a:pt x="647287" y="64001"/>
                  </a:cubicBezTo>
                  <a:cubicBezTo>
                    <a:pt x="646197" y="64655"/>
                    <a:pt x="645108" y="66181"/>
                    <a:pt x="645108" y="67489"/>
                  </a:cubicBezTo>
                  <a:cubicBezTo>
                    <a:pt x="645108" y="68579"/>
                    <a:pt x="646197" y="69451"/>
                    <a:pt x="647287" y="69451"/>
                  </a:cubicBezTo>
                  <a:cubicBezTo>
                    <a:pt x="648594" y="69451"/>
                    <a:pt x="649466" y="67925"/>
                    <a:pt x="649466" y="65963"/>
                  </a:cubicBezTo>
                  <a:close/>
                  <a:moveTo>
                    <a:pt x="1250890" y="65963"/>
                  </a:moveTo>
                  <a:cubicBezTo>
                    <a:pt x="1250890" y="64219"/>
                    <a:pt x="1250019" y="63347"/>
                    <a:pt x="1248711" y="64001"/>
                  </a:cubicBezTo>
                  <a:cubicBezTo>
                    <a:pt x="1247622" y="64655"/>
                    <a:pt x="1246532" y="66181"/>
                    <a:pt x="1246532" y="67489"/>
                  </a:cubicBezTo>
                  <a:cubicBezTo>
                    <a:pt x="1246532" y="68579"/>
                    <a:pt x="1247622" y="69451"/>
                    <a:pt x="1248711" y="69451"/>
                  </a:cubicBezTo>
                  <a:cubicBezTo>
                    <a:pt x="1250019" y="69451"/>
                    <a:pt x="1250890" y="67925"/>
                    <a:pt x="1250890" y="65963"/>
                  </a:cubicBezTo>
                  <a:close/>
                  <a:moveTo>
                    <a:pt x="450298" y="54844"/>
                  </a:moveTo>
                  <a:cubicBezTo>
                    <a:pt x="452695" y="52228"/>
                    <a:pt x="453131" y="50920"/>
                    <a:pt x="451388" y="50266"/>
                  </a:cubicBezTo>
                  <a:cubicBezTo>
                    <a:pt x="447248" y="48958"/>
                    <a:pt x="442454" y="51574"/>
                    <a:pt x="442454" y="55280"/>
                  </a:cubicBezTo>
                  <a:cubicBezTo>
                    <a:pt x="442454" y="59640"/>
                    <a:pt x="445505" y="59422"/>
                    <a:pt x="450298" y="54844"/>
                  </a:cubicBezTo>
                  <a:close/>
                  <a:moveTo>
                    <a:pt x="662540" y="55280"/>
                  </a:moveTo>
                  <a:cubicBezTo>
                    <a:pt x="662540" y="53536"/>
                    <a:pt x="661233" y="52010"/>
                    <a:pt x="659490" y="52010"/>
                  </a:cubicBezTo>
                  <a:cubicBezTo>
                    <a:pt x="655131" y="52010"/>
                    <a:pt x="653170" y="55716"/>
                    <a:pt x="656439" y="57024"/>
                  </a:cubicBezTo>
                  <a:cubicBezTo>
                    <a:pt x="661233" y="58986"/>
                    <a:pt x="662540" y="58550"/>
                    <a:pt x="662540" y="55280"/>
                  </a:cubicBezTo>
                  <a:close/>
                  <a:moveTo>
                    <a:pt x="1327158" y="54844"/>
                  </a:moveTo>
                  <a:cubicBezTo>
                    <a:pt x="1327158" y="52882"/>
                    <a:pt x="1325197" y="48958"/>
                    <a:pt x="1322582" y="46342"/>
                  </a:cubicBezTo>
                  <a:cubicBezTo>
                    <a:pt x="1318877" y="42418"/>
                    <a:pt x="1318442" y="40674"/>
                    <a:pt x="1320403" y="36968"/>
                  </a:cubicBezTo>
                  <a:cubicBezTo>
                    <a:pt x="1321710" y="34570"/>
                    <a:pt x="1322364" y="29991"/>
                    <a:pt x="1321492" y="27157"/>
                  </a:cubicBezTo>
                  <a:cubicBezTo>
                    <a:pt x="1320621" y="23233"/>
                    <a:pt x="1321274" y="21271"/>
                    <a:pt x="1324761" y="19309"/>
                  </a:cubicBezTo>
                  <a:cubicBezTo>
                    <a:pt x="1327376" y="18001"/>
                    <a:pt x="1329337" y="15603"/>
                    <a:pt x="1329337" y="13859"/>
                  </a:cubicBezTo>
                  <a:cubicBezTo>
                    <a:pt x="1329337" y="10371"/>
                    <a:pt x="1323453" y="9499"/>
                    <a:pt x="1319313" y="12333"/>
                  </a:cubicBezTo>
                  <a:cubicBezTo>
                    <a:pt x="1314955" y="15385"/>
                    <a:pt x="1309725" y="24541"/>
                    <a:pt x="1309725" y="29337"/>
                  </a:cubicBezTo>
                  <a:cubicBezTo>
                    <a:pt x="1309725" y="31953"/>
                    <a:pt x="1307764" y="36532"/>
                    <a:pt x="1305367" y="39584"/>
                  </a:cubicBezTo>
                  <a:cubicBezTo>
                    <a:pt x="1300573" y="45688"/>
                    <a:pt x="1299702" y="50920"/>
                    <a:pt x="1303842" y="49176"/>
                  </a:cubicBezTo>
                  <a:cubicBezTo>
                    <a:pt x="1305149" y="48522"/>
                    <a:pt x="1308200" y="47432"/>
                    <a:pt x="1310161" y="46560"/>
                  </a:cubicBezTo>
                  <a:cubicBezTo>
                    <a:pt x="1312776" y="45470"/>
                    <a:pt x="1314519" y="46342"/>
                    <a:pt x="1315391" y="48958"/>
                  </a:cubicBezTo>
                  <a:cubicBezTo>
                    <a:pt x="1318877" y="58332"/>
                    <a:pt x="1327158" y="62475"/>
                    <a:pt x="1327158" y="54844"/>
                  </a:cubicBezTo>
                  <a:close/>
                  <a:moveTo>
                    <a:pt x="283381" y="50048"/>
                  </a:moveTo>
                  <a:cubicBezTo>
                    <a:pt x="283381" y="47432"/>
                    <a:pt x="279023" y="44598"/>
                    <a:pt x="277498" y="46124"/>
                  </a:cubicBezTo>
                  <a:cubicBezTo>
                    <a:pt x="275973" y="47650"/>
                    <a:pt x="278805" y="52010"/>
                    <a:pt x="281420" y="52010"/>
                  </a:cubicBezTo>
                  <a:cubicBezTo>
                    <a:pt x="282510" y="52010"/>
                    <a:pt x="283381" y="51138"/>
                    <a:pt x="283381" y="50048"/>
                  </a:cubicBezTo>
                  <a:close/>
                  <a:moveTo>
                    <a:pt x="1237380" y="46124"/>
                  </a:moveTo>
                  <a:cubicBezTo>
                    <a:pt x="1236508" y="38712"/>
                    <a:pt x="1226921" y="35660"/>
                    <a:pt x="1226921" y="42636"/>
                  </a:cubicBezTo>
                  <a:cubicBezTo>
                    <a:pt x="1226921" y="47432"/>
                    <a:pt x="1230843" y="52010"/>
                    <a:pt x="1235201" y="52010"/>
                  </a:cubicBezTo>
                  <a:cubicBezTo>
                    <a:pt x="1237162" y="52010"/>
                    <a:pt x="1237816" y="50048"/>
                    <a:pt x="1237380" y="46124"/>
                  </a:cubicBezTo>
                  <a:close/>
                  <a:moveTo>
                    <a:pt x="620048" y="47650"/>
                  </a:moveTo>
                  <a:cubicBezTo>
                    <a:pt x="620702" y="46560"/>
                    <a:pt x="619830" y="45470"/>
                    <a:pt x="618087" y="45470"/>
                  </a:cubicBezTo>
                  <a:cubicBezTo>
                    <a:pt x="616126" y="45470"/>
                    <a:pt x="614601" y="46560"/>
                    <a:pt x="614601" y="47650"/>
                  </a:cubicBezTo>
                  <a:cubicBezTo>
                    <a:pt x="614601" y="48958"/>
                    <a:pt x="615472" y="49830"/>
                    <a:pt x="616562" y="49830"/>
                  </a:cubicBezTo>
                  <a:cubicBezTo>
                    <a:pt x="617869" y="49830"/>
                    <a:pt x="619395" y="48958"/>
                    <a:pt x="620048" y="47650"/>
                  </a:cubicBezTo>
                  <a:close/>
                  <a:moveTo>
                    <a:pt x="1133220" y="48958"/>
                  </a:moveTo>
                  <a:cubicBezTo>
                    <a:pt x="1133220" y="48304"/>
                    <a:pt x="1132349" y="47214"/>
                    <a:pt x="1131041" y="46560"/>
                  </a:cubicBezTo>
                  <a:cubicBezTo>
                    <a:pt x="1129952" y="45906"/>
                    <a:pt x="1128862" y="46342"/>
                    <a:pt x="1128862" y="47432"/>
                  </a:cubicBezTo>
                  <a:cubicBezTo>
                    <a:pt x="1128862" y="48740"/>
                    <a:pt x="1129952" y="49830"/>
                    <a:pt x="1131041" y="49830"/>
                  </a:cubicBezTo>
                  <a:cubicBezTo>
                    <a:pt x="1132349" y="49830"/>
                    <a:pt x="1133220" y="49394"/>
                    <a:pt x="1133220" y="48958"/>
                  </a:cubicBezTo>
                  <a:close/>
                  <a:moveTo>
                    <a:pt x="1447879" y="46560"/>
                  </a:moveTo>
                  <a:cubicBezTo>
                    <a:pt x="1451365" y="43944"/>
                    <a:pt x="1451583" y="42854"/>
                    <a:pt x="1449186" y="40020"/>
                  </a:cubicBezTo>
                  <a:cubicBezTo>
                    <a:pt x="1447661" y="38276"/>
                    <a:pt x="1445264" y="36750"/>
                    <a:pt x="1443956" y="36750"/>
                  </a:cubicBezTo>
                  <a:cubicBezTo>
                    <a:pt x="1442649" y="36750"/>
                    <a:pt x="1439816" y="34788"/>
                    <a:pt x="1437637" y="32389"/>
                  </a:cubicBezTo>
                  <a:cubicBezTo>
                    <a:pt x="1430882" y="24323"/>
                    <a:pt x="1415410" y="27375"/>
                    <a:pt x="1413449" y="37186"/>
                  </a:cubicBezTo>
                  <a:cubicBezTo>
                    <a:pt x="1411706" y="45688"/>
                    <a:pt x="1413231" y="47214"/>
                    <a:pt x="1418243" y="42636"/>
                  </a:cubicBezTo>
                  <a:cubicBezTo>
                    <a:pt x="1422166" y="39148"/>
                    <a:pt x="1422819" y="39148"/>
                    <a:pt x="1431971" y="44162"/>
                  </a:cubicBezTo>
                  <a:cubicBezTo>
                    <a:pt x="1443520" y="50484"/>
                    <a:pt x="1442649" y="50484"/>
                    <a:pt x="1447879" y="46560"/>
                  </a:cubicBezTo>
                  <a:close/>
                  <a:moveTo>
                    <a:pt x="271179" y="42200"/>
                  </a:moveTo>
                  <a:cubicBezTo>
                    <a:pt x="272486" y="38494"/>
                    <a:pt x="268564" y="28029"/>
                    <a:pt x="265731" y="28029"/>
                  </a:cubicBezTo>
                  <a:cubicBezTo>
                    <a:pt x="264859" y="28029"/>
                    <a:pt x="263334" y="29119"/>
                    <a:pt x="262680" y="30209"/>
                  </a:cubicBezTo>
                  <a:cubicBezTo>
                    <a:pt x="262026" y="31517"/>
                    <a:pt x="258976" y="32389"/>
                    <a:pt x="255925" y="32389"/>
                  </a:cubicBezTo>
                  <a:cubicBezTo>
                    <a:pt x="249170" y="32389"/>
                    <a:pt x="249170" y="36314"/>
                    <a:pt x="255925" y="38930"/>
                  </a:cubicBezTo>
                  <a:cubicBezTo>
                    <a:pt x="258758" y="40020"/>
                    <a:pt x="261809" y="41982"/>
                    <a:pt x="262680" y="43072"/>
                  </a:cubicBezTo>
                  <a:cubicBezTo>
                    <a:pt x="264641" y="46560"/>
                    <a:pt x="269653" y="45906"/>
                    <a:pt x="271179" y="42200"/>
                  </a:cubicBezTo>
                  <a:close/>
                  <a:moveTo>
                    <a:pt x="453349" y="43290"/>
                  </a:moveTo>
                  <a:cubicBezTo>
                    <a:pt x="453349" y="42200"/>
                    <a:pt x="452478" y="41110"/>
                    <a:pt x="451170" y="41110"/>
                  </a:cubicBezTo>
                  <a:cubicBezTo>
                    <a:pt x="450081" y="41110"/>
                    <a:pt x="448991" y="42200"/>
                    <a:pt x="448991" y="43290"/>
                  </a:cubicBezTo>
                  <a:cubicBezTo>
                    <a:pt x="448991" y="44598"/>
                    <a:pt x="450081" y="45470"/>
                    <a:pt x="451170" y="45470"/>
                  </a:cubicBezTo>
                  <a:cubicBezTo>
                    <a:pt x="452478" y="45470"/>
                    <a:pt x="453349" y="44598"/>
                    <a:pt x="453349" y="43290"/>
                  </a:cubicBezTo>
                  <a:close/>
                  <a:moveTo>
                    <a:pt x="483856" y="35442"/>
                  </a:moveTo>
                  <a:cubicBezTo>
                    <a:pt x="483856" y="33698"/>
                    <a:pt x="482767" y="32826"/>
                    <a:pt x="481677" y="33480"/>
                  </a:cubicBezTo>
                  <a:cubicBezTo>
                    <a:pt x="480370" y="34352"/>
                    <a:pt x="479934" y="35878"/>
                    <a:pt x="480588" y="36968"/>
                  </a:cubicBezTo>
                  <a:cubicBezTo>
                    <a:pt x="482549" y="40020"/>
                    <a:pt x="483856" y="39366"/>
                    <a:pt x="483856" y="35442"/>
                  </a:cubicBezTo>
                  <a:close/>
                  <a:moveTo>
                    <a:pt x="1247404" y="33044"/>
                  </a:moveTo>
                  <a:cubicBezTo>
                    <a:pt x="1249147" y="28683"/>
                    <a:pt x="1247186" y="25849"/>
                    <a:pt x="1242174" y="25849"/>
                  </a:cubicBezTo>
                  <a:cubicBezTo>
                    <a:pt x="1239995" y="25849"/>
                    <a:pt x="1237598" y="24977"/>
                    <a:pt x="1236944" y="23887"/>
                  </a:cubicBezTo>
                  <a:cubicBezTo>
                    <a:pt x="1235419" y="21489"/>
                    <a:pt x="1240649" y="19309"/>
                    <a:pt x="1248058" y="19309"/>
                  </a:cubicBezTo>
                  <a:cubicBezTo>
                    <a:pt x="1252416" y="19309"/>
                    <a:pt x="1253287" y="18437"/>
                    <a:pt x="1252634" y="14513"/>
                  </a:cubicBezTo>
                  <a:cubicBezTo>
                    <a:pt x="1252198" y="10589"/>
                    <a:pt x="1250455" y="9281"/>
                    <a:pt x="1244135" y="8845"/>
                  </a:cubicBezTo>
                  <a:cubicBezTo>
                    <a:pt x="1237162" y="8191"/>
                    <a:pt x="1236073" y="8845"/>
                    <a:pt x="1234765" y="13641"/>
                  </a:cubicBezTo>
                  <a:cubicBezTo>
                    <a:pt x="1232804" y="21489"/>
                    <a:pt x="1226485" y="21271"/>
                    <a:pt x="1227356" y="13423"/>
                  </a:cubicBezTo>
                  <a:lnTo>
                    <a:pt x="1228010" y="7319"/>
                  </a:lnTo>
                  <a:lnTo>
                    <a:pt x="1188351" y="6883"/>
                  </a:lnTo>
                  <a:cubicBezTo>
                    <a:pt x="1166342" y="6665"/>
                    <a:pt x="1148474" y="6883"/>
                    <a:pt x="1148474" y="7537"/>
                  </a:cubicBezTo>
                  <a:cubicBezTo>
                    <a:pt x="1148474" y="7973"/>
                    <a:pt x="1149781" y="10371"/>
                    <a:pt x="1151089" y="12769"/>
                  </a:cubicBezTo>
                  <a:cubicBezTo>
                    <a:pt x="1153268" y="16039"/>
                    <a:pt x="1153268" y="18219"/>
                    <a:pt x="1151525" y="21053"/>
                  </a:cubicBezTo>
                  <a:cubicBezTo>
                    <a:pt x="1149345" y="24541"/>
                    <a:pt x="1150217" y="27157"/>
                    <a:pt x="1156319" y="36532"/>
                  </a:cubicBezTo>
                  <a:cubicBezTo>
                    <a:pt x="1157844" y="38712"/>
                    <a:pt x="1170265" y="27157"/>
                    <a:pt x="1170265" y="23669"/>
                  </a:cubicBezTo>
                  <a:cubicBezTo>
                    <a:pt x="1170265" y="17783"/>
                    <a:pt x="1180942" y="15167"/>
                    <a:pt x="1183775" y="20181"/>
                  </a:cubicBezTo>
                  <a:cubicBezTo>
                    <a:pt x="1185300" y="22797"/>
                    <a:pt x="1186826" y="23233"/>
                    <a:pt x="1189223" y="21707"/>
                  </a:cubicBezTo>
                  <a:cubicBezTo>
                    <a:pt x="1191620" y="20617"/>
                    <a:pt x="1194234" y="20617"/>
                    <a:pt x="1196631" y="22143"/>
                  </a:cubicBezTo>
                  <a:cubicBezTo>
                    <a:pt x="1199246" y="23887"/>
                    <a:pt x="1201643" y="23233"/>
                    <a:pt x="1206655" y="19745"/>
                  </a:cubicBezTo>
                  <a:cubicBezTo>
                    <a:pt x="1212974" y="15385"/>
                    <a:pt x="1213192" y="15385"/>
                    <a:pt x="1216461" y="19091"/>
                  </a:cubicBezTo>
                  <a:cubicBezTo>
                    <a:pt x="1218422" y="21489"/>
                    <a:pt x="1220601" y="25195"/>
                    <a:pt x="1221473" y="27811"/>
                  </a:cubicBezTo>
                  <a:cubicBezTo>
                    <a:pt x="1222998" y="32608"/>
                    <a:pt x="1227792" y="33916"/>
                    <a:pt x="1230189" y="30209"/>
                  </a:cubicBezTo>
                  <a:cubicBezTo>
                    <a:pt x="1232586" y="26503"/>
                    <a:pt x="1235637" y="27811"/>
                    <a:pt x="1237816" y="33480"/>
                  </a:cubicBezTo>
                  <a:cubicBezTo>
                    <a:pt x="1239995" y="39148"/>
                    <a:pt x="1245225" y="38930"/>
                    <a:pt x="1247404" y="33044"/>
                  </a:cubicBezTo>
                  <a:close/>
                  <a:moveTo>
                    <a:pt x="281202" y="24977"/>
                  </a:moveTo>
                  <a:cubicBezTo>
                    <a:pt x="280984" y="19091"/>
                    <a:pt x="276190" y="12769"/>
                    <a:pt x="271614" y="12769"/>
                  </a:cubicBezTo>
                  <a:cubicBezTo>
                    <a:pt x="267038" y="12769"/>
                    <a:pt x="266603" y="26939"/>
                    <a:pt x="271397" y="28901"/>
                  </a:cubicBezTo>
                  <a:cubicBezTo>
                    <a:pt x="273140" y="29555"/>
                    <a:pt x="274665" y="31735"/>
                    <a:pt x="274665" y="33916"/>
                  </a:cubicBezTo>
                  <a:cubicBezTo>
                    <a:pt x="274883" y="37622"/>
                    <a:pt x="275101" y="37404"/>
                    <a:pt x="277934" y="33698"/>
                  </a:cubicBezTo>
                  <a:cubicBezTo>
                    <a:pt x="279677" y="31299"/>
                    <a:pt x="281202" y="27375"/>
                    <a:pt x="281202" y="24977"/>
                  </a:cubicBezTo>
                  <a:close/>
                  <a:moveTo>
                    <a:pt x="626150" y="33698"/>
                  </a:moveTo>
                  <a:cubicBezTo>
                    <a:pt x="627893" y="29555"/>
                    <a:pt x="622881" y="25631"/>
                    <a:pt x="619177" y="28029"/>
                  </a:cubicBezTo>
                  <a:cubicBezTo>
                    <a:pt x="615472" y="30209"/>
                    <a:pt x="617651" y="36750"/>
                    <a:pt x="622010" y="36750"/>
                  </a:cubicBezTo>
                  <a:cubicBezTo>
                    <a:pt x="623535" y="36750"/>
                    <a:pt x="625496" y="35442"/>
                    <a:pt x="626150" y="33698"/>
                  </a:cubicBezTo>
                  <a:close/>
                  <a:moveTo>
                    <a:pt x="190771" y="32389"/>
                  </a:moveTo>
                  <a:cubicBezTo>
                    <a:pt x="191425" y="31299"/>
                    <a:pt x="193821" y="30209"/>
                    <a:pt x="196001" y="30209"/>
                  </a:cubicBezTo>
                  <a:cubicBezTo>
                    <a:pt x="198180" y="30209"/>
                    <a:pt x="201012" y="27593"/>
                    <a:pt x="202320" y="24541"/>
                  </a:cubicBezTo>
                  <a:cubicBezTo>
                    <a:pt x="204717" y="19527"/>
                    <a:pt x="205588" y="19091"/>
                    <a:pt x="215394" y="20399"/>
                  </a:cubicBezTo>
                  <a:cubicBezTo>
                    <a:pt x="221060" y="21271"/>
                    <a:pt x="226725" y="23233"/>
                    <a:pt x="228033" y="24977"/>
                  </a:cubicBezTo>
                  <a:cubicBezTo>
                    <a:pt x="230866" y="28465"/>
                    <a:pt x="236749" y="29119"/>
                    <a:pt x="238710" y="26067"/>
                  </a:cubicBezTo>
                  <a:cubicBezTo>
                    <a:pt x="239364" y="24977"/>
                    <a:pt x="238710" y="21489"/>
                    <a:pt x="237185" y="18219"/>
                  </a:cubicBezTo>
                  <a:cubicBezTo>
                    <a:pt x="234570" y="12551"/>
                    <a:pt x="234570" y="12551"/>
                    <a:pt x="217138" y="13859"/>
                  </a:cubicBezTo>
                  <a:cubicBezTo>
                    <a:pt x="194693" y="15603"/>
                    <a:pt x="194039" y="15821"/>
                    <a:pt x="194039" y="22579"/>
                  </a:cubicBezTo>
                  <a:cubicBezTo>
                    <a:pt x="194039" y="26503"/>
                    <a:pt x="192950" y="28029"/>
                    <a:pt x="189681" y="28029"/>
                  </a:cubicBezTo>
                  <a:cubicBezTo>
                    <a:pt x="187284" y="28029"/>
                    <a:pt x="185323" y="29555"/>
                    <a:pt x="185323" y="31299"/>
                  </a:cubicBezTo>
                  <a:cubicBezTo>
                    <a:pt x="185323" y="35006"/>
                    <a:pt x="188810" y="35660"/>
                    <a:pt x="190771" y="32389"/>
                  </a:cubicBezTo>
                  <a:close/>
                  <a:moveTo>
                    <a:pt x="642057" y="27593"/>
                  </a:moveTo>
                  <a:cubicBezTo>
                    <a:pt x="642929" y="24759"/>
                    <a:pt x="644672" y="23669"/>
                    <a:pt x="647505" y="24323"/>
                  </a:cubicBezTo>
                  <a:cubicBezTo>
                    <a:pt x="650120" y="24977"/>
                    <a:pt x="651645" y="24323"/>
                    <a:pt x="651645" y="22361"/>
                  </a:cubicBezTo>
                  <a:cubicBezTo>
                    <a:pt x="651645" y="20181"/>
                    <a:pt x="648812" y="19309"/>
                    <a:pt x="641839" y="19309"/>
                  </a:cubicBezTo>
                  <a:cubicBezTo>
                    <a:pt x="632469" y="19309"/>
                    <a:pt x="632033" y="19527"/>
                    <a:pt x="632033" y="25413"/>
                  </a:cubicBezTo>
                  <a:cubicBezTo>
                    <a:pt x="632033" y="28901"/>
                    <a:pt x="632687" y="32171"/>
                    <a:pt x="633341" y="33044"/>
                  </a:cubicBezTo>
                  <a:cubicBezTo>
                    <a:pt x="635520" y="35224"/>
                    <a:pt x="640532" y="32171"/>
                    <a:pt x="642057" y="27593"/>
                  </a:cubicBezTo>
                  <a:close/>
                  <a:moveTo>
                    <a:pt x="259412" y="24759"/>
                  </a:moveTo>
                  <a:cubicBezTo>
                    <a:pt x="259412" y="21925"/>
                    <a:pt x="252221" y="12769"/>
                    <a:pt x="249824" y="12769"/>
                  </a:cubicBezTo>
                  <a:cubicBezTo>
                    <a:pt x="247863" y="12769"/>
                    <a:pt x="246991" y="20835"/>
                    <a:pt x="248298" y="25413"/>
                  </a:cubicBezTo>
                  <a:cubicBezTo>
                    <a:pt x="248734" y="26503"/>
                    <a:pt x="259412" y="25849"/>
                    <a:pt x="259412" y="24759"/>
                  </a:cubicBezTo>
                  <a:close/>
                </a:path>
              </a:pathLst>
            </a:custGeom>
            <a:grpFill/>
            <a:ln w="218" cap="flat">
              <a:noFill/>
              <a:prstDash val="solid"/>
              <a:miter/>
            </a:ln>
          </p:spPr>
          <p:txBody>
            <a:bodyPr rtlCol="0" anchor="ctr"/>
            <a:lstStyle/>
            <a:p>
              <a:endParaRPr lang="en-GB" dirty="0"/>
            </a:p>
          </p:txBody>
        </p:sp>
        <p:sp>
          <p:nvSpPr>
            <p:cNvPr id="160" name="Freihandform: Form 159">
              <a:extLst>
                <a:ext uri="{FF2B5EF4-FFF2-40B4-BE49-F238E27FC236}">
                  <a16:creationId xmlns:a16="http://schemas.microsoft.com/office/drawing/2014/main" xmlns="" id="{0008CA2D-030C-492B-8A4F-88280351281D}"/>
                </a:ext>
              </a:extLst>
            </p:cNvPr>
            <p:cNvSpPr/>
            <p:nvPr/>
          </p:nvSpPr>
          <p:spPr>
            <a:xfrm flipV="1">
              <a:off x="4303918" y="4044983"/>
              <a:ext cx="41402" cy="68702"/>
            </a:xfrm>
            <a:custGeom>
              <a:avLst/>
              <a:gdLst>
                <a:gd name="connsiteX0" fmla="*/ 8529 w 41402"/>
                <a:gd name="connsiteY0" fmla="*/ 62072 h 68702"/>
                <a:gd name="connsiteX1" fmla="*/ -1495 w 41402"/>
                <a:gd name="connsiteY1" fmla="*/ 53788 h 68702"/>
                <a:gd name="connsiteX2" fmla="*/ 7222 w 41402"/>
                <a:gd name="connsiteY2" fmla="*/ 55314 h 68702"/>
                <a:gd name="connsiteX3" fmla="*/ 29884 w 41402"/>
                <a:gd name="connsiteY3" fmla="*/ 49210 h 68702"/>
                <a:gd name="connsiteX4" fmla="*/ 13323 w 41402"/>
                <a:gd name="connsiteY4" fmla="*/ 15636 h 68702"/>
                <a:gd name="connsiteX5" fmla="*/ -1931 w 41402"/>
                <a:gd name="connsiteY5" fmla="*/ -3548 h 68702"/>
                <a:gd name="connsiteX6" fmla="*/ 18771 w 41402"/>
                <a:gd name="connsiteY6" fmla="*/ -6164 h 68702"/>
                <a:gd name="connsiteX7" fmla="*/ 39472 w 41402"/>
                <a:gd name="connsiteY7" fmla="*/ -3984 h 68702"/>
                <a:gd name="connsiteX8" fmla="*/ 27051 w 41402"/>
                <a:gd name="connsiteY8" fmla="*/ -1804 h 68702"/>
                <a:gd name="connsiteX9" fmla="*/ 22693 w 41402"/>
                <a:gd name="connsiteY9" fmla="*/ 17380 h 68702"/>
                <a:gd name="connsiteX10" fmla="*/ 38600 w 41402"/>
                <a:gd name="connsiteY10" fmla="*/ 49428 h 68702"/>
                <a:gd name="connsiteX11" fmla="*/ 8529 w 41402"/>
                <a:gd name="connsiteY11" fmla="*/ 62072 h 68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402" h="68702">
                  <a:moveTo>
                    <a:pt x="8529" y="62072"/>
                  </a:moveTo>
                  <a:cubicBezTo>
                    <a:pt x="3081" y="61200"/>
                    <a:pt x="-3674" y="55750"/>
                    <a:pt x="-1495" y="53788"/>
                  </a:cubicBezTo>
                  <a:cubicBezTo>
                    <a:pt x="-1059" y="53352"/>
                    <a:pt x="2863" y="54006"/>
                    <a:pt x="7222" y="55314"/>
                  </a:cubicBezTo>
                  <a:cubicBezTo>
                    <a:pt x="17245" y="58366"/>
                    <a:pt x="25308" y="56186"/>
                    <a:pt x="29884" y="49210"/>
                  </a:cubicBezTo>
                  <a:cubicBezTo>
                    <a:pt x="34896" y="41797"/>
                    <a:pt x="32281" y="36783"/>
                    <a:pt x="13323" y="15636"/>
                  </a:cubicBezTo>
                  <a:cubicBezTo>
                    <a:pt x="4825" y="6480"/>
                    <a:pt x="-1931" y="-2240"/>
                    <a:pt x="-1931" y="-3548"/>
                  </a:cubicBezTo>
                  <a:cubicBezTo>
                    <a:pt x="-1931" y="-5292"/>
                    <a:pt x="4607" y="-6164"/>
                    <a:pt x="18771" y="-6164"/>
                  </a:cubicBezTo>
                  <a:cubicBezTo>
                    <a:pt x="31191" y="-6164"/>
                    <a:pt x="39472" y="-5292"/>
                    <a:pt x="39472" y="-3984"/>
                  </a:cubicBezTo>
                  <a:cubicBezTo>
                    <a:pt x="39472" y="-2676"/>
                    <a:pt x="33806" y="-1804"/>
                    <a:pt x="27051" y="-1804"/>
                  </a:cubicBezTo>
                  <a:cubicBezTo>
                    <a:pt x="6786" y="-1804"/>
                    <a:pt x="6350" y="-60"/>
                    <a:pt x="22693" y="17380"/>
                  </a:cubicBezTo>
                  <a:cubicBezTo>
                    <a:pt x="37511" y="33077"/>
                    <a:pt x="40997" y="40053"/>
                    <a:pt x="38600" y="49428"/>
                  </a:cubicBezTo>
                  <a:cubicBezTo>
                    <a:pt x="36203" y="58584"/>
                    <a:pt x="22693" y="64252"/>
                    <a:pt x="8529" y="62072"/>
                  </a:cubicBezTo>
                  <a:close/>
                </a:path>
              </a:pathLst>
            </a:custGeom>
            <a:grpFill/>
            <a:ln w="218" cap="flat">
              <a:noFill/>
              <a:prstDash val="solid"/>
              <a:miter/>
            </a:ln>
          </p:spPr>
          <p:txBody>
            <a:bodyPr rtlCol="0" anchor="ctr"/>
            <a:lstStyle/>
            <a:p>
              <a:endParaRPr lang="en-GB" dirty="0"/>
            </a:p>
          </p:txBody>
        </p:sp>
        <p:sp>
          <p:nvSpPr>
            <p:cNvPr id="161" name="Freihandform: Form 160">
              <a:extLst>
                <a:ext uri="{FF2B5EF4-FFF2-40B4-BE49-F238E27FC236}">
                  <a16:creationId xmlns:a16="http://schemas.microsoft.com/office/drawing/2014/main" xmlns="" id="{9D796CE7-A34F-47E1-AB12-806522E63452}"/>
                </a:ext>
              </a:extLst>
            </p:cNvPr>
            <p:cNvSpPr/>
            <p:nvPr/>
          </p:nvSpPr>
          <p:spPr>
            <a:xfrm flipV="1">
              <a:off x="4427035" y="4044194"/>
              <a:ext cx="44671" cy="71549"/>
            </a:xfrm>
            <a:custGeom>
              <a:avLst/>
              <a:gdLst>
                <a:gd name="connsiteX0" fmla="*/ 11936 w 44671"/>
                <a:gd name="connsiteY0" fmla="*/ 62824 h 71549"/>
                <a:gd name="connsiteX1" fmla="*/ -2446 w 44671"/>
                <a:gd name="connsiteY1" fmla="*/ 31213 h 71549"/>
                <a:gd name="connsiteX2" fmla="*/ 9757 w 44671"/>
                <a:gd name="connsiteY2" fmla="*/ -3014 h 71549"/>
                <a:gd name="connsiteX3" fmla="*/ 42225 w 44671"/>
                <a:gd name="connsiteY3" fmla="*/ 29687 h 71549"/>
                <a:gd name="connsiteX4" fmla="*/ 28279 w 44671"/>
                <a:gd name="connsiteY4" fmla="*/ 62388 h 71549"/>
                <a:gd name="connsiteX5" fmla="*/ 11936 w 44671"/>
                <a:gd name="connsiteY5" fmla="*/ 62824 h 71549"/>
                <a:gd name="connsiteX6" fmla="*/ 26972 w 44671"/>
                <a:gd name="connsiteY6" fmla="*/ 56938 h 71549"/>
                <a:gd name="connsiteX7" fmla="*/ 31766 w 44671"/>
                <a:gd name="connsiteY7" fmla="*/ 8977 h 71549"/>
                <a:gd name="connsiteX8" fmla="*/ 14987 w 44671"/>
                <a:gd name="connsiteY8" fmla="*/ 1128 h 71549"/>
                <a:gd name="connsiteX9" fmla="*/ 4963 w 44671"/>
                <a:gd name="connsiteY9" fmla="*/ 39280 h 71549"/>
                <a:gd name="connsiteX10" fmla="*/ 26972 w 44671"/>
                <a:gd name="connsiteY10" fmla="*/ 56938 h 71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671" h="71549">
                  <a:moveTo>
                    <a:pt x="11936" y="62824"/>
                  </a:moveTo>
                  <a:cubicBezTo>
                    <a:pt x="1259" y="57374"/>
                    <a:pt x="-2446" y="49308"/>
                    <a:pt x="-2446" y="31213"/>
                  </a:cubicBezTo>
                  <a:cubicBezTo>
                    <a:pt x="-2446" y="11593"/>
                    <a:pt x="1259" y="1346"/>
                    <a:pt x="9757" y="-3014"/>
                  </a:cubicBezTo>
                  <a:cubicBezTo>
                    <a:pt x="28715" y="-12824"/>
                    <a:pt x="42225" y="910"/>
                    <a:pt x="42225" y="29687"/>
                  </a:cubicBezTo>
                  <a:cubicBezTo>
                    <a:pt x="42225" y="48654"/>
                    <a:pt x="38085" y="58464"/>
                    <a:pt x="28279" y="62388"/>
                  </a:cubicBezTo>
                  <a:cubicBezTo>
                    <a:pt x="19127" y="66313"/>
                    <a:pt x="18473" y="66313"/>
                    <a:pt x="11936" y="62824"/>
                  </a:cubicBezTo>
                  <a:close/>
                  <a:moveTo>
                    <a:pt x="26972" y="56938"/>
                  </a:moveTo>
                  <a:cubicBezTo>
                    <a:pt x="35688" y="52360"/>
                    <a:pt x="38739" y="22493"/>
                    <a:pt x="31766" y="8977"/>
                  </a:cubicBezTo>
                  <a:cubicBezTo>
                    <a:pt x="27843" y="1128"/>
                    <a:pt x="23485" y="-1052"/>
                    <a:pt x="14987" y="1128"/>
                  </a:cubicBezTo>
                  <a:cubicBezTo>
                    <a:pt x="6706" y="3308"/>
                    <a:pt x="2130" y="20967"/>
                    <a:pt x="4963" y="39280"/>
                  </a:cubicBezTo>
                  <a:cubicBezTo>
                    <a:pt x="7578" y="56284"/>
                    <a:pt x="15858" y="62824"/>
                    <a:pt x="26972" y="56938"/>
                  </a:cubicBezTo>
                  <a:close/>
                </a:path>
              </a:pathLst>
            </a:custGeom>
            <a:grpFill/>
            <a:ln w="218" cap="flat">
              <a:noFill/>
              <a:prstDash val="solid"/>
              <a:miter/>
            </a:ln>
          </p:spPr>
          <p:txBody>
            <a:bodyPr rtlCol="0" anchor="ctr"/>
            <a:lstStyle/>
            <a:p>
              <a:endParaRPr lang="en-GB" dirty="0"/>
            </a:p>
          </p:txBody>
        </p:sp>
        <p:sp>
          <p:nvSpPr>
            <p:cNvPr id="162" name="Freihandform: Form 161">
              <a:extLst>
                <a:ext uri="{FF2B5EF4-FFF2-40B4-BE49-F238E27FC236}">
                  <a16:creationId xmlns:a16="http://schemas.microsoft.com/office/drawing/2014/main" xmlns="" id="{142B0823-5179-4D99-9714-479A6B1562E1}"/>
                </a:ext>
              </a:extLst>
            </p:cNvPr>
            <p:cNvSpPr/>
            <p:nvPr/>
          </p:nvSpPr>
          <p:spPr>
            <a:xfrm flipV="1">
              <a:off x="4365665" y="4045886"/>
              <a:ext cx="42690" cy="69899"/>
            </a:xfrm>
            <a:custGeom>
              <a:avLst/>
              <a:gdLst>
                <a:gd name="connsiteX0" fmla="*/ 1437 w 42690"/>
                <a:gd name="connsiteY0" fmla="*/ 48264 h 69899"/>
                <a:gd name="connsiteX1" fmla="*/ 1437 w 42690"/>
                <a:gd name="connsiteY1" fmla="*/ 33003 h 69899"/>
                <a:gd name="connsiteX2" fmla="*/ 12332 w 42690"/>
                <a:gd name="connsiteY2" fmla="*/ 33003 h 69899"/>
                <a:gd name="connsiteX3" fmla="*/ 29111 w 42690"/>
                <a:gd name="connsiteY3" fmla="*/ 27335 h 69899"/>
                <a:gd name="connsiteX4" fmla="*/ 33251 w 42690"/>
                <a:gd name="connsiteY4" fmla="*/ 14909 h 69899"/>
                <a:gd name="connsiteX5" fmla="*/ 10589 w 42690"/>
                <a:gd name="connsiteY5" fmla="*/ 738 h 69899"/>
                <a:gd name="connsiteX6" fmla="*/ 2527 w 42690"/>
                <a:gd name="connsiteY6" fmla="*/ -4058 h 69899"/>
                <a:gd name="connsiteX7" fmla="*/ 37392 w 42690"/>
                <a:gd name="connsiteY7" fmla="*/ 4880 h 69899"/>
                <a:gd name="connsiteX8" fmla="*/ 38481 w 42690"/>
                <a:gd name="connsiteY8" fmla="*/ 28861 h 69899"/>
                <a:gd name="connsiteX9" fmla="*/ 15601 w 42690"/>
                <a:gd name="connsiteY9" fmla="*/ 39543 h 69899"/>
                <a:gd name="connsiteX10" fmla="*/ 7974 w 42690"/>
                <a:gd name="connsiteY10" fmla="*/ 48264 h 69899"/>
                <a:gd name="connsiteX11" fmla="*/ 7974 w 42690"/>
                <a:gd name="connsiteY11" fmla="*/ 56766 h 69899"/>
                <a:gd name="connsiteX12" fmla="*/ 21702 w 42690"/>
                <a:gd name="connsiteY12" fmla="*/ 57420 h 69899"/>
                <a:gd name="connsiteX13" fmla="*/ 18434 w 42690"/>
                <a:gd name="connsiteY13" fmla="*/ 63088 h 69899"/>
                <a:gd name="connsiteX14" fmla="*/ 1437 w 42690"/>
                <a:gd name="connsiteY14" fmla="*/ 63742 h 69899"/>
                <a:gd name="connsiteX15" fmla="*/ 1437 w 42690"/>
                <a:gd name="connsiteY15" fmla="*/ 48264 h 6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690" h="69899">
                  <a:moveTo>
                    <a:pt x="1437" y="48264"/>
                  </a:moveTo>
                  <a:lnTo>
                    <a:pt x="1437" y="33003"/>
                  </a:lnTo>
                  <a:lnTo>
                    <a:pt x="12332" y="33003"/>
                  </a:lnTo>
                  <a:cubicBezTo>
                    <a:pt x="21267" y="33003"/>
                    <a:pt x="24535" y="31913"/>
                    <a:pt x="29111" y="27335"/>
                  </a:cubicBezTo>
                  <a:cubicBezTo>
                    <a:pt x="33469" y="22975"/>
                    <a:pt x="34341" y="20577"/>
                    <a:pt x="33251" y="14909"/>
                  </a:cubicBezTo>
                  <a:cubicBezTo>
                    <a:pt x="31072" y="4008"/>
                    <a:pt x="24317" y="-352"/>
                    <a:pt x="10589" y="738"/>
                  </a:cubicBezTo>
                  <a:cubicBezTo>
                    <a:pt x="-2050" y="1828"/>
                    <a:pt x="-6408" y="-570"/>
                    <a:pt x="2527" y="-4058"/>
                  </a:cubicBezTo>
                  <a:cubicBezTo>
                    <a:pt x="15601" y="-9072"/>
                    <a:pt x="32598" y="-4712"/>
                    <a:pt x="37392" y="4880"/>
                  </a:cubicBezTo>
                  <a:cubicBezTo>
                    <a:pt x="41096" y="12075"/>
                    <a:pt x="41532" y="22757"/>
                    <a:pt x="38481" y="28861"/>
                  </a:cubicBezTo>
                  <a:cubicBezTo>
                    <a:pt x="35213" y="34529"/>
                    <a:pt x="24971" y="39543"/>
                    <a:pt x="15601" y="39543"/>
                  </a:cubicBezTo>
                  <a:cubicBezTo>
                    <a:pt x="8192" y="39543"/>
                    <a:pt x="7974" y="39761"/>
                    <a:pt x="7974" y="48264"/>
                  </a:cubicBezTo>
                  <a:lnTo>
                    <a:pt x="7974" y="56766"/>
                  </a:lnTo>
                  <a:lnTo>
                    <a:pt x="21702" y="57420"/>
                  </a:lnTo>
                  <a:cubicBezTo>
                    <a:pt x="40878" y="58292"/>
                    <a:pt x="38481" y="62216"/>
                    <a:pt x="18434" y="63088"/>
                  </a:cubicBezTo>
                  <a:lnTo>
                    <a:pt x="1437" y="63742"/>
                  </a:lnTo>
                  <a:lnTo>
                    <a:pt x="1437" y="48264"/>
                  </a:lnTo>
                  <a:close/>
                </a:path>
              </a:pathLst>
            </a:custGeom>
            <a:grpFill/>
            <a:ln w="218" cap="flat">
              <a:noFill/>
              <a:prstDash val="solid"/>
              <a:miter/>
            </a:ln>
          </p:spPr>
          <p:txBody>
            <a:bodyPr rtlCol="0" anchor="ctr"/>
            <a:lstStyle/>
            <a:p>
              <a:endParaRPr lang="en-GB" dirty="0"/>
            </a:p>
          </p:txBody>
        </p:sp>
        <p:sp>
          <p:nvSpPr>
            <p:cNvPr id="163" name="Freihandform: Form 162">
              <a:extLst>
                <a:ext uri="{FF2B5EF4-FFF2-40B4-BE49-F238E27FC236}">
                  <a16:creationId xmlns:a16="http://schemas.microsoft.com/office/drawing/2014/main" xmlns="" id="{0635D7DA-B13E-40B5-92E1-2BC57EB5A0C9}"/>
                </a:ext>
              </a:extLst>
            </p:cNvPr>
            <p:cNvSpPr/>
            <p:nvPr/>
          </p:nvSpPr>
          <p:spPr>
            <a:xfrm flipV="1">
              <a:off x="4303918" y="4336054"/>
              <a:ext cx="41402" cy="67582"/>
            </a:xfrm>
            <a:custGeom>
              <a:avLst/>
              <a:gdLst>
                <a:gd name="connsiteX0" fmla="*/ 1120 w 41402"/>
                <a:gd name="connsiteY0" fmla="*/ 59832 h 67582"/>
                <a:gd name="connsiteX1" fmla="*/ 7875 w 41402"/>
                <a:gd name="connsiteY1" fmla="*/ 56344 h 67582"/>
                <a:gd name="connsiteX2" fmla="*/ 29884 w 41402"/>
                <a:gd name="connsiteY2" fmla="*/ 50675 h 67582"/>
                <a:gd name="connsiteX3" fmla="*/ 30320 w 41402"/>
                <a:gd name="connsiteY3" fmla="*/ 38249 h 67582"/>
                <a:gd name="connsiteX4" fmla="*/ 12451 w 41402"/>
                <a:gd name="connsiteY4" fmla="*/ 15794 h 67582"/>
                <a:gd name="connsiteX5" fmla="*/ -1931 w 41402"/>
                <a:gd name="connsiteY5" fmla="*/ -2300 h 67582"/>
                <a:gd name="connsiteX6" fmla="*/ 18771 w 41402"/>
                <a:gd name="connsiteY6" fmla="*/ -4699 h 67582"/>
                <a:gd name="connsiteX7" fmla="*/ 39472 w 41402"/>
                <a:gd name="connsiteY7" fmla="*/ -2518 h 67582"/>
                <a:gd name="connsiteX8" fmla="*/ 25526 w 41402"/>
                <a:gd name="connsiteY8" fmla="*/ -338 h 67582"/>
                <a:gd name="connsiteX9" fmla="*/ 10272 w 41402"/>
                <a:gd name="connsiteY9" fmla="*/ 1406 h 67582"/>
                <a:gd name="connsiteX10" fmla="*/ 21821 w 41402"/>
                <a:gd name="connsiteY10" fmla="*/ 17320 h 67582"/>
                <a:gd name="connsiteX11" fmla="*/ 36857 w 41402"/>
                <a:gd name="connsiteY11" fmla="*/ 36069 h 67582"/>
                <a:gd name="connsiteX12" fmla="*/ 34024 w 41402"/>
                <a:gd name="connsiteY12" fmla="*/ 57434 h 67582"/>
                <a:gd name="connsiteX13" fmla="*/ 17027 w 41402"/>
                <a:gd name="connsiteY13" fmla="*/ 62884 h 67582"/>
                <a:gd name="connsiteX14" fmla="*/ 1120 w 41402"/>
                <a:gd name="connsiteY14" fmla="*/ 59832 h 67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402" h="67582">
                  <a:moveTo>
                    <a:pt x="1120" y="59832"/>
                  </a:moveTo>
                  <a:cubicBezTo>
                    <a:pt x="-4981" y="55254"/>
                    <a:pt x="-1277" y="53291"/>
                    <a:pt x="7875" y="56344"/>
                  </a:cubicBezTo>
                  <a:cubicBezTo>
                    <a:pt x="17899" y="59614"/>
                    <a:pt x="25308" y="57652"/>
                    <a:pt x="29884" y="50675"/>
                  </a:cubicBezTo>
                  <a:cubicBezTo>
                    <a:pt x="33371" y="45661"/>
                    <a:pt x="33371" y="44571"/>
                    <a:pt x="30320" y="38249"/>
                  </a:cubicBezTo>
                  <a:cubicBezTo>
                    <a:pt x="28359" y="34325"/>
                    <a:pt x="20514" y="24296"/>
                    <a:pt x="12451" y="15794"/>
                  </a:cubicBezTo>
                  <a:cubicBezTo>
                    <a:pt x="4607" y="7074"/>
                    <a:pt x="-1931" y="-992"/>
                    <a:pt x="-1931" y="-2300"/>
                  </a:cubicBezTo>
                  <a:cubicBezTo>
                    <a:pt x="-1931" y="-3826"/>
                    <a:pt x="5260" y="-4699"/>
                    <a:pt x="18771" y="-4699"/>
                  </a:cubicBezTo>
                  <a:cubicBezTo>
                    <a:pt x="31191" y="-4699"/>
                    <a:pt x="39472" y="-3826"/>
                    <a:pt x="39472" y="-2518"/>
                  </a:cubicBezTo>
                  <a:cubicBezTo>
                    <a:pt x="39472" y="-1210"/>
                    <a:pt x="33371" y="-338"/>
                    <a:pt x="25526" y="-338"/>
                  </a:cubicBezTo>
                  <a:cubicBezTo>
                    <a:pt x="17681" y="-338"/>
                    <a:pt x="10926" y="534"/>
                    <a:pt x="10272" y="1406"/>
                  </a:cubicBezTo>
                  <a:cubicBezTo>
                    <a:pt x="9619" y="2496"/>
                    <a:pt x="14848" y="9472"/>
                    <a:pt x="21821" y="17320"/>
                  </a:cubicBezTo>
                  <a:cubicBezTo>
                    <a:pt x="28794" y="24951"/>
                    <a:pt x="35550" y="33453"/>
                    <a:pt x="36857" y="36069"/>
                  </a:cubicBezTo>
                  <a:cubicBezTo>
                    <a:pt x="40997" y="43699"/>
                    <a:pt x="39908" y="51765"/>
                    <a:pt x="34024" y="57434"/>
                  </a:cubicBezTo>
                  <a:cubicBezTo>
                    <a:pt x="29884" y="61794"/>
                    <a:pt x="26615" y="62884"/>
                    <a:pt x="17027" y="62884"/>
                  </a:cubicBezTo>
                  <a:cubicBezTo>
                    <a:pt x="10490" y="62884"/>
                    <a:pt x="3517" y="61576"/>
                    <a:pt x="1120" y="59832"/>
                  </a:cubicBezTo>
                  <a:close/>
                </a:path>
              </a:pathLst>
            </a:custGeom>
            <a:grpFill/>
            <a:ln w="218" cap="flat">
              <a:noFill/>
              <a:prstDash val="solid"/>
              <a:miter/>
            </a:ln>
          </p:spPr>
          <p:txBody>
            <a:bodyPr rtlCol="0" anchor="ctr"/>
            <a:lstStyle/>
            <a:p>
              <a:endParaRPr lang="en-GB" dirty="0"/>
            </a:p>
          </p:txBody>
        </p:sp>
        <p:sp>
          <p:nvSpPr>
            <p:cNvPr id="164" name="Freihandform: Form 163">
              <a:extLst>
                <a:ext uri="{FF2B5EF4-FFF2-40B4-BE49-F238E27FC236}">
                  <a16:creationId xmlns:a16="http://schemas.microsoft.com/office/drawing/2014/main" xmlns="" id="{77532098-89DC-466D-8B65-320C3C86D624}"/>
                </a:ext>
              </a:extLst>
            </p:cNvPr>
            <p:cNvSpPr/>
            <p:nvPr/>
          </p:nvSpPr>
          <p:spPr>
            <a:xfrm flipV="1">
              <a:off x="4364932" y="4336054"/>
              <a:ext cx="45760" cy="69762"/>
            </a:xfrm>
            <a:custGeom>
              <a:avLst/>
              <a:gdLst>
                <a:gd name="connsiteX0" fmla="*/ 8268 w 45760"/>
                <a:gd name="connsiteY0" fmla="*/ 62017 h 69762"/>
                <a:gd name="connsiteX1" fmla="*/ -2192 w 45760"/>
                <a:gd name="connsiteY1" fmla="*/ 30188 h 69762"/>
                <a:gd name="connsiteX2" fmla="*/ 20907 w 45760"/>
                <a:gd name="connsiteY2" fmla="*/ -4693 h 69762"/>
                <a:gd name="connsiteX3" fmla="*/ 43569 w 45760"/>
                <a:gd name="connsiteY3" fmla="*/ 31714 h 69762"/>
                <a:gd name="connsiteX4" fmla="*/ 20907 w 45760"/>
                <a:gd name="connsiteY4" fmla="*/ 65069 h 69762"/>
                <a:gd name="connsiteX5" fmla="*/ 8268 w 45760"/>
                <a:gd name="connsiteY5" fmla="*/ 62017 h 69762"/>
                <a:gd name="connsiteX6" fmla="*/ 30059 w 45760"/>
                <a:gd name="connsiteY6" fmla="*/ 55259 h 69762"/>
                <a:gd name="connsiteX7" fmla="*/ 30713 w 45760"/>
                <a:gd name="connsiteY7" fmla="*/ 5771 h 69762"/>
                <a:gd name="connsiteX8" fmla="*/ 10665 w 45760"/>
                <a:gd name="connsiteY8" fmla="*/ 5989 h 69762"/>
                <a:gd name="connsiteX9" fmla="*/ 5217 w 45760"/>
                <a:gd name="connsiteY9" fmla="*/ 39781 h 69762"/>
                <a:gd name="connsiteX10" fmla="*/ 30059 w 45760"/>
                <a:gd name="connsiteY10" fmla="*/ 55259 h 69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760" h="69762">
                  <a:moveTo>
                    <a:pt x="8268" y="62017"/>
                  </a:moveTo>
                  <a:cubicBezTo>
                    <a:pt x="1949" y="57439"/>
                    <a:pt x="-2192" y="44359"/>
                    <a:pt x="-2192" y="30188"/>
                  </a:cubicBezTo>
                  <a:cubicBezTo>
                    <a:pt x="-2192" y="7951"/>
                    <a:pt x="6089" y="-4693"/>
                    <a:pt x="20907" y="-4693"/>
                  </a:cubicBezTo>
                  <a:cubicBezTo>
                    <a:pt x="35289" y="-4693"/>
                    <a:pt x="43569" y="8387"/>
                    <a:pt x="43569" y="31714"/>
                  </a:cubicBezTo>
                  <a:cubicBezTo>
                    <a:pt x="43569" y="53079"/>
                    <a:pt x="35289" y="65069"/>
                    <a:pt x="20907" y="65069"/>
                  </a:cubicBezTo>
                  <a:cubicBezTo>
                    <a:pt x="15895" y="65069"/>
                    <a:pt x="10229" y="63543"/>
                    <a:pt x="8268" y="62017"/>
                  </a:cubicBezTo>
                  <a:close/>
                  <a:moveTo>
                    <a:pt x="30059" y="55259"/>
                  </a:moveTo>
                  <a:cubicBezTo>
                    <a:pt x="38339" y="44795"/>
                    <a:pt x="38557" y="15800"/>
                    <a:pt x="30713" y="5771"/>
                  </a:cubicBezTo>
                  <a:cubicBezTo>
                    <a:pt x="25701" y="-115"/>
                    <a:pt x="15459" y="-115"/>
                    <a:pt x="10665" y="5989"/>
                  </a:cubicBezTo>
                  <a:cubicBezTo>
                    <a:pt x="5871" y="11876"/>
                    <a:pt x="3474" y="27136"/>
                    <a:pt x="5217" y="39781"/>
                  </a:cubicBezTo>
                  <a:cubicBezTo>
                    <a:pt x="8050" y="58529"/>
                    <a:pt x="21125" y="66595"/>
                    <a:pt x="30059" y="55259"/>
                  </a:cubicBezTo>
                  <a:close/>
                </a:path>
              </a:pathLst>
            </a:custGeom>
            <a:grpFill/>
            <a:ln w="218" cap="flat">
              <a:noFill/>
              <a:prstDash val="solid"/>
              <a:miter/>
            </a:ln>
          </p:spPr>
          <p:txBody>
            <a:bodyPr rtlCol="0" anchor="ctr"/>
            <a:lstStyle/>
            <a:p>
              <a:endParaRPr lang="en-GB" dirty="0"/>
            </a:p>
          </p:txBody>
        </p:sp>
        <p:sp>
          <p:nvSpPr>
            <p:cNvPr id="165" name="Freihandform: Form 164">
              <a:extLst>
                <a:ext uri="{FF2B5EF4-FFF2-40B4-BE49-F238E27FC236}">
                  <a16:creationId xmlns:a16="http://schemas.microsoft.com/office/drawing/2014/main" xmlns="" id="{A0F518BF-B8A7-4E23-9AFA-FBB7C43AC648}"/>
                </a:ext>
              </a:extLst>
            </p:cNvPr>
            <p:cNvSpPr/>
            <p:nvPr/>
          </p:nvSpPr>
          <p:spPr>
            <a:xfrm flipV="1">
              <a:off x="4425918" y="4336054"/>
              <a:ext cx="45788" cy="69762"/>
            </a:xfrm>
            <a:custGeom>
              <a:avLst/>
              <a:gdLst>
                <a:gd name="connsiteX0" fmla="*/ 6736 w 45788"/>
                <a:gd name="connsiteY0" fmla="*/ 60055 h 69762"/>
                <a:gd name="connsiteX1" fmla="*/ 1724 w 45788"/>
                <a:gd name="connsiteY1" fmla="*/ 9041 h 69762"/>
                <a:gd name="connsiteX2" fmla="*/ 20900 w 45788"/>
                <a:gd name="connsiteY2" fmla="*/ -4693 h 69762"/>
                <a:gd name="connsiteX3" fmla="*/ 43345 w 45788"/>
                <a:gd name="connsiteY3" fmla="*/ 29970 h 69762"/>
                <a:gd name="connsiteX4" fmla="*/ 20900 w 45788"/>
                <a:gd name="connsiteY4" fmla="*/ 65069 h 69762"/>
                <a:gd name="connsiteX5" fmla="*/ 6736 w 45788"/>
                <a:gd name="connsiteY5" fmla="*/ 60055 h 69762"/>
                <a:gd name="connsiteX6" fmla="*/ 28091 w 45788"/>
                <a:gd name="connsiteY6" fmla="*/ 58529 h 69762"/>
                <a:gd name="connsiteX7" fmla="*/ 33539 w 45788"/>
                <a:gd name="connsiteY7" fmla="*/ 11658 h 69762"/>
                <a:gd name="connsiteX8" fmla="*/ 16542 w 45788"/>
                <a:gd name="connsiteY8" fmla="*/ 1411 h 69762"/>
                <a:gd name="connsiteX9" fmla="*/ 6083 w 45788"/>
                <a:gd name="connsiteY9" fmla="*/ 41525 h 69762"/>
                <a:gd name="connsiteX10" fmla="*/ 28091 w 45788"/>
                <a:gd name="connsiteY10" fmla="*/ 58529 h 69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788" h="69762">
                  <a:moveTo>
                    <a:pt x="6736" y="60055"/>
                  </a:moveTo>
                  <a:cubicBezTo>
                    <a:pt x="-3070" y="49591"/>
                    <a:pt x="-5467" y="24956"/>
                    <a:pt x="1724" y="9041"/>
                  </a:cubicBezTo>
                  <a:cubicBezTo>
                    <a:pt x="6300" y="-987"/>
                    <a:pt x="11530" y="-4693"/>
                    <a:pt x="20900" y="-4693"/>
                  </a:cubicBezTo>
                  <a:cubicBezTo>
                    <a:pt x="35282" y="-4693"/>
                    <a:pt x="43345" y="7733"/>
                    <a:pt x="43345" y="29970"/>
                  </a:cubicBezTo>
                  <a:cubicBezTo>
                    <a:pt x="43345" y="55041"/>
                    <a:pt x="37025" y="65069"/>
                    <a:pt x="20900" y="65069"/>
                  </a:cubicBezTo>
                  <a:cubicBezTo>
                    <a:pt x="13709" y="65069"/>
                    <a:pt x="10223" y="63761"/>
                    <a:pt x="6736" y="60055"/>
                  </a:cubicBezTo>
                  <a:close/>
                  <a:moveTo>
                    <a:pt x="28091" y="58529"/>
                  </a:moveTo>
                  <a:cubicBezTo>
                    <a:pt x="36372" y="54169"/>
                    <a:pt x="39640" y="26046"/>
                    <a:pt x="33539" y="11658"/>
                  </a:cubicBezTo>
                  <a:cubicBezTo>
                    <a:pt x="30270" y="3591"/>
                    <a:pt x="23515" y="-333"/>
                    <a:pt x="16542" y="1411"/>
                  </a:cubicBezTo>
                  <a:cubicBezTo>
                    <a:pt x="8262" y="3591"/>
                    <a:pt x="3250" y="23212"/>
                    <a:pt x="6083" y="41525"/>
                  </a:cubicBezTo>
                  <a:cubicBezTo>
                    <a:pt x="8697" y="57875"/>
                    <a:pt x="17196" y="64415"/>
                    <a:pt x="28091" y="58529"/>
                  </a:cubicBezTo>
                  <a:close/>
                </a:path>
              </a:pathLst>
            </a:custGeom>
            <a:grpFill/>
            <a:ln w="218" cap="flat">
              <a:noFill/>
              <a:prstDash val="solid"/>
              <a:miter/>
            </a:ln>
          </p:spPr>
          <p:txBody>
            <a:bodyPr rtlCol="0" anchor="ctr"/>
            <a:lstStyle/>
            <a:p>
              <a:endParaRPr lang="en-GB" dirty="0"/>
            </a:p>
          </p:txBody>
        </p:sp>
        <p:sp>
          <p:nvSpPr>
            <p:cNvPr id="166" name="Freihandform: Form 165">
              <a:extLst>
                <a:ext uri="{FF2B5EF4-FFF2-40B4-BE49-F238E27FC236}">
                  <a16:creationId xmlns:a16="http://schemas.microsoft.com/office/drawing/2014/main" xmlns="" id="{5E22FBAE-A228-4852-A60E-87D442975E6B}"/>
                </a:ext>
              </a:extLst>
            </p:cNvPr>
            <p:cNvSpPr/>
            <p:nvPr/>
          </p:nvSpPr>
          <p:spPr>
            <a:xfrm flipV="1">
              <a:off x="4421821" y="4624035"/>
              <a:ext cx="47581" cy="73088"/>
            </a:xfrm>
            <a:custGeom>
              <a:avLst/>
              <a:gdLst>
                <a:gd name="connsiteX0" fmla="*/ 8450 w 47581"/>
                <a:gd name="connsiteY0" fmla="*/ 64619 h 73088"/>
                <a:gd name="connsiteX1" fmla="*/ -2228 w 47581"/>
                <a:gd name="connsiteY1" fmla="*/ 28429 h 73088"/>
                <a:gd name="connsiteX2" fmla="*/ 28279 w 47581"/>
                <a:gd name="connsiteY2" fmla="*/ -2092 h 73088"/>
                <a:gd name="connsiteX3" fmla="*/ 41136 w 47581"/>
                <a:gd name="connsiteY3" fmla="*/ 9681 h 73088"/>
                <a:gd name="connsiteX4" fmla="*/ 41790 w 47581"/>
                <a:gd name="connsiteY4" fmla="*/ 54808 h 73088"/>
                <a:gd name="connsiteX5" fmla="*/ 8450 w 47581"/>
                <a:gd name="connsiteY5" fmla="*/ 64619 h 73088"/>
                <a:gd name="connsiteX6" fmla="*/ 31548 w 47581"/>
                <a:gd name="connsiteY6" fmla="*/ 55462 h 73088"/>
                <a:gd name="connsiteX7" fmla="*/ 35470 w 47581"/>
                <a:gd name="connsiteY7" fmla="*/ 33007 h 73088"/>
                <a:gd name="connsiteX8" fmla="*/ 21306 w 47581"/>
                <a:gd name="connsiteY8" fmla="*/ 4667 h 73088"/>
                <a:gd name="connsiteX9" fmla="*/ 7142 w 47581"/>
                <a:gd name="connsiteY9" fmla="*/ 33007 h 73088"/>
                <a:gd name="connsiteX10" fmla="*/ 21306 w 47581"/>
                <a:gd name="connsiteY10" fmla="*/ 61348 h 73088"/>
                <a:gd name="connsiteX11" fmla="*/ 31548 w 47581"/>
                <a:gd name="connsiteY11" fmla="*/ 55462 h 7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581" h="73088">
                  <a:moveTo>
                    <a:pt x="8450" y="64619"/>
                  </a:moveTo>
                  <a:cubicBezTo>
                    <a:pt x="-49" y="57206"/>
                    <a:pt x="-3317" y="46742"/>
                    <a:pt x="-2228" y="28429"/>
                  </a:cubicBezTo>
                  <a:cubicBezTo>
                    <a:pt x="-920" y="4667"/>
                    <a:pt x="11065" y="-7106"/>
                    <a:pt x="28279" y="-2092"/>
                  </a:cubicBezTo>
                  <a:cubicBezTo>
                    <a:pt x="35252" y="88"/>
                    <a:pt x="37649" y="2268"/>
                    <a:pt x="41136" y="9681"/>
                  </a:cubicBezTo>
                  <a:cubicBezTo>
                    <a:pt x="46148" y="21235"/>
                    <a:pt x="46584" y="42818"/>
                    <a:pt x="41790" y="54808"/>
                  </a:cubicBezTo>
                  <a:cubicBezTo>
                    <a:pt x="35688" y="70069"/>
                    <a:pt x="20217" y="74429"/>
                    <a:pt x="8450" y="64619"/>
                  </a:cubicBezTo>
                  <a:close/>
                  <a:moveTo>
                    <a:pt x="31548" y="55462"/>
                  </a:moveTo>
                  <a:cubicBezTo>
                    <a:pt x="34381" y="51102"/>
                    <a:pt x="35470" y="45216"/>
                    <a:pt x="35470" y="33007"/>
                  </a:cubicBezTo>
                  <a:cubicBezTo>
                    <a:pt x="35470" y="12951"/>
                    <a:pt x="31330" y="4667"/>
                    <a:pt x="21306" y="4667"/>
                  </a:cubicBezTo>
                  <a:cubicBezTo>
                    <a:pt x="11283" y="4667"/>
                    <a:pt x="7142" y="12733"/>
                    <a:pt x="7142" y="33007"/>
                  </a:cubicBezTo>
                  <a:cubicBezTo>
                    <a:pt x="7142" y="53282"/>
                    <a:pt x="11283" y="61348"/>
                    <a:pt x="21306" y="61348"/>
                  </a:cubicBezTo>
                  <a:cubicBezTo>
                    <a:pt x="25882" y="61348"/>
                    <a:pt x="28933" y="59604"/>
                    <a:pt x="31548" y="55462"/>
                  </a:cubicBezTo>
                  <a:close/>
                </a:path>
              </a:pathLst>
            </a:custGeom>
            <a:grpFill/>
            <a:ln w="218" cap="flat">
              <a:noFill/>
              <a:prstDash val="solid"/>
              <a:miter/>
            </a:ln>
          </p:spPr>
          <p:txBody>
            <a:bodyPr rtlCol="0" anchor="ctr"/>
            <a:lstStyle/>
            <a:p>
              <a:endParaRPr lang="en-GB" dirty="0"/>
            </a:p>
          </p:txBody>
        </p:sp>
        <p:sp>
          <p:nvSpPr>
            <p:cNvPr id="167" name="Freihandform: Form 166">
              <a:extLst>
                <a:ext uri="{FF2B5EF4-FFF2-40B4-BE49-F238E27FC236}">
                  <a16:creationId xmlns:a16="http://schemas.microsoft.com/office/drawing/2014/main" xmlns="" id="{625100C6-F963-4C5A-BD89-C33463705B4F}"/>
                </a:ext>
              </a:extLst>
            </p:cNvPr>
            <p:cNvSpPr/>
            <p:nvPr/>
          </p:nvSpPr>
          <p:spPr>
            <a:xfrm flipV="1">
              <a:off x="4302310" y="4626004"/>
              <a:ext cx="40499" cy="69762"/>
            </a:xfrm>
            <a:custGeom>
              <a:avLst/>
              <a:gdLst>
                <a:gd name="connsiteX0" fmla="*/ 2300 w 40499"/>
                <a:gd name="connsiteY0" fmla="*/ 64134 h 69762"/>
                <a:gd name="connsiteX1" fmla="*/ 6440 w 40499"/>
                <a:gd name="connsiteY1" fmla="*/ 56722 h 69762"/>
                <a:gd name="connsiteX2" fmla="*/ 13849 w 40499"/>
                <a:gd name="connsiteY2" fmla="*/ 56722 h 69762"/>
                <a:gd name="connsiteX3" fmla="*/ 14503 w 40499"/>
                <a:gd name="connsiteY3" fmla="*/ 31215 h 69762"/>
                <a:gd name="connsiteX4" fmla="*/ 15157 w 40499"/>
                <a:gd name="connsiteY4" fmla="*/ 5708 h 69762"/>
                <a:gd name="connsiteX5" fmla="*/ 7966 w 40499"/>
                <a:gd name="connsiteY5" fmla="*/ 5054 h 69762"/>
                <a:gd name="connsiteX6" fmla="*/ 121 w 40499"/>
                <a:gd name="connsiteY6" fmla="*/ 694 h 69762"/>
                <a:gd name="connsiteX7" fmla="*/ 19297 w 40499"/>
                <a:gd name="connsiteY7" fmla="*/ -3230 h 69762"/>
                <a:gd name="connsiteX8" fmla="*/ 38473 w 40499"/>
                <a:gd name="connsiteY8" fmla="*/ 476 h 69762"/>
                <a:gd name="connsiteX9" fmla="*/ 31282 w 40499"/>
                <a:gd name="connsiteY9" fmla="*/ 5490 h 69762"/>
                <a:gd name="connsiteX10" fmla="*/ 24745 w 40499"/>
                <a:gd name="connsiteY10" fmla="*/ 6580 h 69762"/>
                <a:gd name="connsiteX11" fmla="*/ 24091 w 40499"/>
                <a:gd name="connsiteY11" fmla="*/ 36665 h 69762"/>
                <a:gd name="connsiteX12" fmla="*/ 23437 w 40499"/>
                <a:gd name="connsiteY12" fmla="*/ 66532 h 69762"/>
                <a:gd name="connsiteX13" fmla="*/ 15375 w 40499"/>
                <a:gd name="connsiteY13" fmla="*/ 66314 h 69762"/>
                <a:gd name="connsiteX14" fmla="*/ 2300 w 40499"/>
                <a:gd name="connsiteY14" fmla="*/ 64134 h 69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499" h="69762">
                  <a:moveTo>
                    <a:pt x="2300" y="64134"/>
                  </a:moveTo>
                  <a:cubicBezTo>
                    <a:pt x="-4891" y="61300"/>
                    <a:pt x="-2494" y="56722"/>
                    <a:pt x="6440" y="56722"/>
                  </a:cubicBezTo>
                  <a:lnTo>
                    <a:pt x="13849" y="56722"/>
                  </a:lnTo>
                  <a:lnTo>
                    <a:pt x="14503" y="31215"/>
                  </a:lnTo>
                  <a:lnTo>
                    <a:pt x="15157" y="5708"/>
                  </a:lnTo>
                  <a:lnTo>
                    <a:pt x="7966" y="5054"/>
                  </a:lnTo>
                  <a:cubicBezTo>
                    <a:pt x="3172" y="4618"/>
                    <a:pt x="557" y="3092"/>
                    <a:pt x="121" y="694"/>
                  </a:cubicBezTo>
                  <a:cubicBezTo>
                    <a:pt x="-533" y="-2794"/>
                    <a:pt x="1429" y="-3230"/>
                    <a:pt x="19297" y="-3230"/>
                  </a:cubicBezTo>
                  <a:cubicBezTo>
                    <a:pt x="37165" y="-3230"/>
                    <a:pt x="39127" y="-2794"/>
                    <a:pt x="38473" y="476"/>
                  </a:cubicBezTo>
                  <a:cubicBezTo>
                    <a:pt x="38037" y="2874"/>
                    <a:pt x="35204" y="4836"/>
                    <a:pt x="31282" y="5490"/>
                  </a:cubicBezTo>
                  <a:lnTo>
                    <a:pt x="24745" y="6580"/>
                  </a:lnTo>
                  <a:lnTo>
                    <a:pt x="24091" y="36665"/>
                  </a:lnTo>
                  <a:lnTo>
                    <a:pt x="23437" y="66532"/>
                  </a:lnTo>
                  <a:lnTo>
                    <a:pt x="15375" y="66314"/>
                  </a:lnTo>
                  <a:cubicBezTo>
                    <a:pt x="11016" y="66314"/>
                    <a:pt x="4915" y="65442"/>
                    <a:pt x="2300" y="64134"/>
                  </a:cubicBezTo>
                  <a:close/>
                </a:path>
              </a:pathLst>
            </a:custGeom>
            <a:grpFill/>
            <a:ln w="218" cap="flat">
              <a:noFill/>
              <a:prstDash val="solid"/>
              <a:miter/>
            </a:ln>
          </p:spPr>
          <p:txBody>
            <a:bodyPr rtlCol="0" anchor="ctr"/>
            <a:lstStyle/>
            <a:p>
              <a:endParaRPr lang="en-GB" dirty="0"/>
            </a:p>
          </p:txBody>
        </p:sp>
        <p:sp>
          <p:nvSpPr>
            <p:cNvPr id="168" name="Freihandform: Form 167">
              <a:extLst>
                <a:ext uri="{FF2B5EF4-FFF2-40B4-BE49-F238E27FC236}">
                  <a16:creationId xmlns:a16="http://schemas.microsoft.com/office/drawing/2014/main" xmlns="" id="{C86C989A-80D7-4A00-877C-93889B409902}"/>
                </a:ext>
              </a:extLst>
            </p:cNvPr>
            <p:cNvSpPr/>
            <p:nvPr/>
          </p:nvSpPr>
          <p:spPr>
            <a:xfrm flipV="1">
              <a:off x="4360872" y="4626294"/>
              <a:ext cx="45462" cy="71135"/>
            </a:xfrm>
            <a:custGeom>
              <a:avLst/>
              <a:gdLst>
                <a:gd name="connsiteX0" fmla="*/ 1014 w 45462"/>
                <a:gd name="connsiteY0" fmla="*/ 64931 h 71135"/>
                <a:gd name="connsiteX1" fmla="*/ 1450 w 45462"/>
                <a:gd name="connsiteY1" fmla="*/ 38334 h 71135"/>
                <a:gd name="connsiteX2" fmla="*/ 13653 w 45462"/>
                <a:gd name="connsiteY2" fmla="*/ 35936 h 71135"/>
                <a:gd name="connsiteX3" fmla="*/ 33047 w 45462"/>
                <a:gd name="connsiteY3" fmla="*/ 20021 h 71135"/>
                <a:gd name="connsiteX4" fmla="*/ 9949 w 45462"/>
                <a:gd name="connsiteY4" fmla="*/ 5851 h 71135"/>
                <a:gd name="connsiteX5" fmla="*/ -2036 w 45462"/>
                <a:gd name="connsiteY5" fmla="*/ 3453 h 71135"/>
                <a:gd name="connsiteX6" fmla="*/ 6898 w 45462"/>
                <a:gd name="connsiteY6" fmla="*/ -2215 h 71135"/>
                <a:gd name="connsiteX7" fmla="*/ 43288 w 45462"/>
                <a:gd name="connsiteY7" fmla="*/ 19149 h 71135"/>
                <a:gd name="connsiteX8" fmla="*/ 18011 w 45462"/>
                <a:gd name="connsiteY8" fmla="*/ 44220 h 71135"/>
                <a:gd name="connsiteX9" fmla="*/ 11038 w 45462"/>
                <a:gd name="connsiteY9" fmla="*/ 52505 h 71135"/>
                <a:gd name="connsiteX10" fmla="*/ 11692 w 45462"/>
                <a:gd name="connsiteY10" fmla="*/ 60571 h 71135"/>
                <a:gd name="connsiteX11" fmla="*/ 24331 w 45462"/>
                <a:gd name="connsiteY11" fmla="*/ 61661 h 71135"/>
                <a:gd name="connsiteX12" fmla="*/ 20190 w 45462"/>
                <a:gd name="connsiteY12" fmla="*/ 67765 h 71135"/>
                <a:gd name="connsiteX13" fmla="*/ 1014 w 45462"/>
                <a:gd name="connsiteY13" fmla="*/ 64931 h 71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462" h="71135">
                  <a:moveTo>
                    <a:pt x="1014" y="64931"/>
                  </a:moveTo>
                  <a:cubicBezTo>
                    <a:pt x="-947" y="59917"/>
                    <a:pt x="-511" y="41386"/>
                    <a:pt x="1450" y="38334"/>
                  </a:cubicBezTo>
                  <a:cubicBezTo>
                    <a:pt x="2540" y="36808"/>
                    <a:pt x="7552" y="35718"/>
                    <a:pt x="13653" y="35936"/>
                  </a:cubicBezTo>
                  <a:cubicBezTo>
                    <a:pt x="26292" y="36154"/>
                    <a:pt x="33047" y="30704"/>
                    <a:pt x="33047" y="20021"/>
                  </a:cubicBezTo>
                  <a:cubicBezTo>
                    <a:pt x="33047" y="8685"/>
                    <a:pt x="25638" y="4107"/>
                    <a:pt x="9949" y="5851"/>
                  </a:cubicBezTo>
                  <a:cubicBezTo>
                    <a:pt x="-1383" y="6941"/>
                    <a:pt x="-2690" y="6723"/>
                    <a:pt x="-2036" y="3453"/>
                  </a:cubicBezTo>
                  <a:cubicBezTo>
                    <a:pt x="-1600" y="1055"/>
                    <a:pt x="1886" y="-1125"/>
                    <a:pt x="6898" y="-2215"/>
                  </a:cubicBezTo>
                  <a:cubicBezTo>
                    <a:pt x="25638" y="-6575"/>
                    <a:pt x="43288" y="3671"/>
                    <a:pt x="43288" y="19149"/>
                  </a:cubicBezTo>
                  <a:cubicBezTo>
                    <a:pt x="43288" y="35064"/>
                    <a:pt x="33918" y="44220"/>
                    <a:pt x="18011" y="44220"/>
                  </a:cubicBezTo>
                  <a:cubicBezTo>
                    <a:pt x="10384" y="44220"/>
                    <a:pt x="10384" y="44438"/>
                    <a:pt x="11038" y="52505"/>
                  </a:cubicBezTo>
                  <a:lnTo>
                    <a:pt x="11692" y="60571"/>
                  </a:lnTo>
                  <a:lnTo>
                    <a:pt x="24331" y="61661"/>
                  </a:lnTo>
                  <a:cubicBezTo>
                    <a:pt x="43071" y="63405"/>
                    <a:pt x="40674" y="67111"/>
                    <a:pt x="20190" y="67765"/>
                  </a:cubicBezTo>
                  <a:cubicBezTo>
                    <a:pt x="5373" y="68201"/>
                    <a:pt x="2104" y="67765"/>
                    <a:pt x="1014" y="64931"/>
                  </a:cubicBezTo>
                  <a:close/>
                </a:path>
              </a:pathLst>
            </a:custGeom>
            <a:grpFill/>
            <a:ln w="218" cap="flat">
              <a:noFill/>
              <a:prstDash val="solid"/>
              <a:miter/>
            </a:ln>
          </p:spPr>
          <p:txBody>
            <a:bodyPr rtlCol="0" anchor="ctr"/>
            <a:lstStyle/>
            <a:p>
              <a:endParaRPr lang="en-GB" dirty="0"/>
            </a:p>
          </p:txBody>
        </p:sp>
        <p:sp>
          <p:nvSpPr>
            <p:cNvPr id="169" name="Freihandform: Form 168">
              <a:extLst>
                <a:ext uri="{FF2B5EF4-FFF2-40B4-BE49-F238E27FC236}">
                  <a16:creationId xmlns:a16="http://schemas.microsoft.com/office/drawing/2014/main" xmlns="" id="{21C39131-7ED3-43BA-B2B4-11DF988BB3AB}"/>
                </a:ext>
              </a:extLst>
            </p:cNvPr>
            <p:cNvSpPr/>
            <p:nvPr/>
          </p:nvSpPr>
          <p:spPr>
            <a:xfrm flipV="1">
              <a:off x="4090368" y="5203723"/>
              <a:ext cx="4358" cy="4360"/>
            </a:xfrm>
            <a:custGeom>
              <a:avLst/>
              <a:gdLst>
                <a:gd name="connsiteX0" fmla="*/ -972 w 4358"/>
                <a:gd name="connsiteY0" fmla="*/ 1700 h 4360"/>
                <a:gd name="connsiteX1" fmla="*/ 1207 w 4358"/>
                <a:gd name="connsiteY1" fmla="*/ -480 h 4360"/>
                <a:gd name="connsiteX2" fmla="*/ 3386 w 4358"/>
                <a:gd name="connsiteY2" fmla="*/ 1700 h 4360"/>
                <a:gd name="connsiteX3" fmla="*/ 1207 w 4358"/>
                <a:gd name="connsiteY3" fmla="*/ 3880 h 4360"/>
                <a:gd name="connsiteX4" fmla="*/ -972 w 4358"/>
                <a:gd name="connsiteY4" fmla="*/ 1700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972" y="1700"/>
                  </a:moveTo>
                  <a:cubicBezTo>
                    <a:pt x="-972" y="610"/>
                    <a:pt x="118" y="-480"/>
                    <a:pt x="1207" y="-480"/>
                  </a:cubicBezTo>
                  <a:cubicBezTo>
                    <a:pt x="2515" y="-480"/>
                    <a:pt x="3386" y="610"/>
                    <a:pt x="3386" y="1700"/>
                  </a:cubicBezTo>
                  <a:cubicBezTo>
                    <a:pt x="3386" y="3008"/>
                    <a:pt x="2515" y="3880"/>
                    <a:pt x="1207" y="3880"/>
                  </a:cubicBezTo>
                  <a:cubicBezTo>
                    <a:pt x="118" y="3880"/>
                    <a:pt x="-972" y="3008"/>
                    <a:pt x="-972" y="1700"/>
                  </a:cubicBezTo>
                  <a:close/>
                </a:path>
              </a:pathLst>
            </a:custGeom>
            <a:grpFill/>
            <a:ln w="218" cap="flat">
              <a:noFill/>
              <a:prstDash val="solid"/>
              <a:miter/>
            </a:ln>
          </p:spPr>
          <p:txBody>
            <a:bodyPr rtlCol="0" anchor="ctr"/>
            <a:lstStyle/>
            <a:p>
              <a:endParaRPr lang="en-GB" dirty="0"/>
            </a:p>
          </p:txBody>
        </p:sp>
        <p:sp>
          <p:nvSpPr>
            <p:cNvPr id="170" name="Freihandform: Form 169">
              <a:extLst>
                <a:ext uri="{FF2B5EF4-FFF2-40B4-BE49-F238E27FC236}">
                  <a16:creationId xmlns:a16="http://schemas.microsoft.com/office/drawing/2014/main" xmlns="" id="{ADE95388-20F0-4B9A-B92D-8DD5BE52C2B0}"/>
                </a:ext>
              </a:extLst>
            </p:cNvPr>
            <p:cNvSpPr/>
            <p:nvPr/>
          </p:nvSpPr>
          <p:spPr>
            <a:xfrm flipV="1">
              <a:off x="3991343" y="5206023"/>
              <a:ext cx="16036" cy="22807"/>
            </a:xfrm>
            <a:custGeom>
              <a:avLst/>
              <a:gdLst>
                <a:gd name="connsiteX0" fmla="*/ 2559 w 16036"/>
                <a:gd name="connsiteY0" fmla="*/ 16837 h 22807"/>
                <a:gd name="connsiteX1" fmla="*/ 380 w 16036"/>
                <a:gd name="connsiteY1" fmla="*/ 7245 h 22807"/>
                <a:gd name="connsiteX2" fmla="*/ 1470 w 16036"/>
                <a:gd name="connsiteY2" fmla="*/ 705 h 22807"/>
                <a:gd name="connsiteX3" fmla="*/ 7135 w 16036"/>
                <a:gd name="connsiteY3" fmla="*/ 3321 h 22807"/>
                <a:gd name="connsiteX4" fmla="*/ 13237 w 16036"/>
                <a:gd name="connsiteY4" fmla="*/ 10951 h 22807"/>
                <a:gd name="connsiteX5" fmla="*/ 12583 w 16036"/>
                <a:gd name="connsiteY5" fmla="*/ 17928 h 22807"/>
                <a:gd name="connsiteX6" fmla="*/ 2559 w 16036"/>
                <a:gd name="connsiteY6" fmla="*/ 16837 h 2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36" h="22807">
                  <a:moveTo>
                    <a:pt x="2559" y="16837"/>
                  </a:moveTo>
                  <a:cubicBezTo>
                    <a:pt x="2559" y="13785"/>
                    <a:pt x="1688" y="9425"/>
                    <a:pt x="380" y="7245"/>
                  </a:cubicBezTo>
                  <a:cubicBezTo>
                    <a:pt x="-1145" y="4411"/>
                    <a:pt x="-927" y="2667"/>
                    <a:pt x="1470" y="705"/>
                  </a:cubicBezTo>
                  <a:cubicBezTo>
                    <a:pt x="3867" y="-1257"/>
                    <a:pt x="4956" y="-821"/>
                    <a:pt x="7135" y="3321"/>
                  </a:cubicBezTo>
                  <a:cubicBezTo>
                    <a:pt x="8661" y="6155"/>
                    <a:pt x="11275" y="9425"/>
                    <a:pt x="13237" y="10951"/>
                  </a:cubicBezTo>
                  <a:cubicBezTo>
                    <a:pt x="16287" y="13131"/>
                    <a:pt x="16287" y="13785"/>
                    <a:pt x="12583" y="17928"/>
                  </a:cubicBezTo>
                  <a:cubicBezTo>
                    <a:pt x="6917" y="24250"/>
                    <a:pt x="2559" y="23814"/>
                    <a:pt x="2559" y="16837"/>
                  </a:cubicBezTo>
                  <a:close/>
                </a:path>
              </a:pathLst>
            </a:custGeom>
            <a:grpFill/>
            <a:ln w="218" cap="flat">
              <a:noFill/>
              <a:prstDash val="solid"/>
              <a:miter/>
            </a:ln>
          </p:spPr>
          <p:txBody>
            <a:bodyPr rtlCol="0" anchor="ctr"/>
            <a:lstStyle/>
            <a:p>
              <a:endParaRPr lang="en-GB" dirty="0"/>
            </a:p>
          </p:txBody>
        </p:sp>
        <p:sp>
          <p:nvSpPr>
            <p:cNvPr id="171" name="Freihandform: Form 170">
              <a:extLst>
                <a:ext uri="{FF2B5EF4-FFF2-40B4-BE49-F238E27FC236}">
                  <a16:creationId xmlns:a16="http://schemas.microsoft.com/office/drawing/2014/main" xmlns="" id="{5674DB00-1C39-4573-92C5-F46F8094E3E9}"/>
                </a:ext>
              </a:extLst>
            </p:cNvPr>
            <p:cNvSpPr/>
            <p:nvPr/>
          </p:nvSpPr>
          <p:spPr>
            <a:xfrm flipV="1">
              <a:off x="4021201" y="5214686"/>
              <a:ext cx="27686" cy="46919"/>
            </a:xfrm>
            <a:custGeom>
              <a:avLst/>
              <a:gdLst>
                <a:gd name="connsiteX0" fmla="*/ 15699 w 27686"/>
                <a:gd name="connsiteY0" fmla="*/ 40779 h 46919"/>
                <a:gd name="connsiteX1" fmla="*/ 9380 w 27686"/>
                <a:gd name="connsiteY1" fmla="*/ 34020 h 46919"/>
                <a:gd name="connsiteX2" fmla="*/ 881 w 27686"/>
                <a:gd name="connsiteY2" fmla="*/ 27916 h 46919"/>
                <a:gd name="connsiteX3" fmla="*/ 5893 w 27686"/>
                <a:gd name="connsiteY3" fmla="*/ 15926 h 46919"/>
                <a:gd name="connsiteX4" fmla="*/ 13956 w 27686"/>
                <a:gd name="connsiteY4" fmla="*/ 5243 h 46919"/>
                <a:gd name="connsiteX5" fmla="*/ 26159 w 27686"/>
                <a:gd name="connsiteY5" fmla="*/ 11348 h 46919"/>
                <a:gd name="connsiteX6" fmla="*/ 21365 w 27686"/>
                <a:gd name="connsiteY6" fmla="*/ 17888 h 46919"/>
                <a:gd name="connsiteX7" fmla="*/ 20275 w 27686"/>
                <a:gd name="connsiteY7" fmla="*/ 29224 h 46919"/>
                <a:gd name="connsiteX8" fmla="*/ 24415 w 27686"/>
                <a:gd name="connsiteY8" fmla="*/ 44049 h 46919"/>
                <a:gd name="connsiteX9" fmla="*/ 15699 w 27686"/>
                <a:gd name="connsiteY9" fmla="*/ 40779 h 46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686" h="46919">
                  <a:moveTo>
                    <a:pt x="15699" y="40779"/>
                  </a:moveTo>
                  <a:cubicBezTo>
                    <a:pt x="15263" y="35982"/>
                    <a:pt x="13738" y="34456"/>
                    <a:pt x="9380" y="34020"/>
                  </a:cubicBezTo>
                  <a:cubicBezTo>
                    <a:pt x="5893" y="33584"/>
                    <a:pt x="2407" y="31186"/>
                    <a:pt x="881" y="27916"/>
                  </a:cubicBezTo>
                  <a:cubicBezTo>
                    <a:pt x="-1952" y="22902"/>
                    <a:pt x="-1516" y="22030"/>
                    <a:pt x="5893" y="15926"/>
                  </a:cubicBezTo>
                  <a:cubicBezTo>
                    <a:pt x="10251" y="12220"/>
                    <a:pt x="13956" y="7423"/>
                    <a:pt x="13956" y="5243"/>
                  </a:cubicBezTo>
                  <a:cubicBezTo>
                    <a:pt x="13956" y="-5003"/>
                    <a:pt x="23979" y="11"/>
                    <a:pt x="26159" y="11348"/>
                  </a:cubicBezTo>
                  <a:cubicBezTo>
                    <a:pt x="27684" y="18542"/>
                    <a:pt x="27466" y="18760"/>
                    <a:pt x="21365" y="17888"/>
                  </a:cubicBezTo>
                  <a:cubicBezTo>
                    <a:pt x="12430" y="17016"/>
                    <a:pt x="11995" y="23120"/>
                    <a:pt x="20275" y="29224"/>
                  </a:cubicBezTo>
                  <a:cubicBezTo>
                    <a:pt x="27248" y="34020"/>
                    <a:pt x="28773" y="39689"/>
                    <a:pt x="24415" y="44049"/>
                  </a:cubicBezTo>
                  <a:cubicBezTo>
                    <a:pt x="20057" y="48409"/>
                    <a:pt x="16571" y="47101"/>
                    <a:pt x="15699" y="40779"/>
                  </a:cubicBezTo>
                  <a:close/>
                </a:path>
              </a:pathLst>
            </a:custGeom>
            <a:grpFill/>
            <a:ln w="218" cap="flat">
              <a:noFill/>
              <a:prstDash val="solid"/>
              <a:miter/>
            </a:ln>
          </p:spPr>
          <p:txBody>
            <a:bodyPr rtlCol="0" anchor="ctr"/>
            <a:lstStyle/>
            <a:p>
              <a:endParaRPr lang="en-GB" dirty="0"/>
            </a:p>
          </p:txBody>
        </p:sp>
        <p:sp>
          <p:nvSpPr>
            <p:cNvPr id="172" name="Freihandform: Form 171">
              <a:extLst>
                <a:ext uri="{FF2B5EF4-FFF2-40B4-BE49-F238E27FC236}">
                  <a16:creationId xmlns:a16="http://schemas.microsoft.com/office/drawing/2014/main" xmlns="" id="{BE201B0F-2A37-49CA-B1D9-81315BE49898}"/>
                </a:ext>
              </a:extLst>
            </p:cNvPr>
            <p:cNvSpPr/>
            <p:nvPr/>
          </p:nvSpPr>
          <p:spPr>
            <a:xfrm flipV="1">
              <a:off x="3979236" y="5221164"/>
              <a:ext cx="8636" cy="8349"/>
            </a:xfrm>
            <a:custGeom>
              <a:avLst/>
              <a:gdLst>
                <a:gd name="connsiteX0" fmla="*/ -522 w 8636"/>
                <a:gd name="connsiteY0" fmla="*/ 6006 h 8349"/>
                <a:gd name="connsiteX1" fmla="*/ 7323 w 8636"/>
                <a:gd name="connsiteY1" fmla="*/ -99 h 8349"/>
                <a:gd name="connsiteX2" fmla="*/ 2747 w 8636"/>
                <a:gd name="connsiteY2" fmla="*/ 7968 h 8349"/>
                <a:gd name="connsiteX3" fmla="*/ -522 w 8636"/>
                <a:gd name="connsiteY3" fmla="*/ 6006 h 8349"/>
              </a:gdLst>
              <a:ahLst/>
              <a:cxnLst>
                <a:cxn ang="0">
                  <a:pos x="connsiteX0" y="connsiteY0"/>
                </a:cxn>
                <a:cxn ang="0">
                  <a:pos x="connsiteX1" y="connsiteY1"/>
                </a:cxn>
                <a:cxn ang="0">
                  <a:pos x="connsiteX2" y="connsiteY2"/>
                </a:cxn>
                <a:cxn ang="0">
                  <a:pos x="connsiteX3" y="connsiteY3"/>
                </a:cxn>
              </a:cxnLst>
              <a:rect l="l" t="t" r="r" b="b"/>
              <a:pathLst>
                <a:path w="8636" h="8349">
                  <a:moveTo>
                    <a:pt x="-522" y="6006"/>
                  </a:moveTo>
                  <a:cubicBezTo>
                    <a:pt x="-522" y="3389"/>
                    <a:pt x="5797" y="-1625"/>
                    <a:pt x="7323" y="-99"/>
                  </a:cubicBezTo>
                  <a:cubicBezTo>
                    <a:pt x="9720" y="2081"/>
                    <a:pt x="6233" y="7968"/>
                    <a:pt x="2747" y="7968"/>
                  </a:cubicBezTo>
                  <a:cubicBezTo>
                    <a:pt x="1004" y="7968"/>
                    <a:pt x="-522" y="7096"/>
                    <a:pt x="-522" y="6006"/>
                  </a:cubicBezTo>
                  <a:close/>
                </a:path>
              </a:pathLst>
            </a:custGeom>
            <a:grpFill/>
            <a:ln w="218" cap="flat">
              <a:noFill/>
              <a:prstDash val="solid"/>
              <a:miter/>
            </a:ln>
          </p:spPr>
          <p:txBody>
            <a:bodyPr rtlCol="0" anchor="ctr"/>
            <a:lstStyle/>
            <a:p>
              <a:endParaRPr lang="en-GB" dirty="0"/>
            </a:p>
          </p:txBody>
        </p:sp>
        <p:sp>
          <p:nvSpPr>
            <p:cNvPr id="173" name="Freihandform: Form 172">
              <a:extLst>
                <a:ext uri="{FF2B5EF4-FFF2-40B4-BE49-F238E27FC236}">
                  <a16:creationId xmlns:a16="http://schemas.microsoft.com/office/drawing/2014/main" xmlns="" id="{8594343A-8083-46D6-8384-479347DC5DCB}"/>
                </a:ext>
              </a:extLst>
            </p:cNvPr>
            <p:cNvSpPr/>
            <p:nvPr/>
          </p:nvSpPr>
          <p:spPr>
            <a:xfrm flipV="1">
              <a:off x="3974877" y="5243263"/>
              <a:ext cx="10193" cy="23168"/>
            </a:xfrm>
            <a:custGeom>
              <a:avLst/>
              <a:gdLst>
                <a:gd name="connsiteX0" fmla="*/ -507 w 10193"/>
                <a:gd name="connsiteY0" fmla="*/ 15167 h 23168"/>
                <a:gd name="connsiteX1" fmla="*/ 8209 w 10193"/>
                <a:gd name="connsiteY1" fmla="*/ 778 h 23168"/>
                <a:gd name="connsiteX2" fmla="*/ 9081 w 10193"/>
                <a:gd name="connsiteY2" fmla="*/ 6010 h 23168"/>
                <a:gd name="connsiteX3" fmla="*/ 7338 w 10193"/>
                <a:gd name="connsiteY3" fmla="*/ 15385 h 23168"/>
                <a:gd name="connsiteX4" fmla="*/ 3415 w 10193"/>
                <a:gd name="connsiteY4" fmla="*/ 22797 h 23168"/>
                <a:gd name="connsiteX5" fmla="*/ -507 w 10193"/>
                <a:gd name="connsiteY5" fmla="*/ 15167 h 23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93" h="23168">
                  <a:moveTo>
                    <a:pt x="-507" y="15167"/>
                  </a:moveTo>
                  <a:cubicBezTo>
                    <a:pt x="-507" y="4920"/>
                    <a:pt x="4505" y="-3146"/>
                    <a:pt x="8209" y="778"/>
                  </a:cubicBezTo>
                  <a:cubicBezTo>
                    <a:pt x="9735" y="2086"/>
                    <a:pt x="10170" y="4484"/>
                    <a:pt x="9081" y="6010"/>
                  </a:cubicBezTo>
                  <a:cubicBezTo>
                    <a:pt x="8209" y="7536"/>
                    <a:pt x="7338" y="11897"/>
                    <a:pt x="7338" y="15385"/>
                  </a:cubicBezTo>
                  <a:cubicBezTo>
                    <a:pt x="7120" y="19963"/>
                    <a:pt x="5812" y="22361"/>
                    <a:pt x="3415" y="22797"/>
                  </a:cubicBezTo>
                  <a:cubicBezTo>
                    <a:pt x="147" y="23451"/>
                    <a:pt x="-507" y="21925"/>
                    <a:pt x="-507" y="15167"/>
                  </a:cubicBezTo>
                  <a:close/>
                </a:path>
              </a:pathLst>
            </a:custGeom>
            <a:grpFill/>
            <a:ln w="218" cap="flat">
              <a:noFill/>
              <a:prstDash val="solid"/>
              <a:miter/>
            </a:ln>
          </p:spPr>
          <p:txBody>
            <a:bodyPr rtlCol="0" anchor="ctr"/>
            <a:lstStyle/>
            <a:p>
              <a:endParaRPr lang="en-GB" dirty="0"/>
            </a:p>
          </p:txBody>
        </p:sp>
        <p:sp>
          <p:nvSpPr>
            <p:cNvPr id="174" name="Freihandform: Form 173">
              <a:extLst>
                <a:ext uri="{FF2B5EF4-FFF2-40B4-BE49-F238E27FC236}">
                  <a16:creationId xmlns:a16="http://schemas.microsoft.com/office/drawing/2014/main" xmlns="" id="{486C0A48-8703-4A30-992C-66A7F93A87D4}"/>
                </a:ext>
              </a:extLst>
            </p:cNvPr>
            <p:cNvSpPr/>
            <p:nvPr/>
          </p:nvSpPr>
          <p:spPr>
            <a:xfrm flipV="1">
              <a:off x="3974947" y="5434292"/>
              <a:ext cx="8346" cy="11044"/>
            </a:xfrm>
            <a:custGeom>
              <a:avLst/>
              <a:gdLst>
                <a:gd name="connsiteX0" fmla="*/ 3349 w 8346"/>
                <a:gd name="connsiteY0" fmla="*/ 11662 h 11044"/>
                <a:gd name="connsiteX1" fmla="*/ 1824 w 8346"/>
                <a:gd name="connsiteY1" fmla="*/ 1198 h 11044"/>
                <a:gd name="connsiteX2" fmla="*/ 7707 w 8346"/>
                <a:gd name="connsiteY2" fmla="*/ 8392 h 11044"/>
                <a:gd name="connsiteX3" fmla="*/ 3349 w 8346"/>
                <a:gd name="connsiteY3" fmla="*/ 11662 h 11044"/>
              </a:gdLst>
              <a:ahLst/>
              <a:cxnLst>
                <a:cxn ang="0">
                  <a:pos x="connsiteX0" y="connsiteY0"/>
                </a:cxn>
                <a:cxn ang="0">
                  <a:pos x="connsiteX1" y="connsiteY1"/>
                </a:cxn>
                <a:cxn ang="0">
                  <a:pos x="connsiteX2" y="connsiteY2"/>
                </a:cxn>
                <a:cxn ang="0">
                  <a:pos x="connsiteX3" y="connsiteY3"/>
                </a:cxn>
              </a:cxnLst>
              <a:rect l="l" t="t" r="r" b="b"/>
              <a:pathLst>
                <a:path w="8346" h="11044">
                  <a:moveTo>
                    <a:pt x="3349" y="11662"/>
                  </a:moveTo>
                  <a:cubicBezTo>
                    <a:pt x="-1009" y="10790"/>
                    <a:pt x="-1881" y="3596"/>
                    <a:pt x="1824" y="1198"/>
                  </a:cubicBezTo>
                  <a:cubicBezTo>
                    <a:pt x="5092" y="-764"/>
                    <a:pt x="8579" y="3378"/>
                    <a:pt x="7707" y="8392"/>
                  </a:cubicBezTo>
                  <a:cubicBezTo>
                    <a:pt x="7271" y="10790"/>
                    <a:pt x="5528" y="12098"/>
                    <a:pt x="3349" y="11662"/>
                  </a:cubicBezTo>
                  <a:close/>
                </a:path>
              </a:pathLst>
            </a:custGeom>
            <a:grpFill/>
            <a:ln w="218" cap="flat">
              <a:noFill/>
              <a:prstDash val="solid"/>
              <a:miter/>
            </a:ln>
          </p:spPr>
          <p:txBody>
            <a:bodyPr rtlCol="0" anchor="ctr"/>
            <a:lstStyle/>
            <a:p>
              <a:endParaRPr lang="en-GB" dirty="0"/>
            </a:p>
          </p:txBody>
        </p:sp>
        <p:sp>
          <p:nvSpPr>
            <p:cNvPr id="175" name="Freihandform: Form 174">
              <a:extLst>
                <a:ext uri="{FF2B5EF4-FFF2-40B4-BE49-F238E27FC236}">
                  <a16:creationId xmlns:a16="http://schemas.microsoft.com/office/drawing/2014/main" xmlns="" id="{48E12B87-4267-4AE0-834F-E717A6DB9C47}"/>
                </a:ext>
              </a:extLst>
            </p:cNvPr>
            <p:cNvSpPr/>
            <p:nvPr/>
          </p:nvSpPr>
          <p:spPr>
            <a:xfrm flipV="1">
              <a:off x="4003205" y="5495853"/>
              <a:ext cx="6537" cy="6540"/>
            </a:xfrm>
            <a:custGeom>
              <a:avLst/>
              <a:gdLst>
                <a:gd name="connsiteX0" fmla="*/ -617 w 6537"/>
                <a:gd name="connsiteY0" fmla="*/ 4270 h 6540"/>
                <a:gd name="connsiteX1" fmla="*/ 2652 w 6537"/>
                <a:gd name="connsiteY1" fmla="*/ 1000 h 6540"/>
                <a:gd name="connsiteX2" fmla="*/ 5921 w 6537"/>
                <a:gd name="connsiteY2" fmla="*/ 4270 h 6540"/>
                <a:gd name="connsiteX3" fmla="*/ 2652 w 6537"/>
                <a:gd name="connsiteY3" fmla="*/ 7540 h 6540"/>
                <a:gd name="connsiteX4" fmla="*/ -617 w 6537"/>
                <a:gd name="connsiteY4" fmla="*/ 4270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7" h="6540">
                  <a:moveTo>
                    <a:pt x="-617" y="4270"/>
                  </a:moveTo>
                  <a:cubicBezTo>
                    <a:pt x="-617" y="2526"/>
                    <a:pt x="909" y="1000"/>
                    <a:pt x="2652" y="1000"/>
                  </a:cubicBezTo>
                  <a:cubicBezTo>
                    <a:pt x="4395" y="1000"/>
                    <a:pt x="5921" y="2526"/>
                    <a:pt x="5921" y="4270"/>
                  </a:cubicBezTo>
                  <a:cubicBezTo>
                    <a:pt x="5921" y="6014"/>
                    <a:pt x="4395" y="7540"/>
                    <a:pt x="2652" y="7540"/>
                  </a:cubicBezTo>
                  <a:cubicBezTo>
                    <a:pt x="909" y="7540"/>
                    <a:pt x="-617" y="6014"/>
                    <a:pt x="-617" y="4270"/>
                  </a:cubicBezTo>
                  <a:close/>
                </a:path>
              </a:pathLst>
            </a:custGeom>
            <a:grpFill/>
            <a:ln w="218" cap="flat">
              <a:noFill/>
              <a:prstDash val="solid"/>
              <a:miter/>
            </a:ln>
          </p:spPr>
          <p:txBody>
            <a:bodyPr rtlCol="0" anchor="ctr"/>
            <a:lstStyle/>
            <a:p>
              <a:endParaRPr lang="en-GB" dirty="0"/>
            </a:p>
          </p:txBody>
        </p:sp>
        <p:sp>
          <p:nvSpPr>
            <p:cNvPr id="176" name="Freihandform: Form 175">
              <a:extLst>
                <a:ext uri="{FF2B5EF4-FFF2-40B4-BE49-F238E27FC236}">
                  <a16:creationId xmlns:a16="http://schemas.microsoft.com/office/drawing/2014/main" xmlns="" id="{4045E152-F6AD-4072-A467-BF8A1EDD6E08}"/>
                </a:ext>
              </a:extLst>
            </p:cNvPr>
            <p:cNvSpPr/>
            <p:nvPr/>
          </p:nvSpPr>
          <p:spPr>
            <a:xfrm flipV="1">
              <a:off x="4007564" y="5511847"/>
              <a:ext cx="4358" cy="5074"/>
            </a:xfrm>
            <a:custGeom>
              <a:avLst/>
              <a:gdLst>
                <a:gd name="connsiteX0" fmla="*/ -630 w 4358"/>
                <a:gd name="connsiteY0" fmla="*/ 4922 h 5074"/>
                <a:gd name="connsiteX1" fmla="*/ 1549 w 4358"/>
                <a:gd name="connsiteY1" fmla="*/ 1434 h 5074"/>
                <a:gd name="connsiteX2" fmla="*/ 3728 w 4358"/>
                <a:gd name="connsiteY2" fmla="*/ 2306 h 5074"/>
                <a:gd name="connsiteX3" fmla="*/ 1549 w 4358"/>
                <a:gd name="connsiteY3" fmla="*/ 5794 h 5074"/>
                <a:gd name="connsiteX4" fmla="*/ -630 w 4358"/>
                <a:gd name="connsiteY4" fmla="*/ 4922 h 5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074">
                  <a:moveTo>
                    <a:pt x="-630" y="4922"/>
                  </a:moveTo>
                  <a:cubicBezTo>
                    <a:pt x="-630" y="3832"/>
                    <a:pt x="460" y="2088"/>
                    <a:pt x="1549" y="1434"/>
                  </a:cubicBezTo>
                  <a:cubicBezTo>
                    <a:pt x="2857" y="780"/>
                    <a:pt x="3728" y="998"/>
                    <a:pt x="3728" y="2306"/>
                  </a:cubicBezTo>
                  <a:cubicBezTo>
                    <a:pt x="3728" y="3396"/>
                    <a:pt x="2857" y="5140"/>
                    <a:pt x="1549" y="5794"/>
                  </a:cubicBezTo>
                  <a:cubicBezTo>
                    <a:pt x="460" y="6448"/>
                    <a:pt x="-630" y="6230"/>
                    <a:pt x="-630" y="4922"/>
                  </a:cubicBezTo>
                  <a:close/>
                </a:path>
              </a:pathLst>
            </a:custGeom>
            <a:grpFill/>
            <a:ln w="218" cap="flat">
              <a:noFill/>
              <a:prstDash val="solid"/>
              <a:miter/>
            </a:ln>
          </p:spPr>
          <p:txBody>
            <a:bodyPr rtlCol="0" anchor="ctr"/>
            <a:lstStyle/>
            <a:p>
              <a:endParaRPr lang="en-GB" dirty="0"/>
            </a:p>
          </p:txBody>
        </p:sp>
        <p:sp>
          <p:nvSpPr>
            <p:cNvPr id="177" name="Freihandform: Form 176">
              <a:extLst>
                <a:ext uri="{FF2B5EF4-FFF2-40B4-BE49-F238E27FC236}">
                  <a16:creationId xmlns:a16="http://schemas.microsoft.com/office/drawing/2014/main" xmlns="" id="{99F1A494-BDE2-4C18-A66C-7C7E386FA67B}"/>
                </a:ext>
              </a:extLst>
            </p:cNvPr>
            <p:cNvSpPr/>
            <p:nvPr/>
          </p:nvSpPr>
          <p:spPr>
            <a:xfrm flipV="1">
              <a:off x="5070509" y="5202712"/>
              <a:ext cx="218350" cy="101480"/>
            </a:xfrm>
            <a:custGeom>
              <a:avLst/>
              <a:gdLst>
                <a:gd name="connsiteX0" fmla="*/ 15246 w 218350"/>
                <a:gd name="connsiteY0" fmla="*/ 97830 h 101480"/>
                <a:gd name="connsiteX1" fmla="*/ 15246 w 218350"/>
                <a:gd name="connsiteY1" fmla="*/ 90200 h 101480"/>
                <a:gd name="connsiteX2" fmla="*/ 5440 w 218350"/>
                <a:gd name="connsiteY2" fmla="*/ 89764 h 101480"/>
                <a:gd name="connsiteX3" fmla="*/ -1097 w 218350"/>
                <a:gd name="connsiteY3" fmla="*/ 88456 h 101480"/>
                <a:gd name="connsiteX4" fmla="*/ -4148 w 218350"/>
                <a:gd name="connsiteY4" fmla="*/ 79300 h 101480"/>
                <a:gd name="connsiteX5" fmla="*/ 3915 w 218350"/>
                <a:gd name="connsiteY5" fmla="*/ 74940 h 101480"/>
                <a:gd name="connsiteX6" fmla="*/ 18950 w 218350"/>
                <a:gd name="connsiteY6" fmla="*/ 63603 h 101480"/>
                <a:gd name="connsiteX7" fmla="*/ 22437 w 218350"/>
                <a:gd name="connsiteY7" fmla="*/ 60987 h 101480"/>
                <a:gd name="connsiteX8" fmla="*/ 24398 w 218350"/>
                <a:gd name="connsiteY8" fmla="*/ 54447 h 101480"/>
                <a:gd name="connsiteX9" fmla="*/ 26577 w 218350"/>
                <a:gd name="connsiteY9" fmla="*/ 42020 h 101480"/>
                <a:gd name="connsiteX10" fmla="*/ 41177 w 218350"/>
                <a:gd name="connsiteY10" fmla="*/ 37442 h 101480"/>
                <a:gd name="connsiteX11" fmla="*/ 53162 w 218350"/>
                <a:gd name="connsiteY11" fmla="*/ 34608 h 101480"/>
                <a:gd name="connsiteX12" fmla="*/ 65365 w 218350"/>
                <a:gd name="connsiteY12" fmla="*/ 30248 h 101480"/>
                <a:gd name="connsiteX13" fmla="*/ 64275 w 218350"/>
                <a:gd name="connsiteY13" fmla="*/ 24362 h 101480"/>
                <a:gd name="connsiteX14" fmla="*/ 64493 w 218350"/>
                <a:gd name="connsiteY14" fmla="*/ 13679 h 101480"/>
                <a:gd name="connsiteX15" fmla="*/ 75170 w 218350"/>
                <a:gd name="connsiteY15" fmla="*/ 3869 h 101480"/>
                <a:gd name="connsiteX16" fmla="*/ 82797 w 218350"/>
                <a:gd name="connsiteY16" fmla="*/ 13025 h 101480"/>
                <a:gd name="connsiteX17" fmla="*/ 98922 w 218350"/>
                <a:gd name="connsiteY17" fmla="*/ 27196 h 101480"/>
                <a:gd name="connsiteX18" fmla="*/ 106549 w 218350"/>
                <a:gd name="connsiteY18" fmla="*/ 35916 h 101480"/>
                <a:gd name="connsiteX19" fmla="*/ 102845 w 218350"/>
                <a:gd name="connsiteY19" fmla="*/ 20002 h 101480"/>
                <a:gd name="connsiteX20" fmla="*/ 103498 w 218350"/>
                <a:gd name="connsiteY20" fmla="*/ 10845 h 101480"/>
                <a:gd name="connsiteX21" fmla="*/ 117880 w 218350"/>
                <a:gd name="connsiteY21" fmla="*/ 24362 h 101480"/>
                <a:gd name="connsiteX22" fmla="*/ 123110 w 218350"/>
                <a:gd name="connsiteY22" fmla="*/ 31556 h 101480"/>
                <a:gd name="connsiteX23" fmla="*/ 127904 w 218350"/>
                <a:gd name="connsiteY23" fmla="*/ 37442 h 101480"/>
                <a:gd name="connsiteX24" fmla="*/ 133352 w 218350"/>
                <a:gd name="connsiteY24" fmla="*/ 44855 h 101480"/>
                <a:gd name="connsiteX25" fmla="*/ 134005 w 218350"/>
                <a:gd name="connsiteY25" fmla="*/ 51831 h 101480"/>
                <a:gd name="connsiteX26" fmla="*/ 128340 w 218350"/>
                <a:gd name="connsiteY26" fmla="*/ 56191 h 101480"/>
                <a:gd name="connsiteX27" fmla="*/ 136620 w 218350"/>
                <a:gd name="connsiteY27" fmla="*/ 64039 h 101480"/>
                <a:gd name="connsiteX28" fmla="*/ 149913 w 218350"/>
                <a:gd name="connsiteY28" fmla="*/ 62077 h 101480"/>
                <a:gd name="connsiteX29" fmla="*/ 158629 w 218350"/>
                <a:gd name="connsiteY29" fmla="*/ 60769 h 101480"/>
                <a:gd name="connsiteX30" fmla="*/ 156450 w 218350"/>
                <a:gd name="connsiteY30" fmla="*/ 50087 h 101480"/>
                <a:gd name="connsiteX31" fmla="*/ 156232 w 218350"/>
                <a:gd name="connsiteY31" fmla="*/ 39186 h 101480"/>
                <a:gd name="connsiteX32" fmla="*/ 161680 w 218350"/>
                <a:gd name="connsiteY32" fmla="*/ 28286 h 101480"/>
                <a:gd name="connsiteX33" fmla="*/ 165166 w 218350"/>
                <a:gd name="connsiteY33" fmla="*/ 25016 h 101480"/>
                <a:gd name="connsiteX34" fmla="*/ 176933 w 218350"/>
                <a:gd name="connsiteY34" fmla="*/ 26978 h 101480"/>
                <a:gd name="connsiteX35" fmla="*/ 185867 w 218350"/>
                <a:gd name="connsiteY35" fmla="*/ 28722 h 101480"/>
                <a:gd name="connsiteX36" fmla="*/ 191097 w 218350"/>
                <a:gd name="connsiteY36" fmla="*/ 23708 h 101480"/>
                <a:gd name="connsiteX37" fmla="*/ 195237 w 218350"/>
                <a:gd name="connsiteY37" fmla="*/ 14988 h 101480"/>
                <a:gd name="connsiteX38" fmla="*/ 202646 w 218350"/>
                <a:gd name="connsiteY38" fmla="*/ 12589 h 101480"/>
                <a:gd name="connsiteX39" fmla="*/ 207222 w 218350"/>
                <a:gd name="connsiteY39" fmla="*/ 11499 h 101480"/>
                <a:gd name="connsiteX40" fmla="*/ 210709 w 218350"/>
                <a:gd name="connsiteY40" fmla="*/ 10845 h 101480"/>
                <a:gd name="connsiteX41" fmla="*/ 194366 w 218350"/>
                <a:gd name="connsiteY41" fmla="*/ 29158 h 101480"/>
                <a:gd name="connsiteX42" fmla="*/ 197634 w 218350"/>
                <a:gd name="connsiteY42" fmla="*/ 37660 h 101480"/>
                <a:gd name="connsiteX43" fmla="*/ 201339 w 218350"/>
                <a:gd name="connsiteY43" fmla="*/ 48779 h 101480"/>
                <a:gd name="connsiteX44" fmla="*/ 193712 w 218350"/>
                <a:gd name="connsiteY44" fmla="*/ 50305 h 101480"/>
                <a:gd name="connsiteX45" fmla="*/ 186303 w 218350"/>
                <a:gd name="connsiteY45" fmla="*/ 53793 h 101480"/>
                <a:gd name="connsiteX46" fmla="*/ 177369 w 218350"/>
                <a:gd name="connsiteY46" fmla="*/ 60551 h 101480"/>
                <a:gd name="connsiteX47" fmla="*/ 169089 w 218350"/>
                <a:gd name="connsiteY47" fmla="*/ 65565 h 101480"/>
                <a:gd name="connsiteX48" fmla="*/ 163205 w 218350"/>
                <a:gd name="connsiteY48" fmla="*/ 68835 h 101480"/>
                <a:gd name="connsiteX49" fmla="*/ 163641 w 218350"/>
                <a:gd name="connsiteY49" fmla="*/ 70797 h 101480"/>
                <a:gd name="connsiteX50" fmla="*/ 183470 w 218350"/>
                <a:gd name="connsiteY50" fmla="*/ 69053 h 101480"/>
                <a:gd name="connsiteX51" fmla="*/ 197199 w 218350"/>
                <a:gd name="connsiteY51" fmla="*/ 63603 h 101480"/>
                <a:gd name="connsiteX52" fmla="*/ 212888 w 218350"/>
                <a:gd name="connsiteY52" fmla="*/ 71233 h 101480"/>
                <a:gd name="connsiteX53" fmla="*/ 204825 w 218350"/>
                <a:gd name="connsiteY53" fmla="*/ 73414 h 101480"/>
                <a:gd name="connsiteX54" fmla="*/ 181291 w 218350"/>
                <a:gd name="connsiteY54" fmla="*/ 85404 h 101480"/>
                <a:gd name="connsiteX55" fmla="*/ 172793 w 218350"/>
                <a:gd name="connsiteY55" fmla="*/ 87802 h 101480"/>
                <a:gd name="connsiteX56" fmla="*/ 164077 w 218350"/>
                <a:gd name="connsiteY56" fmla="*/ 92380 h 101480"/>
                <a:gd name="connsiteX57" fmla="*/ 153399 w 218350"/>
                <a:gd name="connsiteY57" fmla="*/ 94124 h 101480"/>
                <a:gd name="connsiteX58" fmla="*/ 154707 w 218350"/>
                <a:gd name="connsiteY58" fmla="*/ 85622 h 101480"/>
                <a:gd name="connsiteX59" fmla="*/ 162551 w 218350"/>
                <a:gd name="connsiteY59" fmla="*/ 85186 h 101480"/>
                <a:gd name="connsiteX60" fmla="*/ 162333 w 218350"/>
                <a:gd name="connsiteY60" fmla="*/ 78210 h 101480"/>
                <a:gd name="connsiteX61" fmla="*/ 159283 w 218350"/>
                <a:gd name="connsiteY61" fmla="*/ 72323 h 101480"/>
                <a:gd name="connsiteX62" fmla="*/ 148387 w 218350"/>
                <a:gd name="connsiteY62" fmla="*/ 74068 h 101480"/>
                <a:gd name="connsiteX63" fmla="*/ 129647 w 218350"/>
                <a:gd name="connsiteY63" fmla="*/ 72759 h 101480"/>
                <a:gd name="connsiteX64" fmla="*/ 122456 w 218350"/>
                <a:gd name="connsiteY64" fmla="*/ 67527 h 101480"/>
                <a:gd name="connsiteX65" fmla="*/ 114830 w 218350"/>
                <a:gd name="connsiteY65" fmla="*/ 62077 h 101480"/>
                <a:gd name="connsiteX66" fmla="*/ 116137 w 218350"/>
                <a:gd name="connsiteY66" fmla="*/ 67745 h 101480"/>
                <a:gd name="connsiteX67" fmla="*/ 115919 w 218350"/>
                <a:gd name="connsiteY67" fmla="*/ 76248 h 101480"/>
                <a:gd name="connsiteX68" fmla="*/ 119188 w 218350"/>
                <a:gd name="connsiteY68" fmla="*/ 87148 h 101480"/>
                <a:gd name="connsiteX69" fmla="*/ 123546 w 218350"/>
                <a:gd name="connsiteY69" fmla="*/ 92598 h 101480"/>
                <a:gd name="connsiteX70" fmla="*/ 118534 w 218350"/>
                <a:gd name="connsiteY70" fmla="*/ 98048 h 101480"/>
                <a:gd name="connsiteX71" fmla="*/ 106985 w 218350"/>
                <a:gd name="connsiteY71" fmla="*/ 77774 h 101480"/>
                <a:gd name="connsiteX72" fmla="*/ 96743 w 218350"/>
                <a:gd name="connsiteY72" fmla="*/ 71451 h 101480"/>
                <a:gd name="connsiteX73" fmla="*/ 83233 w 218350"/>
                <a:gd name="connsiteY73" fmla="*/ 66873 h 101480"/>
                <a:gd name="connsiteX74" fmla="*/ 85848 w 218350"/>
                <a:gd name="connsiteY74" fmla="*/ 56191 h 101480"/>
                <a:gd name="connsiteX75" fmla="*/ 89770 w 218350"/>
                <a:gd name="connsiteY75" fmla="*/ 47907 h 101480"/>
                <a:gd name="connsiteX76" fmla="*/ 100230 w 218350"/>
                <a:gd name="connsiteY76" fmla="*/ 58589 h 101480"/>
                <a:gd name="connsiteX77" fmla="*/ 111561 w 218350"/>
                <a:gd name="connsiteY77" fmla="*/ 58807 h 101480"/>
                <a:gd name="connsiteX78" fmla="*/ 118098 w 218350"/>
                <a:gd name="connsiteY78" fmla="*/ 45727 h 101480"/>
                <a:gd name="connsiteX79" fmla="*/ 113740 w 218350"/>
                <a:gd name="connsiteY79" fmla="*/ 41802 h 101480"/>
                <a:gd name="connsiteX80" fmla="*/ 99576 w 218350"/>
                <a:gd name="connsiteY80" fmla="*/ 40276 h 101480"/>
                <a:gd name="connsiteX81" fmla="*/ 92385 w 218350"/>
                <a:gd name="connsiteY81" fmla="*/ 34608 h 101480"/>
                <a:gd name="connsiteX82" fmla="*/ 86066 w 218350"/>
                <a:gd name="connsiteY82" fmla="*/ 28940 h 101480"/>
                <a:gd name="connsiteX83" fmla="*/ 80836 w 218350"/>
                <a:gd name="connsiteY83" fmla="*/ 20002 h 101480"/>
                <a:gd name="connsiteX84" fmla="*/ 76260 w 218350"/>
                <a:gd name="connsiteY84" fmla="*/ 28286 h 101480"/>
                <a:gd name="connsiteX85" fmla="*/ 67762 w 218350"/>
                <a:gd name="connsiteY85" fmla="*/ 38968 h 101480"/>
                <a:gd name="connsiteX86" fmla="*/ 61224 w 218350"/>
                <a:gd name="connsiteY86" fmla="*/ 40276 h 101480"/>
                <a:gd name="connsiteX87" fmla="*/ 58174 w 218350"/>
                <a:gd name="connsiteY87" fmla="*/ 46163 h 101480"/>
                <a:gd name="connsiteX88" fmla="*/ 49675 w 218350"/>
                <a:gd name="connsiteY88" fmla="*/ 44201 h 101480"/>
                <a:gd name="connsiteX89" fmla="*/ 44663 w 218350"/>
                <a:gd name="connsiteY89" fmla="*/ 43110 h 101480"/>
                <a:gd name="connsiteX90" fmla="*/ 51636 w 218350"/>
                <a:gd name="connsiteY90" fmla="*/ 54447 h 101480"/>
                <a:gd name="connsiteX91" fmla="*/ 52290 w 218350"/>
                <a:gd name="connsiteY91" fmla="*/ 62731 h 101480"/>
                <a:gd name="connsiteX92" fmla="*/ 42920 w 218350"/>
                <a:gd name="connsiteY92" fmla="*/ 58153 h 101480"/>
                <a:gd name="connsiteX93" fmla="*/ 37037 w 218350"/>
                <a:gd name="connsiteY93" fmla="*/ 50741 h 101480"/>
                <a:gd name="connsiteX94" fmla="*/ 31371 w 218350"/>
                <a:gd name="connsiteY94" fmla="*/ 60769 h 101480"/>
                <a:gd name="connsiteX95" fmla="*/ 43574 w 218350"/>
                <a:gd name="connsiteY95" fmla="*/ 75812 h 101480"/>
                <a:gd name="connsiteX96" fmla="*/ 44663 w 218350"/>
                <a:gd name="connsiteY96" fmla="*/ 83006 h 101480"/>
                <a:gd name="connsiteX97" fmla="*/ 37473 w 218350"/>
                <a:gd name="connsiteY97" fmla="*/ 77556 h 101480"/>
                <a:gd name="connsiteX98" fmla="*/ 22437 w 218350"/>
                <a:gd name="connsiteY98" fmla="*/ 75376 h 101480"/>
                <a:gd name="connsiteX99" fmla="*/ 21347 w 218350"/>
                <a:gd name="connsiteY99" fmla="*/ 83006 h 101480"/>
                <a:gd name="connsiteX100" fmla="*/ 25488 w 218350"/>
                <a:gd name="connsiteY100" fmla="*/ 86058 h 101480"/>
                <a:gd name="connsiteX101" fmla="*/ 30717 w 218350"/>
                <a:gd name="connsiteY101" fmla="*/ 86276 h 101480"/>
                <a:gd name="connsiteX102" fmla="*/ 31589 w 218350"/>
                <a:gd name="connsiteY102" fmla="*/ 96740 h 101480"/>
                <a:gd name="connsiteX103" fmla="*/ 21347 w 218350"/>
                <a:gd name="connsiteY103" fmla="*/ 99792 h 101480"/>
                <a:gd name="connsiteX104" fmla="*/ 15246 w 218350"/>
                <a:gd name="connsiteY104" fmla="*/ 97830 h 101480"/>
                <a:gd name="connsiteX105" fmla="*/ 183253 w 218350"/>
                <a:gd name="connsiteY105" fmla="*/ 47471 h 101480"/>
                <a:gd name="connsiteX106" fmla="*/ 185650 w 218350"/>
                <a:gd name="connsiteY106" fmla="*/ 38096 h 101480"/>
                <a:gd name="connsiteX107" fmla="*/ 183035 w 218350"/>
                <a:gd name="connsiteY107" fmla="*/ 35262 h 101480"/>
                <a:gd name="connsiteX108" fmla="*/ 174100 w 218350"/>
                <a:gd name="connsiteY108" fmla="*/ 37660 h 101480"/>
                <a:gd name="connsiteX109" fmla="*/ 167999 w 218350"/>
                <a:gd name="connsiteY109" fmla="*/ 46817 h 101480"/>
                <a:gd name="connsiteX110" fmla="*/ 183253 w 218350"/>
                <a:gd name="connsiteY110" fmla="*/ 47471 h 101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18350" h="101480">
                  <a:moveTo>
                    <a:pt x="15246" y="97830"/>
                  </a:moveTo>
                  <a:cubicBezTo>
                    <a:pt x="15900" y="95214"/>
                    <a:pt x="15900" y="91944"/>
                    <a:pt x="15246" y="90200"/>
                  </a:cubicBezTo>
                  <a:cubicBezTo>
                    <a:pt x="13939" y="86494"/>
                    <a:pt x="6530" y="86058"/>
                    <a:pt x="5440" y="89764"/>
                  </a:cubicBezTo>
                  <a:cubicBezTo>
                    <a:pt x="4786" y="91290"/>
                    <a:pt x="2825" y="91072"/>
                    <a:pt x="-1097" y="88456"/>
                  </a:cubicBezTo>
                  <a:cubicBezTo>
                    <a:pt x="-6109" y="85186"/>
                    <a:pt x="-6327" y="84096"/>
                    <a:pt x="-4148" y="79300"/>
                  </a:cubicBezTo>
                  <a:cubicBezTo>
                    <a:pt x="-2187" y="74940"/>
                    <a:pt x="-661" y="74068"/>
                    <a:pt x="3915" y="74940"/>
                  </a:cubicBezTo>
                  <a:cubicBezTo>
                    <a:pt x="9798" y="76030"/>
                    <a:pt x="18950" y="69053"/>
                    <a:pt x="18950" y="63603"/>
                  </a:cubicBezTo>
                  <a:cubicBezTo>
                    <a:pt x="18950" y="62077"/>
                    <a:pt x="20476" y="60987"/>
                    <a:pt x="22437" y="60987"/>
                  </a:cubicBezTo>
                  <a:cubicBezTo>
                    <a:pt x="25052" y="60987"/>
                    <a:pt x="25488" y="59461"/>
                    <a:pt x="24398" y="54447"/>
                  </a:cubicBezTo>
                  <a:cubicBezTo>
                    <a:pt x="23309" y="49869"/>
                    <a:pt x="24180" y="45945"/>
                    <a:pt x="26577" y="42020"/>
                  </a:cubicBezTo>
                  <a:cubicBezTo>
                    <a:pt x="29846" y="37006"/>
                    <a:pt x="31371" y="36570"/>
                    <a:pt x="41177" y="37442"/>
                  </a:cubicBezTo>
                  <a:cubicBezTo>
                    <a:pt x="50547" y="38532"/>
                    <a:pt x="52290" y="38096"/>
                    <a:pt x="53162" y="34608"/>
                  </a:cubicBezTo>
                  <a:cubicBezTo>
                    <a:pt x="54251" y="31120"/>
                    <a:pt x="59263" y="29158"/>
                    <a:pt x="65365" y="30248"/>
                  </a:cubicBezTo>
                  <a:cubicBezTo>
                    <a:pt x="67762" y="30684"/>
                    <a:pt x="67108" y="27196"/>
                    <a:pt x="64275" y="24362"/>
                  </a:cubicBezTo>
                  <a:cubicBezTo>
                    <a:pt x="62314" y="22400"/>
                    <a:pt x="62314" y="20002"/>
                    <a:pt x="64493" y="13679"/>
                  </a:cubicBezTo>
                  <a:cubicBezTo>
                    <a:pt x="68633" y="2125"/>
                    <a:pt x="76696" y="-5287"/>
                    <a:pt x="75170" y="3869"/>
                  </a:cubicBezTo>
                  <a:cubicBezTo>
                    <a:pt x="74299" y="9319"/>
                    <a:pt x="77350" y="13025"/>
                    <a:pt x="82797" y="13025"/>
                  </a:cubicBezTo>
                  <a:cubicBezTo>
                    <a:pt x="89117" y="13243"/>
                    <a:pt x="93039" y="16732"/>
                    <a:pt x="98922" y="27196"/>
                  </a:cubicBezTo>
                  <a:cubicBezTo>
                    <a:pt x="101537" y="31992"/>
                    <a:pt x="105024" y="35916"/>
                    <a:pt x="106549" y="35916"/>
                  </a:cubicBezTo>
                  <a:cubicBezTo>
                    <a:pt x="111125" y="35916"/>
                    <a:pt x="108728" y="25452"/>
                    <a:pt x="102845" y="20002"/>
                  </a:cubicBezTo>
                  <a:cubicBezTo>
                    <a:pt x="95654" y="13461"/>
                    <a:pt x="95872" y="10845"/>
                    <a:pt x="103498" y="10845"/>
                  </a:cubicBezTo>
                  <a:cubicBezTo>
                    <a:pt x="110689" y="10845"/>
                    <a:pt x="117445" y="17168"/>
                    <a:pt x="117880" y="24362"/>
                  </a:cubicBezTo>
                  <a:cubicBezTo>
                    <a:pt x="118098" y="27414"/>
                    <a:pt x="120059" y="30248"/>
                    <a:pt x="123110" y="31556"/>
                  </a:cubicBezTo>
                  <a:cubicBezTo>
                    <a:pt x="125725" y="32646"/>
                    <a:pt x="127904" y="35480"/>
                    <a:pt x="127904" y="37442"/>
                  </a:cubicBezTo>
                  <a:cubicBezTo>
                    <a:pt x="127904" y="39622"/>
                    <a:pt x="130301" y="42892"/>
                    <a:pt x="133352" y="44855"/>
                  </a:cubicBezTo>
                  <a:cubicBezTo>
                    <a:pt x="140107" y="49215"/>
                    <a:pt x="140325" y="52703"/>
                    <a:pt x="134005" y="51831"/>
                  </a:cubicBezTo>
                  <a:cubicBezTo>
                    <a:pt x="130083" y="51395"/>
                    <a:pt x="128776" y="52485"/>
                    <a:pt x="128340" y="56191"/>
                  </a:cubicBezTo>
                  <a:cubicBezTo>
                    <a:pt x="127032" y="65783"/>
                    <a:pt x="128994" y="67745"/>
                    <a:pt x="136620" y="64039"/>
                  </a:cubicBezTo>
                  <a:cubicBezTo>
                    <a:pt x="140761" y="61859"/>
                    <a:pt x="145555" y="61205"/>
                    <a:pt x="149913" y="62077"/>
                  </a:cubicBezTo>
                  <a:cubicBezTo>
                    <a:pt x="154707" y="63167"/>
                    <a:pt x="157322" y="62731"/>
                    <a:pt x="158629" y="60769"/>
                  </a:cubicBezTo>
                  <a:cubicBezTo>
                    <a:pt x="161898" y="55319"/>
                    <a:pt x="160808" y="50087"/>
                    <a:pt x="156450" y="50087"/>
                  </a:cubicBezTo>
                  <a:cubicBezTo>
                    <a:pt x="148823" y="50087"/>
                    <a:pt x="148823" y="45291"/>
                    <a:pt x="156232" y="39186"/>
                  </a:cubicBezTo>
                  <a:cubicBezTo>
                    <a:pt x="161898" y="34608"/>
                    <a:pt x="162987" y="32428"/>
                    <a:pt x="161680" y="28286"/>
                  </a:cubicBezTo>
                  <a:cubicBezTo>
                    <a:pt x="160154" y="23708"/>
                    <a:pt x="160590" y="23490"/>
                    <a:pt x="165166" y="25016"/>
                  </a:cubicBezTo>
                  <a:cubicBezTo>
                    <a:pt x="167999" y="25888"/>
                    <a:pt x="173447" y="26760"/>
                    <a:pt x="176933" y="26978"/>
                  </a:cubicBezTo>
                  <a:cubicBezTo>
                    <a:pt x="180638" y="27196"/>
                    <a:pt x="184560" y="28068"/>
                    <a:pt x="185867" y="28722"/>
                  </a:cubicBezTo>
                  <a:cubicBezTo>
                    <a:pt x="188918" y="30684"/>
                    <a:pt x="191097" y="28722"/>
                    <a:pt x="191097" y="23708"/>
                  </a:cubicBezTo>
                  <a:cubicBezTo>
                    <a:pt x="191097" y="21746"/>
                    <a:pt x="192840" y="17822"/>
                    <a:pt x="195237" y="14988"/>
                  </a:cubicBezTo>
                  <a:cubicBezTo>
                    <a:pt x="198506" y="10845"/>
                    <a:pt x="199814" y="10409"/>
                    <a:pt x="202646" y="12589"/>
                  </a:cubicBezTo>
                  <a:cubicBezTo>
                    <a:pt x="205261" y="14769"/>
                    <a:pt x="206133" y="14551"/>
                    <a:pt x="207222" y="11499"/>
                  </a:cubicBezTo>
                  <a:cubicBezTo>
                    <a:pt x="208530" y="8447"/>
                    <a:pt x="209184" y="8229"/>
                    <a:pt x="210709" y="10845"/>
                  </a:cubicBezTo>
                  <a:cubicBezTo>
                    <a:pt x="212670" y="13897"/>
                    <a:pt x="205697" y="21746"/>
                    <a:pt x="194366" y="29158"/>
                  </a:cubicBezTo>
                  <a:cubicBezTo>
                    <a:pt x="187829" y="33518"/>
                    <a:pt x="188700" y="35916"/>
                    <a:pt x="197634" y="37660"/>
                  </a:cubicBezTo>
                  <a:cubicBezTo>
                    <a:pt x="204607" y="39186"/>
                    <a:pt x="205915" y="42674"/>
                    <a:pt x="201339" y="48779"/>
                  </a:cubicBezTo>
                  <a:cubicBezTo>
                    <a:pt x="198942" y="52049"/>
                    <a:pt x="197634" y="52267"/>
                    <a:pt x="193712" y="50305"/>
                  </a:cubicBezTo>
                  <a:cubicBezTo>
                    <a:pt x="189790" y="48125"/>
                    <a:pt x="188700" y="48561"/>
                    <a:pt x="186303" y="53793"/>
                  </a:cubicBezTo>
                  <a:cubicBezTo>
                    <a:pt x="184342" y="57935"/>
                    <a:pt x="181509" y="60115"/>
                    <a:pt x="177369" y="60551"/>
                  </a:cubicBezTo>
                  <a:cubicBezTo>
                    <a:pt x="174100" y="60987"/>
                    <a:pt x="170396" y="63167"/>
                    <a:pt x="169089" y="65565"/>
                  </a:cubicBezTo>
                  <a:cubicBezTo>
                    <a:pt x="167563" y="68399"/>
                    <a:pt x="165384" y="69489"/>
                    <a:pt x="163205" y="68835"/>
                  </a:cubicBezTo>
                  <a:cubicBezTo>
                    <a:pt x="160372" y="67745"/>
                    <a:pt x="160590" y="68399"/>
                    <a:pt x="163641" y="70797"/>
                  </a:cubicBezTo>
                  <a:cubicBezTo>
                    <a:pt x="170178" y="75812"/>
                    <a:pt x="179548" y="74940"/>
                    <a:pt x="183470" y="69053"/>
                  </a:cubicBezTo>
                  <a:cubicBezTo>
                    <a:pt x="186085" y="64911"/>
                    <a:pt x="188700" y="63821"/>
                    <a:pt x="197199" y="63603"/>
                  </a:cubicBezTo>
                  <a:cubicBezTo>
                    <a:pt x="207876" y="63603"/>
                    <a:pt x="212888" y="66001"/>
                    <a:pt x="212888" y="71233"/>
                  </a:cubicBezTo>
                  <a:cubicBezTo>
                    <a:pt x="212888" y="73850"/>
                    <a:pt x="210927" y="74286"/>
                    <a:pt x="204825" y="73414"/>
                  </a:cubicBezTo>
                  <a:cubicBezTo>
                    <a:pt x="195673" y="72323"/>
                    <a:pt x="183470" y="78646"/>
                    <a:pt x="181291" y="85404"/>
                  </a:cubicBezTo>
                  <a:cubicBezTo>
                    <a:pt x="180202" y="88238"/>
                    <a:pt x="178241" y="88674"/>
                    <a:pt x="172793" y="87802"/>
                  </a:cubicBezTo>
                  <a:cubicBezTo>
                    <a:pt x="166256" y="86712"/>
                    <a:pt x="165384" y="87366"/>
                    <a:pt x="164077" y="92380"/>
                  </a:cubicBezTo>
                  <a:cubicBezTo>
                    <a:pt x="162551" y="98920"/>
                    <a:pt x="158411" y="99574"/>
                    <a:pt x="153399" y="94124"/>
                  </a:cubicBezTo>
                  <a:cubicBezTo>
                    <a:pt x="147952" y="88238"/>
                    <a:pt x="148605" y="84314"/>
                    <a:pt x="154707" y="85622"/>
                  </a:cubicBezTo>
                  <a:cubicBezTo>
                    <a:pt x="157322" y="86494"/>
                    <a:pt x="160808" y="86058"/>
                    <a:pt x="162551" y="85186"/>
                  </a:cubicBezTo>
                  <a:cubicBezTo>
                    <a:pt x="164948" y="83660"/>
                    <a:pt x="164948" y="82570"/>
                    <a:pt x="162333" y="78210"/>
                  </a:cubicBezTo>
                  <a:cubicBezTo>
                    <a:pt x="160808" y="75376"/>
                    <a:pt x="159283" y="72759"/>
                    <a:pt x="159283" y="72323"/>
                  </a:cubicBezTo>
                  <a:cubicBezTo>
                    <a:pt x="159065" y="72105"/>
                    <a:pt x="154271" y="72759"/>
                    <a:pt x="148387" y="74068"/>
                  </a:cubicBezTo>
                  <a:cubicBezTo>
                    <a:pt x="139671" y="76030"/>
                    <a:pt x="136402" y="75812"/>
                    <a:pt x="129647" y="72759"/>
                  </a:cubicBezTo>
                  <a:cubicBezTo>
                    <a:pt x="125071" y="70797"/>
                    <a:pt x="122021" y="68399"/>
                    <a:pt x="122456" y="67527"/>
                  </a:cubicBezTo>
                  <a:cubicBezTo>
                    <a:pt x="123982" y="64911"/>
                    <a:pt x="117445" y="60333"/>
                    <a:pt x="114830" y="62077"/>
                  </a:cubicBezTo>
                  <a:cubicBezTo>
                    <a:pt x="113086" y="63167"/>
                    <a:pt x="113522" y="64911"/>
                    <a:pt x="116137" y="67745"/>
                  </a:cubicBezTo>
                  <a:cubicBezTo>
                    <a:pt x="119624" y="71669"/>
                    <a:pt x="119624" y="72105"/>
                    <a:pt x="115919" y="76248"/>
                  </a:cubicBezTo>
                  <a:cubicBezTo>
                    <a:pt x="111343" y="81262"/>
                    <a:pt x="113086" y="87148"/>
                    <a:pt x="119188" y="87148"/>
                  </a:cubicBezTo>
                  <a:cubicBezTo>
                    <a:pt x="122456" y="87148"/>
                    <a:pt x="123546" y="88674"/>
                    <a:pt x="123546" y="92598"/>
                  </a:cubicBezTo>
                  <a:cubicBezTo>
                    <a:pt x="123546" y="96740"/>
                    <a:pt x="122456" y="98048"/>
                    <a:pt x="118534" y="98048"/>
                  </a:cubicBezTo>
                  <a:cubicBezTo>
                    <a:pt x="113304" y="98048"/>
                    <a:pt x="109600" y="91726"/>
                    <a:pt x="106985" y="77774"/>
                  </a:cubicBezTo>
                  <a:cubicBezTo>
                    <a:pt x="105242" y="67527"/>
                    <a:pt x="102627" y="66001"/>
                    <a:pt x="96743" y="71451"/>
                  </a:cubicBezTo>
                  <a:cubicBezTo>
                    <a:pt x="90206" y="77338"/>
                    <a:pt x="80836" y="74286"/>
                    <a:pt x="83233" y="66873"/>
                  </a:cubicBezTo>
                  <a:cubicBezTo>
                    <a:pt x="84105" y="64257"/>
                    <a:pt x="85194" y="59461"/>
                    <a:pt x="85848" y="56191"/>
                  </a:cubicBezTo>
                  <a:cubicBezTo>
                    <a:pt x="86502" y="52921"/>
                    <a:pt x="88245" y="49215"/>
                    <a:pt x="89770" y="47907"/>
                  </a:cubicBezTo>
                  <a:cubicBezTo>
                    <a:pt x="93911" y="44419"/>
                    <a:pt x="101755" y="52485"/>
                    <a:pt x="100230" y="58589"/>
                  </a:cubicBezTo>
                  <a:cubicBezTo>
                    <a:pt x="98704" y="64475"/>
                    <a:pt x="102845" y="64475"/>
                    <a:pt x="111561" y="58807"/>
                  </a:cubicBezTo>
                  <a:cubicBezTo>
                    <a:pt x="116791" y="55319"/>
                    <a:pt x="117880" y="53139"/>
                    <a:pt x="118098" y="45727"/>
                  </a:cubicBezTo>
                  <a:cubicBezTo>
                    <a:pt x="118316" y="35916"/>
                    <a:pt x="117009" y="34608"/>
                    <a:pt x="113740" y="41802"/>
                  </a:cubicBezTo>
                  <a:cubicBezTo>
                    <a:pt x="110254" y="49651"/>
                    <a:pt x="105024" y="48997"/>
                    <a:pt x="99576" y="40276"/>
                  </a:cubicBezTo>
                  <a:cubicBezTo>
                    <a:pt x="96090" y="34608"/>
                    <a:pt x="93911" y="33082"/>
                    <a:pt x="92385" y="34608"/>
                  </a:cubicBezTo>
                  <a:cubicBezTo>
                    <a:pt x="88245" y="38750"/>
                    <a:pt x="86720" y="37224"/>
                    <a:pt x="86066" y="28940"/>
                  </a:cubicBezTo>
                  <a:cubicBezTo>
                    <a:pt x="85630" y="22400"/>
                    <a:pt x="84323" y="20438"/>
                    <a:pt x="80836" y="20002"/>
                  </a:cubicBezTo>
                  <a:cubicBezTo>
                    <a:pt x="76696" y="19348"/>
                    <a:pt x="76260" y="20438"/>
                    <a:pt x="76260" y="28286"/>
                  </a:cubicBezTo>
                  <a:cubicBezTo>
                    <a:pt x="76260" y="39186"/>
                    <a:pt x="72991" y="43328"/>
                    <a:pt x="67762" y="38968"/>
                  </a:cubicBezTo>
                  <a:cubicBezTo>
                    <a:pt x="64711" y="36570"/>
                    <a:pt x="63839" y="36570"/>
                    <a:pt x="61224" y="40276"/>
                  </a:cubicBezTo>
                  <a:cubicBezTo>
                    <a:pt x="59481" y="42456"/>
                    <a:pt x="58174" y="45073"/>
                    <a:pt x="58174" y="46163"/>
                  </a:cubicBezTo>
                  <a:cubicBezTo>
                    <a:pt x="58174" y="49433"/>
                    <a:pt x="51854" y="47907"/>
                    <a:pt x="49675" y="44201"/>
                  </a:cubicBezTo>
                  <a:cubicBezTo>
                    <a:pt x="47932" y="40930"/>
                    <a:pt x="47060" y="40712"/>
                    <a:pt x="44663" y="43110"/>
                  </a:cubicBezTo>
                  <a:cubicBezTo>
                    <a:pt x="40959" y="46817"/>
                    <a:pt x="44663" y="52921"/>
                    <a:pt x="51636" y="54447"/>
                  </a:cubicBezTo>
                  <a:cubicBezTo>
                    <a:pt x="59045" y="56191"/>
                    <a:pt x="59263" y="60333"/>
                    <a:pt x="52290" y="62731"/>
                  </a:cubicBezTo>
                  <a:cubicBezTo>
                    <a:pt x="46843" y="64475"/>
                    <a:pt x="45971" y="64039"/>
                    <a:pt x="42920" y="58153"/>
                  </a:cubicBezTo>
                  <a:cubicBezTo>
                    <a:pt x="41177" y="54447"/>
                    <a:pt x="38562" y="51177"/>
                    <a:pt x="37037" y="50741"/>
                  </a:cubicBezTo>
                  <a:cubicBezTo>
                    <a:pt x="33768" y="49651"/>
                    <a:pt x="28538" y="58807"/>
                    <a:pt x="31371" y="60769"/>
                  </a:cubicBezTo>
                  <a:cubicBezTo>
                    <a:pt x="40523" y="66873"/>
                    <a:pt x="42702" y="69707"/>
                    <a:pt x="43574" y="75812"/>
                  </a:cubicBezTo>
                  <a:lnTo>
                    <a:pt x="44663" y="83006"/>
                  </a:lnTo>
                  <a:lnTo>
                    <a:pt x="37473" y="77556"/>
                  </a:lnTo>
                  <a:cubicBezTo>
                    <a:pt x="28974" y="71015"/>
                    <a:pt x="27013" y="70579"/>
                    <a:pt x="22437" y="75376"/>
                  </a:cubicBezTo>
                  <a:cubicBezTo>
                    <a:pt x="19822" y="77992"/>
                    <a:pt x="19604" y="79736"/>
                    <a:pt x="21347" y="83006"/>
                  </a:cubicBezTo>
                  <a:cubicBezTo>
                    <a:pt x="22437" y="85404"/>
                    <a:pt x="24398" y="86712"/>
                    <a:pt x="25488" y="86058"/>
                  </a:cubicBezTo>
                  <a:cubicBezTo>
                    <a:pt x="26359" y="85404"/>
                    <a:pt x="28756" y="85622"/>
                    <a:pt x="30717" y="86276"/>
                  </a:cubicBezTo>
                  <a:cubicBezTo>
                    <a:pt x="34858" y="87802"/>
                    <a:pt x="35293" y="95650"/>
                    <a:pt x="31589" y="96740"/>
                  </a:cubicBezTo>
                  <a:cubicBezTo>
                    <a:pt x="30064" y="97176"/>
                    <a:pt x="25488" y="98484"/>
                    <a:pt x="21347" y="99792"/>
                  </a:cubicBezTo>
                  <a:cubicBezTo>
                    <a:pt x="14592" y="101973"/>
                    <a:pt x="14156" y="101973"/>
                    <a:pt x="15246" y="97830"/>
                  </a:cubicBezTo>
                  <a:close/>
                  <a:moveTo>
                    <a:pt x="183253" y="47471"/>
                  </a:moveTo>
                  <a:cubicBezTo>
                    <a:pt x="183906" y="45945"/>
                    <a:pt x="184778" y="41802"/>
                    <a:pt x="185650" y="38096"/>
                  </a:cubicBezTo>
                  <a:cubicBezTo>
                    <a:pt x="186957" y="31992"/>
                    <a:pt x="186957" y="31774"/>
                    <a:pt x="183035" y="35262"/>
                  </a:cubicBezTo>
                  <a:cubicBezTo>
                    <a:pt x="180420" y="37660"/>
                    <a:pt x="177151" y="38532"/>
                    <a:pt x="174100" y="37660"/>
                  </a:cubicBezTo>
                  <a:cubicBezTo>
                    <a:pt x="168871" y="36352"/>
                    <a:pt x="165602" y="41148"/>
                    <a:pt x="167999" y="46817"/>
                  </a:cubicBezTo>
                  <a:cubicBezTo>
                    <a:pt x="169524" y="50741"/>
                    <a:pt x="182163" y="51177"/>
                    <a:pt x="183253" y="47471"/>
                  </a:cubicBezTo>
                  <a:close/>
                </a:path>
              </a:pathLst>
            </a:custGeom>
            <a:grpFill/>
            <a:ln w="218" cap="flat">
              <a:noFill/>
              <a:prstDash val="solid"/>
              <a:miter/>
            </a:ln>
          </p:spPr>
          <p:txBody>
            <a:bodyPr rtlCol="0" anchor="ctr"/>
            <a:lstStyle/>
            <a:p>
              <a:endParaRPr lang="en-GB" dirty="0"/>
            </a:p>
          </p:txBody>
        </p:sp>
        <p:sp>
          <p:nvSpPr>
            <p:cNvPr id="178" name="Freihandform: Form 177">
              <a:extLst>
                <a:ext uri="{FF2B5EF4-FFF2-40B4-BE49-F238E27FC236}">
                  <a16:creationId xmlns:a16="http://schemas.microsoft.com/office/drawing/2014/main" xmlns="" id="{49D0C217-D3A4-4ACC-972F-AFB48D8F3F19}"/>
                </a:ext>
              </a:extLst>
            </p:cNvPr>
            <p:cNvSpPr/>
            <p:nvPr/>
          </p:nvSpPr>
          <p:spPr>
            <a:xfrm flipV="1">
              <a:off x="5248368" y="5201543"/>
              <a:ext cx="6757" cy="7812"/>
            </a:xfrm>
            <a:custGeom>
              <a:avLst/>
              <a:gdLst>
                <a:gd name="connsiteX0" fmla="*/ -4274 w 6757"/>
                <a:gd name="connsiteY0" fmla="*/ 2752 h 7812"/>
                <a:gd name="connsiteX1" fmla="*/ -134 w 6757"/>
                <a:gd name="connsiteY1" fmla="*/ 1008 h 7812"/>
                <a:gd name="connsiteX2" fmla="*/ -3620 w 6757"/>
                <a:gd name="connsiteY2" fmla="*/ 7330 h 7812"/>
                <a:gd name="connsiteX3" fmla="*/ -4274 w 6757"/>
                <a:gd name="connsiteY3" fmla="*/ 2752 h 7812"/>
              </a:gdLst>
              <a:ahLst/>
              <a:cxnLst>
                <a:cxn ang="0">
                  <a:pos x="connsiteX0" y="connsiteY0"/>
                </a:cxn>
                <a:cxn ang="0">
                  <a:pos x="connsiteX1" y="connsiteY1"/>
                </a:cxn>
                <a:cxn ang="0">
                  <a:pos x="connsiteX2" y="connsiteY2"/>
                </a:cxn>
                <a:cxn ang="0">
                  <a:pos x="connsiteX3" y="connsiteY3"/>
                </a:cxn>
              </a:cxnLst>
              <a:rect l="l" t="t" r="r" b="b"/>
              <a:pathLst>
                <a:path w="6757" h="7812">
                  <a:moveTo>
                    <a:pt x="-4274" y="2752"/>
                  </a:moveTo>
                  <a:cubicBezTo>
                    <a:pt x="-2313" y="-954"/>
                    <a:pt x="-1441" y="-1390"/>
                    <a:pt x="-134" y="1008"/>
                  </a:cubicBezTo>
                  <a:cubicBezTo>
                    <a:pt x="2263" y="4496"/>
                    <a:pt x="738" y="7330"/>
                    <a:pt x="-3620" y="7330"/>
                  </a:cubicBezTo>
                  <a:cubicBezTo>
                    <a:pt x="-6235" y="7330"/>
                    <a:pt x="-6453" y="6458"/>
                    <a:pt x="-4274" y="2752"/>
                  </a:cubicBezTo>
                  <a:close/>
                </a:path>
              </a:pathLst>
            </a:custGeom>
            <a:grpFill/>
            <a:ln w="218" cap="flat">
              <a:noFill/>
              <a:prstDash val="solid"/>
              <a:miter/>
            </a:ln>
          </p:spPr>
          <p:txBody>
            <a:bodyPr rtlCol="0" anchor="ctr"/>
            <a:lstStyle/>
            <a:p>
              <a:endParaRPr lang="en-GB" dirty="0"/>
            </a:p>
          </p:txBody>
        </p:sp>
        <p:sp>
          <p:nvSpPr>
            <p:cNvPr id="179" name="Freihandform: Form 178">
              <a:extLst>
                <a:ext uri="{FF2B5EF4-FFF2-40B4-BE49-F238E27FC236}">
                  <a16:creationId xmlns:a16="http://schemas.microsoft.com/office/drawing/2014/main" xmlns="" id="{F29414F9-56EC-49AE-A177-960CC632862C}"/>
                </a:ext>
              </a:extLst>
            </p:cNvPr>
            <p:cNvSpPr/>
            <p:nvPr/>
          </p:nvSpPr>
          <p:spPr>
            <a:xfrm flipV="1">
              <a:off x="4429079" y="5205059"/>
              <a:ext cx="12120" cy="13925"/>
            </a:xfrm>
            <a:custGeom>
              <a:avLst/>
              <a:gdLst>
                <a:gd name="connsiteX0" fmla="*/ -2034 w 12120"/>
                <a:gd name="connsiteY0" fmla="*/ 12849 h 13925"/>
                <a:gd name="connsiteX1" fmla="*/ 1017 w 12120"/>
                <a:gd name="connsiteY1" fmla="*/ -449 h 13925"/>
                <a:gd name="connsiteX2" fmla="*/ 9733 w 12120"/>
                <a:gd name="connsiteY2" fmla="*/ 11105 h 13925"/>
                <a:gd name="connsiteX3" fmla="*/ -2034 w 12120"/>
                <a:gd name="connsiteY3" fmla="*/ 12849 h 13925"/>
              </a:gdLst>
              <a:ahLst/>
              <a:cxnLst>
                <a:cxn ang="0">
                  <a:pos x="connsiteX0" y="connsiteY0"/>
                </a:cxn>
                <a:cxn ang="0">
                  <a:pos x="connsiteX1" y="connsiteY1"/>
                </a:cxn>
                <a:cxn ang="0">
                  <a:pos x="connsiteX2" y="connsiteY2"/>
                </a:cxn>
                <a:cxn ang="0">
                  <a:pos x="connsiteX3" y="connsiteY3"/>
                </a:cxn>
              </a:cxnLst>
              <a:rect l="l" t="t" r="r" b="b"/>
              <a:pathLst>
                <a:path w="12120" h="13925">
                  <a:moveTo>
                    <a:pt x="-2034" y="12849"/>
                  </a:moveTo>
                  <a:cubicBezTo>
                    <a:pt x="-3341" y="10669"/>
                    <a:pt x="-726" y="-449"/>
                    <a:pt x="1017" y="-449"/>
                  </a:cubicBezTo>
                  <a:cubicBezTo>
                    <a:pt x="2542" y="-449"/>
                    <a:pt x="9733" y="9143"/>
                    <a:pt x="9733" y="11105"/>
                  </a:cubicBezTo>
                  <a:cubicBezTo>
                    <a:pt x="9733" y="12849"/>
                    <a:pt x="-1162" y="14375"/>
                    <a:pt x="-2034" y="12849"/>
                  </a:cubicBezTo>
                  <a:close/>
                </a:path>
              </a:pathLst>
            </a:custGeom>
            <a:grpFill/>
            <a:ln w="218" cap="flat">
              <a:noFill/>
              <a:prstDash val="solid"/>
              <a:miter/>
            </a:ln>
          </p:spPr>
          <p:txBody>
            <a:bodyPr rtlCol="0" anchor="ctr"/>
            <a:lstStyle/>
            <a:p>
              <a:endParaRPr lang="en-GB" dirty="0"/>
            </a:p>
          </p:txBody>
        </p:sp>
        <p:sp>
          <p:nvSpPr>
            <p:cNvPr id="180" name="Freihandform: Form 179">
              <a:extLst>
                <a:ext uri="{FF2B5EF4-FFF2-40B4-BE49-F238E27FC236}">
                  <a16:creationId xmlns:a16="http://schemas.microsoft.com/office/drawing/2014/main" xmlns="" id="{F6572492-FEBE-4DE4-917B-59E15722565A}"/>
                </a:ext>
              </a:extLst>
            </p:cNvPr>
            <p:cNvSpPr/>
            <p:nvPr/>
          </p:nvSpPr>
          <p:spPr>
            <a:xfrm flipV="1">
              <a:off x="4498403" y="5204887"/>
              <a:ext cx="13340" cy="19173"/>
            </a:xfrm>
            <a:custGeom>
              <a:avLst/>
              <a:gdLst>
                <a:gd name="connsiteX0" fmla="*/ 263 w 13340"/>
                <a:gd name="connsiteY0" fmla="*/ 17067 h 19173"/>
                <a:gd name="connsiteX1" fmla="*/ -2134 w 13340"/>
                <a:gd name="connsiteY1" fmla="*/ 6602 h 19173"/>
                <a:gd name="connsiteX2" fmla="*/ 4403 w 13340"/>
                <a:gd name="connsiteY2" fmla="*/ -156 h 19173"/>
                <a:gd name="connsiteX3" fmla="*/ 7672 w 13340"/>
                <a:gd name="connsiteY3" fmla="*/ 16631 h 19173"/>
                <a:gd name="connsiteX4" fmla="*/ 263 w 13340"/>
                <a:gd name="connsiteY4" fmla="*/ 17067 h 19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40" h="19173">
                  <a:moveTo>
                    <a:pt x="263" y="17067"/>
                  </a:moveTo>
                  <a:cubicBezTo>
                    <a:pt x="-2788" y="14887"/>
                    <a:pt x="-3224" y="12488"/>
                    <a:pt x="-2134" y="6602"/>
                  </a:cubicBezTo>
                  <a:cubicBezTo>
                    <a:pt x="-827" y="-156"/>
                    <a:pt x="45" y="-1028"/>
                    <a:pt x="4403" y="-156"/>
                  </a:cubicBezTo>
                  <a:cubicBezTo>
                    <a:pt x="10940" y="934"/>
                    <a:pt x="12901" y="11834"/>
                    <a:pt x="7672" y="16631"/>
                  </a:cubicBezTo>
                  <a:cubicBezTo>
                    <a:pt x="4621" y="19247"/>
                    <a:pt x="3531" y="19465"/>
                    <a:pt x="263" y="17067"/>
                  </a:cubicBezTo>
                  <a:close/>
                </a:path>
              </a:pathLst>
            </a:custGeom>
            <a:grpFill/>
            <a:ln w="218" cap="flat">
              <a:noFill/>
              <a:prstDash val="solid"/>
              <a:miter/>
            </a:ln>
          </p:spPr>
          <p:txBody>
            <a:bodyPr rtlCol="0" anchor="ctr"/>
            <a:lstStyle/>
            <a:p>
              <a:endParaRPr lang="en-GB" dirty="0"/>
            </a:p>
          </p:txBody>
        </p:sp>
        <p:sp>
          <p:nvSpPr>
            <p:cNvPr id="181" name="Freihandform: Form 180">
              <a:extLst>
                <a:ext uri="{FF2B5EF4-FFF2-40B4-BE49-F238E27FC236}">
                  <a16:creationId xmlns:a16="http://schemas.microsoft.com/office/drawing/2014/main" xmlns="" id="{994EE7D7-264F-4385-A7D4-34FD6BDE6771}"/>
                </a:ext>
              </a:extLst>
            </p:cNvPr>
            <p:cNvSpPr/>
            <p:nvPr/>
          </p:nvSpPr>
          <p:spPr>
            <a:xfrm flipV="1">
              <a:off x="4606343" y="5205024"/>
              <a:ext cx="224626" cy="332251"/>
            </a:xfrm>
            <a:custGeom>
              <a:avLst/>
              <a:gdLst>
                <a:gd name="connsiteX0" fmla="*/ 82327 w 224626"/>
                <a:gd name="connsiteY0" fmla="*/ 329327 h 332251"/>
                <a:gd name="connsiteX1" fmla="*/ 84724 w 224626"/>
                <a:gd name="connsiteY1" fmla="*/ 311887 h 332251"/>
                <a:gd name="connsiteX2" fmla="*/ 89518 w 224626"/>
                <a:gd name="connsiteY2" fmla="*/ 305128 h 332251"/>
                <a:gd name="connsiteX3" fmla="*/ 83199 w 224626"/>
                <a:gd name="connsiteY3" fmla="*/ 299896 h 332251"/>
                <a:gd name="connsiteX4" fmla="*/ 74047 w 224626"/>
                <a:gd name="connsiteY4" fmla="*/ 297062 h 332251"/>
                <a:gd name="connsiteX5" fmla="*/ 68381 w 224626"/>
                <a:gd name="connsiteY5" fmla="*/ 298370 h 332251"/>
                <a:gd name="connsiteX6" fmla="*/ 72739 w 224626"/>
                <a:gd name="connsiteY6" fmla="*/ 291176 h 332251"/>
                <a:gd name="connsiteX7" fmla="*/ 74918 w 224626"/>
                <a:gd name="connsiteY7" fmla="*/ 277441 h 332251"/>
                <a:gd name="connsiteX8" fmla="*/ 58357 w 224626"/>
                <a:gd name="connsiteY8" fmla="*/ 301858 h 332251"/>
                <a:gd name="connsiteX9" fmla="*/ 49859 w 224626"/>
                <a:gd name="connsiteY9" fmla="*/ 309052 h 332251"/>
                <a:gd name="connsiteX10" fmla="*/ 47026 w 224626"/>
                <a:gd name="connsiteY10" fmla="*/ 315811 h 332251"/>
                <a:gd name="connsiteX11" fmla="*/ 50077 w 224626"/>
                <a:gd name="connsiteY11" fmla="*/ 317991 h 332251"/>
                <a:gd name="connsiteX12" fmla="*/ 54653 w 224626"/>
                <a:gd name="connsiteY12" fmla="*/ 316465 h 332251"/>
                <a:gd name="connsiteX13" fmla="*/ 42450 w 224626"/>
                <a:gd name="connsiteY13" fmla="*/ 327365 h 332251"/>
                <a:gd name="connsiteX14" fmla="*/ 36785 w 224626"/>
                <a:gd name="connsiteY14" fmla="*/ 323005 h 332251"/>
                <a:gd name="connsiteX15" fmla="*/ 25018 w 224626"/>
                <a:gd name="connsiteY15" fmla="*/ 319953 h 332251"/>
                <a:gd name="connsiteX16" fmla="*/ 14340 w 224626"/>
                <a:gd name="connsiteY16" fmla="*/ 317773 h 332251"/>
                <a:gd name="connsiteX17" fmla="*/ 18045 w 224626"/>
                <a:gd name="connsiteY17" fmla="*/ 314285 h 332251"/>
                <a:gd name="connsiteX18" fmla="*/ 26761 w 224626"/>
                <a:gd name="connsiteY18" fmla="*/ 308398 h 332251"/>
                <a:gd name="connsiteX19" fmla="*/ 31773 w 224626"/>
                <a:gd name="connsiteY19" fmla="*/ 302294 h 332251"/>
                <a:gd name="connsiteX20" fmla="*/ 35259 w 224626"/>
                <a:gd name="connsiteY20" fmla="*/ 307308 h 332251"/>
                <a:gd name="connsiteX21" fmla="*/ 45937 w 224626"/>
                <a:gd name="connsiteY21" fmla="*/ 308616 h 332251"/>
                <a:gd name="connsiteX22" fmla="*/ 48116 w 224626"/>
                <a:gd name="connsiteY22" fmla="*/ 300768 h 332251"/>
                <a:gd name="connsiteX23" fmla="*/ 49205 w 224626"/>
                <a:gd name="connsiteY23" fmla="*/ 293574 h 332251"/>
                <a:gd name="connsiteX24" fmla="*/ 45937 w 224626"/>
                <a:gd name="connsiteY24" fmla="*/ 283764 h 332251"/>
                <a:gd name="connsiteX25" fmla="*/ 44629 w 224626"/>
                <a:gd name="connsiteY25" fmla="*/ 276351 h 332251"/>
                <a:gd name="connsiteX26" fmla="*/ 44193 w 224626"/>
                <a:gd name="connsiteY26" fmla="*/ 253897 h 332251"/>
                <a:gd name="connsiteX27" fmla="*/ 43976 w 224626"/>
                <a:gd name="connsiteY27" fmla="*/ 248010 h 332251"/>
                <a:gd name="connsiteX28" fmla="*/ 54217 w 224626"/>
                <a:gd name="connsiteY28" fmla="*/ 243650 h 332251"/>
                <a:gd name="connsiteX29" fmla="*/ 57268 w 224626"/>
                <a:gd name="connsiteY29" fmla="*/ 255423 h 332251"/>
                <a:gd name="connsiteX30" fmla="*/ 57704 w 224626"/>
                <a:gd name="connsiteY30" fmla="*/ 274607 h 332251"/>
                <a:gd name="connsiteX31" fmla="*/ 64895 w 224626"/>
                <a:gd name="connsiteY31" fmla="*/ 275479 h 332251"/>
                <a:gd name="connsiteX32" fmla="*/ 71432 w 224626"/>
                <a:gd name="connsiteY32" fmla="*/ 265669 h 332251"/>
                <a:gd name="connsiteX33" fmla="*/ 70778 w 224626"/>
                <a:gd name="connsiteY33" fmla="*/ 259129 h 332251"/>
                <a:gd name="connsiteX34" fmla="*/ 67727 w 224626"/>
                <a:gd name="connsiteY34" fmla="*/ 245612 h 332251"/>
                <a:gd name="connsiteX35" fmla="*/ 65984 w 224626"/>
                <a:gd name="connsiteY35" fmla="*/ 232096 h 332251"/>
                <a:gd name="connsiteX36" fmla="*/ 73611 w 224626"/>
                <a:gd name="connsiteY36" fmla="*/ 219451 h 332251"/>
                <a:gd name="connsiteX37" fmla="*/ 77751 w 224626"/>
                <a:gd name="connsiteY37" fmla="*/ 210295 h 332251"/>
                <a:gd name="connsiteX38" fmla="*/ 78623 w 224626"/>
                <a:gd name="connsiteY38" fmla="*/ 196561 h 332251"/>
                <a:gd name="connsiteX39" fmla="*/ 81891 w 224626"/>
                <a:gd name="connsiteY39" fmla="*/ 187622 h 332251"/>
                <a:gd name="connsiteX40" fmla="*/ 74265 w 224626"/>
                <a:gd name="connsiteY40" fmla="*/ 184788 h 332251"/>
                <a:gd name="connsiteX41" fmla="*/ 75354 w 224626"/>
                <a:gd name="connsiteY41" fmla="*/ 174106 h 332251"/>
                <a:gd name="connsiteX42" fmla="*/ 78841 w 224626"/>
                <a:gd name="connsiteY42" fmla="*/ 159499 h 332251"/>
                <a:gd name="connsiteX43" fmla="*/ 71214 w 224626"/>
                <a:gd name="connsiteY43" fmla="*/ 165385 h 332251"/>
                <a:gd name="connsiteX44" fmla="*/ 66202 w 224626"/>
                <a:gd name="connsiteY44" fmla="*/ 164513 h 332251"/>
                <a:gd name="connsiteX45" fmla="*/ 67292 w 224626"/>
                <a:gd name="connsiteY45" fmla="*/ 153613 h 332251"/>
                <a:gd name="connsiteX46" fmla="*/ 72957 w 224626"/>
                <a:gd name="connsiteY46" fmla="*/ 142713 h 332251"/>
                <a:gd name="connsiteX47" fmla="*/ 75136 w 224626"/>
                <a:gd name="connsiteY47" fmla="*/ 128760 h 332251"/>
                <a:gd name="connsiteX48" fmla="*/ 67727 w 224626"/>
                <a:gd name="connsiteY48" fmla="*/ 128760 h 332251"/>
                <a:gd name="connsiteX49" fmla="*/ 65984 w 224626"/>
                <a:gd name="connsiteY49" fmla="*/ 137044 h 332251"/>
                <a:gd name="connsiteX50" fmla="*/ 60319 w 224626"/>
                <a:gd name="connsiteY50" fmla="*/ 143803 h 332251"/>
                <a:gd name="connsiteX51" fmla="*/ 47462 w 224626"/>
                <a:gd name="connsiteY51" fmla="*/ 145983 h 332251"/>
                <a:gd name="connsiteX52" fmla="*/ 47898 w 224626"/>
                <a:gd name="connsiteY52" fmla="*/ 132248 h 332251"/>
                <a:gd name="connsiteX53" fmla="*/ 54217 w 224626"/>
                <a:gd name="connsiteY53" fmla="*/ 130940 h 332251"/>
                <a:gd name="connsiteX54" fmla="*/ 62280 w 224626"/>
                <a:gd name="connsiteY54" fmla="*/ 128324 h 332251"/>
                <a:gd name="connsiteX55" fmla="*/ 48116 w 224626"/>
                <a:gd name="connsiteY55" fmla="*/ 121130 h 332251"/>
                <a:gd name="connsiteX56" fmla="*/ 38964 w 224626"/>
                <a:gd name="connsiteY56" fmla="*/ 126798 h 332251"/>
                <a:gd name="connsiteX57" fmla="*/ 28068 w 224626"/>
                <a:gd name="connsiteY57" fmla="*/ 134428 h 332251"/>
                <a:gd name="connsiteX58" fmla="*/ 20442 w 224626"/>
                <a:gd name="connsiteY58" fmla="*/ 140315 h 332251"/>
                <a:gd name="connsiteX59" fmla="*/ 13904 w 224626"/>
                <a:gd name="connsiteY59" fmla="*/ 144675 h 332251"/>
                <a:gd name="connsiteX60" fmla="*/ 14122 w 224626"/>
                <a:gd name="connsiteY60" fmla="*/ 139007 h 332251"/>
                <a:gd name="connsiteX61" fmla="*/ 13033 w 224626"/>
                <a:gd name="connsiteY61" fmla="*/ 133774 h 332251"/>
                <a:gd name="connsiteX62" fmla="*/ 21095 w 224626"/>
                <a:gd name="connsiteY62" fmla="*/ 122438 h 332251"/>
                <a:gd name="connsiteX63" fmla="*/ 29812 w 224626"/>
                <a:gd name="connsiteY63" fmla="*/ 115898 h 332251"/>
                <a:gd name="connsiteX64" fmla="*/ 40925 w 224626"/>
                <a:gd name="connsiteY64" fmla="*/ 113064 h 332251"/>
                <a:gd name="connsiteX65" fmla="*/ 47244 w 224626"/>
                <a:gd name="connsiteY65" fmla="*/ 114372 h 332251"/>
                <a:gd name="connsiteX66" fmla="*/ 40707 w 224626"/>
                <a:gd name="connsiteY66" fmla="*/ 99547 h 332251"/>
                <a:gd name="connsiteX67" fmla="*/ 48116 w 224626"/>
                <a:gd name="connsiteY67" fmla="*/ 95187 h 332251"/>
                <a:gd name="connsiteX68" fmla="*/ 59665 w 224626"/>
                <a:gd name="connsiteY68" fmla="*/ 88211 h 332251"/>
                <a:gd name="connsiteX69" fmla="*/ 48987 w 224626"/>
                <a:gd name="connsiteY69" fmla="*/ 82325 h 332251"/>
                <a:gd name="connsiteX70" fmla="*/ 44847 w 224626"/>
                <a:gd name="connsiteY70" fmla="*/ 80799 h 332251"/>
                <a:gd name="connsiteX71" fmla="*/ 39617 w 224626"/>
                <a:gd name="connsiteY71" fmla="*/ 80799 h 332251"/>
                <a:gd name="connsiteX72" fmla="*/ 36131 w 224626"/>
                <a:gd name="connsiteY72" fmla="*/ 86685 h 332251"/>
                <a:gd name="connsiteX73" fmla="*/ 30683 w 224626"/>
                <a:gd name="connsiteY73" fmla="*/ 87557 h 332251"/>
                <a:gd name="connsiteX74" fmla="*/ 22185 w 224626"/>
                <a:gd name="connsiteY74" fmla="*/ 85377 h 332251"/>
                <a:gd name="connsiteX75" fmla="*/ 11072 w 224626"/>
                <a:gd name="connsiteY75" fmla="*/ 79709 h 332251"/>
                <a:gd name="connsiteX76" fmla="*/ 3663 w 224626"/>
                <a:gd name="connsiteY76" fmla="*/ 77528 h 332251"/>
                <a:gd name="connsiteX77" fmla="*/ -2657 w 224626"/>
                <a:gd name="connsiteY77" fmla="*/ 75784 h 332251"/>
                <a:gd name="connsiteX78" fmla="*/ 7585 w 224626"/>
                <a:gd name="connsiteY78" fmla="*/ 61396 h 332251"/>
                <a:gd name="connsiteX79" fmla="*/ 18262 w 224626"/>
                <a:gd name="connsiteY79" fmla="*/ 54856 h 332251"/>
                <a:gd name="connsiteX80" fmla="*/ 29376 w 224626"/>
                <a:gd name="connsiteY80" fmla="*/ 50278 h 332251"/>
                <a:gd name="connsiteX81" fmla="*/ 16083 w 224626"/>
                <a:gd name="connsiteY81" fmla="*/ 65756 h 332251"/>
                <a:gd name="connsiteX82" fmla="*/ 8239 w 224626"/>
                <a:gd name="connsiteY82" fmla="*/ 69898 h 332251"/>
                <a:gd name="connsiteX83" fmla="*/ 9764 w 224626"/>
                <a:gd name="connsiteY83" fmla="*/ 71424 h 332251"/>
                <a:gd name="connsiteX84" fmla="*/ 14994 w 224626"/>
                <a:gd name="connsiteY84" fmla="*/ 71860 h 332251"/>
                <a:gd name="connsiteX85" fmla="*/ 47026 w 224626"/>
                <a:gd name="connsiteY85" fmla="*/ 70116 h 332251"/>
                <a:gd name="connsiteX86" fmla="*/ 40271 w 224626"/>
                <a:gd name="connsiteY86" fmla="*/ 53548 h 332251"/>
                <a:gd name="connsiteX87" fmla="*/ 33952 w 224626"/>
                <a:gd name="connsiteY87" fmla="*/ 44609 h 332251"/>
                <a:gd name="connsiteX88" fmla="*/ 39617 w 224626"/>
                <a:gd name="connsiteY88" fmla="*/ 43737 h 332251"/>
                <a:gd name="connsiteX89" fmla="*/ 53563 w 224626"/>
                <a:gd name="connsiteY89" fmla="*/ 46353 h 332251"/>
                <a:gd name="connsiteX90" fmla="*/ 70560 w 224626"/>
                <a:gd name="connsiteY90" fmla="*/ 51368 h 332251"/>
                <a:gd name="connsiteX91" fmla="*/ 78405 w 224626"/>
                <a:gd name="connsiteY91" fmla="*/ 52458 h 332251"/>
                <a:gd name="connsiteX92" fmla="*/ 80366 w 224626"/>
                <a:gd name="connsiteY92" fmla="*/ 42211 h 332251"/>
                <a:gd name="connsiteX93" fmla="*/ 74047 w 224626"/>
                <a:gd name="connsiteY93" fmla="*/ 35889 h 332251"/>
                <a:gd name="connsiteX94" fmla="*/ 75790 w 224626"/>
                <a:gd name="connsiteY94" fmla="*/ 26515 h 332251"/>
                <a:gd name="connsiteX95" fmla="*/ 96927 w 224626"/>
                <a:gd name="connsiteY95" fmla="*/ 21719 h 332251"/>
                <a:gd name="connsiteX96" fmla="*/ 113924 w 224626"/>
                <a:gd name="connsiteY96" fmla="*/ 24771 h 332251"/>
                <a:gd name="connsiteX97" fmla="*/ 120243 w 224626"/>
                <a:gd name="connsiteY97" fmla="*/ 23245 h 332251"/>
                <a:gd name="connsiteX98" fmla="*/ 117846 w 224626"/>
                <a:gd name="connsiteY98" fmla="*/ 9510 h 332251"/>
                <a:gd name="connsiteX99" fmla="*/ 119371 w 224626"/>
                <a:gd name="connsiteY99" fmla="*/ 354 h 332251"/>
                <a:gd name="connsiteX100" fmla="*/ 124819 w 224626"/>
                <a:gd name="connsiteY100" fmla="*/ 4714 h 332251"/>
                <a:gd name="connsiteX101" fmla="*/ 131138 w 224626"/>
                <a:gd name="connsiteY101" fmla="*/ 10382 h 332251"/>
                <a:gd name="connsiteX102" fmla="*/ 136368 w 224626"/>
                <a:gd name="connsiteY102" fmla="*/ 15614 h 332251"/>
                <a:gd name="connsiteX103" fmla="*/ 105425 w 224626"/>
                <a:gd name="connsiteY103" fmla="*/ 45481 h 332251"/>
                <a:gd name="connsiteX104" fmla="*/ 98888 w 224626"/>
                <a:gd name="connsiteY104" fmla="*/ 57036 h 332251"/>
                <a:gd name="connsiteX105" fmla="*/ 101503 w 224626"/>
                <a:gd name="connsiteY105" fmla="*/ 64666 h 332251"/>
                <a:gd name="connsiteX106" fmla="*/ 106951 w 224626"/>
                <a:gd name="connsiteY106" fmla="*/ 70552 h 332251"/>
                <a:gd name="connsiteX107" fmla="*/ 108912 w 224626"/>
                <a:gd name="connsiteY107" fmla="*/ 85595 h 332251"/>
                <a:gd name="connsiteX108" fmla="*/ 108040 w 224626"/>
                <a:gd name="connsiteY108" fmla="*/ 94097 h 332251"/>
                <a:gd name="connsiteX109" fmla="*/ 104554 w 224626"/>
                <a:gd name="connsiteY109" fmla="*/ 98457 h 332251"/>
                <a:gd name="connsiteX110" fmla="*/ 99324 w 224626"/>
                <a:gd name="connsiteY110" fmla="*/ 98239 h 332251"/>
                <a:gd name="connsiteX111" fmla="*/ 98670 w 224626"/>
                <a:gd name="connsiteY111" fmla="*/ 105215 h 332251"/>
                <a:gd name="connsiteX112" fmla="*/ 91479 w 224626"/>
                <a:gd name="connsiteY112" fmla="*/ 115898 h 332251"/>
                <a:gd name="connsiteX113" fmla="*/ 89954 w 224626"/>
                <a:gd name="connsiteY113" fmla="*/ 105869 h 332251"/>
                <a:gd name="connsiteX114" fmla="*/ 85160 w 224626"/>
                <a:gd name="connsiteY114" fmla="*/ 96713 h 332251"/>
                <a:gd name="connsiteX115" fmla="*/ 77097 w 224626"/>
                <a:gd name="connsiteY115" fmla="*/ 84505 h 332251"/>
                <a:gd name="connsiteX116" fmla="*/ 85160 w 224626"/>
                <a:gd name="connsiteY116" fmla="*/ 78836 h 332251"/>
                <a:gd name="connsiteX117" fmla="*/ 88429 w 224626"/>
                <a:gd name="connsiteY117" fmla="*/ 85377 h 332251"/>
                <a:gd name="connsiteX118" fmla="*/ 95184 w 224626"/>
                <a:gd name="connsiteY118" fmla="*/ 90391 h 332251"/>
                <a:gd name="connsiteX119" fmla="*/ 98017 w 224626"/>
                <a:gd name="connsiteY119" fmla="*/ 84505 h 332251"/>
                <a:gd name="connsiteX120" fmla="*/ 99106 w 224626"/>
                <a:gd name="connsiteY120" fmla="*/ 73822 h 332251"/>
                <a:gd name="connsiteX121" fmla="*/ 96055 w 224626"/>
                <a:gd name="connsiteY121" fmla="*/ 66628 h 332251"/>
                <a:gd name="connsiteX122" fmla="*/ 89736 w 224626"/>
                <a:gd name="connsiteY122" fmla="*/ 62486 h 332251"/>
                <a:gd name="connsiteX123" fmla="*/ 78405 w 224626"/>
                <a:gd name="connsiteY123" fmla="*/ 60088 h 332251"/>
                <a:gd name="connsiteX124" fmla="*/ 65113 w 224626"/>
                <a:gd name="connsiteY124" fmla="*/ 55510 h 332251"/>
                <a:gd name="connsiteX125" fmla="*/ 57922 w 224626"/>
                <a:gd name="connsiteY125" fmla="*/ 62486 h 332251"/>
                <a:gd name="connsiteX126" fmla="*/ 59665 w 224626"/>
                <a:gd name="connsiteY126" fmla="*/ 74476 h 332251"/>
                <a:gd name="connsiteX127" fmla="*/ 71868 w 224626"/>
                <a:gd name="connsiteY127" fmla="*/ 71206 h 332251"/>
                <a:gd name="connsiteX128" fmla="*/ 81456 w 224626"/>
                <a:gd name="connsiteY128" fmla="*/ 71206 h 332251"/>
                <a:gd name="connsiteX129" fmla="*/ 74265 w 224626"/>
                <a:gd name="connsiteY129" fmla="*/ 78836 h 332251"/>
                <a:gd name="connsiteX130" fmla="*/ 70778 w 224626"/>
                <a:gd name="connsiteY130" fmla="*/ 83197 h 332251"/>
                <a:gd name="connsiteX131" fmla="*/ 68817 w 224626"/>
                <a:gd name="connsiteY131" fmla="*/ 92789 h 332251"/>
                <a:gd name="connsiteX132" fmla="*/ 64023 w 224626"/>
                <a:gd name="connsiteY132" fmla="*/ 103253 h 332251"/>
                <a:gd name="connsiteX133" fmla="*/ 58357 w 224626"/>
                <a:gd name="connsiteY133" fmla="*/ 109794 h 332251"/>
                <a:gd name="connsiteX134" fmla="*/ 59883 w 224626"/>
                <a:gd name="connsiteY134" fmla="*/ 115898 h 332251"/>
                <a:gd name="connsiteX135" fmla="*/ 69253 w 224626"/>
                <a:gd name="connsiteY135" fmla="*/ 106959 h 332251"/>
                <a:gd name="connsiteX136" fmla="*/ 84506 w 224626"/>
                <a:gd name="connsiteY136" fmla="*/ 114372 h 332251"/>
                <a:gd name="connsiteX137" fmla="*/ 84070 w 224626"/>
                <a:gd name="connsiteY137" fmla="*/ 122438 h 332251"/>
                <a:gd name="connsiteX138" fmla="*/ 79712 w 224626"/>
                <a:gd name="connsiteY138" fmla="*/ 119822 h 332251"/>
                <a:gd name="connsiteX139" fmla="*/ 78405 w 224626"/>
                <a:gd name="connsiteY139" fmla="*/ 118732 h 332251"/>
                <a:gd name="connsiteX140" fmla="*/ 83417 w 224626"/>
                <a:gd name="connsiteY140" fmla="*/ 127888 h 332251"/>
                <a:gd name="connsiteX141" fmla="*/ 97581 w 224626"/>
                <a:gd name="connsiteY141" fmla="*/ 127452 h 332251"/>
                <a:gd name="connsiteX142" fmla="*/ 103464 w 224626"/>
                <a:gd name="connsiteY142" fmla="*/ 120258 h 332251"/>
                <a:gd name="connsiteX143" fmla="*/ 110219 w 224626"/>
                <a:gd name="connsiteY143" fmla="*/ 115026 h 332251"/>
                <a:gd name="connsiteX144" fmla="*/ 113706 w 224626"/>
                <a:gd name="connsiteY144" fmla="*/ 106959 h 332251"/>
                <a:gd name="connsiteX145" fmla="*/ 120243 w 224626"/>
                <a:gd name="connsiteY145" fmla="*/ 108267 h 332251"/>
                <a:gd name="connsiteX146" fmla="*/ 120025 w 224626"/>
                <a:gd name="connsiteY146" fmla="*/ 121566 h 332251"/>
                <a:gd name="connsiteX147" fmla="*/ 108040 w 224626"/>
                <a:gd name="connsiteY147" fmla="*/ 142277 h 332251"/>
                <a:gd name="connsiteX148" fmla="*/ 113052 w 224626"/>
                <a:gd name="connsiteY148" fmla="*/ 146201 h 332251"/>
                <a:gd name="connsiteX149" fmla="*/ 123294 w 224626"/>
                <a:gd name="connsiteY149" fmla="*/ 153177 h 332251"/>
                <a:gd name="connsiteX150" fmla="*/ 117846 w 224626"/>
                <a:gd name="connsiteY150" fmla="*/ 156011 h 332251"/>
                <a:gd name="connsiteX151" fmla="*/ 115885 w 224626"/>
                <a:gd name="connsiteY151" fmla="*/ 167566 h 332251"/>
                <a:gd name="connsiteX152" fmla="*/ 123512 w 224626"/>
                <a:gd name="connsiteY152" fmla="*/ 172580 h 332251"/>
                <a:gd name="connsiteX153" fmla="*/ 134189 w 224626"/>
                <a:gd name="connsiteY153" fmla="*/ 151651 h 332251"/>
                <a:gd name="connsiteX154" fmla="*/ 127652 w 224626"/>
                <a:gd name="connsiteY154" fmla="*/ 142495 h 332251"/>
                <a:gd name="connsiteX155" fmla="*/ 121115 w 224626"/>
                <a:gd name="connsiteY155" fmla="*/ 133774 h 332251"/>
                <a:gd name="connsiteX156" fmla="*/ 131574 w 224626"/>
                <a:gd name="connsiteY156" fmla="*/ 132248 h 332251"/>
                <a:gd name="connsiteX157" fmla="*/ 141816 w 224626"/>
                <a:gd name="connsiteY157" fmla="*/ 132248 h 332251"/>
                <a:gd name="connsiteX158" fmla="*/ 142905 w 224626"/>
                <a:gd name="connsiteY158" fmla="*/ 143149 h 332251"/>
                <a:gd name="connsiteX159" fmla="*/ 146392 w 224626"/>
                <a:gd name="connsiteY159" fmla="*/ 149907 h 332251"/>
                <a:gd name="connsiteX160" fmla="*/ 152711 w 224626"/>
                <a:gd name="connsiteY160" fmla="*/ 147291 h 332251"/>
                <a:gd name="connsiteX161" fmla="*/ 152929 w 224626"/>
                <a:gd name="connsiteY161" fmla="*/ 159717 h 332251"/>
                <a:gd name="connsiteX162" fmla="*/ 160556 w 224626"/>
                <a:gd name="connsiteY162" fmla="*/ 163423 h 332251"/>
                <a:gd name="connsiteX163" fmla="*/ 164043 w 224626"/>
                <a:gd name="connsiteY163" fmla="*/ 162551 h 332251"/>
                <a:gd name="connsiteX164" fmla="*/ 163171 w 224626"/>
                <a:gd name="connsiteY164" fmla="*/ 165385 h 332251"/>
                <a:gd name="connsiteX165" fmla="*/ 172105 w 224626"/>
                <a:gd name="connsiteY165" fmla="*/ 195471 h 332251"/>
                <a:gd name="connsiteX166" fmla="*/ 182565 w 224626"/>
                <a:gd name="connsiteY166" fmla="*/ 198959 h 332251"/>
                <a:gd name="connsiteX167" fmla="*/ 189102 w 224626"/>
                <a:gd name="connsiteY167" fmla="*/ 199613 h 332251"/>
                <a:gd name="connsiteX168" fmla="*/ 194332 w 224626"/>
                <a:gd name="connsiteY168" fmla="*/ 195034 h 332251"/>
                <a:gd name="connsiteX169" fmla="*/ 190627 w 224626"/>
                <a:gd name="connsiteY169" fmla="*/ 186750 h 332251"/>
                <a:gd name="connsiteX170" fmla="*/ 183436 w 224626"/>
                <a:gd name="connsiteY170" fmla="*/ 183698 h 332251"/>
                <a:gd name="connsiteX171" fmla="*/ 174720 w 224626"/>
                <a:gd name="connsiteY171" fmla="*/ 182172 h 332251"/>
                <a:gd name="connsiteX172" fmla="*/ 167965 w 224626"/>
                <a:gd name="connsiteY172" fmla="*/ 181082 h 332251"/>
                <a:gd name="connsiteX173" fmla="*/ 171233 w 224626"/>
                <a:gd name="connsiteY173" fmla="*/ 177594 h 332251"/>
                <a:gd name="connsiteX174" fmla="*/ 174938 w 224626"/>
                <a:gd name="connsiteY174" fmla="*/ 172362 h 332251"/>
                <a:gd name="connsiteX175" fmla="*/ 177771 w 224626"/>
                <a:gd name="connsiteY175" fmla="*/ 168220 h 332251"/>
                <a:gd name="connsiteX176" fmla="*/ 183218 w 224626"/>
                <a:gd name="connsiteY176" fmla="*/ 170400 h 332251"/>
                <a:gd name="connsiteX177" fmla="*/ 195639 w 224626"/>
                <a:gd name="connsiteY177" fmla="*/ 167784 h 332251"/>
                <a:gd name="connsiteX178" fmla="*/ 202394 w 224626"/>
                <a:gd name="connsiteY178" fmla="*/ 165603 h 332251"/>
                <a:gd name="connsiteX179" fmla="*/ 203266 w 224626"/>
                <a:gd name="connsiteY179" fmla="*/ 172798 h 332251"/>
                <a:gd name="connsiteX180" fmla="*/ 213507 w 224626"/>
                <a:gd name="connsiteY180" fmla="*/ 183916 h 332251"/>
                <a:gd name="connsiteX181" fmla="*/ 211764 w 224626"/>
                <a:gd name="connsiteY181" fmla="*/ 199831 h 332251"/>
                <a:gd name="connsiteX182" fmla="*/ 195639 w 224626"/>
                <a:gd name="connsiteY182" fmla="*/ 208333 h 332251"/>
                <a:gd name="connsiteX183" fmla="*/ 182783 w 224626"/>
                <a:gd name="connsiteY183" fmla="*/ 207025 h 332251"/>
                <a:gd name="connsiteX184" fmla="*/ 162517 w 224626"/>
                <a:gd name="connsiteY184" fmla="*/ 220977 h 332251"/>
                <a:gd name="connsiteX185" fmla="*/ 171451 w 224626"/>
                <a:gd name="connsiteY185" fmla="*/ 231660 h 332251"/>
                <a:gd name="connsiteX186" fmla="*/ 178860 w 224626"/>
                <a:gd name="connsiteY186" fmla="*/ 244086 h 332251"/>
                <a:gd name="connsiteX187" fmla="*/ 176245 w 224626"/>
                <a:gd name="connsiteY187" fmla="*/ 251716 h 332251"/>
                <a:gd name="connsiteX188" fmla="*/ 171233 w 224626"/>
                <a:gd name="connsiteY188" fmla="*/ 251280 h 332251"/>
                <a:gd name="connsiteX189" fmla="*/ 159031 w 224626"/>
                <a:gd name="connsiteY189" fmla="*/ 232968 h 332251"/>
                <a:gd name="connsiteX190" fmla="*/ 160338 w 224626"/>
                <a:gd name="connsiteY190" fmla="*/ 241906 h 332251"/>
                <a:gd name="connsiteX191" fmla="*/ 162517 w 224626"/>
                <a:gd name="connsiteY191" fmla="*/ 263925 h 332251"/>
                <a:gd name="connsiteX192" fmla="*/ 165132 w 224626"/>
                <a:gd name="connsiteY192" fmla="*/ 285290 h 332251"/>
                <a:gd name="connsiteX193" fmla="*/ 171669 w 224626"/>
                <a:gd name="connsiteY193" fmla="*/ 280493 h 332251"/>
                <a:gd name="connsiteX194" fmla="*/ 171016 w 224626"/>
                <a:gd name="connsiteY194" fmla="*/ 275043 h 332251"/>
                <a:gd name="connsiteX195" fmla="*/ 174284 w 224626"/>
                <a:gd name="connsiteY195" fmla="*/ 278313 h 332251"/>
                <a:gd name="connsiteX196" fmla="*/ 179950 w 224626"/>
                <a:gd name="connsiteY196" fmla="*/ 281583 h 332251"/>
                <a:gd name="connsiteX197" fmla="*/ 184308 w 224626"/>
                <a:gd name="connsiteY197" fmla="*/ 283764 h 332251"/>
                <a:gd name="connsiteX198" fmla="*/ 189756 w 224626"/>
                <a:gd name="connsiteY198" fmla="*/ 288124 h 332251"/>
                <a:gd name="connsiteX199" fmla="*/ 195203 w 224626"/>
                <a:gd name="connsiteY199" fmla="*/ 292266 h 332251"/>
                <a:gd name="connsiteX200" fmla="*/ 189102 w 224626"/>
                <a:gd name="connsiteY200" fmla="*/ 295100 h 332251"/>
                <a:gd name="connsiteX201" fmla="*/ 181911 w 224626"/>
                <a:gd name="connsiteY201" fmla="*/ 300114 h 332251"/>
                <a:gd name="connsiteX202" fmla="*/ 173413 w 224626"/>
                <a:gd name="connsiteY202" fmla="*/ 301422 h 332251"/>
                <a:gd name="connsiteX203" fmla="*/ 164043 w 224626"/>
                <a:gd name="connsiteY203" fmla="*/ 294446 h 332251"/>
                <a:gd name="connsiteX204" fmla="*/ 157941 w 224626"/>
                <a:gd name="connsiteY204" fmla="*/ 295318 h 332251"/>
                <a:gd name="connsiteX205" fmla="*/ 155980 w 224626"/>
                <a:gd name="connsiteY205" fmla="*/ 290304 h 332251"/>
                <a:gd name="connsiteX206" fmla="*/ 156198 w 224626"/>
                <a:gd name="connsiteY206" fmla="*/ 281583 h 332251"/>
                <a:gd name="connsiteX207" fmla="*/ 151622 w 224626"/>
                <a:gd name="connsiteY207" fmla="*/ 288124 h 332251"/>
                <a:gd name="connsiteX208" fmla="*/ 145738 w 224626"/>
                <a:gd name="connsiteY208" fmla="*/ 294664 h 332251"/>
                <a:gd name="connsiteX209" fmla="*/ 143777 w 224626"/>
                <a:gd name="connsiteY209" fmla="*/ 297934 h 332251"/>
                <a:gd name="connsiteX210" fmla="*/ 140726 w 224626"/>
                <a:gd name="connsiteY210" fmla="*/ 299024 h 332251"/>
                <a:gd name="connsiteX211" fmla="*/ 136368 w 224626"/>
                <a:gd name="connsiteY211" fmla="*/ 293574 h 332251"/>
                <a:gd name="connsiteX212" fmla="*/ 133318 w 224626"/>
                <a:gd name="connsiteY212" fmla="*/ 290304 h 332251"/>
                <a:gd name="connsiteX213" fmla="*/ 131138 w 224626"/>
                <a:gd name="connsiteY213" fmla="*/ 295536 h 332251"/>
                <a:gd name="connsiteX214" fmla="*/ 132446 w 224626"/>
                <a:gd name="connsiteY214" fmla="*/ 299678 h 332251"/>
                <a:gd name="connsiteX215" fmla="*/ 131356 w 224626"/>
                <a:gd name="connsiteY215" fmla="*/ 311450 h 332251"/>
                <a:gd name="connsiteX216" fmla="*/ 139419 w 224626"/>
                <a:gd name="connsiteY216" fmla="*/ 321261 h 332251"/>
                <a:gd name="connsiteX217" fmla="*/ 146828 w 224626"/>
                <a:gd name="connsiteY217" fmla="*/ 327147 h 332251"/>
                <a:gd name="connsiteX218" fmla="*/ 147699 w 224626"/>
                <a:gd name="connsiteY218" fmla="*/ 332379 h 332251"/>
                <a:gd name="connsiteX219" fmla="*/ 140291 w 224626"/>
                <a:gd name="connsiteY219" fmla="*/ 328019 h 332251"/>
                <a:gd name="connsiteX220" fmla="*/ 128742 w 224626"/>
                <a:gd name="connsiteY220" fmla="*/ 326493 h 332251"/>
                <a:gd name="connsiteX221" fmla="*/ 120025 w 224626"/>
                <a:gd name="connsiteY221" fmla="*/ 324749 h 332251"/>
                <a:gd name="connsiteX222" fmla="*/ 120243 w 224626"/>
                <a:gd name="connsiteY222" fmla="*/ 307308 h 332251"/>
                <a:gd name="connsiteX223" fmla="*/ 120679 w 224626"/>
                <a:gd name="connsiteY223" fmla="*/ 298370 h 332251"/>
                <a:gd name="connsiteX224" fmla="*/ 119807 w 224626"/>
                <a:gd name="connsiteY224" fmla="*/ 297062 h 332251"/>
                <a:gd name="connsiteX225" fmla="*/ 113924 w 224626"/>
                <a:gd name="connsiteY225" fmla="*/ 290304 h 332251"/>
                <a:gd name="connsiteX226" fmla="*/ 105861 w 224626"/>
                <a:gd name="connsiteY226" fmla="*/ 283764 h 332251"/>
                <a:gd name="connsiteX227" fmla="*/ 99324 w 224626"/>
                <a:gd name="connsiteY227" fmla="*/ 287252 h 332251"/>
                <a:gd name="connsiteX228" fmla="*/ 106079 w 224626"/>
                <a:gd name="connsiteY228" fmla="*/ 297934 h 332251"/>
                <a:gd name="connsiteX229" fmla="*/ 110001 w 224626"/>
                <a:gd name="connsiteY229" fmla="*/ 302512 h 332251"/>
                <a:gd name="connsiteX230" fmla="*/ 111309 w 224626"/>
                <a:gd name="connsiteY230" fmla="*/ 309924 h 332251"/>
                <a:gd name="connsiteX231" fmla="*/ 105425 w 224626"/>
                <a:gd name="connsiteY231" fmla="*/ 319299 h 332251"/>
                <a:gd name="connsiteX232" fmla="*/ 100631 w 224626"/>
                <a:gd name="connsiteY232" fmla="*/ 313195 h 332251"/>
                <a:gd name="connsiteX233" fmla="*/ 102593 w 224626"/>
                <a:gd name="connsiteY233" fmla="*/ 309924 h 332251"/>
                <a:gd name="connsiteX234" fmla="*/ 93005 w 224626"/>
                <a:gd name="connsiteY234" fmla="*/ 316465 h 332251"/>
                <a:gd name="connsiteX235" fmla="*/ 86903 w 224626"/>
                <a:gd name="connsiteY235" fmla="*/ 327365 h 332251"/>
                <a:gd name="connsiteX236" fmla="*/ 82327 w 224626"/>
                <a:gd name="connsiteY236" fmla="*/ 329327 h 332251"/>
                <a:gd name="connsiteX237" fmla="*/ 93441 w 224626"/>
                <a:gd name="connsiteY237" fmla="*/ 289432 h 332251"/>
                <a:gd name="connsiteX238" fmla="*/ 93876 w 224626"/>
                <a:gd name="connsiteY238" fmla="*/ 283764 h 332251"/>
                <a:gd name="connsiteX239" fmla="*/ 90608 w 224626"/>
                <a:gd name="connsiteY239" fmla="*/ 280493 h 332251"/>
                <a:gd name="connsiteX240" fmla="*/ 94966 w 224626"/>
                <a:gd name="connsiteY240" fmla="*/ 277223 h 332251"/>
                <a:gd name="connsiteX241" fmla="*/ 99324 w 224626"/>
                <a:gd name="connsiteY241" fmla="*/ 272645 h 332251"/>
                <a:gd name="connsiteX242" fmla="*/ 94966 w 224626"/>
                <a:gd name="connsiteY242" fmla="*/ 269593 h 332251"/>
                <a:gd name="connsiteX243" fmla="*/ 90608 w 224626"/>
                <a:gd name="connsiteY243" fmla="*/ 268285 h 332251"/>
                <a:gd name="connsiteX244" fmla="*/ 87121 w 224626"/>
                <a:gd name="connsiteY244" fmla="*/ 261745 h 332251"/>
                <a:gd name="connsiteX245" fmla="*/ 88429 w 224626"/>
                <a:gd name="connsiteY245" fmla="*/ 251062 h 332251"/>
                <a:gd name="connsiteX246" fmla="*/ 90608 w 224626"/>
                <a:gd name="connsiteY246" fmla="*/ 255205 h 332251"/>
                <a:gd name="connsiteX247" fmla="*/ 110437 w 224626"/>
                <a:gd name="connsiteY247" fmla="*/ 258475 h 332251"/>
                <a:gd name="connsiteX248" fmla="*/ 121768 w 224626"/>
                <a:gd name="connsiteY248" fmla="*/ 274825 h 332251"/>
                <a:gd name="connsiteX249" fmla="*/ 126127 w 224626"/>
                <a:gd name="connsiteY249" fmla="*/ 283764 h 332251"/>
                <a:gd name="connsiteX250" fmla="*/ 132664 w 224626"/>
                <a:gd name="connsiteY250" fmla="*/ 281147 h 332251"/>
                <a:gd name="connsiteX251" fmla="*/ 136804 w 224626"/>
                <a:gd name="connsiteY251" fmla="*/ 281147 h 332251"/>
                <a:gd name="connsiteX252" fmla="*/ 143995 w 224626"/>
                <a:gd name="connsiteY252" fmla="*/ 280275 h 332251"/>
                <a:gd name="connsiteX253" fmla="*/ 142905 w 224626"/>
                <a:gd name="connsiteY253" fmla="*/ 271991 h 332251"/>
                <a:gd name="connsiteX254" fmla="*/ 135061 w 224626"/>
                <a:gd name="connsiteY254" fmla="*/ 271555 h 332251"/>
                <a:gd name="connsiteX255" fmla="*/ 132010 w 224626"/>
                <a:gd name="connsiteY255" fmla="*/ 267413 h 332251"/>
                <a:gd name="connsiteX256" fmla="*/ 121768 w 224626"/>
                <a:gd name="connsiteY256" fmla="*/ 251062 h 332251"/>
                <a:gd name="connsiteX257" fmla="*/ 123730 w 224626"/>
                <a:gd name="connsiteY257" fmla="*/ 244304 h 332251"/>
                <a:gd name="connsiteX258" fmla="*/ 131356 w 224626"/>
                <a:gd name="connsiteY258" fmla="*/ 245830 h 332251"/>
                <a:gd name="connsiteX259" fmla="*/ 140073 w 224626"/>
                <a:gd name="connsiteY259" fmla="*/ 256077 h 332251"/>
                <a:gd name="connsiteX260" fmla="*/ 149661 w 224626"/>
                <a:gd name="connsiteY260" fmla="*/ 258475 h 332251"/>
                <a:gd name="connsiteX261" fmla="*/ 152929 w 224626"/>
                <a:gd name="connsiteY261" fmla="*/ 242342 h 332251"/>
                <a:gd name="connsiteX262" fmla="*/ 146174 w 224626"/>
                <a:gd name="connsiteY262" fmla="*/ 229262 h 332251"/>
                <a:gd name="connsiteX263" fmla="*/ 145520 w 224626"/>
                <a:gd name="connsiteY263" fmla="*/ 241906 h 332251"/>
                <a:gd name="connsiteX264" fmla="*/ 146392 w 224626"/>
                <a:gd name="connsiteY264" fmla="*/ 244522 h 332251"/>
                <a:gd name="connsiteX265" fmla="*/ 128088 w 224626"/>
                <a:gd name="connsiteY265" fmla="*/ 228826 h 332251"/>
                <a:gd name="connsiteX266" fmla="*/ 130267 w 224626"/>
                <a:gd name="connsiteY266" fmla="*/ 220541 h 332251"/>
                <a:gd name="connsiteX267" fmla="*/ 142252 w 224626"/>
                <a:gd name="connsiteY267" fmla="*/ 217489 h 332251"/>
                <a:gd name="connsiteX268" fmla="*/ 151404 w 224626"/>
                <a:gd name="connsiteY268" fmla="*/ 214437 h 332251"/>
                <a:gd name="connsiteX269" fmla="*/ 153801 w 224626"/>
                <a:gd name="connsiteY269" fmla="*/ 207025 h 332251"/>
                <a:gd name="connsiteX270" fmla="*/ 137022 w 224626"/>
                <a:gd name="connsiteY270" fmla="*/ 195907 h 332251"/>
                <a:gd name="connsiteX271" fmla="*/ 135061 w 224626"/>
                <a:gd name="connsiteY271" fmla="*/ 203319 h 332251"/>
                <a:gd name="connsiteX272" fmla="*/ 135279 w 224626"/>
                <a:gd name="connsiteY272" fmla="*/ 210949 h 332251"/>
                <a:gd name="connsiteX273" fmla="*/ 125473 w 224626"/>
                <a:gd name="connsiteY273" fmla="*/ 211821 h 332251"/>
                <a:gd name="connsiteX274" fmla="*/ 121115 w 224626"/>
                <a:gd name="connsiteY274" fmla="*/ 210949 h 332251"/>
                <a:gd name="connsiteX275" fmla="*/ 111309 w 224626"/>
                <a:gd name="connsiteY275" fmla="*/ 207461 h 332251"/>
                <a:gd name="connsiteX276" fmla="*/ 108040 w 224626"/>
                <a:gd name="connsiteY276" fmla="*/ 213783 h 332251"/>
                <a:gd name="connsiteX277" fmla="*/ 108258 w 224626"/>
                <a:gd name="connsiteY277" fmla="*/ 226646 h 332251"/>
                <a:gd name="connsiteX278" fmla="*/ 100849 w 224626"/>
                <a:gd name="connsiteY278" fmla="*/ 226864 h 332251"/>
                <a:gd name="connsiteX279" fmla="*/ 94966 w 224626"/>
                <a:gd name="connsiteY279" fmla="*/ 221849 h 332251"/>
                <a:gd name="connsiteX280" fmla="*/ 101503 w 224626"/>
                <a:gd name="connsiteY280" fmla="*/ 208987 h 332251"/>
                <a:gd name="connsiteX281" fmla="*/ 106297 w 224626"/>
                <a:gd name="connsiteY281" fmla="*/ 202883 h 332251"/>
                <a:gd name="connsiteX282" fmla="*/ 111963 w 224626"/>
                <a:gd name="connsiteY282" fmla="*/ 198087 h 332251"/>
                <a:gd name="connsiteX283" fmla="*/ 125909 w 224626"/>
                <a:gd name="connsiteY283" fmla="*/ 193072 h 332251"/>
                <a:gd name="connsiteX284" fmla="*/ 134843 w 224626"/>
                <a:gd name="connsiteY284" fmla="*/ 187404 h 332251"/>
                <a:gd name="connsiteX285" fmla="*/ 130267 w 224626"/>
                <a:gd name="connsiteY285" fmla="*/ 182826 h 332251"/>
                <a:gd name="connsiteX286" fmla="*/ 125473 w 224626"/>
                <a:gd name="connsiteY286" fmla="*/ 178248 h 332251"/>
                <a:gd name="connsiteX287" fmla="*/ 120461 w 224626"/>
                <a:gd name="connsiteY287" fmla="*/ 183044 h 332251"/>
                <a:gd name="connsiteX288" fmla="*/ 114142 w 224626"/>
                <a:gd name="connsiteY288" fmla="*/ 186750 h 332251"/>
                <a:gd name="connsiteX289" fmla="*/ 105643 w 224626"/>
                <a:gd name="connsiteY289" fmla="*/ 192200 h 332251"/>
                <a:gd name="connsiteX290" fmla="*/ 94312 w 224626"/>
                <a:gd name="connsiteY290" fmla="*/ 197869 h 332251"/>
                <a:gd name="connsiteX291" fmla="*/ 91479 w 224626"/>
                <a:gd name="connsiteY291" fmla="*/ 200267 h 332251"/>
                <a:gd name="connsiteX292" fmla="*/ 87993 w 224626"/>
                <a:gd name="connsiteY292" fmla="*/ 217489 h 332251"/>
                <a:gd name="connsiteX293" fmla="*/ 79277 w 224626"/>
                <a:gd name="connsiteY293" fmla="*/ 220977 h 332251"/>
                <a:gd name="connsiteX294" fmla="*/ 75354 w 224626"/>
                <a:gd name="connsiteY294" fmla="*/ 224902 h 332251"/>
                <a:gd name="connsiteX295" fmla="*/ 77969 w 224626"/>
                <a:gd name="connsiteY295" fmla="*/ 230570 h 332251"/>
                <a:gd name="connsiteX296" fmla="*/ 89082 w 224626"/>
                <a:gd name="connsiteY296" fmla="*/ 232532 h 332251"/>
                <a:gd name="connsiteX297" fmla="*/ 96055 w 224626"/>
                <a:gd name="connsiteY297" fmla="*/ 235802 h 332251"/>
                <a:gd name="connsiteX298" fmla="*/ 113924 w 224626"/>
                <a:gd name="connsiteY298" fmla="*/ 235366 h 332251"/>
                <a:gd name="connsiteX299" fmla="*/ 110219 w 224626"/>
                <a:gd name="connsiteY299" fmla="*/ 245612 h 332251"/>
                <a:gd name="connsiteX300" fmla="*/ 103682 w 224626"/>
                <a:gd name="connsiteY300" fmla="*/ 247792 h 332251"/>
                <a:gd name="connsiteX301" fmla="*/ 92787 w 224626"/>
                <a:gd name="connsiteY301" fmla="*/ 248882 h 332251"/>
                <a:gd name="connsiteX302" fmla="*/ 96055 w 224626"/>
                <a:gd name="connsiteY302" fmla="*/ 246702 h 332251"/>
                <a:gd name="connsiteX303" fmla="*/ 99324 w 224626"/>
                <a:gd name="connsiteY303" fmla="*/ 243432 h 332251"/>
                <a:gd name="connsiteX304" fmla="*/ 89736 w 224626"/>
                <a:gd name="connsiteY304" fmla="*/ 240162 h 332251"/>
                <a:gd name="connsiteX305" fmla="*/ 78841 w 224626"/>
                <a:gd name="connsiteY305" fmla="*/ 245394 h 332251"/>
                <a:gd name="connsiteX306" fmla="*/ 82109 w 224626"/>
                <a:gd name="connsiteY306" fmla="*/ 278531 h 332251"/>
                <a:gd name="connsiteX307" fmla="*/ 84070 w 224626"/>
                <a:gd name="connsiteY307" fmla="*/ 284636 h 332251"/>
                <a:gd name="connsiteX308" fmla="*/ 93441 w 224626"/>
                <a:gd name="connsiteY308" fmla="*/ 289432 h 332251"/>
                <a:gd name="connsiteX309" fmla="*/ 118936 w 224626"/>
                <a:gd name="connsiteY309" fmla="*/ 271773 h 332251"/>
                <a:gd name="connsiteX310" fmla="*/ 113706 w 224626"/>
                <a:gd name="connsiteY310" fmla="*/ 267413 h 332251"/>
                <a:gd name="connsiteX311" fmla="*/ 114360 w 224626"/>
                <a:gd name="connsiteY311" fmla="*/ 275043 h 332251"/>
                <a:gd name="connsiteX312" fmla="*/ 118936 w 224626"/>
                <a:gd name="connsiteY312" fmla="*/ 271773 h 332251"/>
                <a:gd name="connsiteX313" fmla="*/ 157069 w 224626"/>
                <a:gd name="connsiteY313" fmla="*/ 220541 h 332251"/>
                <a:gd name="connsiteX314" fmla="*/ 153365 w 224626"/>
                <a:gd name="connsiteY314" fmla="*/ 220105 h 332251"/>
                <a:gd name="connsiteX315" fmla="*/ 152711 w 224626"/>
                <a:gd name="connsiteY315" fmla="*/ 224902 h 332251"/>
                <a:gd name="connsiteX316" fmla="*/ 156416 w 224626"/>
                <a:gd name="connsiteY316" fmla="*/ 225338 h 332251"/>
                <a:gd name="connsiteX317" fmla="*/ 157069 w 224626"/>
                <a:gd name="connsiteY317" fmla="*/ 220541 h 332251"/>
                <a:gd name="connsiteX318" fmla="*/ 166875 w 224626"/>
                <a:gd name="connsiteY318" fmla="*/ 204191 h 332251"/>
                <a:gd name="connsiteX319" fmla="*/ 158159 w 224626"/>
                <a:gd name="connsiteY319" fmla="*/ 188930 h 332251"/>
                <a:gd name="connsiteX320" fmla="*/ 152929 w 224626"/>
                <a:gd name="connsiteY320" fmla="*/ 179338 h 332251"/>
                <a:gd name="connsiteX321" fmla="*/ 143559 w 224626"/>
                <a:gd name="connsiteY321" fmla="*/ 166912 h 332251"/>
                <a:gd name="connsiteX322" fmla="*/ 144867 w 224626"/>
                <a:gd name="connsiteY322" fmla="*/ 170182 h 332251"/>
                <a:gd name="connsiteX323" fmla="*/ 144213 w 224626"/>
                <a:gd name="connsiteY323" fmla="*/ 179338 h 332251"/>
                <a:gd name="connsiteX324" fmla="*/ 147264 w 224626"/>
                <a:gd name="connsiteY324" fmla="*/ 191764 h 332251"/>
                <a:gd name="connsiteX325" fmla="*/ 153801 w 224626"/>
                <a:gd name="connsiteY325" fmla="*/ 199395 h 332251"/>
                <a:gd name="connsiteX326" fmla="*/ 158813 w 224626"/>
                <a:gd name="connsiteY326" fmla="*/ 204409 h 332251"/>
                <a:gd name="connsiteX327" fmla="*/ 166875 w 224626"/>
                <a:gd name="connsiteY327" fmla="*/ 204191 h 332251"/>
                <a:gd name="connsiteX328" fmla="*/ 203920 w 224626"/>
                <a:gd name="connsiteY328" fmla="*/ 196561 h 332251"/>
                <a:gd name="connsiteX329" fmla="*/ 201740 w 224626"/>
                <a:gd name="connsiteY329" fmla="*/ 194380 h 332251"/>
                <a:gd name="connsiteX330" fmla="*/ 199561 w 224626"/>
                <a:gd name="connsiteY330" fmla="*/ 196561 h 332251"/>
                <a:gd name="connsiteX331" fmla="*/ 201740 w 224626"/>
                <a:gd name="connsiteY331" fmla="*/ 198741 h 332251"/>
                <a:gd name="connsiteX332" fmla="*/ 203920 w 224626"/>
                <a:gd name="connsiteY332" fmla="*/ 196561 h 332251"/>
                <a:gd name="connsiteX333" fmla="*/ 104772 w 224626"/>
                <a:gd name="connsiteY333" fmla="*/ 183044 h 332251"/>
                <a:gd name="connsiteX334" fmla="*/ 109130 w 224626"/>
                <a:gd name="connsiteY334" fmla="*/ 169746 h 332251"/>
                <a:gd name="connsiteX335" fmla="*/ 99324 w 224626"/>
                <a:gd name="connsiteY335" fmla="*/ 171708 h 332251"/>
                <a:gd name="connsiteX336" fmla="*/ 92787 w 224626"/>
                <a:gd name="connsiteY336" fmla="*/ 173452 h 332251"/>
                <a:gd name="connsiteX337" fmla="*/ 86250 w 224626"/>
                <a:gd name="connsiteY337" fmla="*/ 176940 h 332251"/>
                <a:gd name="connsiteX338" fmla="*/ 96055 w 224626"/>
                <a:gd name="connsiteY338" fmla="*/ 185660 h 332251"/>
                <a:gd name="connsiteX339" fmla="*/ 104772 w 224626"/>
                <a:gd name="connsiteY339" fmla="*/ 183044 h 332251"/>
                <a:gd name="connsiteX340" fmla="*/ 100196 w 224626"/>
                <a:gd name="connsiteY340" fmla="*/ 158845 h 332251"/>
                <a:gd name="connsiteX341" fmla="*/ 97145 w 224626"/>
                <a:gd name="connsiteY341" fmla="*/ 147291 h 332251"/>
                <a:gd name="connsiteX342" fmla="*/ 87993 w 224626"/>
                <a:gd name="connsiteY342" fmla="*/ 145329 h 332251"/>
                <a:gd name="connsiteX343" fmla="*/ 77969 w 224626"/>
                <a:gd name="connsiteY343" fmla="*/ 149253 h 332251"/>
                <a:gd name="connsiteX344" fmla="*/ 83853 w 224626"/>
                <a:gd name="connsiteY344" fmla="*/ 152523 h 332251"/>
                <a:gd name="connsiteX345" fmla="*/ 89954 w 224626"/>
                <a:gd name="connsiteY345" fmla="*/ 157537 h 332251"/>
                <a:gd name="connsiteX346" fmla="*/ 100196 w 224626"/>
                <a:gd name="connsiteY346" fmla="*/ 158845 h 332251"/>
                <a:gd name="connsiteX347" fmla="*/ 107822 w 224626"/>
                <a:gd name="connsiteY347" fmla="*/ 31747 h 332251"/>
                <a:gd name="connsiteX348" fmla="*/ 86903 w 224626"/>
                <a:gd name="connsiteY348" fmla="*/ 31529 h 332251"/>
                <a:gd name="connsiteX349" fmla="*/ 93876 w 224626"/>
                <a:gd name="connsiteY349" fmla="*/ 34363 h 332251"/>
                <a:gd name="connsiteX350" fmla="*/ 102157 w 224626"/>
                <a:gd name="connsiteY350" fmla="*/ 38505 h 332251"/>
                <a:gd name="connsiteX351" fmla="*/ 107169 w 224626"/>
                <a:gd name="connsiteY351" fmla="*/ 38505 h 332251"/>
                <a:gd name="connsiteX352" fmla="*/ 107822 w 224626"/>
                <a:gd name="connsiteY352" fmla="*/ 31747 h 332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Lst>
              <a:rect l="l" t="t" r="r" b="b"/>
              <a:pathLst>
                <a:path w="224626" h="332251">
                  <a:moveTo>
                    <a:pt x="82327" y="329327"/>
                  </a:moveTo>
                  <a:cubicBezTo>
                    <a:pt x="78623" y="323441"/>
                    <a:pt x="79059" y="319299"/>
                    <a:pt x="84724" y="311887"/>
                  </a:cubicBezTo>
                  <a:lnTo>
                    <a:pt x="89518" y="305128"/>
                  </a:lnTo>
                  <a:lnTo>
                    <a:pt x="83199" y="299896"/>
                  </a:lnTo>
                  <a:cubicBezTo>
                    <a:pt x="78405" y="295754"/>
                    <a:pt x="76444" y="295100"/>
                    <a:pt x="74047" y="297062"/>
                  </a:cubicBezTo>
                  <a:cubicBezTo>
                    <a:pt x="72521" y="298370"/>
                    <a:pt x="69907" y="299024"/>
                    <a:pt x="68381" y="298370"/>
                  </a:cubicBezTo>
                  <a:cubicBezTo>
                    <a:pt x="66638" y="297934"/>
                    <a:pt x="67945" y="295318"/>
                    <a:pt x="72739" y="291176"/>
                  </a:cubicBezTo>
                  <a:cubicBezTo>
                    <a:pt x="81020" y="283764"/>
                    <a:pt x="82109" y="277223"/>
                    <a:pt x="74918" y="277441"/>
                  </a:cubicBezTo>
                  <a:cubicBezTo>
                    <a:pt x="68163" y="277441"/>
                    <a:pt x="55307" y="296626"/>
                    <a:pt x="58357" y="301858"/>
                  </a:cubicBezTo>
                  <a:cubicBezTo>
                    <a:pt x="60319" y="305564"/>
                    <a:pt x="59883" y="306000"/>
                    <a:pt x="49859" y="309052"/>
                  </a:cubicBezTo>
                  <a:cubicBezTo>
                    <a:pt x="48334" y="309488"/>
                    <a:pt x="47026" y="312541"/>
                    <a:pt x="47026" y="315811"/>
                  </a:cubicBezTo>
                  <a:cubicBezTo>
                    <a:pt x="47244" y="321479"/>
                    <a:pt x="47462" y="321697"/>
                    <a:pt x="50077" y="317991"/>
                  </a:cubicBezTo>
                  <a:cubicBezTo>
                    <a:pt x="52256" y="315157"/>
                    <a:pt x="53563" y="314721"/>
                    <a:pt x="54653" y="316465"/>
                  </a:cubicBezTo>
                  <a:cubicBezTo>
                    <a:pt x="56832" y="319735"/>
                    <a:pt x="48334" y="327365"/>
                    <a:pt x="42450" y="327365"/>
                  </a:cubicBezTo>
                  <a:cubicBezTo>
                    <a:pt x="39617" y="327365"/>
                    <a:pt x="37438" y="325621"/>
                    <a:pt x="36785" y="323005"/>
                  </a:cubicBezTo>
                  <a:cubicBezTo>
                    <a:pt x="35695" y="319081"/>
                    <a:pt x="34388" y="318645"/>
                    <a:pt x="25018" y="319953"/>
                  </a:cubicBezTo>
                  <a:cubicBezTo>
                    <a:pt x="16083" y="321261"/>
                    <a:pt x="14340" y="320825"/>
                    <a:pt x="14340" y="317773"/>
                  </a:cubicBezTo>
                  <a:cubicBezTo>
                    <a:pt x="14340" y="315811"/>
                    <a:pt x="16083" y="314285"/>
                    <a:pt x="18045" y="314285"/>
                  </a:cubicBezTo>
                  <a:cubicBezTo>
                    <a:pt x="20224" y="314285"/>
                    <a:pt x="24146" y="311669"/>
                    <a:pt x="26761" y="308398"/>
                  </a:cubicBezTo>
                  <a:lnTo>
                    <a:pt x="31773" y="302294"/>
                  </a:lnTo>
                  <a:lnTo>
                    <a:pt x="35259" y="307308"/>
                  </a:lnTo>
                  <a:cubicBezTo>
                    <a:pt x="39399" y="312977"/>
                    <a:pt x="41143" y="313195"/>
                    <a:pt x="45937" y="308616"/>
                  </a:cubicBezTo>
                  <a:cubicBezTo>
                    <a:pt x="47898" y="306436"/>
                    <a:pt x="48769" y="303384"/>
                    <a:pt x="48116" y="300768"/>
                  </a:cubicBezTo>
                  <a:cubicBezTo>
                    <a:pt x="47244" y="298588"/>
                    <a:pt x="47898" y="295318"/>
                    <a:pt x="49205" y="293574"/>
                  </a:cubicBezTo>
                  <a:cubicBezTo>
                    <a:pt x="52474" y="289650"/>
                    <a:pt x="50513" y="283764"/>
                    <a:pt x="45937" y="283764"/>
                  </a:cubicBezTo>
                  <a:cubicBezTo>
                    <a:pt x="42450" y="283764"/>
                    <a:pt x="41361" y="278313"/>
                    <a:pt x="44629" y="276351"/>
                  </a:cubicBezTo>
                  <a:cubicBezTo>
                    <a:pt x="46808" y="274825"/>
                    <a:pt x="46590" y="257603"/>
                    <a:pt x="44193" y="253897"/>
                  </a:cubicBezTo>
                  <a:cubicBezTo>
                    <a:pt x="43322" y="252588"/>
                    <a:pt x="43322" y="249972"/>
                    <a:pt x="43976" y="248010"/>
                  </a:cubicBezTo>
                  <a:cubicBezTo>
                    <a:pt x="45283" y="244740"/>
                    <a:pt x="46373" y="244304"/>
                    <a:pt x="54217" y="243650"/>
                  </a:cubicBezTo>
                  <a:cubicBezTo>
                    <a:pt x="55960" y="243432"/>
                    <a:pt x="56832" y="247356"/>
                    <a:pt x="57268" y="255423"/>
                  </a:cubicBezTo>
                  <a:cubicBezTo>
                    <a:pt x="57268" y="261963"/>
                    <a:pt x="57486" y="270683"/>
                    <a:pt x="57704" y="274607"/>
                  </a:cubicBezTo>
                  <a:cubicBezTo>
                    <a:pt x="57922" y="283110"/>
                    <a:pt x="60101" y="283546"/>
                    <a:pt x="64895" y="275479"/>
                  </a:cubicBezTo>
                  <a:cubicBezTo>
                    <a:pt x="67074" y="272209"/>
                    <a:pt x="69907" y="267849"/>
                    <a:pt x="71432" y="265669"/>
                  </a:cubicBezTo>
                  <a:cubicBezTo>
                    <a:pt x="73829" y="262399"/>
                    <a:pt x="73611" y="261309"/>
                    <a:pt x="70778" y="259129"/>
                  </a:cubicBezTo>
                  <a:cubicBezTo>
                    <a:pt x="68599" y="257385"/>
                    <a:pt x="67510" y="253024"/>
                    <a:pt x="67727" y="245612"/>
                  </a:cubicBezTo>
                  <a:cubicBezTo>
                    <a:pt x="67727" y="239726"/>
                    <a:pt x="67074" y="233622"/>
                    <a:pt x="65984" y="232096"/>
                  </a:cubicBezTo>
                  <a:cubicBezTo>
                    <a:pt x="62716" y="227518"/>
                    <a:pt x="66420" y="221631"/>
                    <a:pt x="73611" y="219451"/>
                  </a:cubicBezTo>
                  <a:cubicBezTo>
                    <a:pt x="81891" y="216835"/>
                    <a:pt x="84070" y="212039"/>
                    <a:pt x="77751" y="210295"/>
                  </a:cubicBezTo>
                  <a:cubicBezTo>
                    <a:pt x="70996" y="208551"/>
                    <a:pt x="71650" y="199177"/>
                    <a:pt x="78623" y="196561"/>
                  </a:cubicBezTo>
                  <a:cubicBezTo>
                    <a:pt x="84724" y="194162"/>
                    <a:pt x="84942" y="193508"/>
                    <a:pt x="81891" y="187622"/>
                  </a:cubicBezTo>
                  <a:cubicBezTo>
                    <a:pt x="80148" y="184570"/>
                    <a:pt x="78187" y="183698"/>
                    <a:pt x="74265" y="184788"/>
                  </a:cubicBezTo>
                  <a:cubicBezTo>
                    <a:pt x="66420" y="186750"/>
                    <a:pt x="67074" y="180864"/>
                    <a:pt x="75354" y="174106"/>
                  </a:cubicBezTo>
                  <a:cubicBezTo>
                    <a:pt x="82109" y="168220"/>
                    <a:pt x="84288" y="159499"/>
                    <a:pt x="78841" y="159499"/>
                  </a:cubicBezTo>
                  <a:cubicBezTo>
                    <a:pt x="77097" y="159499"/>
                    <a:pt x="73611" y="162115"/>
                    <a:pt x="71214" y="165385"/>
                  </a:cubicBezTo>
                  <a:cubicBezTo>
                    <a:pt x="66202" y="171490"/>
                    <a:pt x="62716" y="171054"/>
                    <a:pt x="66202" y="164513"/>
                  </a:cubicBezTo>
                  <a:cubicBezTo>
                    <a:pt x="67292" y="162333"/>
                    <a:pt x="67727" y="157319"/>
                    <a:pt x="67292" y="153613"/>
                  </a:cubicBezTo>
                  <a:cubicBezTo>
                    <a:pt x="66202" y="147509"/>
                    <a:pt x="67074" y="145983"/>
                    <a:pt x="72957" y="142713"/>
                  </a:cubicBezTo>
                  <a:cubicBezTo>
                    <a:pt x="81020" y="138135"/>
                    <a:pt x="81020" y="137044"/>
                    <a:pt x="75136" y="128760"/>
                  </a:cubicBezTo>
                  <a:cubicBezTo>
                    <a:pt x="69471" y="120476"/>
                    <a:pt x="65984" y="120694"/>
                    <a:pt x="67727" y="128760"/>
                  </a:cubicBezTo>
                  <a:cubicBezTo>
                    <a:pt x="68599" y="133120"/>
                    <a:pt x="68163" y="135736"/>
                    <a:pt x="65984" y="137044"/>
                  </a:cubicBezTo>
                  <a:cubicBezTo>
                    <a:pt x="64241" y="137917"/>
                    <a:pt x="61844" y="140969"/>
                    <a:pt x="60319" y="143803"/>
                  </a:cubicBezTo>
                  <a:cubicBezTo>
                    <a:pt x="57486" y="149035"/>
                    <a:pt x="51602" y="150125"/>
                    <a:pt x="47462" y="145983"/>
                  </a:cubicBezTo>
                  <a:cubicBezTo>
                    <a:pt x="43976" y="142495"/>
                    <a:pt x="44193" y="137262"/>
                    <a:pt x="47898" y="132248"/>
                  </a:cubicBezTo>
                  <a:cubicBezTo>
                    <a:pt x="50513" y="128760"/>
                    <a:pt x="51384" y="128542"/>
                    <a:pt x="54217" y="130940"/>
                  </a:cubicBezTo>
                  <a:cubicBezTo>
                    <a:pt x="57922" y="133992"/>
                    <a:pt x="62280" y="132466"/>
                    <a:pt x="62280" y="128324"/>
                  </a:cubicBezTo>
                  <a:cubicBezTo>
                    <a:pt x="62280" y="124400"/>
                    <a:pt x="55525" y="120912"/>
                    <a:pt x="48116" y="121130"/>
                  </a:cubicBezTo>
                  <a:cubicBezTo>
                    <a:pt x="43540" y="121348"/>
                    <a:pt x="40925" y="122874"/>
                    <a:pt x="38964" y="126798"/>
                  </a:cubicBezTo>
                  <a:cubicBezTo>
                    <a:pt x="37438" y="130068"/>
                    <a:pt x="33298" y="132902"/>
                    <a:pt x="28068" y="134428"/>
                  </a:cubicBezTo>
                  <a:cubicBezTo>
                    <a:pt x="22403" y="136172"/>
                    <a:pt x="20006" y="137917"/>
                    <a:pt x="20442" y="140315"/>
                  </a:cubicBezTo>
                  <a:cubicBezTo>
                    <a:pt x="21095" y="144893"/>
                    <a:pt x="16955" y="147727"/>
                    <a:pt x="13904" y="144675"/>
                  </a:cubicBezTo>
                  <a:cubicBezTo>
                    <a:pt x="12161" y="142931"/>
                    <a:pt x="12161" y="141405"/>
                    <a:pt x="14122" y="139007"/>
                  </a:cubicBezTo>
                  <a:cubicBezTo>
                    <a:pt x="16301" y="136608"/>
                    <a:pt x="16083" y="135518"/>
                    <a:pt x="13033" y="133774"/>
                  </a:cubicBezTo>
                  <a:cubicBezTo>
                    <a:pt x="7149" y="130504"/>
                    <a:pt x="12815" y="122438"/>
                    <a:pt x="21095" y="122438"/>
                  </a:cubicBezTo>
                  <a:cubicBezTo>
                    <a:pt x="26325" y="122438"/>
                    <a:pt x="28068" y="121130"/>
                    <a:pt x="29812" y="115898"/>
                  </a:cubicBezTo>
                  <a:cubicBezTo>
                    <a:pt x="32426" y="108486"/>
                    <a:pt x="35041" y="107831"/>
                    <a:pt x="40925" y="113064"/>
                  </a:cubicBezTo>
                  <a:cubicBezTo>
                    <a:pt x="43758" y="115680"/>
                    <a:pt x="45719" y="115898"/>
                    <a:pt x="47244" y="114372"/>
                  </a:cubicBezTo>
                  <a:cubicBezTo>
                    <a:pt x="50077" y="111538"/>
                    <a:pt x="46155" y="102817"/>
                    <a:pt x="40707" y="99547"/>
                  </a:cubicBezTo>
                  <a:cubicBezTo>
                    <a:pt x="38092" y="98021"/>
                    <a:pt x="39617" y="96931"/>
                    <a:pt x="48116" y="95187"/>
                  </a:cubicBezTo>
                  <a:cubicBezTo>
                    <a:pt x="56614" y="93225"/>
                    <a:pt x="59229" y="91699"/>
                    <a:pt x="59665" y="88211"/>
                  </a:cubicBezTo>
                  <a:cubicBezTo>
                    <a:pt x="60319" y="83197"/>
                    <a:pt x="53563" y="79491"/>
                    <a:pt x="48987" y="82325"/>
                  </a:cubicBezTo>
                  <a:cubicBezTo>
                    <a:pt x="47680" y="82979"/>
                    <a:pt x="45719" y="82543"/>
                    <a:pt x="44847" y="80799"/>
                  </a:cubicBezTo>
                  <a:cubicBezTo>
                    <a:pt x="43322" y="78618"/>
                    <a:pt x="42450" y="78618"/>
                    <a:pt x="39617" y="80799"/>
                  </a:cubicBezTo>
                  <a:cubicBezTo>
                    <a:pt x="37656" y="82543"/>
                    <a:pt x="36131" y="85159"/>
                    <a:pt x="36131" y="86685"/>
                  </a:cubicBezTo>
                  <a:cubicBezTo>
                    <a:pt x="36131" y="90173"/>
                    <a:pt x="32644" y="90827"/>
                    <a:pt x="30683" y="87557"/>
                  </a:cubicBezTo>
                  <a:cubicBezTo>
                    <a:pt x="30029" y="86467"/>
                    <a:pt x="26107" y="85377"/>
                    <a:pt x="22185" y="85377"/>
                  </a:cubicBezTo>
                  <a:cubicBezTo>
                    <a:pt x="16737" y="85377"/>
                    <a:pt x="13904" y="83851"/>
                    <a:pt x="11072" y="79709"/>
                  </a:cubicBezTo>
                  <a:cubicBezTo>
                    <a:pt x="7803" y="74476"/>
                    <a:pt x="7149" y="74476"/>
                    <a:pt x="3663" y="77528"/>
                  </a:cubicBezTo>
                  <a:cubicBezTo>
                    <a:pt x="176" y="80799"/>
                    <a:pt x="-478" y="80581"/>
                    <a:pt x="-2657" y="75784"/>
                  </a:cubicBezTo>
                  <a:cubicBezTo>
                    <a:pt x="-5707" y="68808"/>
                    <a:pt x="-695" y="61396"/>
                    <a:pt x="7585" y="61396"/>
                  </a:cubicBezTo>
                  <a:cubicBezTo>
                    <a:pt x="11725" y="61396"/>
                    <a:pt x="14994" y="59434"/>
                    <a:pt x="18262" y="54856"/>
                  </a:cubicBezTo>
                  <a:cubicBezTo>
                    <a:pt x="23492" y="47879"/>
                    <a:pt x="24800" y="47443"/>
                    <a:pt x="29376" y="50278"/>
                  </a:cubicBezTo>
                  <a:cubicBezTo>
                    <a:pt x="34170" y="53330"/>
                    <a:pt x="24364" y="64448"/>
                    <a:pt x="16083" y="65756"/>
                  </a:cubicBezTo>
                  <a:cubicBezTo>
                    <a:pt x="12379" y="66410"/>
                    <a:pt x="8892" y="68154"/>
                    <a:pt x="8239" y="69898"/>
                  </a:cubicBezTo>
                  <a:cubicBezTo>
                    <a:pt x="7585" y="71860"/>
                    <a:pt x="8239" y="72296"/>
                    <a:pt x="9764" y="71424"/>
                  </a:cubicBezTo>
                  <a:cubicBezTo>
                    <a:pt x="11289" y="70552"/>
                    <a:pt x="13468" y="70770"/>
                    <a:pt x="14994" y="71860"/>
                  </a:cubicBezTo>
                  <a:cubicBezTo>
                    <a:pt x="18698" y="74912"/>
                    <a:pt x="44847" y="73604"/>
                    <a:pt x="47026" y="70116"/>
                  </a:cubicBezTo>
                  <a:cubicBezTo>
                    <a:pt x="49641" y="65974"/>
                    <a:pt x="47244" y="60306"/>
                    <a:pt x="40271" y="53548"/>
                  </a:cubicBezTo>
                  <a:cubicBezTo>
                    <a:pt x="36785" y="50278"/>
                    <a:pt x="33952" y="46135"/>
                    <a:pt x="33952" y="44609"/>
                  </a:cubicBezTo>
                  <a:cubicBezTo>
                    <a:pt x="33952" y="41339"/>
                    <a:pt x="36567" y="40903"/>
                    <a:pt x="39617" y="43737"/>
                  </a:cubicBezTo>
                  <a:cubicBezTo>
                    <a:pt x="40707" y="45045"/>
                    <a:pt x="47026" y="46135"/>
                    <a:pt x="53563" y="46353"/>
                  </a:cubicBezTo>
                  <a:cubicBezTo>
                    <a:pt x="61844" y="46789"/>
                    <a:pt x="67074" y="48315"/>
                    <a:pt x="70560" y="51368"/>
                  </a:cubicBezTo>
                  <a:cubicBezTo>
                    <a:pt x="74700" y="55074"/>
                    <a:pt x="75790" y="55292"/>
                    <a:pt x="78405" y="52458"/>
                  </a:cubicBezTo>
                  <a:cubicBezTo>
                    <a:pt x="80366" y="50496"/>
                    <a:pt x="81020" y="46789"/>
                    <a:pt x="80366" y="42211"/>
                  </a:cubicBezTo>
                  <a:cubicBezTo>
                    <a:pt x="79277" y="35889"/>
                    <a:pt x="78405" y="35017"/>
                    <a:pt x="74047" y="35889"/>
                  </a:cubicBezTo>
                  <a:cubicBezTo>
                    <a:pt x="66638" y="37197"/>
                    <a:pt x="67510" y="32619"/>
                    <a:pt x="75790" y="26515"/>
                  </a:cubicBezTo>
                  <a:cubicBezTo>
                    <a:pt x="81891" y="22155"/>
                    <a:pt x="85160" y="21283"/>
                    <a:pt x="96927" y="21719"/>
                  </a:cubicBezTo>
                  <a:cubicBezTo>
                    <a:pt x="104554" y="21937"/>
                    <a:pt x="112181" y="23245"/>
                    <a:pt x="113924" y="24771"/>
                  </a:cubicBezTo>
                  <a:cubicBezTo>
                    <a:pt x="116539" y="26951"/>
                    <a:pt x="117846" y="26733"/>
                    <a:pt x="120243" y="23245"/>
                  </a:cubicBezTo>
                  <a:cubicBezTo>
                    <a:pt x="124601" y="17358"/>
                    <a:pt x="124165" y="14960"/>
                    <a:pt x="117846" y="9510"/>
                  </a:cubicBezTo>
                  <a:cubicBezTo>
                    <a:pt x="111745" y="4060"/>
                    <a:pt x="112398" y="354"/>
                    <a:pt x="119371" y="354"/>
                  </a:cubicBezTo>
                  <a:cubicBezTo>
                    <a:pt x="121768" y="354"/>
                    <a:pt x="124165" y="2098"/>
                    <a:pt x="124819" y="4714"/>
                  </a:cubicBezTo>
                  <a:cubicBezTo>
                    <a:pt x="125473" y="7112"/>
                    <a:pt x="128306" y="9728"/>
                    <a:pt x="131138" y="10382"/>
                  </a:cubicBezTo>
                  <a:cubicBezTo>
                    <a:pt x="134189" y="11254"/>
                    <a:pt x="136368" y="13434"/>
                    <a:pt x="136368" y="15614"/>
                  </a:cubicBezTo>
                  <a:cubicBezTo>
                    <a:pt x="136368" y="21283"/>
                    <a:pt x="110655" y="46135"/>
                    <a:pt x="105425" y="45481"/>
                  </a:cubicBezTo>
                  <a:cubicBezTo>
                    <a:pt x="99106" y="44827"/>
                    <a:pt x="95402" y="51368"/>
                    <a:pt x="98888" y="57036"/>
                  </a:cubicBezTo>
                  <a:cubicBezTo>
                    <a:pt x="100196" y="59434"/>
                    <a:pt x="101503" y="62922"/>
                    <a:pt x="101503" y="64666"/>
                  </a:cubicBezTo>
                  <a:cubicBezTo>
                    <a:pt x="101503" y="66628"/>
                    <a:pt x="103900" y="69244"/>
                    <a:pt x="106951" y="70552"/>
                  </a:cubicBezTo>
                  <a:cubicBezTo>
                    <a:pt x="113270" y="73386"/>
                    <a:pt x="114142" y="79927"/>
                    <a:pt x="108912" y="85595"/>
                  </a:cubicBezTo>
                  <a:cubicBezTo>
                    <a:pt x="106297" y="88647"/>
                    <a:pt x="106079" y="90391"/>
                    <a:pt x="108040" y="94097"/>
                  </a:cubicBezTo>
                  <a:cubicBezTo>
                    <a:pt x="111091" y="99983"/>
                    <a:pt x="109348" y="102163"/>
                    <a:pt x="104554" y="98457"/>
                  </a:cubicBezTo>
                  <a:cubicBezTo>
                    <a:pt x="101721" y="96059"/>
                    <a:pt x="100849" y="96059"/>
                    <a:pt x="99324" y="98239"/>
                  </a:cubicBezTo>
                  <a:cubicBezTo>
                    <a:pt x="98452" y="99765"/>
                    <a:pt x="98234" y="103035"/>
                    <a:pt x="98670" y="105215"/>
                  </a:cubicBezTo>
                  <a:cubicBezTo>
                    <a:pt x="99978" y="110012"/>
                    <a:pt x="95837" y="115898"/>
                    <a:pt x="91479" y="115898"/>
                  </a:cubicBezTo>
                  <a:cubicBezTo>
                    <a:pt x="89300" y="115898"/>
                    <a:pt x="88864" y="113500"/>
                    <a:pt x="89954" y="105869"/>
                  </a:cubicBezTo>
                  <a:cubicBezTo>
                    <a:pt x="91261" y="96059"/>
                    <a:pt x="91261" y="96059"/>
                    <a:pt x="85160" y="96713"/>
                  </a:cubicBezTo>
                  <a:cubicBezTo>
                    <a:pt x="77097" y="97585"/>
                    <a:pt x="73611" y="92135"/>
                    <a:pt x="77097" y="84505"/>
                  </a:cubicBezTo>
                  <a:cubicBezTo>
                    <a:pt x="78841" y="80581"/>
                    <a:pt x="81238" y="78836"/>
                    <a:pt x="85160" y="78836"/>
                  </a:cubicBezTo>
                  <a:cubicBezTo>
                    <a:pt x="91044" y="78836"/>
                    <a:pt x="91697" y="80145"/>
                    <a:pt x="88429" y="85377"/>
                  </a:cubicBezTo>
                  <a:cubicBezTo>
                    <a:pt x="86032" y="89301"/>
                    <a:pt x="89518" y="91917"/>
                    <a:pt x="95184" y="90391"/>
                  </a:cubicBezTo>
                  <a:cubicBezTo>
                    <a:pt x="98234" y="89519"/>
                    <a:pt x="98888" y="87993"/>
                    <a:pt x="98017" y="84505"/>
                  </a:cubicBezTo>
                  <a:cubicBezTo>
                    <a:pt x="97363" y="81889"/>
                    <a:pt x="98017" y="77092"/>
                    <a:pt x="99106" y="73822"/>
                  </a:cubicBezTo>
                  <a:cubicBezTo>
                    <a:pt x="101067" y="68590"/>
                    <a:pt x="100849" y="67936"/>
                    <a:pt x="96055" y="66628"/>
                  </a:cubicBezTo>
                  <a:cubicBezTo>
                    <a:pt x="93223" y="65974"/>
                    <a:pt x="90390" y="64012"/>
                    <a:pt x="89736" y="62486"/>
                  </a:cubicBezTo>
                  <a:cubicBezTo>
                    <a:pt x="89082" y="60742"/>
                    <a:pt x="85160" y="59870"/>
                    <a:pt x="78405" y="60088"/>
                  </a:cubicBezTo>
                  <a:cubicBezTo>
                    <a:pt x="70124" y="60306"/>
                    <a:pt x="67727" y="59434"/>
                    <a:pt x="65113" y="55510"/>
                  </a:cubicBezTo>
                  <a:cubicBezTo>
                    <a:pt x="59883" y="47661"/>
                    <a:pt x="57922" y="49623"/>
                    <a:pt x="57922" y="62486"/>
                  </a:cubicBezTo>
                  <a:cubicBezTo>
                    <a:pt x="57922" y="69026"/>
                    <a:pt x="58575" y="74476"/>
                    <a:pt x="59665" y="74476"/>
                  </a:cubicBezTo>
                  <a:cubicBezTo>
                    <a:pt x="60536" y="74476"/>
                    <a:pt x="65984" y="72950"/>
                    <a:pt x="71868" y="71206"/>
                  </a:cubicBezTo>
                  <a:cubicBezTo>
                    <a:pt x="85378" y="67064"/>
                    <a:pt x="89082" y="67064"/>
                    <a:pt x="81456" y="71206"/>
                  </a:cubicBezTo>
                  <a:cubicBezTo>
                    <a:pt x="78187" y="72950"/>
                    <a:pt x="75136" y="76438"/>
                    <a:pt x="74265" y="78836"/>
                  </a:cubicBezTo>
                  <a:cubicBezTo>
                    <a:pt x="73611" y="81235"/>
                    <a:pt x="71868" y="83197"/>
                    <a:pt x="70778" y="83197"/>
                  </a:cubicBezTo>
                  <a:cubicBezTo>
                    <a:pt x="69689" y="83197"/>
                    <a:pt x="68817" y="87557"/>
                    <a:pt x="68817" y="92789"/>
                  </a:cubicBezTo>
                  <a:cubicBezTo>
                    <a:pt x="68817" y="101291"/>
                    <a:pt x="68163" y="102599"/>
                    <a:pt x="64023" y="103253"/>
                  </a:cubicBezTo>
                  <a:cubicBezTo>
                    <a:pt x="60319" y="103689"/>
                    <a:pt x="58793" y="105651"/>
                    <a:pt x="58357" y="109794"/>
                  </a:cubicBezTo>
                  <a:cubicBezTo>
                    <a:pt x="57922" y="113282"/>
                    <a:pt x="58575" y="115898"/>
                    <a:pt x="59883" y="115898"/>
                  </a:cubicBezTo>
                  <a:cubicBezTo>
                    <a:pt x="62280" y="115898"/>
                    <a:pt x="68163" y="110448"/>
                    <a:pt x="69253" y="106959"/>
                  </a:cubicBezTo>
                  <a:cubicBezTo>
                    <a:pt x="70124" y="104125"/>
                    <a:pt x="77533" y="107613"/>
                    <a:pt x="84506" y="114372"/>
                  </a:cubicBezTo>
                  <a:cubicBezTo>
                    <a:pt x="89736" y="119168"/>
                    <a:pt x="89518" y="122438"/>
                    <a:pt x="84070" y="122438"/>
                  </a:cubicBezTo>
                  <a:cubicBezTo>
                    <a:pt x="81674" y="122438"/>
                    <a:pt x="79712" y="121348"/>
                    <a:pt x="79712" y="119822"/>
                  </a:cubicBezTo>
                  <a:cubicBezTo>
                    <a:pt x="79712" y="118514"/>
                    <a:pt x="79059" y="117860"/>
                    <a:pt x="78405" y="118732"/>
                  </a:cubicBezTo>
                  <a:cubicBezTo>
                    <a:pt x="77751" y="119386"/>
                    <a:pt x="79930" y="123528"/>
                    <a:pt x="83417" y="127888"/>
                  </a:cubicBezTo>
                  <a:cubicBezTo>
                    <a:pt x="91479" y="137917"/>
                    <a:pt x="98670" y="137699"/>
                    <a:pt x="97581" y="127452"/>
                  </a:cubicBezTo>
                  <a:cubicBezTo>
                    <a:pt x="96927" y="120694"/>
                    <a:pt x="97363" y="120258"/>
                    <a:pt x="103464" y="120258"/>
                  </a:cubicBezTo>
                  <a:cubicBezTo>
                    <a:pt x="109130" y="120258"/>
                    <a:pt x="110219" y="119386"/>
                    <a:pt x="110219" y="115026"/>
                  </a:cubicBezTo>
                  <a:cubicBezTo>
                    <a:pt x="110219" y="112192"/>
                    <a:pt x="111745" y="108486"/>
                    <a:pt x="113706" y="106959"/>
                  </a:cubicBezTo>
                  <a:cubicBezTo>
                    <a:pt x="116757" y="104561"/>
                    <a:pt x="117628" y="104779"/>
                    <a:pt x="120243" y="108267"/>
                  </a:cubicBezTo>
                  <a:cubicBezTo>
                    <a:pt x="124165" y="113718"/>
                    <a:pt x="124165" y="120040"/>
                    <a:pt x="120025" y="121566"/>
                  </a:cubicBezTo>
                  <a:cubicBezTo>
                    <a:pt x="115885" y="123310"/>
                    <a:pt x="108040" y="136826"/>
                    <a:pt x="108040" y="142277"/>
                  </a:cubicBezTo>
                  <a:cubicBezTo>
                    <a:pt x="108040" y="145547"/>
                    <a:pt x="109348" y="146637"/>
                    <a:pt x="113052" y="146201"/>
                  </a:cubicBezTo>
                  <a:cubicBezTo>
                    <a:pt x="119371" y="145329"/>
                    <a:pt x="123294" y="147945"/>
                    <a:pt x="123294" y="153177"/>
                  </a:cubicBezTo>
                  <a:cubicBezTo>
                    <a:pt x="123294" y="156665"/>
                    <a:pt x="122204" y="157101"/>
                    <a:pt x="117846" y="156011"/>
                  </a:cubicBezTo>
                  <a:cubicBezTo>
                    <a:pt x="109130" y="153831"/>
                    <a:pt x="107822" y="161025"/>
                    <a:pt x="115885" y="167566"/>
                  </a:cubicBezTo>
                  <a:cubicBezTo>
                    <a:pt x="119371" y="170182"/>
                    <a:pt x="122858" y="172580"/>
                    <a:pt x="123512" y="172580"/>
                  </a:cubicBezTo>
                  <a:cubicBezTo>
                    <a:pt x="125037" y="172580"/>
                    <a:pt x="134189" y="154485"/>
                    <a:pt x="134189" y="151651"/>
                  </a:cubicBezTo>
                  <a:cubicBezTo>
                    <a:pt x="134189" y="150561"/>
                    <a:pt x="131356" y="146419"/>
                    <a:pt x="127652" y="142495"/>
                  </a:cubicBezTo>
                  <a:cubicBezTo>
                    <a:pt x="124165" y="138571"/>
                    <a:pt x="121115" y="134646"/>
                    <a:pt x="121115" y="133774"/>
                  </a:cubicBezTo>
                  <a:cubicBezTo>
                    <a:pt x="121115" y="132902"/>
                    <a:pt x="125691" y="132248"/>
                    <a:pt x="131574" y="132248"/>
                  </a:cubicBezTo>
                  <a:lnTo>
                    <a:pt x="141816" y="132248"/>
                  </a:lnTo>
                  <a:lnTo>
                    <a:pt x="142905" y="143149"/>
                  </a:lnTo>
                  <a:cubicBezTo>
                    <a:pt x="143777" y="152523"/>
                    <a:pt x="144431" y="153395"/>
                    <a:pt x="146392" y="149907"/>
                  </a:cubicBezTo>
                  <a:cubicBezTo>
                    <a:pt x="148135" y="147073"/>
                    <a:pt x="150096" y="146201"/>
                    <a:pt x="152711" y="147291"/>
                  </a:cubicBezTo>
                  <a:cubicBezTo>
                    <a:pt x="156416" y="148599"/>
                    <a:pt x="156416" y="151215"/>
                    <a:pt x="152929" y="159717"/>
                  </a:cubicBezTo>
                  <a:cubicBezTo>
                    <a:pt x="150968" y="164077"/>
                    <a:pt x="158159" y="167566"/>
                    <a:pt x="160556" y="163423"/>
                  </a:cubicBezTo>
                  <a:cubicBezTo>
                    <a:pt x="161428" y="161897"/>
                    <a:pt x="163171" y="161461"/>
                    <a:pt x="164043" y="162551"/>
                  </a:cubicBezTo>
                  <a:cubicBezTo>
                    <a:pt x="164914" y="163641"/>
                    <a:pt x="164478" y="164949"/>
                    <a:pt x="163171" y="165385"/>
                  </a:cubicBezTo>
                  <a:cubicBezTo>
                    <a:pt x="157069" y="167566"/>
                    <a:pt x="162081" y="184788"/>
                    <a:pt x="172105" y="195471"/>
                  </a:cubicBezTo>
                  <a:cubicBezTo>
                    <a:pt x="177335" y="201139"/>
                    <a:pt x="178424" y="201575"/>
                    <a:pt x="182565" y="198959"/>
                  </a:cubicBezTo>
                  <a:cubicBezTo>
                    <a:pt x="186487" y="196561"/>
                    <a:pt x="187359" y="196561"/>
                    <a:pt x="189102" y="199613"/>
                  </a:cubicBezTo>
                  <a:cubicBezTo>
                    <a:pt x="192370" y="205499"/>
                    <a:pt x="194550" y="203537"/>
                    <a:pt x="194332" y="195034"/>
                  </a:cubicBezTo>
                  <a:cubicBezTo>
                    <a:pt x="194114" y="188930"/>
                    <a:pt x="193242" y="186750"/>
                    <a:pt x="190627" y="186750"/>
                  </a:cubicBezTo>
                  <a:cubicBezTo>
                    <a:pt x="188666" y="186750"/>
                    <a:pt x="185397" y="185442"/>
                    <a:pt x="183436" y="183698"/>
                  </a:cubicBezTo>
                  <a:cubicBezTo>
                    <a:pt x="181475" y="181954"/>
                    <a:pt x="177771" y="181300"/>
                    <a:pt x="174720" y="182172"/>
                  </a:cubicBezTo>
                  <a:cubicBezTo>
                    <a:pt x="171669" y="182826"/>
                    <a:pt x="168619" y="182390"/>
                    <a:pt x="167965" y="181082"/>
                  </a:cubicBezTo>
                  <a:cubicBezTo>
                    <a:pt x="167093" y="179774"/>
                    <a:pt x="168619" y="178248"/>
                    <a:pt x="171233" y="177594"/>
                  </a:cubicBezTo>
                  <a:cubicBezTo>
                    <a:pt x="174502" y="176722"/>
                    <a:pt x="175592" y="175196"/>
                    <a:pt x="174938" y="172362"/>
                  </a:cubicBezTo>
                  <a:cubicBezTo>
                    <a:pt x="174066" y="169310"/>
                    <a:pt x="174938" y="168220"/>
                    <a:pt x="177771" y="168220"/>
                  </a:cubicBezTo>
                  <a:cubicBezTo>
                    <a:pt x="180168" y="168220"/>
                    <a:pt x="182565" y="169310"/>
                    <a:pt x="183218" y="170400"/>
                  </a:cubicBezTo>
                  <a:cubicBezTo>
                    <a:pt x="185615" y="174324"/>
                    <a:pt x="192370" y="172798"/>
                    <a:pt x="195639" y="167784"/>
                  </a:cubicBezTo>
                  <a:cubicBezTo>
                    <a:pt x="198472" y="163641"/>
                    <a:pt x="199561" y="163205"/>
                    <a:pt x="202394" y="165603"/>
                  </a:cubicBezTo>
                  <a:cubicBezTo>
                    <a:pt x="205227" y="168002"/>
                    <a:pt x="205445" y="169310"/>
                    <a:pt x="203266" y="172798"/>
                  </a:cubicBezTo>
                  <a:cubicBezTo>
                    <a:pt x="199126" y="179556"/>
                    <a:pt x="203920" y="184788"/>
                    <a:pt x="213507" y="183916"/>
                  </a:cubicBezTo>
                  <a:cubicBezTo>
                    <a:pt x="223967" y="183044"/>
                    <a:pt x="223749" y="186532"/>
                    <a:pt x="211764" y="199831"/>
                  </a:cubicBezTo>
                  <a:cubicBezTo>
                    <a:pt x="202612" y="210295"/>
                    <a:pt x="201958" y="210731"/>
                    <a:pt x="195639" y="208333"/>
                  </a:cubicBezTo>
                  <a:cubicBezTo>
                    <a:pt x="191935" y="207025"/>
                    <a:pt x="186269" y="206371"/>
                    <a:pt x="182783" y="207025"/>
                  </a:cubicBezTo>
                  <a:cubicBezTo>
                    <a:pt x="176245" y="208115"/>
                    <a:pt x="162517" y="217489"/>
                    <a:pt x="162517" y="220977"/>
                  </a:cubicBezTo>
                  <a:cubicBezTo>
                    <a:pt x="162517" y="222067"/>
                    <a:pt x="166439" y="226864"/>
                    <a:pt x="171451" y="231660"/>
                  </a:cubicBezTo>
                  <a:cubicBezTo>
                    <a:pt x="177771" y="237764"/>
                    <a:pt x="179950" y="241470"/>
                    <a:pt x="178860" y="244086"/>
                  </a:cubicBezTo>
                  <a:cubicBezTo>
                    <a:pt x="177989" y="246048"/>
                    <a:pt x="176681" y="249536"/>
                    <a:pt x="176245" y="251716"/>
                  </a:cubicBezTo>
                  <a:cubicBezTo>
                    <a:pt x="174720" y="256731"/>
                    <a:pt x="171233" y="256513"/>
                    <a:pt x="171233" y="251280"/>
                  </a:cubicBezTo>
                  <a:cubicBezTo>
                    <a:pt x="171233" y="244522"/>
                    <a:pt x="162735" y="231442"/>
                    <a:pt x="159031" y="232968"/>
                  </a:cubicBezTo>
                  <a:cubicBezTo>
                    <a:pt x="155108" y="234494"/>
                    <a:pt x="155108" y="234930"/>
                    <a:pt x="160338" y="241906"/>
                  </a:cubicBezTo>
                  <a:cubicBezTo>
                    <a:pt x="164478" y="247356"/>
                    <a:pt x="164696" y="249318"/>
                    <a:pt x="162517" y="263925"/>
                  </a:cubicBezTo>
                  <a:cubicBezTo>
                    <a:pt x="160338" y="279185"/>
                    <a:pt x="160556" y="280493"/>
                    <a:pt x="165132" y="285290"/>
                  </a:cubicBezTo>
                  <a:cubicBezTo>
                    <a:pt x="171233" y="291612"/>
                    <a:pt x="175374" y="288778"/>
                    <a:pt x="171669" y="280493"/>
                  </a:cubicBezTo>
                  <a:cubicBezTo>
                    <a:pt x="170362" y="277441"/>
                    <a:pt x="169926" y="275043"/>
                    <a:pt x="171016" y="275043"/>
                  </a:cubicBezTo>
                  <a:cubicBezTo>
                    <a:pt x="172105" y="275043"/>
                    <a:pt x="173413" y="276569"/>
                    <a:pt x="174284" y="278313"/>
                  </a:cubicBezTo>
                  <a:cubicBezTo>
                    <a:pt x="174938" y="280057"/>
                    <a:pt x="177553" y="281583"/>
                    <a:pt x="179950" y="281583"/>
                  </a:cubicBezTo>
                  <a:cubicBezTo>
                    <a:pt x="182347" y="281583"/>
                    <a:pt x="184308" y="282674"/>
                    <a:pt x="184308" y="283764"/>
                  </a:cubicBezTo>
                  <a:cubicBezTo>
                    <a:pt x="184308" y="285072"/>
                    <a:pt x="186705" y="287034"/>
                    <a:pt x="189756" y="288124"/>
                  </a:cubicBezTo>
                  <a:cubicBezTo>
                    <a:pt x="192806" y="289214"/>
                    <a:pt x="195203" y="291176"/>
                    <a:pt x="195203" y="292266"/>
                  </a:cubicBezTo>
                  <a:cubicBezTo>
                    <a:pt x="195203" y="295536"/>
                    <a:pt x="190191" y="297934"/>
                    <a:pt x="189102" y="295100"/>
                  </a:cubicBezTo>
                  <a:cubicBezTo>
                    <a:pt x="187577" y="290304"/>
                    <a:pt x="184526" y="292484"/>
                    <a:pt x="181911" y="300114"/>
                  </a:cubicBezTo>
                  <a:cubicBezTo>
                    <a:pt x="178424" y="309488"/>
                    <a:pt x="173413" y="310142"/>
                    <a:pt x="173413" y="301422"/>
                  </a:cubicBezTo>
                  <a:cubicBezTo>
                    <a:pt x="173413" y="294882"/>
                    <a:pt x="167965" y="290522"/>
                    <a:pt x="164043" y="294446"/>
                  </a:cubicBezTo>
                  <a:cubicBezTo>
                    <a:pt x="162953" y="295536"/>
                    <a:pt x="160338" y="295754"/>
                    <a:pt x="157941" y="295318"/>
                  </a:cubicBezTo>
                  <a:cubicBezTo>
                    <a:pt x="154890" y="294446"/>
                    <a:pt x="154455" y="293356"/>
                    <a:pt x="155980" y="290304"/>
                  </a:cubicBezTo>
                  <a:cubicBezTo>
                    <a:pt x="158595" y="285290"/>
                    <a:pt x="158813" y="281583"/>
                    <a:pt x="156198" y="281583"/>
                  </a:cubicBezTo>
                  <a:cubicBezTo>
                    <a:pt x="155108" y="281583"/>
                    <a:pt x="153147" y="284636"/>
                    <a:pt x="151622" y="288124"/>
                  </a:cubicBezTo>
                  <a:cubicBezTo>
                    <a:pt x="150096" y="291830"/>
                    <a:pt x="147482" y="294664"/>
                    <a:pt x="145738" y="294664"/>
                  </a:cubicBezTo>
                  <a:cubicBezTo>
                    <a:pt x="143777" y="294664"/>
                    <a:pt x="142905" y="295972"/>
                    <a:pt x="143777" y="297934"/>
                  </a:cubicBezTo>
                  <a:cubicBezTo>
                    <a:pt x="144649" y="300768"/>
                    <a:pt x="144213" y="300986"/>
                    <a:pt x="140726" y="299024"/>
                  </a:cubicBezTo>
                  <a:cubicBezTo>
                    <a:pt x="138329" y="297716"/>
                    <a:pt x="136368" y="295318"/>
                    <a:pt x="136368" y="293574"/>
                  </a:cubicBezTo>
                  <a:cubicBezTo>
                    <a:pt x="136368" y="291830"/>
                    <a:pt x="135061" y="290304"/>
                    <a:pt x="133318" y="290304"/>
                  </a:cubicBezTo>
                  <a:cubicBezTo>
                    <a:pt x="128524" y="290304"/>
                    <a:pt x="127216" y="294010"/>
                    <a:pt x="131138" y="295536"/>
                  </a:cubicBezTo>
                  <a:cubicBezTo>
                    <a:pt x="133753" y="296626"/>
                    <a:pt x="133971" y="297716"/>
                    <a:pt x="132446" y="299678"/>
                  </a:cubicBezTo>
                  <a:cubicBezTo>
                    <a:pt x="131138" y="301204"/>
                    <a:pt x="130703" y="306436"/>
                    <a:pt x="131356" y="311450"/>
                  </a:cubicBezTo>
                  <a:cubicBezTo>
                    <a:pt x="132446" y="319735"/>
                    <a:pt x="133100" y="320607"/>
                    <a:pt x="139419" y="321261"/>
                  </a:cubicBezTo>
                  <a:cubicBezTo>
                    <a:pt x="144649" y="321697"/>
                    <a:pt x="146392" y="323005"/>
                    <a:pt x="146828" y="327147"/>
                  </a:cubicBezTo>
                  <a:lnTo>
                    <a:pt x="147699" y="332379"/>
                  </a:lnTo>
                  <a:lnTo>
                    <a:pt x="140291" y="328019"/>
                  </a:lnTo>
                  <a:cubicBezTo>
                    <a:pt x="133753" y="324095"/>
                    <a:pt x="132228" y="324095"/>
                    <a:pt x="128742" y="326493"/>
                  </a:cubicBezTo>
                  <a:cubicBezTo>
                    <a:pt x="122204" y="331289"/>
                    <a:pt x="118064" y="330417"/>
                    <a:pt x="120025" y="324749"/>
                  </a:cubicBezTo>
                  <a:cubicBezTo>
                    <a:pt x="123730" y="312105"/>
                    <a:pt x="123948" y="309270"/>
                    <a:pt x="120243" y="307308"/>
                  </a:cubicBezTo>
                  <a:cubicBezTo>
                    <a:pt x="115667" y="304692"/>
                    <a:pt x="115667" y="299678"/>
                    <a:pt x="120679" y="298370"/>
                  </a:cubicBezTo>
                  <a:cubicBezTo>
                    <a:pt x="123512" y="297498"/>
                    <a:pt x="123512" y="297280"/>
                    <a:pt x="119807" y="297062"/>
                  </a:cubicBezTo>
                  <a:cubicBezTo>
                    <a:pt x="116539" y="296844"/>
                    <a:pt x="114795" y="294882"/>
                    <a:pt x="113924" y="290304"/>
                  </a:cubicBezTo>
                  <a:cubicBezTo>
                    <a:pt x="112616" y="284854"/>
                    <a:pt x="111527" y="283764"/>
                    <a:pt x="105861" y="283764"/>
                  </a:cubicBezTo>
                  <a:cubicBezTo>
                    <a:pt x="101285" y="283764"/>
                    <a:pt x="99324" y="284854"/>
                    <a:pt x="99324" y="287252"/>
                  </a:cubicBezTo>
                  <a:cubicBezTo>
                    <a:pt x="99324" y="292266"/>
                    <a:pt x="103682" y="299242"/>
                    <a:pt x="106079" y="297934"/>
                  </a:cubicBezTo>
                  <a:cubicBezTo>
                    <a:pt x="109784" y="295536"/>
                    <a:pt x="112834" y="299242"/>
                    <a:pt x="110001" y="302512"/>
                  </a:cubicBezTo>
                  <a:cubicBezTo>
                    <a:pt x="108040" y="304910"/>
                    <a:pt x="108258" y="306654"/>
                    <a:pt x="111309" y="309924"/>
                  </a:cubicBezTo>
                  <a:cubicBezTo>
                    <a:pt x="116975" y="316247"/>
                    <a:pt x="114142" y="321043"/>
                    <a:pt x="105425" y="319299"/>
                  </a:cubicBezTo>
                  <a:cubicBezTo>
                    <a:pt x="96055" y="317555"/>
                    <a:pt x="95620" y="317119"/>
                    <a:pt x="100631" y="313195"/>
                  </a:cubicBezTo>
                  <a:cubicBezTo>
                    <a:pt x="102811" y="311450"/>
                    <a:pt x="103682" y="309924"/>
                    <a:pt x="102593" y="309924"/>
                  </a:cubicBezTo>
                  <a:cubicBezTo>
                    <a:pt x="101285" y="309924"/>
                    <a:pt x="96927" y="312977"/>
                    <a:pt x="93005" y="316465"/>
                  </a:cubicBezTo>
                  <a:cubicBezTo>
                    <a:pt x="87993" y="321043"/>
                    <a:pt x="86032" y="324531"/>
                    <a:pt x="86903" y="327365"/>
                  </a:cubicBezTo>
                  <a:cubicBezTo>
                    <a:pt x="88429" y="333251"/>
                    <a:pt x="85596" y="334559"/>
                    <a:pt x="82327" y="329327"/>
                  </a:cubicBezTo>
                  <a:close/>
                  <a:moveTo>
                    <a:pt x="93441" y="289432"/>
                  </a:moveTo>
                  <a:cubicBezTo>
                    <a:pt x="98017" y="285944"/>
                    <a:pt x="98234" y="283764"/>
                    <a:pt x="93876" y="283764"/>
                  </a:cubicBezTo>
                  <a:cubicBezTo>
                    <a:pt x="92133" y="283764"/>
                    <a:pt x="90608" y="282237"/>
                    <a:pt x="90608" y="280493"/>
                  </a:cubicBezTo>
                  <a:cubicBezTo>
                    <a:pt x="90608" y="278749"/>
                    <a:pt x="92569" y="277223"/>
                    <a:pt x="94966" y="277223"/>
                  </a:cubicBezTo>
                  <a:cubicBezTo>
                    <a:pt x="98017" y="277223"/>
                    <a:pt x="99324" y="275697"/>
                    <a:pt x="99324" y="272645"/>
                  </a:cubicBezTo>
                  <a:cubicBezTo>
                    <a:pt x="99324" y="269157"/>
                    <a:pt x="98452" y="268503"/>
                    <a:pt x="94966" y="269593"/>
                  </a:cubicBezTo>
                  <a:cubicBezTo>
                    <a:pt x="92133" y="270465"/>
                    <a:pt x="90608" y="270029"/>
                    <a:pt x="90608" y="268285"/>
                  </a:cubicBezTo>
                  <a:cubicBezTo>
                    <a:pt x="90608" y="266759"/>
                    <a:pt x="89082" y="263925"/>
                    <a:pt x="87121" y="261745"/>
                  </a:cubicBezTo>
                  <a:cubicBezTo>
                    <a:pt x="83417" y="257603"/>
                    <a:pt x="84288" y="251062"/>
                    <a:pt x="88429" y="251062"/>
                  </a:cubicBezTo>
                  <a:cubicBezTo>
                    <a:pt x="89518" y="251062"/>
                    <a:pt x="90608" y="253024"/>
                    <a:pt x="90608" y="255205"/>
                  </a:cubicBezTo>
                  <a:cubicBezTo>
                    <a:pt x="90608" y="260437"/>
                    <a:pt x="105208" y="262835"/>
                    <a:pt x="110437" y="258475"/>
                  </a:cubicBezTo>
                  <a:cubicBezTo>
                    <a:pt x="118500" y="251498"/>
                    <a:pt x="123730" y="259347"/>
                    <a:pt x="121768" y="274825"/>
                  </a:cubicBezTo>
                  <a:cubicBezTo>
                    <a:pt x="120679" y="283328"/>
                    <a:pt x="120897" y="283764"/>
                    <a:pt x="126127" y="283764"/>
                  </a:cubicBezTo>
                  <a:cubicBezTo>
                    <a:pt x="129177" y="283764"/>
                    <a:pt x="132010" y="282456"/>
                    <a:pt x="132664" y="281147"/>
                  </a:cubicBezTo>
                  <a:cubicBezTo>
                    <a:pt x="133318" y="278967"/>
                    <a:pt x="134189" y="278967"/>
                    <a:pt x="136804" y="281147"/>
                  </a:cubicBezTo>
                  <a:cubicBezTo>
                    <a:pt x="139637" y="283328"/>
                    <a:pt x="140944" y="283328"/>
                    <a:pt x="143995" y="280275"/>
                  </a:cubicBezTo>
                  <a:cubicBezTo>
                    <a:pt x="147264" y="276787"/>
                    <a:pt x="147264" y="276351"/>
                    <a:pt x="142905" y="271991"/>
                  </a:cubicBezTo>
                  <a:cubicBezTo>
                    <a:pt x="138329" y="267413"/>
                    <a:pt x="138329" y="267413"/>
                    <a:pt x="135061" y="271555"/>
                  </a:cubicBezTo>
                  <a:cubicBezTo>
                    <a:pt x="132228" y="275479"/>
                    <a:pt x="132010" y="275261"/>
                    <a:pt x="132010" y="267413"/>
                  </a:cubicBezTo>
                  <a:cubicBezTo>
                    <a:pt x="132010" y="258911"/>
                    <a:pt x="127216" y="251062"/>
                    <a:pt x="121768" y="251062"/>
                  </a:cubicBezTo>
                  <a:cubicBezTo>
                    <a:pt x="117410" y="251062"/>
                    <a:pt x="118500" y="247138"/>
                    <a:pt x="123730" y="244304"/>
                  </a:cubicBezTo>
                  <a:cubicBezTo>
                    <a:pt x="127652" y="242124"/>
                    <a:pt x="128959" y="242560"/>
                    <a:pt x="131356" y="245830"/>
                  </a:cubicBezTo>
                  <a:cubicBezTo>
                    <a:pt x="132882" y="248228"/>
                    <a:pt x="136804" y="252588"/>
                    <a:pt x="140073" y="256077"/>
                  </a:cubicBezTo>
                  <a:cubicBezTo>
                    <a:pt x="145302" y="261527"/>
                    <a:pt x="146174" y="261745"/>
                    <a:pt x="149661" y="258475"/>
                  </a:cubicBezTo>
                  <a:cubicBezTo>
                    <a:pt x="152493" y="255859"/>
                    <a:pt x="153365" y="252152"/>
                    <a:pt x="152929" y="242342"/>
                  </a:cubicBezTo>
                  <a:cubicBezTo>
                    <a:pt x="152493" y="227954"/>
                    <a:pt x="150968" y="225120"/>
                    <a:pt x="146174" y="229262"/>
                  </a:cubicBezTo>
                  <a:cubicBezTo>
                    <a:pt x="142252" y="232532"/>
                    <a:pt x="141816" y="238200"/>
                    <a:pt x="145520" y="241906"/>
                  </a:cubicBezTo>
                  <a:cubicBezTo>
                    <a:pt x="147046" y="243432"/>
                    <a:pt x="147264" y="244522"/>
                    <a:pt x="146392" y="244522"/>
                  </a:cubicBezTo>
                  <a:cubicBezTo>
                    <a:pt x="143995" y="244522"/>
                    <a:pt x="131574" y="234058"/>
                    <a:pt x="128088" y="228826"/>
                  </a:cubicBezTo>
                  <a:cubicBezTo>
                    <a:pt x="125473" y="225338"/>
                    <a:pt x="125691" y="224247"/>
                    <a:pt x="130267" y="220541"/>
                  </a:cubicBezTo>
                  <a:cubicBezTo>
                    <a:pt x="133753" y="217489"/>
                    <a:pt x="137240" y="216617"/>
                    <a:pt x="142252" y="217489"/>
                  </a:cubicBezTo>
                  <a:cubicBezTo>
                    <a:pt x="147699" y="218579"/>
                    <a:pt x="149661" y="217925"/>
                    <a:pt x="151404" y="214437"/>
                  </a:cubicBezTo>
                  <a:cubicBezTo>
                    <a:pt x="152711" y="211821"/>
                    <a:pt x="153801" y="208551"/>
                    <a:pt x="153801" y="207025"/>
                  </a:cubicBezTo>
                  <a:cubicBezTo>
                    <a:pt x="153583" y="202883"/>
                    <a:pt x="143777" y="196343"/>
                    <a:pt x="137022" y="195907"/>
                  </a:cubicBezTo>
                  <a:cubicBezTo>
                    <a:pt x="129395" y="195252"/>
                    <a:pt x="128088" y="200267"/>
                    <a:pt x="135061" y="203319"/>
                  </a:cubicBezTo>
                  <a:cubicBezTo>
                    <a:pt x="142688" y="206807"/>
                    <a:pt x="142688" y="212693"/>
                    <a:pt x="135279" y="210949"/>
                  </a:cubicBezTo>
                  <a:cubicBezTo>
                    <a:pt x="132228" y="210077"/>
                    <a:pt x="127870" y="210513"/>
                    <a:pt x="125473" y="211821"/>
                  </a:cubicBezTo>
                  <a:cubicBezTo>
                    <a:pt x="121986" y="213565"/>
                    <a:pt x="121115" y="213565"/>
                    <a:pt x="121115" y="210949"/>
                  </a:cubicBezTo>
                  <a:cubicBezTo>
                    <a:pt x="121115" y="206153"/>
                    <a:pt x="117846" y="205063"/>
                    <a:pt x="111309" y="207461"/>
                  </a:cubicBezTo>
                  <a:cubicBezTo>
                    <a:pt x="106515" y="209205"/>
                    <a:pt x="106079" y="210295"/>
                    <a:pt x="108040" y="213783"/>
                  </a:cubicBezTo>
                  <a:cubicBezTo>
                    <a:pt x="110655" y="218797"/>
                    <a:pt x="110873" y="222721"/>
                    <a:pt x="108258" y="226646"/>
                  </a:cubicBezTo>
                  <a:cubicBezTo>
                    <a:pt x="106951" y="228826"/>
                    <a:pt x="105425" y="229044"/>
                    <a:pt x="100849" y="226864"/>
                  </a:cubicBezTo>
                  <a:cubicBezTo>
                    <a:pt x="97581" y="225338"/>
                    <a:pt x="94966" y="223157"/>
                    <a:pt x="94966" y="221849"/>
                  </a:cubicBezTo>
                  <a:cubicBezTo>
                    <a:pt x="94966" y="215527"/>
                    <a:pt x="98017" y="209859"/>
                    <a:pt x="101503" y="208987"/>
                  </a:cubicBezTo>
                  <a:cubicBezTo>
                    <a:pt x="103682" y="208333"/>
                    <a:pt x="105861" y="205717"/>
                    <a:pt x="106297" y="202883"/>
                  </a:cubicBezTo>
                  <a:cubicBezTo>
                    <a:pt x="106733" y="198959"/>
                    <a:pt x="108258" y="197869"/>
                    <a:pt x="111963" y="198087"/>
                  </a:cubicBezTo>
                  <a:cubicBezTo>
                    <a:pt x="114578" y="198523"/>
                    <a:pt x="120897" y="196125"/>
                    <a:pt x="125909" y="193072"/>
                  </a:cubicBezTo>
                  <a:lnTo>
                    <a:pt x="134843" y="187404"/>
                  </a:lnTo>
                  <a:lnTo>
                    <a:pt x="130267" y="182826"/>
                  </a:lnTo>
                  <a:lnTo>
                    <a:pt x="125473" y="178248"/>
                  </a:lnTo>
                  <a:lnTo>
                    <a:pt x="120461" y="183044"/>
                  </a:lnTo>
                  <a:cubicBezTo>
                    <a:pt x="117628" y="185660"/>
                    <a:pt x="114795" y="187404"/>
                    <a:pt x="114142" y="186750"/>
                  </a:cubicBezTo>
                  <a:cubicBezTo>
                    <a:pt x="113488" y="186096"/>
                    <a:pt x="109566" y="188494"/>
                    <a:pt x="105643" y="192200"/>
                  </a:cubicBezTo>
                  <a:cubicBezTo>
                    <a:pt x="101067" y="196343"/>
                    <a:pt x="96709" y="198523"/>
                    <a:pt x="94312" y="197869"/>
                  </a:cubicBezTo>
                  <a:cubicBezTo>
                    <a:pt x="91261" y="197215"/>
                    <a:pt x="90608" y="197869"/>
                    <a:pt x="91479" y="200267"/>
                  </a:cubicBezTo>
                  <a:cubicBezTo>
                    <a:pt x="95837" y="211603"/>
                    <a:pt x="95402" y="213565"/>
                    <a:pt x="87993" y="217489"/>
                  </a:cubicBezTo>
                  <a:cubicBezTo>
                    <a:pt x="84070" y="219669"/>
                    <a:pt x="80148" y="221195"/>
                    <a:pt x="79277" y="220977"/>
                  </a:cubicBezTo>
                  <a:cubicBezTo>
                    <a:pt x="78405" y="220759"/>
                    <a:pt x="76662" y="222503"/>
                    <a:pt x="75354" y="224902"/>
                  </a:cubicBezTo>
                  <a:cubicBezTo>
                    <a:pt x="72521" y="230352"/>
                    <a:pt x="74918" y="235802"/>
                    <a:pt x="77969" y="230570"/>
                  </a:cubicBezTo>
                  <a:cubicBezTo>
                    <a:pt x="80584" y="225774"/>
                    <a:pt x="82545" y="226210"/>
                    <a:pt x="89082" y="232532"/>
                  </a:cubicBezTo>
                  <a:cubicBezTo>
                    <a:pt x="92351" y="236020"/>
                    <a:pt x="95184" y="237328"/>
                    <a:pt x="96055" y="235802"/>
                  </a:cubicBezTo>
                  <a:cubicBezTo>
                    <a:pt x="97581" y="233186"/>
                    <a:pt x="110001" y="232968"/>
                    <a:pt x="113924" y="235366"/>
                  </a:cubicBezTo>
                  <a:cubicBezTo>
                    <a:pt x="118064" y="237982"/>
                    <a:pt x="114795" y="247138"/>
                    <a:pt x="110219" y="245612"/>
                  </a:cubicBezTo>
                  <a:cubicBezTo>
                    <a:pt x="108258" y="244958"/>
                    <a:pt x="105208" y="245830"/>
                    <a:pt x="103682" y="247792"/>
                  </a:cubicBezTo>
                  <a:cubicBezTo>
                    <a:pt x="100631" y="251498"/>
                    <a:pt x="92787" y="252370"/>
                    <a:pt x="92787" y="248882"/>
                  </a:cubicBezTo>
                  <a:cubicBezTo>
                    <a:pt x="92787" y="247792"/>
                    <a:pt x="94312" y="246702"/>
                    <a:pt x="96055" y="246702"/>
                  </a:cubicBezTo>
                  <a:cubicBezTo>
                    <a:pt x="97799" y="246702"/>
                    <a:pt x="99324" y="245176"/>
                    <a:pt x="99324" y="243432"/>
                  </a:cubicBezTo>
                  <a:cubicBezTo>
                    <a:pt x="99324" y="241034"/>
                    <a:pt x="96709" y="240162"/>
                    <a:pt x="89736" y="240162"/>
                  </a:cubicBezTo>
                  <a:cubicBezTo>
                    <a:pt x="81456" y="240162"/>
                    <a:pt x="79930" y="240816"/>
                    <a:pt x="78841" y="245394"/>
                  </a:cubicBezTo>
                  <a:cubicBezTo>
                    <a:pt x="77315" y="251934"/>
                    <a:pt x="79712" y="277005"/>
                    <a:pt x="82109" y="278531"/>
                  </a:cubicBezTo>
                  <a:cubicBezTo>
                    <a:pt x="83199" y="279185"/>
                    <a:pt x="84070" y="281801"/>
                    <a:pt x="84070" y="284636"/>
                  </a:cubicBezTo>
                  <a:cubicBezTo>
                    <a:pt x="84070" y="292702"/>
                    <a:pt x="86903" y="294228"/>
                    <a:pt x="93441" y="289432"/>
                  </a:cubicBezTo>
                  <a:close/>
                  <a:moveTo>
                    <a:pt x="118936" y="271773"/>
                  </a:moveTo>
                  <a:cubicBezTo>
                    <a:pt x="123294" y="266541"/>
                    <a:pt x="118500" y="262835"/>
                    <a:pt x="113706" y="267413"/>
                  </a:cubicBezTo>
                  <a:cubicBezTo>
                    <a:pt x="110219" y="270901"/>
                    <a:pt x="110655" y="275043"/>
                    <a:pt x="114360" y="275043"/>
                  </a:cubicBezTo>
                  <a:cubicBezTo>
                    <a:pt x="115449" y="275043"/>
                    <a:pt x="117410" y="273517"/>
                    <a:pt x="118936" y="271773"/>
                  </a:cubicBezTo>
                  <a:close/>
                  <a:moveTo>
                    <a:pt x="157069" y="220541"/>
                  </a:moveTo>
                  <a:cubicBezTo>
                    <a:pt x="155980" y="218797"/>
                    <a:pt x="154672" y="218797"/>
                    <a:pt x="153365" y="220105"/>
                  </a:cubicBezTo>
                  <a:cubicBezTo>
                    <a:pt x="152058" y="221413"/>
                    <a:pt x="151840" y="223593"/>
                    <a:pt x="152711" y="224902"/>
                  </a:cubicBezTo>
                  <a:cubicBezTo>
                    <a:pt x="153801" y="226646"/>
                    <a:pt x="155108" y="226646"/>
                    <a:pt x="156416" y="225338"/>
                  </a:cubicBezTo>
                  <a:cubicBezTo>
                    <a:pt x="157723" y="224029"/>
                    <a:pt x="157941" y="221849"/>
                    <a:pt x="157069" y="220541"/>
                  </a:cubicBezTo>
                  <a:close/>
                  <a:moveTo>
                    <a:pt x="166875" y="204191"/>
                  </a:moveTo>
                  <a:cubicBezTo>
                    <a:pt x="166875" y="198741"/>
                    <a:pt x="162081" y="190238"/>
                    <a:pt x="158159" y="188930"/>
                  </a:cubicBezTo>
                  <a:cubicBezTo>
                    <a:pt x="155762" y="188276"/>
                    <a:pt x="153801" y="184570"/>
                    <a:pt x="152929" y="179338"/>
                  </a:cubicBezTo>
                  <a:cubicBezTo>
                    <a:pt x="151622" y="171054"/>
                    <a:pt x="146392" y="164077"/>
                    <a:pt x="143559" y="166912"/>
                  </a:cubicBezTo>
                  <a:cubicBezTo>
                    <a:pt x="142688" y="167784"/>
                    <a:pt x="143341" y="169310"/>
                    <a:pt x="144867" y="170182"/>
                  </a:cubicBezTo>
                  <a:cubicBezTo>
                    <a:pt x="147264" y="171708"/>
                    <a:pt x="147264" y="173452"/>
                    <a:pt x="144213" y="179338"/>
                  </a:cubicBezTo>
                  <a:cubicBezTo>
                    <a:pt x="140726" y="186532"/>
                    <a:pt x="140726" y="186532"/>
                    <a:pt x="147264" y="191764"/>
                  </a:cubicBezTo>
                  <a:cubicBezTo>
                    <a:pt x="150750" y="194598"/>
                    <a:pt x="153801" y="198087"/>
                    <a:pt x="153801" y="199395"/>
                  </a:cubicBezTo>
                  <a:cubicBezTo>
                    <a:pt x="153801" y="200921"/>
                    <a:pt x="155980" y="203101"/>
                    <a:pt x="158813" y="204409"/>
                  </a:cubicBezTo>
                  <a:cubicBezTo>
                    <a:pt x="165568" y="207897"/>
                    <a:pt x="166875" y="207897"/>
                    <a:pt x="166875" y="204191"/>
                  </a:cubicBezTo>
                  <a:close/>
                  <a:moveTo>
                    <a:pt x="203920" y="196561"/>
                  </a:moveTo>
                  <a:cubicBezTo>
                    <a:pt x="203920" y="195471"/>
                    <a:pt x="203048" y="194380"/>
                    <a:pt x="201740" y="194380"/>
                  </a:cubicBezTo>
                  <a:cubicBezTo>
                    <a:pt x="200651" y="194380"/>
                    <a:pt x="199561" y="195471"/>
                    <a:pt x="199561" y="196561"/>
                  </a:cubicBezTo>
                  <a:cubicBezTo>
                    <a:pt x="199561" y="197869"/>
                    <a:pt x="200651" y="198741"/>
                    <a:pt x="201740" y="198741"/>
                  </a:cubicBezTo>
                  <a:cubicBezTo>
                    <a:pt x="203048" y="198741"/>
                    <a:pt x="203920" y="197869"/>
                    <a:pt x="203920" y="196561"/>
                  </a:cubicBezTo>
                  <a:close/>
                  <a:moveTo>
                    <a:pt x="104772" y="183044"/>
                  </a:moveTo>
                  <a:cubicBezTo>
                    <a:pt x="112398" y="182172"/>
                    <a:pt x="114795" y="175196"/>
                    <a:pt x="109130" y="169746"/>
                  </a:cubicBezTo>
                  <a:cubicBezTo>
                    <a:pt x="105425" y="165821"/>
                    <a:pt x="99324" y="167130"/>
                    <a:pt x="99324" y="171708"/>
                  </a:cubicBezTo>
                  <a:cubicBezTo>
                    <a:pt x="99324" y="173888"/>
                    <a:pt x="97581" y="174324"/>
                    <a:pt x="92787" y="173452"/>
                  </a:cubicBezTo>
                  <a:cubicBezTo>
                    <a:pt x="87121" y="172144"/>
                    <a:pt x="86250" y="172580"/>
                    <a:pt x="86250" y="176940"/>
                  </a:cubicBezTo>
                  <a:cubicBezTo>
                    <a:pt x="86250" y="182608"/>
                    <a:pt x="92787" y="188494"/>
                    <a:pt x="96055" y="185660"/>
                  </a:cubicBezTo>
                  <a:cubicBezTo>
                    <a:pt x="97145" y="184570"/>
                    <a:pt x="101285" y="183480"/>
                    <a:pt x="104772" y="183044"/>
                  </a:cubicBezTo>
                  <a:close/>
                  <a:moveTo>
                    <a:pt x="100196" y="158845"/>
                  </a:moveTo>
                  <a:cubicBezTo>
                    <a:pt x="105861" y="154703"/>
                    <a:pt x="103900" y="147509"/>
                    <a:pt x="97145" y="147291"/>
                  </a:cubicBezTo>
                  <a:cubicBezTo>
                    <a:pt x="94094" y="147073"/>
                    <a:pt x="89954" y="146201"/>
                    <a:pt x="87993" y="145329"/>
                  </a:cubicBezTo>
                  <a:cubicBezTo>
                    <a:pt x="82981" y="143367"/>
                    <a:pt x="76880" y="145547"/>
                    <a:pt x="77969" y="149253"/>
                  </a:cubicBezTo>
                  <a:cubicBezTo>
                    <a:pt x="78623" y="150561"/>
                    <a:pt x="81238" y="152305"/>
                    <a:pt x="83853" y="152523"/>
                  </a:cubicBezTo>
                  <a:cubicBezTo>
                    <a:pt x="86685" y="152959"/>
                    <a:pt x="89518" y="155139"/>
                    <a:pt x="89954" y="157537"/>
                  </a:cubicBezTo>
                  <a:cubicBezTo>
                    <a:pt x="91261" y="162333"/>
                    <a:pt x="94748" y="162769"/>
                    <a:pt x="100196" y="158845"/>
                  </a:cubicBezTo>
                  <a:close/>
                  <a:moveTo>
                    <a:pt x="107822" y="31747"/>
                  </a:moveTo>
                  <a:cubicBezTo>
                    <a:pt x="104990" y="28259"/>
                    <a:pt x="85596" y="28041"/>
                    <a:pt x="86903" y="31529"/>
                  </a:cubicBezTo>
                  <a:cubicBezTo>
                    <a:pt x="87339" y="33055"/>
                    <a:pt x="90390" y="34145"/>
                    <a:pt x="93876" y="34363"/>
                  </a:cubicBezTo>
                  <a:cubicBezTo>
                    <a:pt x="97145" y="34581"/>
                    <a:pt x="100849" y="36325"/>
                    <a:pt x="102157" y="38505"/>
                  </a:cubicBezTo>
                  <a:cubicBezTo>
                    <a:pt x="104118" y="42429"/>
                    <a:pt x="104336" y="42429"/>
                    <a:pt x="107169" y="38505"/>
                  </a:cubicBezTo>
                  <a:cubicBezTo>
                    <a:pt x="109348" y="35671"/>
                    <a:pt x="109566" y="33709"/>
                    <a:pt x="107822" y="31747"/>
                  </a:cubicBezTo>
                  <a:close/>
                </a:path>
              </a:pathLst>
            </a:custGeom>
            <a:grpFill/>
            <a:ln w="218" cap="flat">
              <a:noFill/>
              <a:prstDash val="solid"/>
              <a:miter/>
            </a:ln>
          </p:spPr>
          <p:txBody>
            <a:bodyPr rtlCol="0" anchor="ctr"/>
            <a:lstStyle/>
            <a:p>
              <a:endParaRPr lang="en-GB" dirty="0"/>
            </a:p>
          </p:txBody>
        </p:sp>
        <p:sp>
          <p:nvSpPr>
            <p:cNvPr id="182" name="Freihandform: Form 181">
              <a:extLst>
                <a:ext uri="{FF2B5EF4-FFF2-40B4-BE49-F238E27FC236}">
                  <a16:creationId xmlns:a16="http://schemas.microsoft.com/office/drawing/2014/main" xmlns="" id="{E446A361-E97A-46E1-BEFB-00787A9B844E}"/>
                </a:ext>
              </a:extLst>
            </p:cNvPr>
            <p:cNvSpPr/>
            <p:nvPr/>
          </p:nvSpPr>
          <p:spPr>
            <a:xfrm flipV="1">
              <a:off x="4726658" y="5304007"/>
              <a:ext cx="4358" cy="5667"/>
            </a:xfrm>
            <a:custGeom>
              <a:avLst/>
              <a:gdLst>
                <a:gd name="connsiteX0" fmla="*/ -3600 w 4358"/>
                <a:gd name="connsiteY0" fmla="*/ 3735 h 5667"/>
                <a:gd name="connsiteX1" fmla="*/ -1421 w 4358"/>
                <a:gd name="connsiteY1" fmla="*/ 246 h 5667"/>
                <a:gd name="connsiteX2" fmla="*/ 758 w 4358"/>
                <a:gd name="connsiteY2" fmla="*/ 2209 h 5667"/>
                <a:gd name="connsiteX3" fmla="*/ -1421 w 4358"/>
                <a:gd name="connsiteY3" fmla="*/ 5697 h 5667"/>
                <a:gd name="connsiteX4" fmla="*/ -3600 w 4358"/>
                <a:gd name="connsiteY4" fmla="*/ 3735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3600" y="3735"/>
                  </a:moveTo>
                  <a:cubicBezTo>
                    <a:pt x="-3600" y="2427"/>
                    <a:pt x="-2510" y="900"/>
                    <a:pt x="-1421" y="246"/>
                  </a:cubicBezTo>
                  <a:cubicBezTo>
                    <a:pt x="-113" y="-408"/>
                    <a:pt x="758" y="464"/>
                    <a:pt x="758" y="2209"/>
                  </a:cubicBezTo>
                  <a:cubicBezTo>
                    <a:pt x="758" y="4171"/>
                    <a:pt x="-113" y="5697"/>
                    <a:pt x="-1421" y="5697"/>
                  </a:cubicBezTo>
                  <a:cubicBezTo>
                    <a:pt x="-2510" y="5697"/>
                    <a:pt x="-3600" y="4825"/>
                    <a:pt x="-3600" y="3735"/>
                  </a:cubicBezTo>
                  <a:close/>
                </a:path>
              </a:pathLst>
            </a:custGeom>
            <a:grpFill/>
            <a:ln w="218" cap="flat">
              <a:noFill/>
              <a:prstDash val="solid"/>
              <a:miter/>
            </a:ln>
          </p:spPr>
          <p:txBody>
            <a:bodyPr rtlCol="0" anchor="ctr"/>
            <a:lstStyle/>
            <a:p>
              <a:endParaRPr lang="en-GB" dirty="0"/>
            </a:p>
          </p:txBody>
        </p:sp>
        <p:sp>
          <p:nvSpPr>
            <p:cNvPr id="183" name="Freihandform: Form 182">
              <a:extLst>
                <a:ext uri="{FF2B5EF4-FFF2-40B4-BE49-F238E27FC236}">
                  <a16:creationId xmlns:a16="http://schemas.microsoft.com/office/drawing/2014/main" xmlns="" id="{1B73E16F-E535-43D0-9991-37BFAF7990FA}"/>
                </a:ext>
              </a:extLst>
            </p:cNvPr>
            <p:cNvSpPr/>
            <p:nvPr/>
          </p:nvSpPr>
          <p:spPr>
            <a:xfrm flipV="1">
              <a:off x="4711678" y="5203775"/>
              <a:ext cx="6263" cy="6264"/>
            </a:xfrm>
            <a:custGeom>
              <a:avLst/>
              <a:gdLst>
                <a:gd name="connsiteX0" fmla="*/ -2726 w 6263"/>
                <a:gd name="connsiteY0" fmla="*/ 3442 h 6264"/>
                <a:gd name="connsiteX1" fmla="*/ -3162 w 6263"/>
                <a:gd name="connsiteY1" fmla="*/ -46 h 6264"/>
                <a:gd name="connsiteX2" fmla="*/ 2722 w 6263"/>
                <a:gd name="connsiteY2" fmla="*/ 3879 h 6264"/>
                <a:gd name="connsiteX3" fmla="*/ -2726 w 6263"/>
                <a:gd name="connsiteY3" fmla="*/ 3442 h 6264"/>
              </a:gdLst>
              <a:ahLst/>
              <a:cxnLst>
                <a:cxn ang="0">
                  <a:pos x="connsiteX0" y="connsiteY0"/>
                </a:cxn>
                <a:cxn ang="0">
                  <a:pos x="connsiteX1" y="connsiteY1"/>
                </a:cxn>
                <a:cxn ang="0">
                  <a:pos x="connsiteX2" y="connsiteY2"/>
                </a:cxn>
                <a:cxn ang="0">
                  <a:pos x="connsiteX3" y="connsiteY3"/>
                </a:cxn>
              </a:cxnLst>
              <a:rect l="l" t="t" r="r" b="b"/>
              <a:pathLst>
                <a:path w="6263" h="6264">
                  <a:moveTo>
                    <a:pt x="-2726" y="3442"/>
                  </a:moveTo>
                  <a:cubicBezTo>
                    <a:pt x="-3598" y="2134"/>
                    <a:pt x="-3816" y="608"/>
                    <a:pt x="-3162" y="-46"/>
                  </a:cubicBezTo>
                  <a:cubicBezTo>
                    <a:pt x="-1637" y="-1572"/>
                    <a:pt x="2722" y="1262"/>
                    <a:pt x="2722" y="3879"/>
                  </a:cubicBezTo>
                  <a:cubicBezTo>
                    <a:pt x="2722" y="6495"/>
                    <a:pt x="-983" y="6495"/>
                    <a:pt x="-2726" y="3442"/>
                  </a:cubicBezTo>
                  <a:close/>
                </a:path>
              </a:pathLst>
            </a:custGeom>
            <a:grpFill/>
            <a:ln w="218" cap="flat">
              <a:noFill/>
              <a:prstDash val="solid"/>
              <a:miter/>
            </a:ln>
          </p:spPr>
          <p:txBody>
            <a:bodyPr rtlCol="0" anchor="ctr"/>
            <a:lstStyle/>
            <a:p>
              <a:endParaRPr lang="en-GB" dirty="0"/>
            </a:p>
          </p:txBody>
        </p:sp>
        <p:sp>
          <p:nvSpPr>
            <p:cNvPr id="184" name="Freihandform: Form 183">
              <a:extLst>
                <a:ext uri="{FF2B5EF4-FFF2-40B4-BE49-F238E27FC236}">
                  <a16:creationId xmlns:a16="http://schemas.microsoft.com/office/drawing/2014/main" xmlns="" id="{631766D8-A386-45A8-B3EB-621742D06106}"/>
                </a:ext>
              </a:extLst>
            </p:cNvPr>
            <p:cNvSpPr/>
            <p:nvPr/>
          </p:nvSpPr>
          <p:spPr>
            <a:xfrm flipV="1">
              <a:off x="4787672" y="5204028"/>
              <a:ext cx="87001" cy="49837"/>
            </a:xfrm>
            <a:custGeom>
              <a:avLst/>
              <a:gdLst>
                <a:gd name="connsiteX0" fmla="*/ 67233 w 87001"/>
                <a:gd name="connsiteY0" fmla="*/ 40840 h 49837"/>
                <a:gd name="connsiteX1" fmla="*/ 55902 w 87001"/>
                <a:gd name="connsiteY1" fmla="*/ 23617 h 49837"/>
                <a:gd name="connsiteX2" fmla="*/ 54812 w 87001"/>
                <a:gd name="connsiteY2" fmla="*/ 30157 h 49837"/>
                <a:gd name="connsiteX3" fmla="*/ 44135 w 87001"/>
                <a:gd name="connsiteY3" fmla="*/ 35826 h 49837"/>
                <a:gd name="connsiteX4" fmla="*/ 38905 w 87001"/>
                <a:gd name="connsiteY4" fmla="*/ 34953 h 49837"/>
                <a:gd name="connsiteX5" fmla="*/ 34329 w 87001"/>
                <a:gd name="connsiteY5" fmla="*/ 33645 h 49837"/>
                <a:gd name="connsiteX6" fmla="*/ 25395 w 87001"/>
                <a:gd name="connsiteY6" fmla="*/ 34517 h 49837"/>
                <a:gd name="connsiteX7" fmla="*/ 19947 w 87001"/>
                <a:gd name="connsiteY7" fmla="*/ 43020 h 49837"/>
                <a:gd name="connsiteX8" fmla="*/ 9705 w 87001"/>
                <a:gd name="connsiteY8" fmla="*/ 46508 h 49837"/>
                <a:gd name="connsiteX9" fmla="*/ -4023 w 87001"/>
                <a:gd name="connsiteY9" fmla="*/ 38442 h 49837"/>
                <a:gd name="connsiteX10" fmla="*/ 3386 w 87001"/>
                <a:gd name="connsiteY10" fmla="*/ 37788 h 49837"/>
                <a:gd name="connsiteX11" fmla="*/ 7962 w 87001"/>
                <a:gd name="connsiteY11" fmla="*/ 41058 h 49837"/>
                <a:gd name="connsiteX12" fmla="*/ 5129 w 87001"/>
                <a:gd name="connsiteY12" fmla="*/ 29067 h 49837"/>
                <a:gd name="connsiteX13" fmla="*/ 5347 w 87001"/>
                <a:gd name="connsiteY13" fmla="*/ 20565 h 49837"/>
                <a:gd name="connsiteX14" fmla="*/ 11013 w 87001"/>
                <a:gd name="connsiteY14" fmla="*/ 21219 h 49837"/>
                <a:gd name="connsiteX15" fmla="*/ 27356 w 87001"/>
                <a:gd name="connsiteY15" fmla="*/ 24271 h 49837"/>
                <a:gd name="connsiteX16" fmla="*/ 42174 w 87001"/>
                <a:gd name="connsiteY16" fmla="*/ 18821 h 49837"/>
                <a:gd name="connsiteX17" fmla="*/ 43917 w 87001"/>
                <a:gd name="connsiteY17" fmla="*/ 10537 h 49837"/>
                <a:gd name="connsiteX18" fmla="*/ 55902 w 87001"/>
                <a:gd name="connsiteY18" fmla="*/ 11845 h 49837"/>
                <a:gd name="connsiteX19" fmla="*/ 63964 w 87001"/>
                <a:gd name="connsiteY19" fmla="*/ 7485 h 49837"/>
                <a:gd name="connsiteX20" fmla="*/ 69194 w 87001"/>
                <a:gd name="connsiteY20" fmla="*/ -364 h 49837"/>
                <a:gd name="connsiteX21" fmla="*/ 76821 w 87001"/>
                <a:gd name="connsiteY21" fmla="*/ 16641 h 49837"/>
                <a:gd name="connsiteX22" fmla="*/ 79654 w 87001"/>
                <a:gd name="connsiteY22" fmla="*/ 23617 h 49837"/>
                <a:gd name="connsiteX23" fmla="*/ 80090 w 87001"/>
                <a:gd name="connsiteY23" fmla="*/ 31901 h 49837"/>
                <a:gd name="connsiteX24" fmla="*/ 74642 w 87001"/>
                <a:gd name="connsiteY24" fmla="*/ 43892 h 49837"/>
                <a:gd name="connsiteX25" fmla="*/ 67233 w 87001"/>
                <a:gd name="connsiteY25" fmla="*/ 40840 h 49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7001" h="49837">
                  <a:moveTo>
                    <a:pt x="67233" y="40840"/>
                  </a:moveTo>
                  <a:cubicBezTo>
                    <a:pt x="66144" y="33209"/>
                    <a:pt x="60042" y="23617"/>
                    <a:pt x="55902" y="23617"/>
                  </a:cubicBezTo>
                  <a:cubicBezTo>
                    <a:pt x="55248" y="23617"/>
                    <a:pt x="54812" y="26669"/>
                    <a:pt x="54812" y="30157"/>
                  </a:cubicBezTo>
                  <a:cubicBezTo>
                    <a:pt x="54812" y="38224"/>
                    <a:pt x="49800" y="40840"/>
                    <a:pt x="44135" y="35826"/>
                  </a:cubicBezTo>
                  <a:cubicBezTo>
                    <a:pt x="40866" y="32773"/>
                    <a:pt x="39777" y="32773"/>
                    <a:pt x="38905" y="34953"/>
                  </a:cubicBezTo>
                  <a:cubicBezTo>
                    <a:pt x="38033" y="37134"/>
                    <a:pt x="36726" y="36698"/>
                    <a:pt x="34329" y="33645"/>
                  </a:cubicBezTo>
                  <a:cubicBezTo>
                    <a:pt x="30843" y="29503"/>
                    <a:pt x="30843" y="29503"/>
                    <a:pt x="25395" y="34517"/>
                  </a:cubicBezTo>
                  <a:cubicBezTo>
                    <a:pt x="22344" y="37352"/>
                    <a:pt x="19947" y="41276"/>
                    <a:pt x="19947" y="43020"/>
                  </a:cubicBezTo>
                  <a:cubicBezTo>
                    <a:pt x="19947" y="45636"/>
                    <a:pt x="17550" y="46508"/>
                    <a:pt x="9705" y="46508"/>
                  </a:cubicBezTo>
                  <a:cubicBezTo>
                    <a:pt x="-972" y="46726"/>
                    <a:pt x="-4023" y="44982"/>
                    <a:pt x="-4023" y="38442"/>
                  </a:cubicBezTo>
                  <a:cubicBezTo>
                    <a:pt x="-4023" y="33645"/>
                    <a:pt x="1643" y="33209"/>
                    <a:pt x="3386" y="37788"/>
                  </a:cubicBezTo>
                  <a:cubicBezTo>
                    <a:pt x="4040" y="39532"/>
                    <a:pt x="6219" y="41058"/>
                    <a:pt x="7962" y="41058"/>
                  </a:cubicBezTo>
                  <a:cubicBezTo>
                    <a:pt x="13410" y="41058"/>
                    <a:pt x="11013" y="31683"/>
                    <a:pt x="5129" y="29067"/>
                  </a:cubicBezTo>
                  <a:cubicBezTo>
                    <a:pt x="-318" y="26669"/>
                    <a:pt x="-100" y="24053"/>
                    <a:pt x="5347" y="20565"/>
                  </a:cubicBezTo>
                  <a:cubicBezTo>
                    <a:pt x="8180" y="18821"/>
                    <a:pt x="9705" y="18821"/>
                    <a:pt x="11013" y="21219"/>
                  </a:cubicBezTo>
                  <a:cubicBezTo>
                    <a:pt x="12320" y="23181"/>
                    <a:pt x="17550" y="24271"/>
                    <a:pt x="27356" y="24271"/>
                  </a:cubicBezTo>
                  <a:cubicBezTo>
                    <a:pt x="42392" y="24489"/>
                    <a:pt x="46314" y="22963"/>
                    <a:pt x="42174" y="18821"/>
                  </a:cubicBezTo>
                  <a:cubicBezTo>
                    <a:pt x="38469" y="15115"/>
                    <a:pt x="38905" y="13153"/>
                    <a:pt x="43917" y="10537"/>
                  </a:cubicBezTo>
                  <a:cubicBezTo>
                    <a:pt x="47186" y="8793"/>
                    <a:pt x="50236" y="9011"/>
                    <a:pt x="55902" y="11845"/>
                  </a:cubicBezTo>
                  <a:cubicBezTo>
                    <a:pt x="65054" y="15987"/>
                    <a:pt x="67451" y="14897"/>
                    <a:pt x="63964" y="7485"/>
                  </a:cubicBezTo>
                  <a:cubicBezTo>
                    <a:pt x="61350" y="1380"/>
                    <a:pt x="62439" y="-364"/>
                    <a:pt x="69194" y="-364"/>
                  </a:cubicBezTo>
                  <a:cubicBezTo>
                    <a:pt x="74860" y="-364"/>
                    <a:pt x="77693" y="5740"/>
                    <a:pt x="76821" y="16641"/>
                  </a:cubicBezTo>
                  <a:cubicBezTo>
                    <a:pt x="76385" y="21655"/>
                    <a:pt x="77257" y="23617"/>
                    <a:pt x="79654" y="23617"/>
                  </a:cubicBezTo>
                  <a:cubicBezTo>
                    <a:pt x="84012" y="23617"/>
                    <a:pt x="84012" y="24707"/>
                    <a:pt x="80090" y="31901"/>
                  </a:cubicBezTo>
                  <a:cubicBezTo>
                    <a:pt x="78346" y="35171"/>
                    <a:pt x="75949" y="40404"/>
                    <a:pt x="74642" y="43892"/>
                  </a:cubicBezTo>
                  <a:cubicBezTo>
                    <a:pt x="71373" y="52176"/>
                    <a:pt x="68758" y="51304"/>
                    <a:pt x="67233" y="40840"/>
                  </a:cubicBezTo>
                  <a:close/>
                </a:path>
              </a:pathLst>
            </a:custGeom>
            <a:grpFill/>
            <a:ln w="218" cap="flat">
              <a:noFill/>
              <a:prstDash val="solid"/>
              <a:miter/>
            </a:ln>
          </p:spPr>
          <p:txBody>
            <a:bodyPr rtlCol="0" anchor="ctr"/>
            <a:lstStyle/>
            <a:p>
              <a:endParaRPr lang="en-GB" dirty="0"/>
            </a:p>
          </p:txBody>
        </p:sp>
        <p:sp>
          <p:nvSpPr>
            <p:cNvPr id="185" name="Freihandform: Form 184">
              <a:extLst>
                <a:ext uri="{FF2B5EF4-FFF2-40B4-BE49-F238E27FC236}">
                  <a16:creationId xmlns:a16="http://schemas.microsoft.com/office/drawing/2014/main" xmlns="" id="{5D7DEFD3-CB93-4858-ACDF-4EFBEA20F8E0}"/>
                </a:ext>
              </a:extLst>
            </p:cNvPr>
            <p:cNvSpPr/>
            <p:nvPr/>
          </p:nvSpPr>
          <p:spPr>
            <a:xfrm flipV="1">
              <a:off x="4876917" y="5203914"/>
              <a:ext cx="28424" cy="24880"/>
            </a:xfrm>
            <a:custGeom>
              <a:avLst/>
              <a:gdLst>
                <a:gd name="connsiteX0" fmla="*/ -2866 w 28424"/>
                <a:gd name="connsiteY0" fmla="*/ 21155 h 24880"/>
                <a:gd name="connsiteX1" fmla="*/ -33 w 28424"/>
                <a:gd name="connsiteY1" fmla="*/ 12653 h 24880"/>
                <a:gd name="connsiteX2" fmla="*/ 8465 w 28424"/>
                <a:gd name="connsiteY2" fmla="*/ 3715 h 24880"/>
                <a:gd name="connsiteX3" fmla="*/ 9990 w 28424"/>
                <a:gd name="connsiteY3" fmla="*/ -427 h 24880"/>
                <a:gd name="connsiteX4" fmla="*/ 11516 w 28424"/>
                <a:gd name="connsiteY4" fmla="*/ 2407 h 24880"/>
                <a:gd name="connsiteX5" fmla="*/ 17399 w 28424"/>
                <a:gd name="connsiteY5" fmla="*/ 12871 h 24880"/>
                <a:gd name="connsiteX6" fmla="*/ 24154 w 28424"/>
                <a:gd name="connsiteY6" fmla="*/ 23118 h 24880"/>
                <a:gd name="connsiteX7" fmla="*/ 21757 w 28424"/>
                <a:gd name="connsiteY7" fmla="*/ 22028 h 24880"/>
                <a:gd name="connsiteX8" fmla="*/ 7593 w 28424"/>
                <a:gd name="connsiteY8" fmla="*/ 21373 h 24880"/>
                <a:gd name="connsiteX9" fmla="*/ -2866 w 28424"/>
                <a:gd name="connsiteY9" fmla="*/ 21155 h 24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424" h="24880">
                  <a:moveTo>
                    <a:pt x="-2866" y="21155"/>
                  </a:moveTo>
                  <a:cubicBezTo>
                    <a:pt x="-5481" y="14615"/>
                    <a:pt x="-4392" y="11127"/>
                    <a:pt x="-33" y="12653"/>
                  </a:cubicBezTo>
                  <a:cubicBezTo>
                    <a:pt x="4761" y="14179"/>
                    <a:pt x="9119" y="9383"/>
                    <a:pt x="8465" y="3715"/>
                  </a:cubicBezTo>
                  <a:cubicBezTo>
                    <a:pt x="8029" y="1317"/>
                    <a:pt x="8683" y="-427"/>
                    <a:pt x="9990" y="-427"/>
                  </a:cubicBezTo>
                  <a:cubicBezTo>
                    <a:pt x="11080" y="-427"/>
                    <a:pt x="11952" y="881"/>
                    <a:pt x="11516" y="2407"/>
                  </a:cubicBezTo>
                  <a:cubicBezTo>
                    <a:pt x="11080" y="3933"/>
                    <a:pt x="13913" y="8729"/>
                    <a:pt x="17399" y="12871"/>
                  </a:cubicBezTo>
                  <a:cubicBezTo>
                    <a:pt x="21104" y="17013"/>
                    <a:pt x="24154" y="21591"/>
                    <a:pt x="24154" y="23118"/>
                  </a:cubicBezTo>
                  <a:cubicBezTo>
                    <a:pt x="24154" y="24644"/>
                    <a:pt x="23065" y="23990"/>
                    <a:pt x="21757" y="22028"/>
                  </a:cubicBezTo>
                  <a:cubicBezTo>
                    <a:pt x="19142" y="17231"/>
                    <a:pt x="13259" y="17013"/>
                    <a:pt x="7593" y="21373"/>
                  </a:cubicBezTo>
                  <a:cubicBezTo>
                    <a:pt x="2146" y="25516"/>
                    <a:pt x="-1123" y="25516"/>
                    <a:pt x="-2866" y="21155"/>
                  </a:cubicBezTo>
                  <a:close/>
                </a:path>
              </a:pathLst>
            </a:custGeom>
            <a:grpFill/>
            <a:ln w="218" cap="flat">
              <a:noFill/>
              <a:prstDash val="solid"/>
              <a:miter/>
            </a:ln>
          </p:spPr>
          <p:txBody>
            <a:bodyPr rtlCol="0" anchor="ctr"/>
            <a:lstStyle/>
            <a:p>
              <a:endParaRPr lang="en-GB" dirty="0"/>
            </a:p>
          </p:txBody>
        </p:sp>
        <p:sp>
          <p:nvSpPr>
            <p:cNvPr id="186" name="Freihandform: Form 185">
              <a:extLst>
                <a:ext uri="{FF2B5EF4-FFF2-40B4-BE49-F238E27FC236}">
                  <a16:creationId xmlns:a16="http://schemas.microsoft.com/office/drawing/2014/main" xmlns="" id="{E9279044-7ACE-4739-B80E-B115783EC39E}"/>
                </a:ext>
              </a:extLst>
            </p:cNvPr>
            <p:cNvSpPr/>
            <p:nvPr/>
          </p:nvSpPr>
          <p:spPr>
            <a:xfrm flipV="1">
              <a:off x="4730454" y="5203444"/>
              <a:ext cx="305112" cy="335285"/>
            </a:xfrm>
            <a:custGeom>
              <a:avLst/>
              <a:gdLst>
                <a:gd name="connsiteX0" fmla="*/ 197889 w 305112"/>
                <a:gd name="connsiteY0" fmla="*/ 332961 h 335285"/>
                <a:gd name="connsiteX1" fmla="*/ 193531 w 305112"/>
                <a:gd name="connsiteY1" fmla="*/ 331871 h 335285"/>
                <a:gd name="connsiteX2" fmla="*/ 189391 w 305112"/>
                <a:gd name="connsiteY2" fmla="*/ 331435 h 335285"/>
                <a:gd name="connsiteX3" fmla="*/ 195057 w 305112"/>
                <a:gd name="connsiteY3" fmla="*/ 327947 h 335285"/>
                <a:gd name="connsiteX4" fmla="*/ 201812 w 305112"/>
                <a:gd name="connsiteY4" fmla="*/ 323587 h 335285"/>
                <a:gd name="connsiteX5" fmla="*/ 181982 w 305112"/>
                <a:gd name="connsiteY5" fmla="*/ 323151 h 335285"/>
                <a:gd name="connsiteX6" fmla="*/ 174355 w 305112"/>
                <a:gd name="connsiteY6" fmla="*/ 321189 h 335285"/>
                <a:gd name="connsiteX7" fmla="*/ 165857 w 305112"/>
                <a:gd name="connsiteY7" fmla="*/ 310724 h 335285"/>
                <a:gd name="connsiteX8" fmla="*/ 159756 w 305112"/>
                <a:gd name="connsiteY8" fmla="*/ 302876 h 335285"/>
                <a:gd name="connsiteX9" fmla="*/ 155397 w 305112"/>
                <a:gd name="connsiteY9" fmla="*/ 297208 h 335285"/>
                <a:gd name="connsiteX10" fmla="*/ 152347 w 305112"/>
                <a:gd name="connsiteY10" fmla="*/ 289142 h 335285"/>
                <a:gd name="connsiteX11" fmla="*/ 150168 w 305112"/>
                <a:gd name="connsiteY11" fmla="*/ 285218 h 335285"/>
                <a:gd name="connsiteX12" fmla="*/ 146681 w 305112"/>
                <a:gd name="connsiteY12" fmla="*/ 289578 h 335285"/>
                <a:gd name="connsiteX13" fmla="*/ 144938 w 305112"/>
                <a:gd name="connsiteY13" fmla="*/ 293938 h 335285"/>
                <a:gd name="connsiteX14" fmla="*/ 142759 w 305112"/>
                <a:gd name="connsiteY14" fmla="*/ 281511 h 335285"/>
                <a:gd name="connsiteX15" fmla="*/ 137965 w 305112"/>
                <a:gd name="connsiteY15" fmla="*/ 265815 h 335285"/>
                <a:gd name="connsiteX16" fmla="*/ 136875 w 305112"/>
                <a:gd name="connsiteY16" fmla="*/ 254696 h 335285"/>
                <a:gd name="connsiteX17" fmla="*/ 142759 w 305112"/>
                <a:gd name="connsiteY17" fmla="*/ 259057 h 335285"/>
                <a:gd name="connsiteX18" fmla="*/ 154526 w 305112"/>
                <a:gd name="connsiteY18" fmla="*/ 250990 h 335285"/>
                <a:gd name="connsiteX19" fmla="*/ 147771 w 305112"/>
                <a:gd name="connsiteY19" fmla="*/ 231152 h 335285"/>
                <a:gd name="connsiteX20" fmla="*/ 145374 w 305112"/>
                <a:gd name="connsiteY20" fmla="*/ 238128 h 335285"/>
                <a:gd name="connsiteX21" fmla="*/ 139708 w 305112"/>
                <a:gd name="connsiteY21" fmla="*/ 246412 h 335285"/>
                <a:gd name="connsiteX22" fmla="*/ 127723 w 305112"/>
                <a:gd name="connsiteY22" fmla="*/ 246194 h 335285"/>
                <a:gd name="connsiteX23" fmla="*/ 122711 w 305112"/>
                <a:gd name="connsiteY23" fmla="*/ 253388 h 335285"/>
                <a:gd name="connsiteX24" fmla="*/ 117264 w 305112"/>
                <a:gd name="connsiteY24" fmla="*/ 264725 h 335285"/>
                <a:gd name="connsiteX25" fmla="*/ 111816 w 305112"/>
                <a:gd name="connsiteY25" fmla="*/ 272355 h 335285"/>
                <a:gd name="connsiteX26" fmla="*/ 105279 w 305112"/>
                <a:gd name="connsiteY26" fmla="*/ 274317 h 335285"/>
                <a:gd name="connsiteX27" fmla="*/ 99831 w 305112"/>
                <a:gd name="connsiteY27" fmla="*/ 281075 h 335285"/>
                <a:gd name="connsiteX28" fmla="*/ 97870 w 305112"/>
                <a:gd name="connsiteY28" fmla="*/ 289578 h 335285"/>
                <a:gd name="connsiteX29" fmla="*/ 90897 w 305112"/>
                <a:gd name="connsiteY29" fmla="*/ 295028 h 335285"/>
                <a:gd name="connsiteX30" fmla="*/ 79130 w 305112"/>
                <a:gd name="connsiteY30" fmla="*/ 299170 h 335285"/>
                <a:gd name="connsiteX31" fmla="*/ 88064 w 305112"/>
                <a:gd name="connsiteY31" fmla="*/ 290668 h 335285"/>
                <a:gd name="connsiteX32" fmla="*/ 90243 w 305112"/>
                <a:gd name="connsiteY32" fmla="*/ 283255 h 335285"/>
                <a:gd name="connsiteX33" fmla="*/ 90461 w 305112"/>
                <a:gd name="connsiteY33" fmla="*/ 272791 h 335285"/>
                <a:gd name="connsiteX34" fmla="*/ 84795 w 305112"/>
                <a:gd name="connsiteY34" fmla="*/ 260365 h 335285"/>
                <a:gd name="connsiteX35" fmla="*/ 80655 w 305112"/>
                <a:gd name="connsiteY35" fmla="*/ 258185 h 335285"/>
                <a:gd name="connsiteX36" fmla="*/ 74772 w 305112"/>
                <a:gd name="connsiteY36" fmla="*/ 254696 h 335285"/>
                <a:gd name="connsiteX37" fmla="*/ 70414 w 305112"/>
                <a:gd name="connsiteY37" fmla="*/ 251644 h 335285"/>
                <a:gd name="connsiteX38" fmla="*/ 66491 w 305112"/>
                <a:gd name="connsiteY38" fmla="*/ 249682 h 335285"/>
                <a:gd name="connsiteX39" fmla="*/ 59300 w 305112"/>
                <a:gd name="connsiteY39" fmla="*/ 240744 h 335285"/>
                <a:gd name="connsiteX40" fmla="*/ 58647 w 305112"/>
                <a:gd name="connsiteY40" fmla="*/ 231588 h 335285"/>
                <a:gd name="connsiteX41" fmla="*/ 57775 w 305112"/>
                <a:gd name="connsiteY41" fmla="*/ 222649 h 335285"/>
                <a:gd name="connsiteX42" fmla="*/ 77822 w 305112"/>
                <a:gd name="connsiteY42" fmla="*/ 223303 h 335285"/>
                <a:gd name="connsiteX43" fmla="*/ 78912 w 305112"/>
                <a:gd name="connsiteY43" fmla="*/ 242706 h 335285"/>
                <a:gd name="connsiteX44" fmla="*/ 80219 w 305112"/>
                <a:gd name="connsiteY44" fmla="*/ 248156 h 335285"/>
                <a:gd name="connsiteX45" fmla="*/ 96344 w 305112"/>
                <a:gd name="connsiteY45" fmla="*/ 244450 h 335285"/>
                <a:gd name="connsiteX46" fmla="*/ 93512 w 305112"/>
                <a:gd name="connsiteY46" fmla="*/ 240962 h 335285"/>
                <a:gd name="connsiteX47" fmla="*/ 91986 w 305112"/>
                <a:gd name="connsiteY47" fmla="*/ 233332 h 335285"/>
                <a:gd name="connsiteX48" fmla="*/ 101792 w 305112"/>
                <a:gd name="connsiteY48" fmla="*/ 235512 h 335285"/>
                <a:gd name="connsiteX49" fmla="*/ 106150 w 305112"/>
                <a:gd name="connsiteY49" fmla="*/ 237256 h 335285"/>
                <a:gd name="connsiteX50" fmla="*/ 109637 w 305112"/>
                <a:gd name="connsiteY50" fmla="*/ 231588 h 335285"/>
                <a:gd name="connsiteX51" fmla="*/ 115956 w 305112"/>
                <a:gd name="connsiteY51" fmla="*/ 231588 h 335285"/>
                <a:gd name="connsiteX52" fmla="*/ 132953 w 305112"/>
                <a:gd name="connsiteY52" fmla="*/ 234640 h 335285"/>
                <a:gd name="connsiteX53" fmla="*/ 138183 w 305112"/>
                <a:gd name="connsiteY53" fmla="*/ 227010 h 335285"/>
                <a:gd name="connsiteX54" fmla="*/ 144938 w 305112"/>
                <a:gd name="connsiteY54" fmla="*/ 223085 h 335285"/>
                <a:gd name="connsiteX55" fmla="*/ 154090 w 305112"/>
                <a:gd name="connsiteY55" fmla="*/ 221341 h 335285"/>
                <a:gd name="connsiteX56" fmla="*/ 155615 w 305112"/>
                <a:gd name="connsiteY56" fmla="*/ 213711 h 335285"/>
                <a:gd name="connsiteX57" fmla="*/ 149514 w 305112"/>
                <a:gd name="connsiteY57" fmla="*/ 208915 h 335285"/>
                <a:gd name="connsiteX58" fmla="*/ 143412 w 305112"/>
                <a:gd name="connsiteY58" fmla="*/ 205427 h 335285"/>
                <a:gd name="connsiteX59" fmla="*/ 137747 w 305112"/>
                <a:gd name="connsiteY59" fmla="*/ 204991 h 335285"/>
                <a:gd name="connsiteX60" fmla="*/ 128595 w 305112"/>
                <a:gd name="connsiteY60" fmla="*/ 209787 h 335285"/>
                <a:gd name="connsiteX61" fmla="*/ 126852 w 305112"/>
                <a:gd name="connsiteY61" fmla="*/ 215455 h 335285"/>
                <a:gd name="connsiteX62" fmla="*/ 131863 w 305112"/>
                <a:gd name="connsiteY62" fmla="*/ 222431 h 335285"/>
                <a:gd name="connsiteX63" fmla="*/ 123147 w 305112"/>
                <a:gd name="connsiteY63" fmla="*/ 222431 h 335285"/>
                <a:gd name="connsiteX64" fmla="*/ 114649 w 305112"/>
                <a:gd name="connsiteY64" fmla="*/ 222213 h 335285"/>
                <a:gd name="connsiteX65" fmla="*/ 112252 w 305112"/>
                <a:gd name="connsiteY65" fmla="*/ 215237 h 335285"/>
                <a:gd name="connsiteX66" fmla="*/ 105279 w 305112"/>
                <a:gd name="connsiteY66" fmla="*/ 203901 h 335285"/>
                <a:gd name="connsiteX67" fmla="*/ 102882 w 305112"/>
                <a:gd name="connsiteY67" fmla="*/ 212403 h 335285"/>
                <a:gd name="connsiteX68" fmla="*/ 106368 w 305112"/>
                <a:gd name="connsiteY68" fmla="*/ 219379 h 335285"/>
                <a:gd name="connsiteX69" fmla="*/ 102664 w 305112"/>
                <a:gd name="connsiteY69" fmla="*/ 222213 h 335285"/>
                <a:gd name="connsiteX70" fmla="*/ 91768 w 305112"/>
                <a:gd name="connsiteY70" fmla="*/ 221341 h 335285"/>
                <a:gd name="connsiteX71" fmla="*/ 87192 w 305112"/>
                <a:gd name="connsiteY71" fmla="*/ 216763 h 335285"/>
                <a:gd name="connsiteX72" fmla="*/ 92422 w 305112"/>
                <a:gd name="connsiteY72" fmla="*/ 208697 h 335285"/>
                <a:gd name="connsiteX73" fmla="*/ 96562 w 305112"/>
                <a:gd name="connsiteY73" fmla="*/ 203465 h 335285"/>
                <a:gd name="connsiteX74" fmla="*/ 101792 w 305112"/>
                <a:gd name="connsiteY74" fmla="*/ 196706 h 335285"/>
                <a:gd name="connsiteX75" fmla="*/ 107240 w 305112"/>
                <a:gd name="connsiteY75" fmla="*/ 193218 h 335285"/>
                <a:gd name="connsiteX76" fmla="*/ 102664 w 305112"/>
                <a:gd name="connsiteY76" fmla="*/ 184716 h 335285"/>
                <a:gd name="connsiteX77" fmla="*/ 95691 w 305112"/>
                <a:gd name="connsiteY77" fmla="*/ 176214 h 335285"/>
                <a:gd name="connsiteX78" fmla="*/ 86539 w 305112"/>
                <a:gd name="connsiteY78" fmla="*/ 164005 h 335285"/>
                <a:gd name="connsiteX79" fmla="*/ 94383 w 305112"/>
                <a:gd name="connsiteY79" fmla="*/ 161825 h 335285"/>
                <a:gd name="connsiteX80" fmla="*/ 100921 w 305112"/>
                <a:gd name="connsiteY80" fmla="*/ 160953 h 335285"/>
                <a:gd name="connsiteX81" fmla="*/ 106804 w 305112"/>
                <a:gd name="connsiteY81" fmla="*/ 153323 h 335285"/>
                <a:gd name="connsiteX82" fmla="*/ 111816 w 305112"/>
                <a:gd name="connsiteY82" fmla="*/ 147655 h 335285"/>
                <a:gd name="connsiteX83" fmla="*/ 89589 w 305112"/>
                <a:gd name="connsiteY83" fmla="*/ 151143 h 335285"/>
                <a:gd name="connsiteX84" fmla="*/ 82398 w 305112"/>
                <a:gd name="connsiteY84" fmla="*/ 159645 h 335285"/>
                <a:gd name="connsiteX85" fmla="*/ 72810 w 305112"/>
                <a:gd name="connsiteY85" fmla="*/ 153977 h 335285"/>
                <a:gd name="connsiteX86" fmla="*/ 72593 w 305112"/>
                <a:gd name="connsiteY86" fmla="*/ 144603 h 335285"/>
                <a:gd name="connsiteX87" fmla="*/ 83488 w 305112"/>
                <a:gd name="connsiteY87" fmla="*/ 143513 h 335285"/>
                <a:gd name="connsiteX88" fmla="*/ 81309 w 305112"/>
                <a:gd name="connsiteY88" fmla="*/ 136754 h 335285"/>
                <a:gd name="connsiteX89" fmla="*/ 86974 w 305112"/>
                <a:gd name="connsiteY89" fmla="*/ 132830 h 335285"/>
                <a:gd name="connsiteX90" fmla="*/ 98306 w 305112"/>
                <a:gd name="connsiteY90" fmla="*/ 135664 h 335285"/>
                <a:gd name="connsiteX91" fmla="*/ 113559 w 305112"/>
                <a:gd name="connsiteY91" fmla="*/ 137190 h 335285"/>
                <a:gd name="connsiteX92" fmla="*/ 122711 w 305112"/>
                <a:gd name="connsiteY92" fmla="*/ 139152 h 335285"/>
                <a:gd name="connsiteX93" fmla="*/ 120532 w 305112"/>
                <a:gd name="connsiteY93" fmla="*/ 136972 h 335285"/>
                <a:gd name="connsiteX94" fmla="*/ 118353 w 305112"/>
                <a:gd name="connsiteY94" fmla="*/ 132612 h 335285"/>
                <a:gd name="connsiteX95" fmla="*/ 122711 w 305112"/>
                <a:gd name="connsiteY95" fmla="*/ 128252 h 335285"/>
                <a:gd name="connsiteX96" fmla="*/ 127069 w 305112"/>
                <a:gd name="connsiteY96" fmla="*/ 126072 h 335285"/>
                <a:gd name="connsiteX97" fmla="*/ 131210 w 305112"/>
                <a:gd name="connsiteY97" fmla="*/ 123892 h 335285"/>
                <a:gd name="connsiteX98" fmla="*/ 132299 w 305112"/>
                <a:gd name="connsiteY98" fmla="*/ 106887 h 335285"/>
                <a:gd name="connsiteX99" fmla="*/ 127505 w 305112"/>
                <a:gd name="connsiteY99" fmla="*/ 108849 h 335285"/>
                <a:gd name="connsiteX100" fmla="*/ 120096 w 305112"/>
                <a:gd name="connsiteY100" fmla="*/ 109067 h 335285"/>
                <a:gd name="connsiteX101" fmla="*/ 114867 w 305112"/>
                <a:gd name="connsiteY101" fmla="*/ 108413 h 335285"/>
                <a:gd name="connsiteX102" fmla="*/ 104843 w 305112"/>
                <a:gd name="connsiteY102" fmla="*/ 111466 h 335285"/>
                <a:gd name="connsiteX103" fmla="*/ 95691 w 305112"/>
                <a:gd name="connsiteY103" fmla="*/ 105143 h 335285"/>
                <a:gd name="connsiteX104" fmla="*/ 90025 w 305112"/>
                <a:gd name="connsiteY104" fmla="*/ 97731 h 335285"/>
                <a:gd name="connsiteX105" fmla="*/ 84577 w 305112"/>
                <a:gd name="connsiteY105" fmla="*/ 93371 h 335285"/>
                <a:gd name="connsiteX106" fmla="*/ 71503 w 305112"/>
                <a:gd name="connsiteY106" fmla="*/ 85959 h 335285"/>
                <a:gd name="connsiteX107" fmla="*/ 61261 w 305112"/>
                <a:gd name="connsiteY107" fmla="*/ 86613 h 335285"/>
                <a:gd name="connsiteX108" fmla="*/ 55160 w 305112"/>
                <a:gd name="connsiteY108" fmla="*/ 90101 h 335285"/>
                <a:gd name="connsiteX109" fmla="*/ 60826 w 305112"/>
                <a:gd name="connsiteY109" fmla="*/ 91191 h 335285"/>
                <a:gd name="connsiteX110" fmla="*/ 68888 w 305112"/>
                <a:gd name="connsiteY110" fmla="*/ 90973 h 335285"/>
                <a:gd name="connsiteX111" fmla="*/ 71067 w 305112"/>
                <a:gd name="connsiteY111" fmla="*/ 98603 h 335285"/>
                <a:gd name="connsiteX112" fmla="*/ 69978 w 305112"/>
                <a:gd name="connsiteY112" fmla="*/ 102527 h 335285"/>
                <a:gd name="connsiteX113" fmla="*/ 76515 w 305112"/>
                <a:gd name="connsiteY113" fmla="*/ 101437 h 335285"/>
                <a:gd name="connsiteX114" fmla="*/ 89589 w 305112"/>
                <a:gd name="connsiteY114" fmla="*/ 107759 h 335285"/>
                <a:gd name="connsiteX115" fmla="*/ 92204 w 305112"/>
                <a:gd name="connsiteY115" fmla="*/ 121712 h 335285"/>
                <a:gd name="connsiteX116" fmla="*/ 84795 w 305112"/>
                <a:gd name="connsiteY116" fmla="*/ 124110 h 335285"/>
                <a:gd name="connsiteX117" fmla="*/ 79130 w 305112"/>
                <a:gd name="connsiteY117" fmla="*/ 123238 h 335285"/>
                <a:gd name="connsiteX118" fmla="*/ 78040 w 305112"/>
                <a:gd name="connsiteY118" fmla="*/ 116480 h 335285"/>
                <a:gd name="connsiteX119" fmla="*/ 74990 w 305112"/>
                <a:gd name="connsiteY119" fmla="*/ 110812 h 335285"/>
                <a:gd name="connsiteX120" fmla="*/ 63005 w 305112"/>
                <a:gd name="connsiteY120" fmla="*/ 103399 h 335285"/>
                <a:gd name="connsiteX121" fmla="*/ 39471 w 305112"/>
                <a:gd name="connsiteY121" fmla="*/ 97513 h 335285"/>
                <a:gd name="connsiteX122" fmla="*/ 37727 w 305112"/>
                <a:gd name="connsiteY122" fmla="*/ 103835 h 335285"/>
                <a:gd name="connsiteX123" fmla="*/ 33369 w 305112"/>
                <a:gd name="connsiteY123" fmla="*/ 114082 h 335285"/>
                <a:gd name="connsiteX124" fmla="*/ 34023 w 305112"/>
                <a:gd name="connsiteY124" fmla="*/ 123892 h 335285"/>
                <a:gd name="connsiteX125" fmla="*/ 48187 w 305112"/>
                <a:gd name="connsiteY125" fmla="*/ 111248 h 335285"/>
                <a:gd name="connsiteX126" fmla="*/ 53199 w 305112"/>
                <a:gd name="connsiteY126" fmla="*/ 104707 h 335285"/>
                <a:gd name="connsiteX127" fmla="*/ 60608 w 305112"/>
                <a:gd name="connsiteY127" fmla="*/ 111248 h 335285"/>
                <a:gd name="connsiteX128" fmla="*/ 55160 w 305112"/>
                <a:gd name="connsiteY128" fmla="*/ 122802 h 335285"/>
                <a:gd name="connsiteX129" fmla="*/ 45572 w 305112"/>
                <a:gd name="connsiteY129" fmla="*/ 129342 h 335285"/>
                <a:gd name="connsiteX130" fmla="*/ 37727 w 305112"/>
                <a:gd name="connsiteY130" fmla="*/ 133702 h 335285"/>
                <a:gd name="connsiteX131" fmla="*/ 29011 w 305112"/>
                <a:gd name="connsiteY131" fmla="*/ 131958 h 335285"/>
                <a:gd name="connsiteX132" fmla="*/ 21602 w 305112"/>
                <a:gd name="connsiteY132" fmla="*/ 129342 h 335285"/>
                <a:gd name="connsiteX133" fmla="*/ 23563 w 305112"/>
                <a:gd name="connsiteY133" fmla="*/ 117352 h 335285"/>
                <a:gd name="connsiteX134" fmla="*/ 29011 w 305112"/>
                <a:gd name="connsiteY134" fmla="*/ 114082 h 335285"/>
                <a:gd name="connsiteX135" fmla="*/ 15719 w 305112"/>
                <a:gd name="connsiteY135" fmla="*/ 111684 h 335285"/>
                <a:gd name="connsiteX136" fmla="*/ 6785 w 305112"/>
                <a:gd name="connsiteY136" fmla="*/ 112556 h 335285"/>
                <a:gd name="connsiteX137" fmla="*/ 7438 w 305112"/>
                <a:gd name="connsiteY137" fmla="*/ 96205 h 335285"/>
                <a:gd name="connsiteX138" fmla="*/ 6349 w 305112"/>
                <a:gd name="connsiteY138" fmla="*/ 87703 h 335285"/>
                <a:gd name="connsiteX139" fmla="*/ 1991 w 305112"/>
                <a:gd name="connsiteY139" fmla="*/ 91191 h 335285"/>
                <a:gd name="connsiteX140" fmla="*/ -1496 w 305112"/>
                <a:gd name="connsiteY140" fmla="*/ 96641 h 335285"/>
                <a:gd name="connsiteX141" fmla="*/ -4111 w 305112"/>
                <a:gd name="connsiteY141" fmla="*/ 89011 h 335285"/>
                <a:gd name="connsiteX142" fmla="*/ -1496 w 305112"/>
                <a:gd name="connsiteY142" fmla="*/ 80726 h 335285"/>
                <a:gd name="connsiteX143" fmla="*/ 683 w 305112"/>
                <a:gd name="connsiteY143" fmla="*/ 75712 h 335285"/>
                <a:gd name="connsiteX144" fmla="*/ 3952 w 305112"/>
                <a:gd name="connsiteY144" fmla="*/ 71570 h 335285"/>
                <a:gd name="connsiteX145" fmla="*/ 7220 w 305112"/>
                <a:gd name="connsiteY145" fmla="*/ 66992 h 335285"/>
                <a:gd name="connsiteX146" fmla="*/ 13540 w 305112"/>
                <a:gd name="connsiteY146" fmla="*/ 54130 h 335285"/>
                <a:gd name="connsiteX147" fmla="*/ 18769 w 305112"/>
                <a:gd name="connsiteY147" fmla="*/ 70044 h 335285"/>
                <a:gd name="connsiteX148" fmla="*/ 15283 w 305112"/>
                <a:gd name="connsiteY148" fmla="*/ 83997 h 335285"/>
                <a:gd name="connsiteX149" fmla="*/ 17898 w 305112"/>
                <a:gd name="connsiteY149" fmla="*/ 97513 h 335285"/>
                <a:gd name="connsiteX150" fmla="*/ 33587 w 305112"/>
                <a:gd name="connsiteY150" fmla="*/ 92063 h 335285"/>
                <a:gd name="connsiteX151" fmla="*/ 40996 w 305112"/>
                <a:gd name="connsiteY151" fmla="*/ 86831 h 335285"/>
                <a:gd name="connsiteX152" fmla="*/ 44265 w 305112"/>
                <a:gd name="connsiteY152" fmla="*/ 79200 h 335285"/>
                <a:gd name="connsiteX153" fmla="*/ 61915 w 305112"/>
                <a:gd name="connsiteY153" fmla="*/ 73750 h 335285"/>
                <a:gd name="connsiteX154" fmla="*/ 70414 w 305112"/>
                <a:gd name="connsiteY154" fmla="*/ 72660 h 335285"/>
                <a:gd name="connsiteX155" fmla="*/ 75207 w 305112"/>
                <a:gd name="connsiteY155" fmla="*/ 73750 h 335285"/>
                <a:gd name="connsiteX156" fmla="*/ 78040 w 305112"/>
                <a:gd name="connsiteY156" fmla="*/ 77674 h 335285"/>
                <a:gd name="connsiteX157" fmla="*/ 76515 w 305112"/>
                <a:gd name="connsiteY157" fmla="*/ 59144 h 335285"/>
                <a:gd name="connsiteX158" fmla="*/ 78040 w 305112"/>
                <a:gd name="connsiteY158" fmla="*/ 49769 h 335285"/>
                <a:gd name="connsiteX159" fmla="*/ 86103 w 305112"/>
                <a:gd name="connsiteY159" fmla="*/ 44101 h 335285"/>
                <a:gd name="connsiteX160" fmla="*/ 89807 w 305112"/>
                <a:gd name="connsiteY160" fmla="*/ 29277 h 335285"/>
                <a:gd name="connsiteX161" fmla="*/ 96562 w 305112"/>
                <a:gd name="connsiteY161" fmla="*/ 12054 h 335285"/>
                <a:gd name="connsiteX162" fmla="*/ 100921 w 305112"/>
                <a:gd name="connsiteY162" fmla="*/ 10964 h 335285"/>
                <a:gd name="connsiteX163" fmla="*/ 142759 w 305112"/>
                <a:gd name="connsiteY163" fmla="*/ 3334 h 335285"/>
                <a:gd name="connsiteX164" fmla="*/ 148424 w 305112"/>
                <a:gd name="connsiteY164" fmla="*/ 5078 h 335285"/>
                <a:gd name="connsiteX165" fmla="*/ 144284 w 305112"/>
                <a:gd name="connsiteY165" fmla="*/ 10310 h 335285"/>
                <a:gd name="connsiteX166" fmla="*/ 137529 w 305112"/>
                <a:gd name="connsiteY166" fmla="*/ 13144 h 335285"/>
                <a:gd name="connsiteX167" fmla="*/ 132081 w 305112"/>
                <a:gd name="connsiteY167" fmla="*/ 16850 h 335285"/>
                <a:gd name="connsiteX168" fmla="*/ 123801 w 305112"/>
                <a:gd name="connsiteY168" fmla="*/ 25353 h 335285"/>
                <a:gd name="connsiteX169" fmla="*/ 121186 w 305112"/>
                <a:gd name="connsiteY169" fmla="*/ 17722 h 335285"/>
                <a:gd name="connsiteX170" fmla="*/ 112688 w 305112"/>
                <a:gd name="connsiteY170" fmla="*/ 10964 h 335285"/>
                <a:gd name="connsiteX171" fmla="*/ 103100 w 305112"/>
                <a:gd name="connsiteY171" fmla="*/ 29059 h 335285"/>
                <a:gd name="connsiteX172" fmla="*/ 102228 w 305112"/>
                <a:gd name="connsiteY172" fmla="*/ 36471 h 335285"/>
                <a:gd name="connsiteX173" fmla="*/ 108547 w 305112"/>
                <a:gd name="connsiteY173" fmla="*/ 51949 h 335285"/>
                <a:gd name="connsiteX174" fmla="*/ 116610 w 305112"/>
                <a:gd name="connsiteY174" fmla="*/ 49987 h 335285"/>
                <a:gd name="connsiteX175" fmla="*/ 128813 w 305112"/>
                <a:gd name="connsiteY175" fmla="*/ 41049 h 335285"/>
                <a:gd name="connsiteX176" fmla="*/ 132299 w 305112"/>
                <a:gd name="connsiteY176" fmla="*/ 35817 h 335285"/>
                <a:gd name="connsiteX177" fmla="*/ 139054 w 305112"/>
                <a:gd name="connsiteY177" fmla="*/ 37997 h 335285"/>
                <a:gd name="connsiteX178" fmla="*/ 141887 w 305112"/>
                <a:gd name="connsiteY178" fmla="*/ 41703 h 335285"/>
                <a:gd name="connsiteX179" fmla="*/ 143195 w 305112"/>
                <a:gd name="connsiteY179" fmla="*/ 47371 h 335285"/>
                <a:gd name="connsiteX180" fmla="*/ 154090 w 305112"/>
                <a:gd name="connsiteY180" fmla="*/ 48679 h 335285"/>
                <a:gd name="connsiteX181" fmla="*/ 160845 w 305112"/>
                <a:gd name="connsiteY181" fmla="*/ 46717 h 335285"/>
                <a:gd name="connsiteX182" fmla="*/ 164985 w 305112"/>
                <a:gd name="connsiteY182" fmla="*/ 37561 h 335285"/>
                <a:gd name="connsiteX183" fmla="*/ 156923 w 305112"/>
                <a:gd name="connsiteY183" fmla="*/ 33201 h 335285"/>
                <a:gd name="connsiteX184" fmla="*/ 154090 w 305112"/>
                <a:gd name="connsiteY184" fmla="*/ 23390 h 335285"/>
                <a:gd name="connsiteX185" fmla="*/ 159756 w 305112"/>
                <a:gd name="connsiteY185" fmla="*/ 15542 h 335285"/>
                <a:gd name="connsiteX186" fmla="*/ 164985 w 305112"/>
                <a:gd name="connsiteY186" fmla="*/ 14016 h 335285"/>
                <a:gd name="connsiteX187" fmla="*/ 171740 w 305112"/>
                <a:gd name="connsiteY187" fmla="*/ 13362 h 335285"/>
                <a:gd name="connsiteX188" fmla="*/ 177188 w 305112"/>
                <a:gd name="connsiteY188" fmla="*/ 5732 h 335285"/>
                <a:gd name="connsiteX189" fmla="*/ 184815 w 305112"/>
                <a:gd name="connsiteY189" fmla="*/ 1808 h 335285"/>
                <a:gd name="connsiteX190" fmla="*/ 178931 w 305112"/>
                <a:gd name="connsiteY190" fmla="*/ 17722 h 335285"/>
                <a:gd name="connsiteX191" fmla="*/ 173702 w 305112"/>
                <a:gd name="connsiteY191" fmla="*/ 32111 h 335285"/>
                <a:gd name="connsiteX192" fmla="*/ 172612 w 305112"/>
                <a:gd name="connsiteY192" fmla="*/ 42357 h 335285"/>
                <a:gd name="connsiteX193" fmla="*/ 178060 w 305112"/>
                <a:gd name="connsiteY193" fmla="*/ 51295 h 335285"/>
                <a:gd name="connsiteX194" fmla="*/ 185904 w 305112"/>
                <a:gd name="connsiteY194" fmla="*/ 59144 h 335285"/>
                <a:gd name="connsiteX195" fmla="*/ 175663 w 305112"/>
                <a:gd name="connsiteY195" fmla="*/ 60452 h 335285"/>
                <a:gd name="connsiteX196" fmla="*/ 164550 w 305112"/>
                <a:gd name="connsiteY196" fmla="*/ 62414 h 335285"/>
                <a:gd name="connsiteX197" fmla="*/ 168254 w 305112"/>
                <a:gd name="connsiteY197" fmla="*/ 65030 h 335285"/>
                <a:gd name="connsiteX198" fmla="*/ 171740 w 305112"/>
                <a:gd name="connsiteY198" fmla="*/ 75930 h 335285"/>
                <a:gd name="connsiteX199" fmla="*/ 164114 w 305112"/>
                <a:gd name="connsiteY199" fmla="*/ 73532 h 335285"/>
                <a:gd name="connsiteX200" fmla="*/ 155615 w 305112"/>
                <a:gd name="connsiteY200" fmla="*/ 62850 h 335285"/>
                <a:gd name="connsiteX201" fmla="*/ 153218 w 305112"/>
                <a:gd name="connsiteY201" fmla="*/ 68300 h 335285"/>
                <a:gd name="connsiteX202" fmla="*/ 150821 w 305112"/>
                <a:gd name="connsiteY202" fmla="*/ 73750 h 335285"/>
                <a:gd name="connsiteX203" fmla="*/ 149950 w 305112"/>
                <a:gd name="connsiteY203" fmla="*/ 69390 h 335285"/>
                <a:gd name="connsiteX204" fmla="*/ 143630 w 305112"/>
                <a:gd name="connsiteY204" fmla="*/ 60452 h 335285"/>
                <a:gd name="connsiteX205" fmla="*/ 132081 w 305112"/>
                <a:gd name="connsiteY205" fmla="*/ 61760 h 335285"/>
                <a:gd name="connsiteX206" fmla="*/ 121840 w 305112"/>
                <a:gd name="connsiteY206" fmla="*/ 65684 h 335285"/>
                <a:gd name="connsiteX207" fmla="*/ 117482 w 305112"/>
                <a:gd name="connsiteY207" fmla="*/ 68736 h 335285"/>
                <a:gd name="connsiteX208" fmla="*/ 113995 w 305112"/>
                <a:gd name="connsiteY208" fmla="*/ 70480 h 335285"/>
                <a:gd name="connsiteX209" fmla="*/ 101138 w 305112"/>
                <a:gd name="connsiteY209" fmla="*/ 73314 h 335285"/>
                <a:gd name="connsiteX210" fmla="*/ 90025 w 305112"/>
                <a:gd name="connsiteY210" fmla="*/ 80290 h 335285"/>
                <a:gd name="connsiteX211" fmla="*/ 95473 w 305112"/>
                <a:gd name="connsiteY211" fmla="*/ 89447 h 335285"/>
                <a:gd name="connsiteX212" fmla="*/ 100921 w 305112"/>
                <a:gd name="connsiteY212" fmla="*/ 95551 h 335285"/>
                <a:gd name="connsiteX213" fmla="*/ 108765 w 305112"/>
                <a:gd name="connsiteY213" fmla="*/ 99475 h 335285"/>
                <a:gd name="connsiteX214" fmla="*/ 113341 w 305112"/>
                <a:gd name="connsiteY214" fmla="*/ 90319 h 335285"/>
                <a:gd name="connsiteX215" fmla="*/ 120096 w 305112"/>
                <a:gd name="connsiteY215" fmla="*/ 84215 h 335285"/>
                <a:gd name="connsiteX216" fmla="*/ 124455 w 305112"/>
                <a:gd name="connsiteY216" fmla="*/ 79200 h 335285"/>
                <a:gd name="connsiteX217" fmla="*/ 124890 w 305112"/>
                <a:gd name="connsiteY217" fmla="*/ 71570 h 335285"/>
                <a:gd name="connsiteX218" fmla="*/ 133607 w 305112"/>
                <a:gd name="connsiteY218" fmla="*/ 73750 h 335285"/>
                <a:gd name="connsiteX219" fmla="*/ 139490 w 305112"/>
                <a:gd name="connsiteY219" fmla="*/ 74186 h 335285"/>
                <a:gd name="connsiteX220" fmla="*/ 143848 w 305112"/>
                <a:gd name="connsiteY220" fmla="*/ 79854 h 335285"/>
                <a:gd name="connsiteX221" fmla="*/ 147335 w 305112"/>
                <a:gd name="connsiteY221" fmla="*/ 90101 h 335285"/>
                <a:gd name="connsiteX222" fmla="*/ 153654 w 305112"/>
                <a:gd name="connsiteY222" fmla="*/ 89011 h 335285"/>
                <a:gd name="connsiteX223" fmla="*/ 175881 w 305112"/>
                <a:gd name="connsiteY223" fmla="*/ 85305 h 335285"/>
                <a:gd name="connsiteX224" fmla="*/ 197889 w 305112"/>
                <a:gd name="connsiteY224" fmla="*/ 87049 h 335285"/>
                <a:gd name="connsiteX225" fmla="*/ 197671 w 305112"/>
                <a:gd name="connsiteY225" fmla="*/ 95115 h 335285"/>
                <a:gd name="connsiteX226" fmla="*/ 189827 w 305112"/>
                <a:gd name="connsiteY226" fmla="*/ 103181 h 335285"/>
                <a:gd name="connsiteX227" fmla="*/ 188519 w 305112"/>
                <a:gd name="connsiteY227" fmla="*/ 113864 h 335285"/>
                <a:gd name="connsiteX228" fmla="*/ 196364 w 305112"/>
                <a:gd name="connsiteY228" fmla="*/ 112338 h 335285"/>
                <a:gd name="connsiteX229" fmla="*/ 212489 w 305112"/>
                <a:gd name="connsiteY229" fmla="*/ 119968 h 335285"/>
                <a:gd name="connsiteX230" fmla="*/ 213143 w 305112"/>
                <a:gd name="connsiteY230" fmla="*/ 127162 h 335285"/>
                <a:gd name="connsiteX231" fmla="*/ 217065 w 305112"/>
                <a:gd name="connsiteY231" fmla="*/ 120186 h 335285"/>
                <a:gd name="connsiteX232" fmla="*/ 216411 w 305112"/>
                <a:gd name="connsiteY232" fmla="*/ 110812 h 335285"/>
                <a:gd name="connsiteX233" fmla="*/ 213797 w 305112"/>
                <a:gd name="connsiteY233" fmla="*/ 99911 h 335285"/>
                <a:gd name="connsiteX234" fmla="*/ 218591 w 305112"/>
                <a:gd name="connsiteY234" fmla="*/ 86831 h 335285"/>
                <a:gd name="connsiteX235" fmla="*/ 217719 w 305112"/>
                <a:gd name="connsiteY235" fmla="*/ 79418 h 335285"/>
                <a:gd name="connsiteX236" fmla="*/ 235152 w 305112"/>
                <a:gd name="connsiteY236" fmla="*/ 70916 h 335285"/>
                <a:gd name="connsiteX237" fmla="*/ 238202 w 305112"/>
                <a:gd name="connsiteY237" fmla="*/ 65248 h 335285"/>
                <a:gd name="connsiteX238" fmla="*/ 236023 w 305112"/>
                <a:gd name="connsiteY238" fmla="*/ 58490 h 335285"/>
                <a:gd name="connsiteX239" fmla="*/ 233844 w 305112"/>
                <a:gd name="connsiteY239" fmla="*/ 60670 h 335285"/>
                <a:gd name="connsiteX240" fmla="*/ 225999 w 305112"/>
                <a:gd name="connsiteY240" fmla="*/ 57400 h 335285"/>
                <a:gd name="connsiteX241" fmla="*/ 234498 w 305112"/>
                <a:gd name="connsiteY241" fmla="*/ 49115 h 335285"/>
                <a:gd name="connsiteX242" fmla="*/ 242560 w 305112"/>
                <a:gd name="connsiteY242" fmla="*/ 51731 h 335285"/>
                <a:gd name="connsiteX243" fmla="*/ 252148 w 305112"/>
                <a:gd name="connsiteY243" fmla="*/ 60670 h 335285"/>
                <a:gd name="connsiteX244" fmla="*/ 259339 w 305112"/>
                <a:gd name="connsiteY244" fmla="*/ 66556 h 335285"/>
                <a:gd name="connsiteX245" fmla="*/ 256724 w 305112"/>
                <a:gd name="connsiteY245" fmla="*/ 71570 h 335285"/>
                <a:gd name="connsiteX246" fmla="*/ 248008 w 305112"/>
                <a:gd name="connsiteY246" fmla="*/ 75058 h 335285"/>
                <a:gd name="connsiteX247" fmla="*/ 242560 w 305112"/>
                <a:gd name="connsiteY247" fmla="*/ 83125 h 335285"/>
                <a:gd name="connsiteX248" fmla="*/ 255417 w 305112"/>
                <a:gd name="connsiteY248" fmla="*/ 83997 h 335285"/>
                <a:gd name="connsiteX249" fmla="*/ 266530 w 305112"/>
                <a:gd name="connsiteY249" fmla="*/ 83997 h 335285"/>
                <a:gd name="connsiteX250" fmla="*/ 265005 w 305112"/>
                <a:gd name="connsiteY250" fmla="*/ 101655 h 335285"/>
                <a:gd name="connsiteX251" fmla="*/ 259557 w 305112"/>
                <a:gd name="connsiteY251" fmla="*/ 96205 h 335285"/>
                <a:gd name="connsiteX252" fmla="*/ 250187 w 305112"/>
                <a:gd name="connsiteY252" fmla="*/ 96859 h 335285"/>
                <a:gd name="connsiteX253" fmla="*/ 240599 w 305112"/>
                <a:gd name="connsiteY253" fmla="*/ 100129 h 335285"/>
                <a:gd name="connsiteX254" fmla="*/ 237113 w 305112"/>
                <a:gd name="connsiteY254" fmla="*/ 90755 h 335285"/>
                <a:gd name="connsiteX255" fmla="*/ 235369 w 305112"/>
                <a:gd name="connsiteY255" fmla="*/ 83997 h 335285"/>
                <a:gd name="connsiteX256" fmla="*/ 225346 w 305112"/>
                <a:gd name="connsiteY256" fmla="*/ 95551 h 335285"/>
                <a:gd name="connsiteX257" fmla="*/ 230575 w 305112"/>
                <a:gd name="connsiteY257" fmla="*/ 111248 h 335285"/>
                <a:gd name="connsiteX258" fmla="*/ 241689 w 305112"/>
                <a:gd name="connsiteY258" fmla="*/ 108413 h 335285"/>
                <a:gd name="connsiteX259" fmla="*/ 246483 w 305112"/>
                <a:gd name="connsiteY259" fmla="*/ 109067 h 335285"/>
                <a:gd name="connsiteX260" fmla="*/ 253674 w 305112"/>
                <a:gd name="connsiteY260" fmla="*/ 109067 h 335285"/>
                <a:gd name="connsiteX261" fmla="*/ 257160 w 305112"/>
                <a:gd name="connsiteY261" fmla="*/ 112556 h 335285"/>
                <a:gd name="connsiteX262" fmla="*/ 253456 w 305112"/>
                <a:gd name="connsiteY262" fmla="*/ 119096 h 335285"/>
                <a:gd name="connsiteX263" fmla="*/ 265876 w 305112"/>
                <a:gd name="connsiteY263" fmla="*/ 116044 h 335285"/>
                <a:gd name="connsiteX264" fmla="*/ 275029 w 305112"/>
                <a:gd name="connsiteY264" fmla="*/ 111466 h 335285"/>
                <a:gd name="connsiteX265" fmla="*/ 281566 w 305112"/>
                <a:gd name="connsiteY265" fmla="*/ 108195 h 335285"/>
                <a:gd name="connsiteX266" fmla="*/ 288321 w 305112"/>
                <a:gd name="connsiteY266" fmla="*/ 107541 h 335285"/>
                <a:gd name="connsiteX267" fmla="*/ 295948 w 305112"/>
                <a:gd name="connsiteY267" fmla="*/ 108631 h 335285"/>
                <a:gd name="connsiteX268" fmla="*/ 298998 w 305112"/>
                <a:gd name="connsiteY268" fmla="*/ 117788 h 335285"/>
                <a:gd name="connsiteX269" fmla="*/ 295948 w 305112"/>
                <a:gd name="connsiteY269" fmla="*/ 123892 h 335285"/>
                <a:gd name="connsiteX270" fmla="*/ 281784 w 305112"/>
                <a:gd name="connsiteY270" fmla="*/ 135882 h 335285"/>
                <a:gd name="connsiteX271" fmla="*/ 282655 w 305112"/>
                <a:gd name="connsiteY271" fmla="*/ 128688 h 335285"/>
                <a:gd name="connsiteX272" fmla="*/ 281784 w 305112"/>
                <a:gd name="connsiteY272" fmla="*/ 121712 h 335285"/>
                <a:gd name="connsiteX273" fmla="*/ 277426 w 305112"/>
                <a:gd name="connsiteY273" fmla="*/ 118006 h 335285"/>
                <a:gd name="connsiteX274" fmla="*/ 272632 w 305112"/>
                <a:gd name="connsiteY274" fmla="*/ 119096 h 335285"/>
                <a:gd name="connsiteX275" fmla="*/ 268273 w 305112"/>
                <a:gd name="connsiteY275" fmla="*/ 133702 h 335285"/>
                <a:gd name="connsiteX276" fmla="*/ 267402 w 305112"/>
                <a:gd name="connsiteY276" fmla="*/ 143513 h 335285"/>
                <a:gd name="connsiteX277" fmla="*/ 250405 w 305112"/>
                <a:gd name="connsiteY277" fmla="*/ 124546 h 335285"/>
                <a:gd name="connsiteX278" fmla="*/ 233190 w 305112"/>
                <a:gd name="connsiteY278" fmla="*/ 115172 h 335285"/>
                <a:gd name="connsiteX279" fmla="*/ 227961 w 305112"/>
                <a:gd name="connsiteY279" fmla="*/ 123238 h 335285"/>
                <a:gd name="connsiteX280" fmla="*/ 220116 w 305112"/>
                <a:gd name="connsiteY280" fmla="*/ 133484 h 335285"/>
                <a:gd name="connsiteX281" fmla="*/ 203555 w 305112"/>
                <a:gd name="connsiteY281" fmla="*/ 119532 h 335285"/>
                <a:gd name="connsiteX282" fmla="*/ 196364 w 305112"/>
                <a:gd name="connsiteY282" fmla="*/ 116916 h 335285"/>
                <a:gd name="connsiteX283" fmla="*/ 202901 w 305112"/>
                <a:gd name="connsiteY283" fmla="*/ 129342 h 335285"/>
                <a:gd name="connsiteX284" fmla="*/ 205298 w 305112"/>
                <a:gd name="connsiteY284" fmla="*/ 135010 h 335285"/>
                <a:gd name="connsiteX285" fmla="*/ 195274 w 305112"/>
                <a:gd name="connsiteY285" fmla="*/ 137190 h 335285"/>
                <a:gd name="connsiteX286" fmla="*/ 186994 w 305112"/>
                <a:gd name="connsiteY286" fmla="*/ 129996 h 335285"/>
                <a:gd name="connsiteX287" fmla="*/ 182418 w 305112"/>
                <a:gd name="connsiteY287" fmla="*/ 123020 h 335285"/>
                <a:gd name="connsiteX288" fmla="*/ 176970 w 305112"/>
                <a:gd name="connsiteY288" fmla="*/ 107977 h 335285"/>
                <a:gd name="connsiteX289" fmla="*/ 179367 w 305112"/>
                <a:gd name="connsiteY289" fmla="*/ 101873 h 335285"/>
                <a:gd name="connsiteX290" fmla="*/ 170215 w 305112"/>
                <a:gd name="connsiteY290" fmla="*/ 98603 h 335285"/>
                <a:gd name="connsiteX291" fmla="*/ 158230 w 305112"/>
                <a:gd name="connsiteY291" fmla="*/ 97077 h 335285"/>
                <a:gd name="connsiteX292" fmla="*/ 155397 w 305112"/>
                <a:gd name="connsiteY292" fmla="*/ 98385 h 335285"/>
                <a:gd name="connsiteX293" fmla="*/ 159973 w 305112"/>
                <a:gd name="connsiteY293" fmla="*/ 105143 h 335285"/>
                <a:gd name="connsiteX294" fmla="*/ 163460 w 305112"/>
                <a:gd name="connsiteY294" fmla="*/ 112774 h 335285"/>
                <a:gd name="connsiteX295" fmla="*/ 167382 w 305112"/>
                <a:gd name="connsiteY295" fmla="*/ 121058 h 335285"/>
                <a:gd name="connsiteX296" fmla="*/ 173920 w 305112"/>
                <a:gd name="connsiteY296" fmla="*/ 143513 h 335285"/>
                <a:gd name="connsiteX297" fmla="*/ 178278 w 305112"/>
                <a:gd name="connsiteY297" fmla="*/ 165095 h 335285"/>
                <a:gd name="connsiteX298" fmla="*/ 184161 w 305112"/>
                <a:gd name="connsiteY298" fmla="*/ 157901 h 335285"/>
                <a:gd name="connsiteX299" fmla="*/ 186776 w 305112"/>
                <a:gd name="connsiteY299" fmla="*/ 148091 h 335285"/>
                <a:gd name="connsiteX300" fmla="*/ 198979 w 305112"/>
                <a:gd name="connsiteY300" fmla="*/ 152669 h 335285"/>
                <a:gd name="connsiteX301" fmla="*/ 181328 w 305112"/>
                <a:gd name="connsiteY301" fmla="*/ 170764 h 335285"/>
                <a:gd name="connsiteX302" fmla="*/ 177188 w 305112"/>
                <a:gd name="connsiteY302" fmla="*/ 175996 h 335285"/>
                <a:gd name="connsiteX303" fmla="*/ 174137 w 305112"/>
                <a:gd name="connsiteY303" fmla="*/ 184716 h 335285"/>
                <a:gd name="connsiteX304" fmla="*/ 166293 w 305112"/>
                <a:gd name="connsiteY304" fmla="*/ 184280 h 335285"/>
                <a:gd name="connsiteX305" fmla="*/ 159756 w 305112"/>
                <a:gd name="connsiteY305" fmla="*/ 177740 h 335285"/>
                <a:gd name="connsiteX306" fmla="*/ 158666 w 305112"/>
                <a:gd name="connsiteY306" fmla="*/ 193654 h 335285"/>
                <a:gd name="connsiteX307" fmla="*/ 164114 w 305112"/>
                <a:gd name="connsiteY307" fmla="*/ 207607 h 335285"/>
                <a:gd name="connsiteX308" fmla="*/ 168908 w 305112"/>
                <a:gd name="connsiteY308" fmla="*/ 214365 h 335285"/>
                <a:gd name="connsiteX309" fmla="*/ 183725 w 305112"/>
                <a:gd name="connsiteY309" fmla="*/ 211749 h 335285"/>
                <a:gd name="connsiteX310" fmla="*/ 179367 w 305112"/>
                <a:gd name="connsiteY310" fmla="*/ 218289 h 335285"/>
                <a:gd name="connsiteX311" fmla="*/ 179367 w 305112"/>
                <a:gd name="connsiteY311" fmla="*/ 227882 h 335285"/>
                <a:gd name="connsiteX312" fmla="*/ 185033 w 305112"/>
                <a:gd name="connsiteY312" fmla="*/ 233332 h 335285"/>
                <a:gd name="connsiteX313" fmla="*/ 173048 w 305112"/>
                <a:gd name="connsiteY313" fmla="*/ 229626 h 335285"/>
                <a:gd name="connsiteX314" fmla="*/ 166075 w 305112"/>
                <a:gd name="connsiteY314" fmla="*/ 224829 h 335285"/>
                <a:gd name="connsiteX315" fmla="*/ 165203 w 305112"/>
                <a:gd name="connsiteY315" fmla="*/ 242270 h 335285"/>
                <a:gd name="connsiteX316" fmla="*/ 161063 w 305112"/>
                <a:gd name="connsiteY316" fmla="*/ 261019 h 335285"/>
                <a:gd name="connsiteX317" fmla="*/ 159756 w 305112"/>
                <a:gd name="connsiteY317" fmla="*/ 269957 h 335285"/>
                <a:gd name="connsiteX318" fmla="*/ 161935 w 305112"/>
                <a:gd name="connsiteY318" fmla="*/ 276497 h 335285"/>
                <a:gd name="connsiteX319" fmla="*/ 168908 w 305112"/>
                <a:gd name="connsiteY319" fmla="*/ 277587 h 335285"/>
                <a:gd name="connsiteX320" fmla="*/ 178496 w 305112"/>
                <a:gd name="connsiteY320" fmla="*/ 272137 h 335285"/>
                <a:gd name="connsiteX321" fmla="*/ 173920 w 305112"/>
                <a:gd name="connsiteY321" fmla="*/ 285000 h 335285"/>
                <a:gd name="connsiteX322" fmla="*/ 166293 w 305112"/>
                <a:gd name="connsiteY322" fmla="*/ 302658 h 335285"/>
                <a:gd name="connsiteX323" fmla="*/ 173484 w 305112"/>
                <a:gd name="connsiteY323" fmla="*/ 307890 h 335285"/>
                <a:gd name="connsiteX324" fmla="*/ 193967 w 305112"/>
                <a:gd name="connsiteY324" fmla="*/ 312032 h 335285"/>
                <a:gd name="connsiteX325" fmla="*/ 190698 w 305112"/>
                <a:gd name="connsiteY325" fmla="*/ 309198 h 335285"/>
                <a:gd name="connsiteX326" fmla="*/ 175009 w 305112"/>
                <a:gd name="connsiteY326" fmla="*/ 295900 h 335285"/>
                <a:gd name="connsiteX327" fmla="*/ 182854 w 305112"/>
                <a:gd name="connsiteY327" fmla="*/ 295028 h 335285"/>
                <a:gd name="connsiteX328" fmla="*/ 199633 w 305112"/>
                <a:gd name="connsiteY328" fmla="*/ 292848 h 335285"/>
                <a:gd name="connsiteX329" fmla="*/ 205516 w 305112"/>
                <a:gd name="connsiteY329" fmla="*/ 279985 h 335285"/>
                <a:gd name="connsiteX330" fmla="*/ 209874 w 305112"/>
                <a:gd name="connsiteY330" fmla="*/ 271047 h 335285"/>
                <a:gd name="connsiteX331" fmla="*/ 212271 w 305112"/>
                <a:gd name="connsiteY331" fmla="*/ 290232 h 335285"/>
                <a:gd name="connsiteX332" fmla="*/ 206388 w 305112"/>
                <a:gd name="connsiteY332" fmla="*/ 321843 h 335285"/>
                <a:gd name="connsiteX333" fmla="*/ 197889 w 305112"/>
                <a:gd name="connsiteY333" fmla="*/ 332961 h 335285"/>
                <a:gd name="connsiteX334" fmla="*/ 113341 w 305112"/>
                <a:gd name="connsiteY334" fmla="*/ 251426 h 335285"/>
                <a:gd name="connsiteX335" fmla="*/ 107240 w 305112"/>
                <a:gd name="connsiteY335" fmla="*/ 250554 h 335285"/>
                <a:gd name="connsiteX336" fmla="*/ 114431 w 305112"/>
                <a:gd name="connsiteY336" fmla="*/ 259057 h 335285"/>
                <a:gd name="connsiteX337" fmla="*/ 113341 w 305112"/>
                <a:gd name="connsiteY337" fmla="*/ 251426 h 335285"/>
                <a:gd name="connsiteX338" fmla="*/ 154962 w 305112"/>
                <a:gd name="connsiteY338" fmla="*/ 199759 h 335285"/>
                <a:gd name="connsiteX339" fmla="*/ 146899 w 305112"/>
                <a:gd name="connsiteY339" fmla="*/ 195616 h 335285"/>
                <a:gd name="connsiteX340" fmla="*/ 146463 w 305112"/>
                <a:gd name="connsiteY340" fmla="*/ 201067 h 335285"/>
                <a:gd name="connsiteX341" fmla="*/ 154962 w 305112"/>
                <a:gd name="connsiteY341" fmla="*/ 199759 h 335285"/>
                <a:gd name="connsiteX342" fmla="*/ 121840 w 305112"/>
                <a:gd name="connsiteY342" fmla="*/ 199105 h 335285"/>
                <a:gd name="connsiteX343" fmla="*/ 119443 w 305112"/>
                <a:gd name="connsiteY343" fmla="*/ 193218 h 335285"/>
                <a:gd name="connsiteX344" fmla="*/ 122711 w 305112"/>
                <a:gd name="connsiteY344" fmla="*/ 185152 h 335285"/>
                <a:gd name="connsiteX345" fmla="*/ 130338 w 305112"/>
                <a:gd name="connsiteY345" fmla="*/ 182754 h 335285"/>
                <a:gd name="connsiteX346" fmla="*/ 132299 w 305112"/>
                <a:gd name="connsiteY346" fmla="*/ 190602 h 335285"/>
                <a:gd name="connsiteX347" fmla="*/ 142105 w 305112"/>
                <a:gd name="connsiteY347" fmla="*/ 187332 h 335285"/>
                <a:gd name="connsiteX348" fmla="*/ 149732 w 305112"/>
                <a:gd name="connsiteY348" fmla="*/ 177740 h 335285"/>
                <a:gd name="connsiteX349" fmla="*/ 155397 w 305112"/>
                <a:gd name="connsiteY349" fmla="*/ 168802 h 335285"/>
                <a:gd name="connsiteX350" fmla="*/ 161935 w 305112"/>
                <a:gd name="connsiteY350" fmla="*/ 160953 h 335285"/>
                <a:gd name="connsiteX351" fmla="*/ 170651 w 305112"/>
                <a:gd name="connsiteY351" fmla="*/ 144821 h 335285"/>
                <a:gd name="connsiteX352" fmla="*/ 167382 w 305112"/>
                <a:gd name="connsiteY352" fmla="*/ 136972 h 335285"/>
                <a:gd name="connsiteX353" fmla="*/ 164114 w 305112"/>
                <a:gd name="connsiteY353" fmla="*/ 143077 h 335285"/>
                <a:gd name="connsiteX354" fmla="*/ 157359 w 305112"/>
                <a:gd name="connsiteY354" fmla="*/ 156375 h 335285"/>
                <a:gd name="connsiteX355" fmla="*/ 148642 w 305112"/>
                <a:gd name="connsiteY355" fmla="*/ 168802 h 335285"/>
                <a:gd name="connsiteX356" fmla="*/ 141233 w 305112"/>
                <a:gd name="connsiteY356" fmla="*/ 171418 h 335285"/>
                <a:gd name="connsiteX357" fmla="*/ 132735 w 305112"/>
                <a:gd name="connsiteY357" fmla="*/ 172944 h 335285"/>
                <a:gd name="connsiteX358" fmla="*/ 125544 w 305112"/>
                <a:gd name="connsiteY358" fmla="*/ 167275 h 335285"/>
                <a:gd name="connsiteX359" fmla="*/ 128595 w 305112"/>
                <a:gd name="connsiteY359" fmla="*/ 157247 h 335285"/>
                <a:gd name="connsiteX360" fmla="*/ 143412 w 305112"/>
                <a:gd name="connsiteY360" fmla="*/ 159209 h 335285"/>
                <a:gd name="connsiteX361" fmla="*/ 153654 w 305112"/>
                <a:gd name="connsiteY361" fmla="*/ 152233 h 335285"/>
                <a:gd name="connsiteX362" fmla="*/ 153218 w 305112"/>
                <a:gd name="connsiteY362" fmla="*/ 133266 h 335285"/>
                <a:gd name="connsiteX363" fmla="*/ 148860 w 305112"/>
                <a:gd name="connsiteY363" fmla="*/ 117352 h 335285"/>
                <a:gd name="connsiteX364" fmla="*/ 144284 w 305112"/>
                <a:gd name="connsiteY364" fmla="*/ 125636 h 335285"/>
                <a:gd name="connsiteX365" fmla="*/ 143195 w 305112"/>
                <a:gd name="connsiteY365" fmla="*/ 134574 h 335285"/>
                <a:gd name="connsiteX366" fmla="*/ 142323 w 305112"/>
                <a:gd name="connsiteY366" fmla="*/ 145911 h 335285"/>
                <a:gd name="connsiteX367" fmla="*/ 142759 w 305112"/>
                <a:gd name="connsiteY367" fmla="*/ 154849 h 335285"/>
                <a:gd name="connsiteX368" fmla="*/ 134260 w 305112"/>
                <a:gd name="connsiteY368" fmla="*/ 147437 h 335285"/>
                <a:gd name="connsiteX369" fmla="*/ 128159 w 305112"/>
                <a:gd name="connsiteY369" fmla="*/ 145693 h 335285"/>
                <a:gd name="connsiteX370" fmla="*/ 122493 w 305112"/>
                <a:gd name="connsiteY370" fmla="*/ 147873 h 335285"/>
                <a:gd name="connsiteX371" fmla="*/ 118353 w 305112"/>
                <a:gd name="connsiteY371" fmla="*/ 149835 h 335285"/>
                <a:gd name="connsiteX372" fmla="*/ 110726 w 305112"/>
                <a:gd name="connsiteY372" fmla="*/ 161607 h 335285"/>
                <a:gd name="connsiteX373" fmla="*/ 103100 w 305112"/>
                <a:gd name="connsiteY373" fmla="*/ 173162 h 335285"/>
                <a:gd name="connsiteX374" fmla="*/ 110944 w 305112"/>
                <a:gd name="connsiteY374" fmla="*/ 173380 h 335285"/>
                <a:gd name="connsiteX375" fmla="*/ 119007 w 305112"/>
                <a:gd name="connsiteY375" fmla="*/ 172072 h 335285"/>
                <a:gd name="connsiteX376" fmla="*/ 114213 w 305112"/>
                <a:gd name="connsiteY376" fmla="*/ 176868 h 335285"/>
                <a:gd name="connsiteX377" fmla="*/ 112252 w 305112"/>
                <a:gd name="connsiteY377" fmla="*/ 184498 h 335285"/>
                <a:gd name="connsiteX378" fmla="*/ 110944 w 305112"/>
                <a:gd name="connsiteY378" fmla="*/ 191256 h 335285"/>
                <a:gd name="connsiteX379" fmla="*/ 112252 w 305112"/>
                <a:gd name="connsiteY379" fmla="*/ 198887 h 335285"/>
                <a:gd name="connsiteX380" fmla="*/ 121840 w 305112"/>
                <a:gd name="connsiteY380" fmla="*/ 199105 h 335285"/>
                <a:gd name="connsiteX381" fmla="*/ 137965 w 305112"/>
                <a:gd name="connsiteY381" fmla="*/ 135228 h 335285"/>
                <a:gd name="connsiteX382" fmla="*/ 133171 w 305112"/>
                <a:gd name="connsiteY382" fmla="*/ 131740 h 335285"/>
                <a:gd name="connsiteX383" fmla="*/ 136004 w 305112"/>
                <a:gd name="connsiteY383" fmla="*/ 136972 h 335285"/>
                <a:gd name="connsiteX384" fmla="*/ 137965 w 305112"/>
                <a:gd name="connsiteY384" fmla="*/ 135228 h 335285"/>
                <a:gd name="connsiteX385" fmla="*/ 155397 w 305112"/>
                <a:gd name="connsiteY385" fmla="*/ 106015 h 335285"/>
                <a:gd name="connsiteX386" fmla="*/ 152565 w 305112"/>
                <a:gd name="connsiteY386" fmla="*/ 104271 h 335285"/>
                <a:gd name="connsiteX387" fmla="*/ 136875 w 305112"/>
                <a:gd name="connsiteY387" fmla="*/ 86831 h 335285"/>
                <a:gd name="connsiteX388" fmla="*/ 135568 w 305112"/>
                <a:gd name="connsiteY388" fmla="*/ 83343 h 335285"/>
                <a:gd name="connsiteX389" fmla="*/ 134042 w 305112"/>
                <a:gd name="connsiteY389" fmla="*/ 93371 h 335285"/>
                <a:gd name="connsiteX390" fmla="*/ 150168 w 305112"/>
                <a:gd name="connsiteY390" fmla="*/ 110375 h 335285"/>
                <a:gd name="connsiteX391" fmla="*/ 155397 w 305112"/>
                <a:gd name="connsiteY391" fmla="*/ 106015 h 335285"/>
                <a:gd name="connsiteX392" fmla="*/ 122711 w 305112"/>
                <a:gd name="connsiteY392" fmla="*/ 99693 h 335285"/>
                <a:gd name="connsiteX393" fmla="*/ 120532 w 305112"/>
                <a:gd name="connsiteY393" fmla="*/ 97731 h 335285"/>
                <a:gd name="connsiteX394" fmla="*/ 118353 w 305112"/>
                <a:gd name="connsiteY394" fmla="*/ 101219 h 335285"/>
                <a:gd name="connsiteX395" fmla="*/ 120532 w 305112"/>
                <a:gd name="connsiteY395" fmla="*/ 103181 h 335285"/>
                <a:gd name="connsiteX396" fmla="*/ 122711 w 305112"/>
                <a:gd name="connsiteY396" fmla="*/ 99693 h 335285"/>
                <a:gd name="connsiteX397" fmla="*/ 109419 w 305112"/>
                <a:gd name="connsiteY397" fmla="*/ 65248 h 335285"/>
                <a:gd name="connsiteX398" fmla="*/ 106368 w 305112"/>
                <a:gd name="connsiteY398" fmla="*/ 58490 h 335285"/>
                <a:gd name="connsiteX399" fmla="*/ 102010 w 305112"/>
                <a:gd name="connsiteY399" fmla="*/ 65030 h 335285"/>
                <a:gd name="connsiteX400" fmla="*/ 109419 w 305112"/>
                <a:gd name="connsiteY400" fmla="*/ 65248 h 335285"/>
                <a:gd name="connsiteX401" fmla="*/ 94165 w 305112"/>
                <a:gd name="connsiteY401" fmla="*/ 56528 h 335285"/>
                <a:gd name="connsiteX402" fmla="*/ 87628 w 305112"/>
                <a:gd name="connsiteY402" fmla="*/ 49987 h 335285"/>
                <a:gd name="connsiteX403" fmla="*/ 88936 w 305112"/>
                <a:gd name="connsiteY403" fmla="*/ 60670 h 335285"/>
                <a:gd name="connsiteX404" fmla="*/ 94165 w 305112"/>
                <a:gd name="connsiteY404" fmla="*/ 56528 h 33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Lst>
              <a:rect l="l" t="t" r="r" b="b"/>
              <a:pathLst>
                <a:path w="305112" h="335285">
                  <a:moveTo>
                    <a:pt x="197889" y="332961"/>
                  </a:moveTo>
                  <a:cubicBezTo>
                    <a:pt x="197018" y="331653"/>
                    <a:pt x="195057" y="331217"/>
                    <a:pt x="193531" y="331871"/>
                  </a:cubicBezTo>
                  <a:cubicBezTo>
                    <a:pt x="192006" y="332307"/>
                    <a:pt x="190045" y="332307"/>
                    <a:pt x="189391" y="331435"/>
                  </a:cubicBezTo>
                  <a:cubicBezTo>
                    <a:pt x="188519" y="330781"/>
                    <a:pt x="191134" y="329037"/>
                    <a:pt x="195057" y="327947"/>
                  </a:cubicBezTo>
                  <a:cubicBezTo>
                    <a:pt x="198979" y="326639"/>
                    <a:pt x="202030" y="324677"/>
                    <a:pt x="201812" y="323587"/>
                  </a:cubicBezTo>
                  <a:cubicBezTo>
                    <a:pt x="200940" y="320753"/>
                    <a:pt x="188084" y="320535"/>
                    <a:pt x="181982" y="323151"/>
                  </a:cubicBezTo>
                  <a:cubicBezTo>
                    <a:pt x="177624" y="324895"/>
                    <a:pt x="176317" y="324677"/>
                    <a:pt x="174355" y="321189"/>
                  </a:cubicBezTo>
                  <a:cubicBezTo>
                    <a:pt x="173048" y="318791"/>
                    <a:pt x="169343" y="313995"/>
                    <a:pt x="165857" y="310724"/>
                  </a:cubicBezTo>
                  <a:cubicBezTo>
                    <a:pt x="162588" y="307236"/>
                    <a:pt x="159756" y="303748"/>
                    <a:pt x="159756" y="302876"/>
                  </a:cubicBezTo>
                  <a:cubicBezTo>
                    <a:pt x="159756" y="302004"/>
                    <a:pt x="157794" y="299388"/>
                    <a:pt x="155397" y="297208"/>
                  </a:cubicBezTo>
                  <a:cubicBezTo>
                    <a:pt x="152565" y="294810"/>
                    <a:pt x="151475" y="291758"/>
                    <a:pt x="152347" y="289142"/>
                  </a:cubicBezTo>
                  <a:cubicBezTo>
                    <a:pt x="153000" y="286526"/>
                    <a:pt x="152347" y="285218"/>
                    <a:pt x="150168" y="285218"/>
                  </a:cubicBezTo>
                  <a:cubicBezTo>
                    <a:pt x="148206" y="285218"/>
                    <a:pt x="146681" y="287180"/>
                    <a:pt x="146681" y="289578"/>
                  </a:cubicBezTo>
                  <a:cubicBezTo>
                    <a:pt x="146681" y="291976"/>
                    <a:pt x="145809" y="293938"/>
                    <a:pt x="144938" y="293938"/>
                  </a:cubicBezTo>
                  <a:cubicBezTo>
                    <a:pt x="143848" y="293938"/>
                    <a:pt x="142977" y="288270"/>
                    <a:pt x="142759" y="281511"/>
                  </a:cubicBezTo>
                  <a:cubicBezTo>
                    <a:pt x="142541" y="271483"/>
                    <a:pt x="141669" y="268213"/>
                    <a:pt x="137965" y="265815"/>
                  </a:cubicBezTo>
                  <a:cubicBezTo>
                    <a:pt x="132953" y="262327"/>
                    <a:pt x="132081" y="254696"/>
                    <a:pt x="136875" y="254696"/>
                  </a:cubicBezTo>
                  <a:cubicBezTo>
                    <a:pt x="138619" y="254696"/>
                    <a:pt x="141233" y="256659"/>
                    <a:pt x="142759" y="259057"/>
                  </a:cubicBezTo>
                  <a:cubicBezTo>
                    <a:pt x="148206" y="267559"/>
                    <a:pt x="152783" y="264507"/>
                    <a:pt x="154526" y="250990"/>
                  </a:cubicBezTo>
                  <a:cubicBezTo>
                    <a:pt x="156051" y="237910"/>
                    <a:pt x="154308" y="232242"/>
                    <a:pt x="147771" y="231152"/>
                  </a:cubicBezTo>
                  <a:cubicBezTo>
                    <a:pt x="144502" y="230498"/>
                    <a:pt x="144066" y="231370"/>
                    <a:pt x="145374" y="238128"/>
                  </a:cubicBezTo>
                  <a:cubicBezTo>
                    <a:pt x="146899" y="245758"/>
                    <a:pt x="146681" y="245976"/>
                    <a:pt x="139708" y="246412"/>
                  </a:cubicBezTo>
                  <a:cubicBezTo>
                    <a:pt x="135786" y="246412"/>
                    <a:pt x="130338" y="246412"/>
                    <a:pt x="127723" y="246194"/>
                  </a:cubicBezTo>
                  <a:cubicBezTo>
                    <a:pt x="123365" y="245976"/>
                    <a:pt x="122711" y="246848"/>
                    <a:pt x="122711" y="253388"/>
                  </a:cubicBezTo>
                  <a:cubicBezTo>
                    <a:pt x="122711" y="259275"/>
                    <a:pt x="121404" y="262109"/>
                    <a:pt x="117264" y="264725"/>
                  </a:cubicBezTo>
                  <a:cubicBezTo>
                    <a:pt x="114213" y="266687"/>
                    <a:pt x="111816" y="270175"/>
                    <a:pt x="111816" y="272355"/>
                  </a:cubicBezTo>
                  <a:cubicBezTo>
                    <a:pt x="111816" y="278241"/>
                    <a:pt x="108111" y="279331"/>
                    <a:pt x="105279" y="274317"/>
                  </a:cubicBezTo>
                  <a:cubicBezTo>
                    <a:pt x="101574" y="267341"/>
                    <a:pt x="98306" y="271483"/>
                    <a:pt x="99831" y="281075"/>
                  </a:cubicBezTo>
                  <a:cubicBezTo>
                    <a:pt x="100921" y="288052"/>
                    <a:pt x="100703" y="289578"/>
                    <a:pt x="97870" y="289578"/>
                  </a:cubicBezTo>
                  <a:cubicBezTo>
                    <a:pt x="96127" y="289578"/>
                    <a:pt x="92858" y="291976"/>
                    <a:pt x="90897" y="295028"/>
                  </a:cubicBezTo>
                  <a:cubicBezTo>
                    <a:pt x="87846" y="299824"/>
                    <a:pt x="79130" y="302876"/>
                    <a:pt x="79130" y="299170"/>
                  </a:cubicBezTo>
                  <a:cubicBezTo>
                    <a:pt x="79130" y="294374"/>
                    <a:pt x="84142" y="289578"/>
                    <a:pt x="88064" y="290668"/>
                  </a:cubicBezTo>
                  <a:cubicBezTo>
                    <a:pt x="92422" y="292194"/>
                    <a:pt x="93512" y="288706"/>
                    <a:pt x="90243" y="283255"/>
                  </a:cubicBezTo>
                  <a:cubicBezTo>
                    <a:pt x="89154" y="281511"/>
                    <a:pt x="89154" y="277151"/>
                    <a:pt x="90461" y="272791"/>
                  </a:cubicBezTo>
                  <a:cubicBezTo>
                    <a:pt x="92640" y="264725"/>
                    <a:pt x="89807" y="258403"/>
                    <a:pt x="84795" y="260365"/>
                  </a:cubicBezTo>
                  <a:cubicBezTo>
                    <a:pt x="83052" y="261019"/>
                    <a:pt x="81309" y="259929"/>
                    <a:pt x="80655" y="258185"/>
                  </a:cubicBezTo>
                  <a:cubicBezTo>
                    <a:pt x="79784" y="256223"/>
                    <a:pt x="77169" y="254696"/>
                    <a:pt x="74772" y="254696"/>
                  </a:cubicBezTo>
                  <a:cubicBezTo>
                    <a:pt x="72375" y="254696"/>
                    <a:pt x="70414" y="253388"/>
                    <a:pt x="70414" y="251644"/>
                  </a:cubicBezTo>
                  <a:cubicBezTo>
                    <a:pt x="70414" y="249682"/>
                    <a:pt x="68888" y="249028"/>
                    <a:pt x="66491" y="249682"/>
                  </a:cubicBezTo>
                  <a:cubicBezTo>
                    <a:pt x="61043" y="250990"/>
                    <a:pt x="56032" y="244886"/>
                    <a:pt x="59300" y="240744"/>
                  </a:cubicBezTo>
                  <a:cubicBezTo>
                    <a:pt x="61043" y="238564"/>
                    <a:pt x="61043" y="236384"/>
                    <a:pt x="58647" y="231588"/>
                  </a:cubicBezTo>
                  <a:cubicBezTo>
                    <a:pt x="56250" y="227228"/>
                    <a:pt x="56032" y="224829"/>
                    <a:pt x="57775" y="222649"/>
                  </a:cubicBezTo>
                  <a:cubicBezTo>
                    <a:pt x="61043" y="218725"/>
                    <a:pt x="73682" y="219161"/>
                    <a:pt x="77822" y="223303"/>
                  </a:cubicBezTo>
                  <a:cubicBezTo>
                    <a:pt x="81745" y="227010"/>
                    <a:pt x="82616" y="240526"/>
                    <a:pt x="78912" y="242706"/>
                  </a:cubicBezTo>
                  <a:cubicBezTo>
                    <a:pt x="77387" y="243796"/>
                    <a:pt x="77822" y="245540"/>
                    <a:pt x="80219" y="248156"/>
                  </a:cubicBezTo>
                  <a:cubicBezTo>
                    <a:pt x="83924" y="252298"/>
                    <a:pt x="86539" y="251644"/>
                    <a:pt x="96344" y="244450"/>
                  </a:cubicBezTo>
                  <a:cubicBezTo>
                    <a:pt x="96998" y="244014"/>
                    <a:pt x="95473" y="242488"/>
                    <a:pt x="93512" y="240962"/>
                  </a:cubicBezTo>
                  <a:cubicBezTo>
                    <a:pt x="90243" y="238564"/>
                    <a:pt x="90025" y="237256"/>
                    <a:pt x="91986" y="233332"/>
                  </a:cubicBezTo>
                  <a:cubicBezTo>
                    <a:pt x="94819" y="227882"/>
                    <a:pt x="100049" y="228972"/>
                    <a:pt x="101792" y="235512"/>
                  </a:cubicBezTo>
                  <a:cubicBezTo>
                    <a:pt x="102664" y="239436"/>
                    <a:pt x="103318" y="239654"/>
                    <a:pt x="106150" y="237256"/>
                  </a:cubicBezTo>
                  <a:cubicBezTo>
                    <a:pt x="108111" y="235730"/>
                    <a:pt x="109637" y="233114"/>
                    <a:pt x="109637" y="231588"/>
                  </a:cubicBezTo>
                  <a:cubicBezTo>
                    <a:pt x="109637" y="227664"/>
                    <a:pt x="112688" y="227664"/>
                    <a:pt x="115956" y="231588"/>
                  </a:cubicBezTo>
                  <a:cubicBezTo>
                    <a:pt x="119878" y="236166"/>
                    <a:pt x="129249" y="237910"/>
                    <a:pt x="132953" y="234640"/>
                  </a:cubicBezTo>
                  <a:cubicBezTo>
                    <a:pt x="134696" y="233114"/>
                    <a:pt x="137093" y="229626"/>
                    <a:pt x="138183" y="227010"/>
                  </a:cubicBezTo>
                  <a:cubicBezTo>
                    <a:pt x="139708" y="223085"/>
                    <a:pt x="141233" y="222213"/>
                    <a:pt x="144938" y="223085"/>
                  </a:cubicBezTo>
                  <a:cubicBezTo>
                    <a:pt x="147771" y="223739"/>
                    <a:pt x="151693" y="223085"/>
                    <a:pt x="154090" y="221341"/>
                  </a:cubicBezTo>
                  <a:cubicBezTo>
                    <a:pt x="157359" y="218943"/>
                    <a:pt x="157794" y="217635"/>
                    <a:pt x="155615" y="213711"/>
                  </a:cubicBezTo>
                  <a:cubicBezTo>
                    <a:pt x="154308" y="211095"/>
                    <a:pt x="151475" y="208915"/>
                    <a:pt x="149514" y="208915"/>
                  </a:cubicBezTo>
                  <a:cubicBezTo>
                    <a:pt x="147553" y="208915"/>
                    <a:pt x="144938" y="207389"/>
                    <a:pt x="143412" y="205427"/>
                  </a:cubicBezTo>
                  <a:cubicBezTo>
                    <a:pt x="141233" y="202375"/>
                    <a:pt x="140580" y="202375"/>
                    <a:pt x="137747" y="204991"/>
                  </a:cubicBezTo>
                  <a:cubicBezTo>
                    <a:pt x="136004" y="206735"/>
                    <a:pt x="131863" y="208915"/>
                    <a:pt x="128595" y="209787"/>
                  </a:cubicBezTo>
                  <a:cubicBezTo>
                    <a:pt x="121840" y="211313"/>
                    <a:pt x="120532" y="215455"/>
                    <a:pt x="126852" y="215455"/>
                  </a:cubicBezTo>
                  <a:cubicBezTo>
                    <a:pt x="132081" y="215455"/>
                    <a:pt x="134914" y="219379"/>
                    <a:pt x="131863" y="222431"/>
                  </a:cubicBezTo>
                  <a:cubicBezTo>
                    <a:pt x="130338" y="223957"/>
                    <a:pt x="127505" y="223957"/>
                    <a:pt x="123147" y="222431"/>
                  </a:cubicBezTo>
                  <a:cubicBezTo>
                    <a:pt x="119007" y="221123"/>
                    <a:pt x="115956" y="220905"/>
                    <a:pt x="114649" y="222213"/>
                  </a:cubicBezTo>
                  <a:cubicBezTo>
                    <a:pt x="113341" y="223521"/>
                    <a:pt x="112470" y="220905"/>
                    <a:pt x="112252" y="215237"/>
                  </a:cubicBezTo>
                  <a:cubicBezTo>
                    <a:pt x="111816" y="204119"/>
                    <a:pt x="110726" y="202593"/>
                    <a:pt x="105279" y="203901"/>
                  </a:cubicBezTo>
                  <a:cubicBezTo>
                    <a:pt x="100703" y="205209"/>
                    <a:pt x="99613" y="208915"/>
                    <a:pt x="102882" y="212403"/>
                  </a:cubicBezTo>
                  <a:cubicBezTo>
                    <a:pt x="103971" y="213493"/>
                    <a:pt x="105497" y="216545"/>
                    <a:pt x="106368" y="219379"/>
                  </a:cubicBezTo>
                  <a:cubicBezTo>
                    <a:pt x="107676" y="223739"/>
                    <a:pt x="107240" y="223957"/>
                    <a:pt x="102664" y="222213"/>
                  </a:cubicBezTo>
                  <a:cubicBezTo>
                    <a:pt x="99831" y="221123"/>
                    <a:pt x="94819" y="220687"/>
                    <a:pt x="91768" y="221341"/>
                  </a:cubicBezTo>
                  <a:cubicBezTo>
                    <a:pt x="86757" y="222213"/>
                    <a:pt x="86321" y="221777"/>
                    <a:pt x="87192" y="216763"/>
                  </a:cubicBezTo>
                  <a:cubicBezTo>
                    <a:pt x="87846" y="213493"/>
                    <a:pt x="90243" y="210005"/>
                    <a:pt x="92422" y="208697"/>
                  </a:cubicBezTo>
                  <a:cubicBezTo>
                    <a:pt x="94819" y="207607"/>
                    <a:pt x="96562" y="205209"/>
                    <a:pt x="96562" y="203465"/>
                  </a:cubicBezTo>
                  <a:cubicBezTo>
                    <a:pt x="96562" y="201721"/>
                    <a:pt x="98959" y="198669"/>
                    <a:pt x="101792" y="196706"/>
                  </a:cubicBezTo>
                  <a:lnTo>
                    <a:pt x="107240" y="193218"/>
                  </a:lnTo>
                  <a:lnTo>
                    <a:pt x="102664" y="184716"/>
                  </a:lnTo>
                  <a:cubicBezTo>
                    <a:pt x="100267" y="180138"/>
                    <a:pt x="96998" y="176214"/>
                    <a:pt x="95691" y="176214"/>
                  </a:cubicBezTo>
                  <a:cubicBezTo>
                    <a:pt x="91115" y="176214"/>
                    <a:pt x="85013" y="167929"/>
                    <a:pt x="86539" y="164005"/>
                  </a:cubicBezTo>
                  <a:cubicBezTo>
                    <a:pt x="87628" y="161389"/>
                    <a:pt x="89589" y="160735"/>
                    <a:pt x="94383" y="161825"/>
                  </a:cubicBezTo>
                  <a:cubicBezTo>
                    <a:pt x="98088" y="162479"/>
                    <a:pt x="100921" y="162043"/>
                    <a:pt x="100921" y="160953"/>
                  </a:cubicBezTo>
                  <a:cubicBezTo>
                    <a:pt x="100921" y="159863"/>
                    <a:pt x="103535" y="156375"/>
                    <a:pt x="106804" y="153323"/>
                  </a:cubicBezTo>
                  <a:cubicBezTo>
                    <a:pt x="110073" y="150271"/>
                    <a:pt x="112470" y="147873"/>
                    <a:pt x="111816" y="147655"/>
                  </a:cubicBezTo>
                  <a:cubicBezTo>
                    <a:pt x="92858" y="145475"/>
                    <a:pt x="92204" y="145693"/>
                    <a:pt x="89589" y="151143"/>
                  </a:cubicBezTo>
                  <a:cubicBezTo>
                    <a:pt x="88282" y="154195"/>
                    <a:pt x="85013" y="157901"/>
                    <a:pt x="82398" y="159645"/>
                  </a:cubicBezTo>
                  <a:cubicBezTo>
                    <a:pt x="77822" y="162697"/>
                    <a:pt x="77387" y="162261"/>
                    <a:pt x="72810" y="153977"/>
                  </a:cubicBezTo>
                  <a:cubicBezTo>
                    <a:pt x="67145" y="143077"/>
                    <a:pt x="66927" y="139370"/>
                    <a:pt x="72593" y="144603"/>
                  </a:cubicBezTo>
                  <a:cubicBezTo>
                    <a:pt x="76951" y="148527"/>
                    <a:pt x="83488" y="147873"/>
                    <a:pt x="83488" y="143513"/>
                  </a:cubicBezTo>
                  <a:cubicBezTo>
                    <a:pt x="83488" y="142205"/>
                    <a:pt x="82398" y="139152"/>
                    <a:pt x="81309" y="136754"/>
                  </a:cubicBezTo>
                  <a:cubicBezTo>
                    <a:pt x="77387" y="129778"/>
                    <a:pt x="81091" y="127380"/>
                    <a:pt x="86974" y="132830"/>
                  </a:cubicBezTo>
                  <a:cubicBezTo>
                    <a:pt x="91333" y="136972"/>
                    <a:pt x="93294" y="137408"/>
                    <a:pt x="98306" y="135664"/>
                  </a:cubicBezTo>
                  <a:cubicBezTo>
                    <a:pt x="102882" y="133920"/>
                    <a:pt x="106368" y="134356"/>
                    <a:pt x="113559" y="137190"/>
                  </a:cubicBezTo>
                  <a:cubicBezTo>
                    <a:pt x="118571" y="139370"/>
                    <a:pt x="122711" y="140243"/>
                    <a:pt x="122711" y="139152"/>
                  </a:cubicBezTo>
                  <a:cubicBezTo>
                    <a:pt x="122711" y="137844"/>
                    <a:pt x="121840" y="136972"/>
                    <a:pt x="120532" y="136972"/>
                  </a:cubicBezTo>
                  <a:cubicBezTo>
                    <a:pt x="119443" y="136972"/>
                    <a:pt x="118353" y="135010"/>
                    <a:pt x="118353" y="132612"/>
                  </a:cubicBezTo>
                  <a:cubicBezTo>
                    <a:pt x="118353" y="129778"/>
                    <a:pt x="119878" y="128252"/>
                    <a:pt x="122711" y="128252"/>
                  </a:cubicBezTo>
                  <a:cubicBezTo>
                    <a:pt x="125108" y="128252"/>
                    <a:pt x="127069" y="127380"/>
                    <a:pt x="127069" y="126072"/>
                  </a:cubicBezTo>
                  <a:cubicBezTo>
                    <a:pt x="127069" y="124982"/>
                    <a:pt x="129031" y="123892"/>
                    <a:pt x="131210" y="123892"/>
                  </a:cubicBezTo>
                  <a:cubicBezTo>
                    <a:pt x="138836" y="123892"/>
                    <a:pt x="139054" y="118660"/>
                    <a:pt x="132299" y="106887"/>
                  </a:cubicBezTo>
                  <a:cubicBezTo>
                    <a:pt x="132081" y="106451"/>
                    <a:pt x="129902" y="107323"/>
                    <a:pt x="127505" y="108849"/>
                  </a:cubicBezTo>
                  <a:cubicBezTo>
                    <a:pt x="124019" y="111030"/>
                    <a:pt x="122275" y="111030"/>
                    <a:pt x="120096" y="109067"/>
                  </a:cubicBezTo>
                  <a:cubicBezTo>
                    <a:pt x="118353" y="107759"/>
                    <a:pt x="115956" y="107323"/>
                    <a:pt x="114867" y="108413"/>
                  </a:cubicBezTo>
                  <a:cubicBezTo>
                    <a:pt x="113777" y="109503"/>
                    <a:pt x="109419" y="110812"/>
                    <a:pt x="104843" y="111466"/>
                  </a:cubicBezTo>
                  <a:cubicBezTo>
                    <a:pt x="97216" y="112556"/>
                    <a:pt x="96998" y="112338"/>
                    <a:pt x="95691" y="105143"/>
                  </a:cubicBezTo>
                  <a:cubicBezTo>
                    <a:pt x="94601" y="99911"/>
                    <a:pt x="93076" y="97731"/>
                    <a:pt x="90025" y="97731"/>
                  </a:cubicBezTo>
                  <a:cubicBezTo>
                    <a:pt x="87846" y="97731"/>
                    <a:pt x="85231" y="95769"/>
                    <a:pt x="84577" y="93371"/>
                  </a:cubicBezTo>
                  <a:cubicBezTo>
                    <a:pt x="83052" y="88357"/>
                    <a:pt x="77822" y="85523"/>
                    <a:pt x="71503" y="85959"/>
                  </a:cubicBezTo>
                  <a:cubicBezTo>
                    <a:pt x="69106" y="85959"/>
                    <a:pt x="64530" y="86395"/>
                    <a:pt x="61261" y="86613"/>
                  </a:cubicBezTo>
                  <a:cubicBezTo>
                    <a:pt x="57339" y="86613"/>
                    <a:pt x="55160" y="88139"/>
                    <a:pt x="55160" y="90101"/>
                  </a:cubicBezTo>
                  <a:cubicBezTo>
                    <a:pt x="55160" y="93807"/>
                    <a:pt x="57775" y="94243"/>
                    <a:pt x="60826" y="91191"/>
                  </a:cubicBezTo>
                  <a:cubicBezTo>
                    <a:pt x="62351" y="89665"/>
                    <a:pt x="64966" y="89447"/>
                    <a:pt x="68888" y="90973"/>
                  </a:cubicBezTo>
                  <a:cubicBezTo>
                    <a:pt x="75643" y="93589"/>
                    <a:pt x="76515" y="96641"/>
                    <a:pt x="71067" y="98603"/>
                  </a:cubicBezTo>
                  <a:cubicBezTo>
                    <a:pt x="68452" y="99693"/>
                    <a:pt x="68234" y="100783"/>
                    <a:pt x="69978" y="102527"/>
                  </a:cubicBezTo>
                  <a:cubicBezTo>
                    <a:pt x="71939" y="104489"/>
                    <a:pt x="73464" y="104053"/>
                    <a:pt x="76515" y="101437"/>
                  </a:cubicBezTo>
                  <a:cubicBezTo>
                    <a:pt x="82398" y="95987"/>
                    <a:pt x="84142" y="96859"/>
                    <a:pt x="89589" y="107759"/>
                  </a:cubicBezTo>
                  <a:cubicBezTo>
                    <a:pt x="93294" y="115390"/>
                    <a:pt x="93948" y="118442"/>
                    <a:pt x="92204" y="121712"/>
                  </a:cubicBezTo>
                  <a:cubicBezTo>
                    <a:pt x="89807" y="126290"/>
                    <a:pt x="86757" y="127380"/>
                    <a:pt x="84795" y="124110"/>
                  </a:cubicBezTo>
                  <a:cubicBezTo>
                    <a:pt x="84142" y="123020"/>
                    <a:pt x="81527" y="122584"/>
                    <a:pt x="79130" y="123238"/>
                  </a:cubicBezTo>
                  <a:cubicBezTo>
                    <a:pt x="73900" y="124546"/>
                    <a:pt x="73028" y="118442"/>
                    <a:pt x="78040" y="116480"/>
                  </a:cubicBezTo>
                  <a:cubicBezTo>
                    <a:pt x="83488" y="114518"/>
                    <a:pt x="81745" y="110812"/>
                    <a:pt x="74990" y="110812"/>
                  </a:cubicBezTo>
                  <a:cubicBezTo>
                    <a:pt x="70414" y="110812"/>
                    <a:pt x="67145" y="108849"/>
                    <a:pt x="63005" y="103399"/>
                  </a:cubicBezTo>
                  <a:cubicBezTo>
                    <a:pt x="57339" y="95769"/>
                    <a:pt x="55378" y="95333"/>
                    <a:pt x="39471" y="97513"/>
                  </a:cubicBezTo>
                  <a:cubicBezTo>
                    <a:pt x="38381" y="97731"/>
                    <a:pt x="37727" y="100565"/>
                    <a:pt x="37727" y="103835"/>
                  </a:cubicBezTo>
                  <a:cubicBezTo>
                    <a:pt x="37727" y="107323"/>
                    <a:pt x="35766" y="111902"/>
                    <a:pt x="33369" y="114082"/>
                  </a:cubicBezTo>
                  <a:cubicBezTo>
                    <a:pt x="27486" y="119314"/>
                    <a:pt x="27922" y="123892"/>
                    <a:pt x="34023" y="123892"/>
                  </a:cubicBezTo>
                  <a:cubicBezTo>
                    <a:pt x="42086" y="123892"/>
                    <a:pt x="49059" y="117788"/>
                    <a:pt x="48187" y="111248"/>
                  </a:cubicBezTo>
                  <a:cubicBezTo>
                    <a:pt x="47751" y="106233"/>
                    <a:pt x="48405" y="105143"/>
                    <a:pt x="53199" y="104707"/>
                  </a:cubicBezTo>
                  <a:cubicBezTo>
                    <a:pt x="57993" y="104053"/>
                    <a:pt x="59082" y="105143"/>
                    <a:pt x="60608" y="111248"/>
                  </a:cubicBezTo>
                  <a:cubicBezTo>
                    <a:pt x="63440" y="122584"/>
                    <a:pt x="63223" y="122802"/>
                    <a:pt x="55160" y="122802"/>
                  </a:cubicBezTo>
                  <a:cubicBezTo>
                    <a:pt x="48841" y="122802"/>
                    <a:pt x="47315" y="123674"/>
                    <a:pt x="45572" y="129342"/>
                  </a:cubicBezTo>
                  <a:cubicBezTo>
                    <a:pt x="42521" y="138280"/>
                    <a:pt x="42739" y="138280"/>
                    <a:pt x="37727" y="133702"/>
                  </a:cubicBezTo>
                  <a:cubicBezTo>
                    <a:pt x="34023" y="130214"/>
                    <a:pt x="32280" y="129996"/>
                    <a:pt x="29011" y="131958"/>
                  </a:cubicBezTo>
                  <a:cubicBezTo>
                    <a:pt x="25742" y="134138"/>
                    <a:pt x="24435" y="133702"/>
                    <a:pt x="21602" y="129342"/>
                  </a:cubicBezTo>
                  <a:cubicBezTo>
                    <a:pt x="16590" y="121494"/>
                    <a:pt x="17244" y="117352"/>
                    <a:pt x="23563" y="117352"/>
                  </a:cubicBezTo>
                  <a:cubicBezTo>
                    <a:pt x="27050" y="117352"/>
                    <a:pt x="29011" y="116044"/>
                    <a:pt x="29011" y="114082"/>
                  </a:cubicBezTo>
                  <a:cubicBezTo>
                    <a:pt x="29011" y="108849"/>
                    <a:pt x="23346" y="107977"/>
                    <a:pt x="15719" y="111684"/>
                  </a:cubicBezTo>
                  <a:cubicBezTo>
                    <a:pt x="10053" y="114518"/>
                    <a:pt x="8310" y="114736"/>
                    <a:pt x="6785" y="112556"/>
                  </a:cubicBezTo>
                  <a:cubicBezTo>
                    <a:pt x="4388" y="108413"/>
                    <a:pt x="4605" y="99039"/>
                    <a:pt x="7438" y="96205"/>
                  </a:cubicBezTo>
                  <a:cubicBezTo>
                    <a:pt x="9182" y="94461"/>
                    <a:pt x="8746" y="92063"/>
                    <a:pt x="6349" y="87703"/>
                  </a:cubicBezTo>
                  <a:cubicBezTo>
                    <a:pt x="2862" y="81162"/>
                    <a:pt x="2426" y="81599"/>
                    <a:pt x="1991" y="91191"/>
                  </a:cubicBezTo>
                  <a:cubicBezTo>
                    <a:pt x="1773" y="94461"/>
                    <a:pt x="465" y="96641"/>
                    <a:pt x="-1496" y="96641"/>
                  </a:cubicBezTo>
                  <a:cubicBezTo>
                    <a:pt x="-3893" y="96641"/>
                    <a:pt x="-4547" y="94679"/>
                    <a:pt x="-4111" y="89011"/>
                  </a:cubicBezTo>
                  <a:cubicBezTo>
                    <a:pt x="-3893" y="84869"/>
                    <a:pt x="-2585" y="80944"/>
                    <a:pt x="-1496" y="80726"/>
                  </a:cubicBezTo>
                  <a:cubicBezTo>
                    <a:pt x="-188" y="80290"/>
                    <a:pt x="683" y="78110"/>
                    <a:pt x="683" y="75712"/>
                  </a:cubicBezTo>
                  <a:cubicBezTo>
                    <a:pt x="683" y="73532"/>
                    <a:pt x="2208" y="71570"/>
                    <a:pt x="3952" y="71570"/>
                  </a:cubicBezTo>
                  <a:cubicBezTo>
                    <a:pt x="5695" y="71570"/>
                    <a:pt x="7220" y="69608"/>
                    <a:pt x="7220" y="66992"/>
                  </a:cubicBezTo>
                  <a:cubicBezTo>
                    <a:pt x="7220" y="61760"/>
                    <a:pt x="10925" y="54130"/>
                    <a:pt x="13540" y="54130"/>
                  </a:cubicBezTo>
                  <a:cubicBezTo>
                    <a:pt x="16808" y="54130"/>
                    <a:pt x="20949" y="66992"/>
                    <a:pt x="18769" y="70044"/>
                  </a:cubicBezTo>
                  <a:cubicBezTo>
                    <a:pt x="17462" y="71352"/>
                    <a:pt x="15937" y="77892"/>
                    <a:pt x="15283" y="83997"/>
                  </a:cubicBezTo>
                  <a:cubicBezTo>
                    <a:pt x="14193" y="93589"/>
                    <a:pt x="14629" y="95769"/>
                    <a:pt x="17898" y="97513"/>
                  </a:cubicBezTo>
                  <a:cubicBezTo>
                    <a:pt x="23563" y="100565"/>
                    <a:pt x="31190" y="97949"/>
                    <a:pt x="33587" y="92063"/>
                  </a:cubicBezTo>
                  <a:cubicBezTo>
                    <a:pt x="34895" y="88357"/>
                    <a:pt x="37074" y="86831"/>
                    <a:pt x="40996" y="86831"/>
                  </a:cubicBezTo>
                  <a:cubicBezTo>
                    <a:pt x="46444" y="86831"/>
                    <a:pt x="48623" y="81817"/>
                    <a:pt x="44265" y="79200"/>
                  </a:cubicBezTo>
                  <a:cubicBezTo>
                    <a:pt x="37074" y="74840"/>
                    <a:pt x="53853" y="69608"/>
                    <a:pt x="61915" y="73750"/>
                  </a:cubicBezTo>
                  <a:cubicBezTo>
                    <a:pt x="65402" y="75712"/>
                    <a:pt x="67145" y="75494"/>
                    <a:pt x="70414" y="72660"/>
                  </a:cubicBezTo>
                  <a:cubicBezTo>
                    <a:pt x="74118" y="69172"/>
                    <a:pt x="74554" y="69390"/>
                    <a:pt x="75207" y="73750"/>
                  </a:cubicBezTo>
                  <a:cubicBezTo>
                    <a:pt x="75643" y="76148"/>
                    <a:pt x="76951" y="77892"/>
                    <a:pt x="78040" y="77674"/>
                  </a:cubicBezTo>
                  <a:cubicBezTo>
                    <a:pt x="80873" y="76802"/>
                    <a:pt x="80001" y="65466"/>
                    <a:pt x="76515" y="59144"/>
                  </a:cubicBezTo>
                  <a:cubicBezTo>
                    <a:pt x="74554" y="55002"/>
                    <a:pt x="74772" y="53476"/>
                    <a:pt x="78040" y="49769"/>
                  </a:cubicBezTo>
                  <a:cubicBezTo>
                    <a:pt x="80219" y="47371"/>
                    <a:pt x="83706" y="44973"/>
                    <a:pt x="86103" y="44101"/>
                  </a:cubicBezTo>
                  <a:cubicBezTo>
                    <a:pt x="89589" y="43011"/>
                    <a:pt x="90243" y="41049"/>
                    <a:pt x="89807" y="29277"/>
                  </a:cubicBezTo>
                  <a:cubicBezTo>
                    <a:pt x="89371" y="13580"/>
                    <a:pt x="90461" y="10528"/>
                    <a:pt x="96562" y="12054"/>
                  </a:cubicBezTo>
                  <a:cubicBezTo>
                    <a:pt x="98959" y="12708"/>
                    <a:pt x="100921" y="12272"/>
                    <a:pt x="100921" y="10964"/>
                  </a:cubicBezTo>
                  <a:cubicBezTo>
                    <a:pt x="100921" y="4642"/>
                    <a:pt x="129031" y="-590"/>
                    <a:pt x="142759" y="3334"/>
                  </a:cubicBezTo>
                  <a:lnTo>
                    <a:pt x="148424" y="5078"/>
                  </a:lnTo>
                  <a:lnTo>
                    <a:pt x="144284" y="10310"/>
                  </a:lnTo>
                  <a:cubicBezTo>
                    <a:pt x="141016" y="14234"/>
                    <a:pt x="139272" y="14888"/>
                    <a:pt x="137529" y="13144"/>
                  </a:cubicBezTo>
                  <a:cubicBezTo>
                    <a:pt x="133171" y="8784"/>
                    <a:pt x="130774" y="10310"/>
                    <a:pt x="132081" y="16850"/>
                  </a:cubicBezTo>
                  <a:cubicBezTo>
                    <a:pt x="133825" y="24917"/>
                    <a:pt x="130338" y="28405"/>
                    <a:pt x="123801" y="25353"/>
                  </a:cubicBezTo>
                  <a:cubicBezTo>
                    <a:pt x="119443" y="23390"/>
                    <a:pt x="119007" y="22300"/>
                    <a:pt x="121186" y="17722"/>
                  </a:cubicBezTo>
                  <a:cubicBezTo>
                    <a:pt x="124455" y="10528"/>
                    <a:pt x="120968" y="7694"/>
                    <a:pt x="112688" y="10964"/>
                  </a:cubicBezTo>
                  <a:cubicBezTo>
                    <a:pt x="104407" y="14016"/>
                    <a:pt x="99177" y="24263"/>
                    <a:pt x="103100" y="29059"/>
                  </a:cubicBezTo>
                  <a:cubicBezTo>
                    <a:pt x="105279" y="31675"/>
                    <a:pt x="105061" y="33201"/>
                    <a:pt x="102228" y="36471"/>
                  </a:cubicBezTo>
                  <a:cubicBezTo>
                    <a:pt x="95909" y="43447"/>
                    <a:pt x="101792" y="57618"/>
                    <a:pt x="108547" y="51949"/>
                  </a:cubicBezTo>
                  <a:cubicBezTo>
                    <a:pt x="110073" y="50641"/>
                    <a:pt x="113777" y="49769"/>
                    <a:pt x="116610" y="49987"/>
                  </a:cubicBezTo>
                  <a:cubicBezTo>
                    <a:pt x="128813" y="51077"/>
                    <a:pt x="129684" y="50423"/>
                    <a:pt x="128813" y="41049"/>
                  </a:cubicBezTo>
                  <a:cubicBezTo>
                    <a:pt x="127941" y="32111"/>
                    <a:pt x="129902" y="29495"/>
                    <a:pt x="132299" y="35817"/>
                  </a:cubicBezTo>
                  <a:cubicBezTo>
                    <a:pt x="133171" y="38215"/>
                    <a:pt x="135132" y="38869"/>
                    <a:pt x="139054" y="37997"/>
                  </a:cubicBezTo>
                  <a:cubicBezTo>
                    <a:pt x="144502" y="36689"/>
                    <a:pt x="146899" y="39741"/>
                    <a:pt x="141887" y="41703"/>
                  </a:cubicBezTo>
                  <a:cubicBezTo>
                    <a:pt x="139926" y="42357"/>
                    <a:pt x="140144" y="43883"/>
                    <a:pt x="143195" y="47371"/>
                  </a:cubicBezTo>
                  <a:cubicBezTo>
                    <a:pt x="147989" y="52822"/>
                    <a:pt x="152347" y="53258"/>
                    <a:pt x="154090" y="48679"/>
                  </a:cubicBezTo>
                  <a:cubicBezTo>
                    <a:pt x="154962" y="46281"/>
                    <a:pt x="156923" y="45627"/>
                    <a:pt x="160845" y="46717"/>
                  </a:cubicBezTo>
                  <a:cubicBezTo>
                    <a:pt x="166511" y="48243"/>
                    <a:pt x="167382" y="46499"/>
                    <a:pt x="164985" y="37561"/>
                  </a:cubicBezTo>
                  <a:cubicBezTo>
                    <a:pt x="164114" y="33855"/>
                    <a:pt x="162153" y="32983"/>
                    <a:pt x="156923" y="33201"/>
                  </a:cubicBezTo>
                  <a:cubicBezTo>
                    <a:pt x="147989" y="33419"/>
                    <a:pt x="146027" y="26879"/>
                    <a:pt x="154090" y="23390"/>
                  </a:cubicBezTo>
                  <a:cubicBezTo>
                    <a:pt x="157794" y="21646"/>
                    <a:pt x="159756" y="19030"/>
                    <a:pt x="159756" y="15542"/>
                  </a:cubicBezTo>
                  <a:cubicBezTo>
                    <a:pt x="159756" y="9874"/>
                    <a:pt x="163024" y="8784"/>
                    <a:pt x="164985" y="14016"/>
                  </a:cubicBezTo>
                  <a:cubicBezTo>
                    <a:pt x="166075" y="16850"/>
                    <a:pt x="166946" y="16850"/>
                    <a:pt x="171740" y="13362"/>
                  </a:cubicBezTo>
                  <a:cubicBezTo>
                    <a:pt x="174573" y="11182"/>
                    <a:pt x="177188" y="7694"/>
                    <a:pt x="177188" y="5732"/>
                  </a:cubicBezTo>
                  <a:cubicBezTo>
                    <a:pt x="177188" y="718"/>
                    <a:pt x="181110" y="-1244"/>
                    <a:pt x="184815" y="1808"/>
                  </a:cubicBezTo>
                  <a:cubicBezTo>
                    <a:pt x="188519" y="4860"/>
                    <a:pt x="186994" y="9002"/>
                    <a:pt x="178931" y="17722"/>
                  </a:cubicBezTo>
                  <a:cubicBezTo>
                    <a:pt x="173702" y="23390"/>
                    <a:pt x="172830" y="26007"/>
                    <a:pt x="173702" y="32111"/>
                  </a:cubicBezTo>
                  <a:cubicBezTo>
                    <a:pt x="174355" y="36253"/>
                    <a:pt x="173920" y="40831"/>
                    <a:pt x="172612" y="42357"/>
                  </a:cubicBezTo>
                  <a:cubicBezTo>
                    <a:pt x="171087" y="44319"/>
                    <a:pt x="172612" y="46717"/>
                    <a:pt x="178060" y="51295"/>
                  </a:cubicBezTo>
                  <a:cubicBezTo>
                    <a:pt x="182418" y="54566"/>
                    <a:pt x="185904" y="58272"/>
                    <a:pt x="185904" y="59144"/>
                  </a:cubicBezTo>
                  <a:cubicBezTo>
                    <a:pt x="185904" y="60234"/>
                    <a:pt x="181328" y="60670"/>
                    <a:pt x="175663" y="60452"/>
                  </a:cubicBezTo>
                  <a:cubicBezTo>
                    <a:pt x="169126" y="60016"/>
                    <a:pt x="165203" y="60670"/>
                    <a:pt x="164550" y="62414"/>
                  </a:cubicBezTo>
                  <a:cubicBezTo>
                    <a:pt x="164114" y="63940"/>
                    <a:pt x="165639" y="65030"/>
                    <a:pt x="168254" y="65030"/>
                  </a:cubicBezTo>
                  <a:cubicBezTo>
                    <a:pt x="174573" y="65030"/>
                    <a:pt x="176317" y="70698"/>
                    <a:pt x="171740" y="75930"/>
                  </a:cubicBezTo>
                  <a:cubicBezTo>
                    <a:pt x="167382" y="80944"/>
                    <a:pt x="164114" y="79854"/>
                    <a:pt x="164114" y="73532"/>
                  </a:cubicBezTo>
                  <a:cubicBezTo>
                    <a:pt x="164114" y="68736"/>
                    <a:pt x="159320" y="62850"/>
                    <a:pt x="155615" y="62850"/>
                  </a:cubicBezTo>
                  <a:cubicBezTo>
                    <a:pt x="154308" y="62850"/>
                    <a:pt x="153218" y="65248"/>
                    <a:pt x="153218" y="68300"/>
                  </a:cubicBezTo>
                  <a:cubicBezTo>
                    <a:pt x="153218" y="71352"/>
                    <a:pt x="152129" y="73750"/>
                    <a:pt x="150821" y="73750"/>
                  </a:cubicBezTo>
                  <a:cubicBezTo>
                    <a:pt x="149514" y="73750"/>
                    <a:pt x="149078" y="71788"/>
                    <a:pt x="149950" y="69390"/>
                  </a:cubicBezTo>
                  <a:cubicBezTo>
                    <a:pt x="151693" y="63940"/>
                    <a:pt x="147117" y="57618"/>
                    <a:pt x="143630" y="60452"/>
                  </a:cubicBezTo>
                  <a:cubicBezTo>
                    <a:pt x="142323" y="61542"/>
                    <a:pt x="137093" y="62196"/>
                    <a:pt x="132081" y="61760"/>
                  </a:cubicBezTo>
                  <a:cubicBezTo>
                    <a:pt x="124672" y="61324"/>
                    <a:pt x="122929" y="61978"/>
                    <a:pt x="121840" y="65684"/>
                  </a:cubicBezTo>
                  <a:cubicBezTo>
                    <a:pt x="121186" y="68518"/>
                    <a:pt x="119661" y="69608"/>
                    <a:pt x="117482" y="68736"/>
                  </a:cubicBezTo>
                  <a:cubicBezTo>
                    <a:pt x="115302" y="67864"/>
                    <a:pt x="113995" y="68518"/>
                    <a:pt x="113995" y="70480"/>
                  </a:cubicBezTo>
                  <a:cubicBezTo>
                    <a:pt x="113995" y="74186"/>
                    <a:pt x="107894" y="75712"/>
                    <a:pt x="101138" y="73314"/>
                  </a:cubicBezTo>
                  <a:cubicBezTo>
                    <a:pt x="93512" y="70480"/>
                    <a:pt x="90025" y="72660"/>
                    <a:pt x="90025" y="80290"/>
                  </a:cubicBezTo>
                  <a:cubicBezTo>
                    <a:pt x="90025" y="85305"/>
                    <a:pt x="91333" y="87485"/>
                    <a:pt x="95473" y="89447"/>
                  </a:cubicBezTo>
                  <a:cubicBezTo>
                    <a:pt x="98524" y="90755"/>
                    <a:pt x="100921" y="93589"/>
                    <a:pt x="100921" y="95551"/>
                  </a:cubicBezTo>
                  <a:cubicBezTo>
                    <a:pt x="100921" y="101001"/>
                    <a:pt x="102882" y="102091"/>
                    <a:pt x="108765" y="99475"/>
                  </a:cubicBezTo>
                  <a:cubicBezTo>
                    <a:pt x="112688" y="97513"/>
                    <a:pt x="113777" y="95551"/>
                    <a:pt x="113341" y="90319"/>
                  </a:cubicBezTo>
                  <a:cubicBezTo>
                    <a:pt x="112905" y="83997"/>
                    <a:pt x="113341" y="83561"/>
                    <a:pt x="120096" y="84215"/>
                  </a:cubicBezTo>
                  <a:cubicBezTo>
                    <a:pt x="126852" y="84869"/>
                    <a:pt x="127069" y="84869"/>
                    <a:pt x="124455" y="79200"/>
                  </a:cubicBezTo>
                  <a:cubicBezTo>
                    <a:pt x="122275" y="74622"/>
                    <a:pt x="122493" y="73096"/>
                    <a:pt x="124890" y="71570"/>
                  </a:cubicBezTo>
                  <a:cubicBezTo>
                    <a:pt x="127941" y="69608"/>
                    <a:pt x="133607" y="70916"/>
                    <a:pt x="133607" y="73750"/>
                  </a:cubicBezTo>
                  <a:cubicBezTo>
                    <a:pt x="133607" y="74622"/>
                    <a:pt x="136222" y="74840"/>
                    <a:pt x="139490" y="74186"/>
                  </a:cubicBezTo>
                  <a:cubicBezTo>
                    <a:pt x="144938" y="73096"/>
                    <a:pt x="145156" y="73532"/>
                    <a:pt x="143848" y="79854"/>
                  </a:cubicBezTo>
                  <a:cubicBezTo>
                    <a:pt x="142759" y="85305"/>
                    <a:pt x="143412" y="87267"/>
                    <a:pt x="147335" y="90101"/>
                  </a:cubicBezTo>
                  <a:cubicBezTo>
                    <a:pt x="151693" y="93153"/>
                    <a:pt x="152129" y="93153"/>
                    <a:pt x="153654" y="89011"/>
                  </a:cubicBezTo>
                  <a:cubicBezTo>
                    <a:pt x="154962" y="85087"/>
                    <a:pt x="156923" y="84869"/>
                    <a:pt x="175881" y="85305"/>
                  </a:cubicBezTo>
                  <a:cubicBezTo>
                    <a:pt x="187212" y="85741"/>
                    <a:pt x="197236" y="86395"/>
                    <a:pt x="197889" y="87049"/>
                  </a:cubicBezTo>
                  <a:cubicBezTo>
                    <a:pt x="198543" y="87703"/>
                    <a:pt x="198325" y="91409"/>
                    <a:pt x="197671" y="95115"/>
                  </a:cubicBezTo>
                  <a:cubicBezTo>
                    <a:pt x="196582" y="100347"/>
                    <a:pt x="194839" y="102091"/>
                    <a:pt x="189827" y="103181"/>
                  </a:cubicBezTo>
                  <a:cubicBezTo>
                    <a:pt x="182854" y="104707"/>
                    <a:pt x="182200" y="109721"/>
                    <a:pt x="188519" y="113864"/>
                  </a:cubicBezTo>
                  <a:cubicBezTo>
                    <a:pt x="191352" y="115608"/>
                    <a:pt x="193095" y="115172"/>
                    <a:pt x="196364" y="112338"/>
                  </a:cubicBezTo>
                  <a:cubicBezTo>
                    <a:pt x="202901" y="106451"/>
                    <a:pt x="211618" y="110594"/>
                    <a:pt x="212489" y="119968"/>
                  </a:cubicBezTo>
                  <a:lnTo>
                    <a:pt x="213143" y="127162"/>
                  </a:lnTo>
                  <a:lnTo>
                    <a:pt x="217065" y="120186"/>
                  </a:lnTo>
                  <a:cubicBezTo>
                    <a:pt x="220770" y="113428"/>
                    <a:pt x="220770" y="112992"/>
                    <a:pt x="216411" y="110812"/>
                  </a:cubicBezTo>
                  <a:cubicBezTo>
                    <a:pt x="212271" y="108631"/>
                    <a:pt x="210092" y="99911"/>
                    <a:pt x="213797" y="99911"/>
                  </a:cubicBezTo>
                  <a:cubicBezTo>
                    <a:pt x="217501" y="99911"/>
                    <a:pt x="220770" y="91191"/>
                    <a:pt x="218591" y="86831"/>
                  </a:cubicBezTo>
                  <a:cubicBezTo>
                    <a:pt x="217501" y="84651"/>
                    <a:pt x="217065" y="81162"/>
                    <a:pt x="217719" y="79418"/>
                  </a:cubicBezTo>
                  <a:cubicBezTo>
                    <a:pt x="219462" y="75058"/>
                    <a:pt x="231011" y="69172"/>
                    <a:pt x="235152" y="70916"/>
                  </a:cubicBezTo>
                  <a:cubicBezTo>
                    <a:pt x="237331" y="71788"/>
                    <a:pt x="238202" y="70262"/>
                    <a:pt x="238202" y="65248"/>
                  </a:cubicBezTo>
                  <a:cubicBezTo>
                    <a:pt x="238202" y="61542"/>
                    <a:pt x="237331" y="58490"/>
                    <a:pt x="236023" y="58490"/>
                  </a:cubicBezTo>
                  <a:cubicBezTo>
                    <a:pt x="234934" y="58490"/>
                    <a:pt x="233844" y="59580"/>
                    <a:pt x="233844" y="60670"/>
                  </a:cubicBezTo>
                  <a:cubicBezTo>
                    <a:pt x="233844" y="65248"/>
                    <a:pt x="227307" y="62632"/>
                    <a:pt x="225999" y="57400"/>
                  </a:cubicBezTo>
                  <a:cubicBezTo>
                    <a:pt x="224256" y="50641"/>
                    <a:pt x="224256" y="50641"/>
                    <a:pt x="234498" y="49115"/>
                  </a:cubicBezTo>
                  <a:cubicBezTo>
                    <a:pt x="241253" y="48025"/>
                    <a:pt x="242560" y="48461"/>
                    <a:pt x="242560" y="51731"/>
                  </a:cubicBezTo>
                  <a:cubicBezTo>
                    <a:pt x="242560" y="56746"/>
                    <a:pt x="246701" y="60670"/>
                    <a:pt x="252148" y="60670"/>
                  </a:cubicBezTo>
                  <a:cubicBezTo>
                    <a:pt x="254981" y="60670"/>
                    <a:pt x="257814" y="63068"/>
                    <a:pt x="259339" y="66556"/>
                  </a:cubicBezTo>
                  <a:cubicBezTo>
                    <a:pt x="262608" y="73314"/>
                    <a:pt x="261518" y="75494"/>
                    <a:pt x="256724" y="71570"/>
                  </a:cubicBezTo>
                  <a:cubicBezTo>
                    <a:pt x="253674" y="68954"/>
                    <a:pt x="252366" y="69608"/>
                    <a:pt x="248008" y="75058"/>
                  </a:cubicBezTo>
                  <a:cubicBezTo>
                    <a:pt x="244957" y="78546"/>
                    <a:pt x="242778" y="82253"/>
                    <a:pt x="242560" y="83125"/>
                  </a:cubicBezTo>
                  <a:cubicBezTo>
                    <a:pt x="242560" y="86613"/>
                    <a:pt x="249098" y="87049"/>
                    <a:pt x="255417" y="83997"/>
                  </a:cubicBezTo>
                  <a:cubicBezTo>
                    <a:pt x="261082" y="81162"/>
                    <a:pt x="262390" y="81162"/>
                    <a:pt x="266530" y="83997"/>
                  </a:cubicBezTo>
                  <a:cubicBezTo>
                    <a:pt x="272849" y="88575"/>
                    <a:pt x="271978" y="100783"/>
                    <a:pt x="265005" y="101655"/>
                  </a:cubicBezTo>
                  <a:cubicBezTo>
                    <a:pt x="261300" y="102309"/>
                    <a:pt x="260211" y="101219"/>
                    <a:pt x="259557" y="96205"/>
                  </a:cubicBezTo>
                  <a:cubicBezTo>
                    <a:pt x="258686" y="88357"/>
                    <a:pt x="255853" y="88575"/>
                    <a:pt x="250187" y="96859"/>
                  </a:cubicBezTo>
                  <a:cubicBezTo>
                    <a:pt x="245611" y="103617"/>
                    <a:pt x="245393" y="103617"/>
                    <a:pt x="240599" y="100129"/>
                  </a:cubicBezTo>
                  <a:cubicBezTo>
                    <a:pt x="236895" y="97295"/>
                    <a:pt x="236023" y="95115"/>
                    <a:pt x="237113" y="90755"/>
                  </a:cubicBezTo>
                  <a:cubicBezTo>
                    <a:pt x="237984" y="87049"/>
                    <a:pt x="237548" y="84869"/>
                    <a:pt x="235369" y="83997"/>
                  </a:cubicBezTo>
                  <a:cubicBezTo>
                    <a:pt x="230575" y="82253"/>
                    <a:pt x="228178" y="84869"/>
                    <a:pt x="225346" y="95551"/>
                  </a:cubicBezTo>
                  <a:cubicBezTo>
                    <a:pt x="220988" y="112120"/>
                    <a:pt x="220770" y="111902"/>
                    <a:pt x="230575" y="111248"/>
                  </a:cubicBezTo>
                  <a:cubicBezTo>
                    <a:pt x="235369" y="110812"/>
                    <a:pt x="240381" y="109503"/>
                    <a:pt x="241689" y="108413"/>
                  </a:cubicBezTo>
                  <a:cubicBezTo>
                    <a:pt x="242996" y="107323"/>
                    <a:pt x="244957" y="107541"/>
                    <a:pt x="246483" y="109067"/>
                  </a:cubicBezTo>
                  <a:cubicBezTo>
                    <a:pt x="248662" y="111248"/>
                    <a:pt x="250187" y="111248"/>
                    <a:pt x="253674" y="109067"/>
                  </a:cubicBezTo>
                  <a:cubicBezTo>
                    <a:pt x="259557" y="105361"/>
                    <a:pt x="261736" y="107541"/>
                    <a:pt x="257160" y="112556"/>
                  </a:cubicBezTo>
                  <a:cubicBezTo>
                    <a:pt x="254981" y="114736"/>
                    <a:pt x="253456" y="117788"/>
                    <a:pt x="253456" y="119096"/>
                  </a:cubicBezTo>
                  <a:cubicBezTo>
                    <a:pt x="253456" y="123674"/>
                    <a:pt x="260429" y="121930"/>
                    <a:pt x="265876" y="116044"/>
                  </a:cubicBezTo>
                  <a:cubicBezTo>
                    <a:pt x="268927" y="112556"/>
                    <a:pt x="272632" y="110812"/>
                    <a:pt x="275029" y="111466"/>
                  </a:cubicBezTo>
                  <a:cubicBezTo>
                    <a:pt x="277426" y="111902"/>
                    <a:pt x="280040" y="110594"/>
                    <a:pt x="281566" y="108195"/>
                  </a:cubicBezTo>
                  <a:cubicBezTo>
                    <a:pt x="284181" y="104053"/>
                    <a:pt x="284399" y="104053"/>
                    <a:pt x="288321" y="107541"/>
                  </a:cubicBezTo>
                  <a:cubicBezTo>
                    <a:pt x="291807" y="110812"/>
                    <a:pt x="293115" y="110812"/>
                    <a:pt x="295948" y="108631"/>
                  </a:cubicBezTo>
                  <a:cubicBezTo>
                    <a:pt x="300524" y="104707"/>
                    <a:pt x="302703" y="111030"/>
                    <a:pt x="298998" y="117788"/>
                  </a:cubicBezTo>
                  <a:cubicBezTo>
                    <a:pt x="297473" y="120622"/>
                    <a:pt x="295948" y="123238"/>
                    <a:pt x="295948" y="123892"/>
                  </a:cubicBezTo>
                  <a:cubicBezTo>
                    <a:pt x="294204" y="134574"/>
                    <a:pt x="286142" y="141333"/>
                    <a:pt x="281784" y="135882"/>
                  </a:cubicBezTo>
                  <a:cubicBezTo>
                    <a:pt x="279605" y="133048"/>
                    <a:pt x="279605" y="131740"/>
                    <a:pt x="282655" y="128688"/>
                  </a:cubicBezTo>
                  <a:cubicBezTo>
                    <a:pt x="287231" y="123456"/>
                    <a:pt x="287013" y="121712"/>
                    <a:pt x="281784" y="121712"/>
                  </a:cubicBezTo>
                  <a:cubicBezTo>
                    <a:pt x="279169" y="121712"/>
                    <a:pt x="277426" y="120186"/>
                    <a:pt x="277426" y="118006"/>
                  </a:cubicBezTo>
                  <a:cubicBezTo>
                    <a:pt x="277426" y="114736"/>
                    <a:pt x="276772" y="114954"/>
                    <a:pt x="272632" y="119096"/>
                  </a:cubicBezTo>
                  <a:cubicBezTo>
                    <a:pt x="268927" y="122802"/>
                    <a:pt x="267838" y="126072"/>
                    <a:pt x="268273" y="133702"/>
                  </a:cubicBezTo>
                  <a:cubicBezTo>
                    <a:pt x="268491" y="139152"/>
                    <a:pt x="268056" y="143513"/>
                    <a:pt x="267402" y="143513"/>
                  </a:cubicBezTo>
                  <a:cubicBezTo>
                    <a:pt x="265223" y="143513"/>
                    <a:pt x="251712" y="128688"/>
                    <a:pt x="250405" y="124546"/>
                  </a:cubicBezTo>
                  <a:cubicBezTo>
                    <a:pt x="249315" y="121058"/>
                    <a:pt x="238420" y="115172"/>
                    <a:pt x="233190" y="115172"/>
                  </a:cubicBezTo>
                  <a:cubicBezTo>
                    <a:pt x="232319" y="115172"/>
                    <a:pt x="229922" y="118660"/>
                    <a:pt x="227961" y="123238"/>
                  </a:cubicBezTo>
                  <a:cubicBezTo>
                    <a:pt x="225781" y="127598"/>
                    <a:pt x="222295" y="132176"/>
                    <a:pt x="220116" y="133484"/>
                  </a:cubicBezTo>
                  <a:cubicBezTo>
                    <a:pt x="216194" y="135882"/>
                    <a:pt x="216411" y="136318"/>
                    <a:pt x="203555" y="119532"/>
                  </a:cubicBezTo>
                  <a:cubicBezTo>
                    <a:pt x="200068" y="115172"/>
                    <a:pt x="198761" y="114518"/>
                    <a:pt x="196364" y="116916"/>
                  </a:cubicBezTo>
                  <a:cubicBezTo>
                    <a:pt x="193095" y="120186"/>
                    <a:pt x="195928" y="125854"/>
                    <a:pt x="202901" y="129342"/>
                  </a:cubicBezTo>
                  <a:cubicBezTo>
                    <a:pt x="205952" y="131086"/>
                    <a:pt x="206824" y="132612"/>
                    <a:pt x="205298" y="135010"/>
                  </a:cubicBezTo>
                  <a:cubicBezTo>
                    <a:pt x="203991" y="137626"/>
                    <a:pt x="201376" y="138062"/>
                    <a:pt x="195274" y="137190"/>
                  </a:cubicBezTo>
                  <a:cubicBezTo>
                    <a:pt x="188084" y="135882"/>
                    <a:pt x="186994" y="135010"/>
                    <a:pt x="186994" y="129996"/>
                  </a:cubicBezTo>
                  <a:cubicBezTo>
                    <a:pt x="187212" y="125854"/>
                    <a:pt x="185904" y="123892"/>
                    <a:pt x="182418" y="123020"/>
                  </a:cubicBezTo>
                  <a:cubicBezTo>
                    <a:pt x="176970" y="121494"/>
                    <a:pt x="173484" y="111466"/>
                    <a:pt x="176970" y="107977"/>
                  </a:cubicBezTo>
                  <a:cubicBezTo>
                    <a:pt x="178278" y="106669"/>
                    <a:pt x="179367" y="103835"/>
                    <a:pt x="179367" y="101873"/>
                  </a:cubicBezTo>
                  <a:cubicBezTo>
                    <a:pt x="179367" y="98603"/>
                    <a:pt x="177624" y="98167"/>
                    <a:pt x="170215" y="98603"/>
                  </a:cubicBezTo>
                  <a:cubicBezTo>
                    <a:pt x="164985" y="98821"/>
                    <a:pt x="159538" y="98167"/>
                    <a:pt x="158230" y="97077"/>
                  </a:cubicBezTo>
                  <a:cubicBezTo>
                    <a:pt x="156269" y="95551"/>
                    <a:pt x="155397" y="95987"/>
                    <a:pt x="155397" y="98385"/>
                  </a:cubicBezTo>
                  <a:cubicBezTo>
                    <a:pt x="155397" y="100347"/>
                    <a:pt x="157576" y="103399"/>
                    <a:pt x="159973" y="105143"/>
                  </a:cubicBezTo>
                  <a:cubicBezTo>
                    <a:pt x="163242" y="107323"/>
                    <a:pt x="164332" y="109721"/>
                    <a:pt x="163460" y="112774"/>
                  </a:cubicBezTo>
                  <a:cubicBezTo>
                    <a:pt x="162806" y="115826"/>
                    <a:pt x="163896" y="118442"/>
                    <a:pt x="167382" y="121058"/>
                  </a:cubicBezTo>
                  <a:cubicBezTo>
                    <a:pt x="171958" y="124546"/>
                    <a:pt x="172830" y="127380"/>
                    <a:pt x="173920" y="143513"/>
                  </a:cubicBezTo>
                  <a:cubicBezTo>
                    <a:pt x="174791" y="155067"/>
                    <a:pt x="176317" y="163133"/>
                    <a:pt x="178278" y="165095"/>
                  </a:cubicBezTo>
                  <a:cubicBezTo>
                    <a:pt x="182636" y="169456"/>
                    <a:pt x="184815" y="166621"/>
                    <a:pt x="184161" y="157901"/>
                  </a:cubicBezTo>
                  <a:cubicBezTo>
                    <a:pt x="183725" y="153759"/>
                    <a:pt x="185033" y="149617"/>
                    <a:pt x="186776" y="148091"/>
                  </a:cubicBezTo>
                  <a:cubicBezTo>
                    <a:pt x="191352" y="144167"/>
                    <a:pt x="198979" y="147219"/>
                    <a:pt x="198979" y="152669"/>
                  </a:cubicBezTo>
                  <a:cubicBezTo>
                    <a:pt x="198979" y="157683"/>
                    <a:pt x="184379" y="172508"/>
                    <a:pt x="181328" y="170764"/>
                  </a:cubicBezTo>
                  <a:cubicBezTo>
                    <a:pt x="177624" y="168365"/>
                    <a:pt x="174791" y="171854"/>
                    <a:pt x="177188" y="175996"/>
                  </a:cubicBezTo>
                  <a:cubicBezTo>
                    <a:pt x="178713" y="179048"/>
                    <a:pt x="178060" y="181010"/>
                    <a:pt x="174137" y="184716"/>
                  </a:cubicBezTo>
                  <a:cubicBezTo>
                    <a:pt x="167818" y="190602"/>
                    <a:pt x="166293" y="190602"/>
                    <a:pt x="166293" y="184280"/>
                  </a:cubicBezTo>
                  <a:cubicBezTo>
                    <a:pt x="166293" y="177740"/>
                    <a:pt x="164985" y="176432"/>
                    <a:pt x="159756" y="177740"/>
                  </a:cubicBezTo>
                  <a:cubicBezTo>
                    <a:pt x="152565" y="179702"/>
                    <a:pt x="151693" y="193654"/>
                    <a:pt x="158666" y="193654"/>
                  </a:cubicBezTo>
                  <a:cubicBezTo>
                    <a:pt x="164550" y="193654"/>
                    <a:pt x="166729" y="199541"/>
                    <a:pt x="164114" y="207607"/>
                  </a:cubicBezTo>
                  <a:cubicBezTo>
                    <a:pt x="160845" y="217853"/>
                    <a:pt x="163242" y="221559"/>
                    <a:pt x="168908" y="214365"/>
                  </a:cubicBezTo>
                  <a:cubicBezTo>
                    <a:pt x="173266" y="208697"/>
                    <a:pt x="183725" y="206735"/>
                    <a:pt x="183725" y="211749"/>
                  </a:cubicBezTo>
                  <a:cubicBezTo>
                    <a:pt x="183725" y="213275"/>
                    <a:pt x="181764" y="216109"/>
                    <a:pt x="179367" y="218289"/>
                  </a:cubicBezTo>
                  <a:cubicBezTo>
                    <a:pt x="173920" y="222867"/>
                    <a:pt x="173920" y="226355"/>
                    <a:pt x="179367" y="227882"/>
                  </a:cubicBezTo>
                  <a:cubicBezTo>
                    <a:pt x="181546" y="228536"/>
                    <a:pt x="184161" y="230934"/>
                    <a:pt x="185033" y="233332"/>
                  </a:cubicBezTo>
                  <a:cubicBezTo>
                    <a:pt x="188301" y="243578"/>
                    <a:pt x="176970" y="240090"/>
                    <a:pt x="173048" y="229626"/>
                  </a:cubicBezTo>
                  <a:cubicBezTo>
                    <a:pt x="170433" y="221995"/>
                    <a:pt x="166511" y="219379"/>
                    <a:pt x="166075" y="224829"/>
                  </a:cubicBezTo>
                  <a:cubicBezTo>
                    <a:pt x="165857" y="226137"/>
                    <a:pt x="165421" y="234204"/>
                    <a:pt x="165203" y="242270"/>
                  </a:cubicBezTo>
                  <a:cubicBezTo>
                    <a:pt x="164767" y="252080"/>
                    <a:pt x="163242" y="258403"/>
                    <a:pt x="161063" y="261019"/>
                  </a:cubicBezTo>
                  <a:cubicBezTo>
                    <a:pt x="157141" y="265379"/>
                    <a:pt x="156487" y="269957"/>
                    <a:pt x="159756" y="269957"/>
                  </a:cubicBezTo>
                  <a:cubicBezTo>
                    <a:pt x="161063" y="269957"/>
                    <a:pt x="161935" y="273009"/>
                    <a:pt x="161935" y="276497"/>
                  </a:cubicBezTo>
                  <a:cubicBezTo>
                    <a:pt x="161935" y="284563"/>
                    <a:pt x="163242" y="284782"/>
                    <a:pt x="168908" y="277587"/>
                  </a:cubicBezTo>
                  <a:cubicBezTo>
                    <a:pt x="171305" y="274535"/>
                    <a:pt x="175445" y="272137"/>
                    <a:pt x="178496" y="272137"/>
                  </a:cubicBezTo>
                  <a:cubicBezTo>
                    <a:pt x="183507" y="272137"/>
                    <a:pt x="183290" y="272573"/>
                    <a:pt x="173920" y="285000"/>
                  </a:cubicBezTo>
                  <a:cubicBezTo>
                    <a:pt x="164114" y="297862"/>
                    <a:pt x="162153" y="302658"/>
                    <a:pt x="166293" y="302658"/>
                  </a:cubicBezTo>
                  <a:cubicBezTo>
                    <a:pt x="167600" y="302658"/>
                    <a:pt x="170869" y="305056"/>
                    <a:pt x="173484" y="307890"/>
                  </a:cubicBezTo>
                  <a:cubicBezTo>
                    <a:pt x="178931" y="313777"/>
                    <a:pt x="192442" y="316393"/>
                    <a:pt x="193967" y="312032"/>
                  </a:cubicBezTo>
                  <a:cubicBezTo>
                    <a:pt x="194621" y="310288"/>
                    <a:pt x="193095" y="309198"/>
                    <a:pt x="190698" y="309198"/>
                  </a:cubicBezTo>
                  <a:cubicBezTo>
                    <a:pt x="184815" y="309198"/>
                    <a:pt x="175009" y="300914"/>
                    <a:pt x="175009" y="295900"/>
                  </a:cubicBezTo>
                  <a:cubicBezTo>
                    <a:pt x="175009" y="290886"/>
                    <a:pt x="177188" y="290668"/>
                    <a:pt x="182854" y="295028"/>
                  </a:cubicBezTo>
                  <a:cubicBezTo>
                    <a:pt x="188737" y="299388"/>
                    <a:pt x="192660" y="298952"/>
                    <a:pt x="199633" y="292848"/>
                  </a:cubicBezTo>
                  <a:cubicBezTo>
                    <a:pt x="203991" y="288924"/>
                    <a:pt x="205516" y="285654"/>
                    <a:pt x="205516" y="279985"/>
                  </a:cubicBezTo>
                  <a:cubicBezTo>
                    <a:pt x="205516" y="274317"/>
                    <a:pt x="206606" y="272137"/>
                    <a:pt x="209874" y="271047"/>
                  </a:cubicBezTo>
                  <a:cubicBezTo>
                    <a:pt x="220334" y="267777"/>
                    <a:pt x="221423" y="277151"/>
                    <a:pt x="212271" y="290232"/>
                  </a:cubicBezTo>
                  <a:cubicBezTo>
                    <a:pt x="205516" y="299606"/>
                    <a:pt x="203337" y="312250"/>
                    <a:pt x="206388" y="321843"/>
                  </a:cubicBezTo>
                  <a:cubicBezTo>
                    <a:pt x="209438" y="330999"/>
                    <a:pt x="202247" y="340373"/>
                    <a:pt x="197889" y="332961"/>
                  </a:cubicBezTo>
                  <a:close/>
                  <a:moveTo>
                    <a:pt x="113341" y="251426"/>
                  </a:moveTo>
                  <a:cubicBezTo>
                    <a:pt x="110726" y="242924"/>
                    <a:pt x="105932" y="242270"/>
                    <a:pt x="107240" y="250554"/>
                  </a:cubicBezTo>
                  <a:cubicBezTo>
                    <a:pt x="107894" y="255350"/>
                    <a:pt x="110944" y="258839"/>
                    <a:pt x="114431" y="259057"/>
                  </a:cubicBezTo>
                  <a:cubicBezTo>
                    <a:pt x="115085" y="259057"/>
                    <a:pt x="114649" y="255568"/>
                    <a:pt x="113341" y="251426"/>
                  </a:cubicBezTo>
                  <a:close/>
                  <a:moveTo>
                    <a:pt x="154962" y="199759"/>
                  </a:moveTo>
                  <a:cubicBezTo>
                    <a:pt x="154308" y="194308"/>
                    <a:pt x="151257" y="192782"/>
                    <a:pt x="146899" y="195616"/>
                  </a:cubicBezTo>
                  <a:cubicBezTo>
                    <a:pt x="144284" y="197360"/>
                    <a:pt x="144284" y="198233"/>
                    <a:pt x="146463" y="201067"/>
                  </a:cubicBezTo>
                  <a:cubicBezTo>
                    <a:pt x="150821" y="206299"/>
                    <a:pt x="155833" y="205427"/>
                    <a:pt x="154962" y="199759"/>
                  </a:cubicBezTo>
                  <a:close/>
                  <a:moveTo>
                    <a:pt x="121840" y="199105"/>
                  </a:moveTo>
                  <a:cubicBezTo>
                    <a:pt x="121186" y="197360"/>
                    <a:pt x="120096" y="194526"/>
                    <a:pt x="119443" y="193218"/>
                  </a:cubicBezTo>
                  <a:cubicBezTo>
                    <a:pt x="119007" y="191692"/>
                    <a:pt x="120314" y="187986"/>
                    <a:pt x="122711" y="185152"/>
                  </a:cubicBezTo>
                  <a:cubicBezTo>
                    <a:pt x="126416" y="181010"/>
                    <a:pt x="127723" y="180574"/>
                    <a:pt x="130338" y="182754"/>
                  </a:cubicBezTo>
                  <a:cubicBezTo>
                    <a:pt x="132299" y="184498"/>
                    <a:pt x="133171" y="187332"/>
                    <a:pt x="132299" y="190602"/>
                  </a:cubicBezTo>
                  <a:cubicBezTo>
                    <a:pt x="130120" y="199323"/>
                    <a:pt x="137311" y="196924"/>
                    <a:pt x="142105" y="187332"/>
                  </a:cubicBezTo>
                  <a:cubicBezTo>
                    <a:pt x="144502" y="182754"/>
                    <a:pt x="147989" y="178394"/>
                    <a:pt x="149732" y="177740"/>
                  </a:cubicBezTo>
                  <a:cubicBezTo>
                    <a:pt x="151257" y="177086"/>
                    <a:pt x="153872" y="172944"/>
                    <a:pt x="155397" y="168802"/>
                  </a:cubicBezTo>
                  <a:cubicBezTo>
                    <a:pt x="157141" y="163569"/>
                    <a:pt x="159320" y="160953"/>
                    <a:pt x="161935" y="160953"/>
                  </a:cubicBezTo>
                  <a:cubicBezTo>
                    <a:pt x="167382" y="160953"/>
                    <a:pt x="170651" y="154631"/>
                    <a:pt x="170651" y="144821"/>
                  </a:cubicBezTo>
                  <a:cubicBezTo>
                    <a:pt x="170651" y="139370"/>
                    <a:pt x="169779" y="136972"/>
                    <a:pt x="167382" y="136972"/>
                  </a:cubicBezTo>
                  <a:cubicBezTo>
                    <a:pt x="165203" y="136972"/>
                    <a:pt x="164114" y="139152"/>
                    <a:pt x="164114" y="143077"/>
                  </a:cubicBezTo>
                  <a:cubicBezTo>
                    <a:pt x="164114" y="146783"/>
                    <a:pt x="161499" y="152015"/>
                    <a:pt x="157359" y="156375"/>
                  </a:cubicBezTo>
                  <a:cubicBezTo>
                    <a:pt x="153654" y="160517"/>
                    <a:pt x="149732" y="166185"/>
                    <a:pt x="148642" y="168802"/>
                  </a:cubicBezTo>
                  <a:cubicBezTo>
                    <a:pt x="147117" y="173380"/>
                    <a:pt x="146245" y="173816"/>
                    <a:pt x="141233" y="171418"/>
                  </a:cubicBezTo>
                  <a:cubicBezTo>
                    <a:pt x="136657" y="169238"/>
                    <a:pt x="135350" y="169456"/>
                    <a:pt x="132735" y="172944"/>
                  </a:cubicBezTo>
                  <a:cubicBezTo>
                    <a:pt x="129902" y="176868"/>
                    <a:pt x="129466" y="176432"/>
                    <a:pt x="125544" y="167275"/>
                  </a:cubicBezTo>
                  <a:cubicBezTo>
                    <a:pt x="120750" y="156811"/>
                    <a:pt x="122275" y="151361"/>
                    <a:pt x="128595" y="157247"/>
                  </a:cubicBezTo>
                  <a:cubicBezTo>
                    <a:pt x="131863" y="160081"/>
                    <a:pt x="134914" y="160299"/>
                    <a:pt x="143412" y="159209"/>
                  </a:cubicBezTo>
                  <a:cubicBezTo>
                    <a:pt x="153436" y="157683"/>
                    <a:pt x="154308" y="157029"/>
                    <a:pt x="153654" y="152233"/>
                  </a:cubicBezTo>
                  <a:cubicBezTo>
                    <a:pt x="153436" y="149181"/>
                    <a:pt x="153218" y="140679"/>
                    <a:pt x="153218" y="133266"/>
                  </a:cubicBezTo>
                  <a:cubicBezTo>
                    <a:pt x="153436" y="121712"/>
                    <a:pt x="152783" y="119532"/>
                    <a:pt x="148860" y="117352"/>
                  </a:cubicBezTo>
                  <a:cubicBezTo>
                    <a:pt x="143412" y="114518"/>
                    <a:pt x="140798" y="119096"/>
                    <a:pt x="144284" y="125636"/>
                  </a:cubicBezTo>
                  <a:cubicBezTo>
                    <a:pt x="145809" y="128688"/>
                    <a:pt x="145592" y="131086"/>
                    <a:pt x="143195" y="134574"/>
                  </a:cubicBezTo>
                  <a:cubicBezTo>
                    <a:pt x="140362" y="138716"/>
                    <a:pt x="140144" y="140461"/>
                    <a:pt x="142323" y="145911"/>
                  </a:cubicBezTo>
                  <a:cubicBezTo>
                    <a:pt x="144502" y="150707"/>
                    <a:pt x="144502" y="153105"/>
                    <a:pt x="142759" y="154849"/>
                  </a:cubicBezTo>
                  <a:cubicBezTo>
                    <a:pt x="139272" y="158337"/>
                    <a:pt x="132953" y="152669"/>
                    <a:pt x="134260" y="147437"/>
                  </a:cubicBezTo>
                  <a:cubicBezTo>
                    <a:pt x="135350" y="143295"/>
                    <a:pt x="130556" y="141769"/>
                    <a:pt x="128159" y="145693"/>
                  </a:cubicBezTo>
                  <a:cubicBezTo>
                    <a:pt x="127505" y="147001"/>
                    <a:pt x="124890" y="147873"/>
                    <a:pt x="122493" y="147873"/>
                  </a:cubicBezTo>
                  <a:cubicBezTo>
                    <a:pt x="120314" y="147873"/>
                    <a:pt x="118353" y="148745"/>
                    <a:pt x="118353" y="149835"/>
                  </a:cubicBezTo>
                  <a:cubicBezTo>
                    <a:pt x="118353" y="150707"/>
                    <a:pt x="114867" y="156157"/>
                    <a:pt x="110726" y="161607"/>
                  </a:cubicBezTo>
                  <a:cubicBezTo>
                    <a:pt x="106586" y="167057"/>
                    <a:pt x="103100" y="172290"/>
                    <a:pt x="103100" y="173162"/>
                  </a:cubicBezTo>
                  <a:cubicBezTo>
                    <a:pt x="103100" y="174034"/>
                    <a:pt x="106586" y="174034"/>
                    <a:pt x="110944" y="173380"/>
                  </a:cubicBezTo>
                  <a:lnTo>
                    <a:pt x="119007" y="172072"/>
                  </a:lnTo>
                  <a:lnTo>
                    <a:pt x="114213" y="176868"/>
                  </a:lnTo>
                  <a:cubicBezTo>
                    <a:pt x="110726" y="180792"/>
                    <a:pt x="110291" y="182536"/>
                    <a:pt x="112252" y="184498"/>
                  </a:cubicBezTo>
                  <a:cubicBezTo>
                    <a:pt x="114213" y="186460"/>
                    <a:pt x="113777" y="187986"/>
                    <a:pt x="110944" y="191256"/>
                  </a:cubicBezTo>
                  <a:cubicBezTo>
                    <a:pt x="107458" y="195180"/>
                    <a:pt x="107458" y="195616"/>
                    <a:pt x="112252" y="198887"/>
                  </a:cubicBezTo>
                  <a:cubicBezTo>
                    <a:pt x="118571" y="203247"/>
                    <a:pt x="123583" y="203465"/>
                    <a:pt x="121840" y="199105"/>
                  </a:cubicBezTo>
                  <a:close/>
                  <a:moveTo>
                    <a:pt x="137965" y="135228"/>
                  </a:moveTo>
                  <a:cubicBezTo>
                    <a:pt x="137965" y="132394"/>
                    <a:pt x="135350" y="130432"/>
                    <a:pt x="133171" y="131740"/>
                  </a:cubicBezTo>
                  <a:cubicBezTo>
                    <a:pt x="130992" y="133048"/>
                    <a:pt x="132953" y="136972"/>
                    <a:pt x="136004" y="136972"/>
                  </a:cubicBezTo>
                  <a:cubicBezTo>
                    <a:pt x="137093" y="136972"/>
                    <a:pt x="137965" y="136100"/>
                    <a:pt x="137965" y="135228"/>
                  </a:cubicBezTo>
                  <a:close/>
                  <a:moveTo>
                    <a:pt x="155397" y="106015"/>
                  </a:moveTo>
                  <a:cubicBezTo>
                    <a:pt x="155397" y="105143"/>
                    <a:pt x="154090" y="104271"/>
                    <a:pt x="152565" y="104271"/>
                  </a:cubicBezTo>
                  <a:cubicBezTo>
                    <a:pt x="148860" y="104271"/>
                    <a:pt x="135350" y="89229"/>
                    <a:pt x="136875" y="86831"/>
                  </a:cubicBezTo>
                  <a:cubicBezTo>
                    <a:pt x="137529" y="85741"/>
                    <a:pt x="136875" y="84215"/>
                    <a:pt x="135568" y="83343"/>
                  </a:cubicBezTo>
                  <a:cubicBezTo>
                    <a:pt x="133607" y="82253"/>
                    <a:pt x="133389" y="85087"/>
                    <a:pt x="134042" y="93371"/>
                  </a:cubicBezTo>
                  <a:cubicBezTo>
                    <a:pt x="135568" y="107759"/>
                    <a:pt x="141451" y="114300"/>
                    <a:pt x="150168" y="110375"/>
                  </a:cubicBezTo>
                  <a:cubicBezTo>
                    <a:pt x="153000" y="109067"/>
                    <a:pt x="155397" y="107105"/>
                    <a:pt x="155397" y="106015"/>
                  </a:cubicBezTo>
                  <a:close/>
                  <a:moveTo>
                    <a:pt x="122711" y="99693"/>
                  </a:moveTo>
                  <a:cubicBezTo>
                    <a:pt x="122711" y="98603"/>
                    <a:pt x="121840" y="97731"/>
                    <a:pt x="120532" y="97731"/>
                  </a:cubicBezTo>
                  <a:cubicBezTo>
                    <a:pt x="119443" y="97731"/>
                    <a:pt x="118353" y="99257"/>
                    <a:pt x="118353" y="101219"/>
                  </a:cubicBezTo>
                  <a:cubicBezTo>
                    <a:pt x="118353" y="102963"/>
                    <a:pt x="119443" y="103835"/>
                    <a:pt x="120532" y="103181"/>
                  </a:cubicBezTo>
                  <a:cubicBezTo>
                    <a:pt x="121840" y="102527"/>
                    <a:pt x="122711" y="101001"/>
                    <a:pt x="122711" y="99693"/>
                  </a:cubicBezTo>
                  <a:close/>
                  <a:moveTo>
                    <a:pt x="109419" y="65248"/>
                  </a:moveTo>
                  <a:cubicBezTo>
                    <a:pt x="112905" y="63068"/>
                    <a:pt x="110726" y="58490"/>
                    <a:pt x="106368" y="58490"/>
                  </a:cubicBezTo>
                  <a:cubicBezTo>
                    <a:pt x="102664" y="58490"/>
                    <a:pt x="100267" y="62196"/>
                    <a:pt x="102010" y="65030"/>
                  </a:cubicBezTo>
                  <a:cubicBezTo>
                    <a:pt x="103753" y="67646"/>
                    <a:pt x="105497" y="67646"/>
                    <a:pt x="109419" y="65248"/>
                  </a:cubicBezTo>
                  <a:close/>
                  <a:moveTo>
                    <a:pt x="94165" y="56528"/>
                  </a:moveTo>
                  <a:cubicBezTo>
                    <a:pt x="97216" y="51077"/>
                    <a:pt x="90897" y="44755"/>
                    <a:pt x="87628" y="49987"/>
                  </a:cubicBezTo>
                  <a:cubicBezTo>
                    <a:pt x="84577" y="54784"/>
                    <a:pt x="85231" y="60670"/>
                    <a:pt x="88936" y="60670"/>
                  </a:cubicBezTo>
                  <a:cubicBezTo>
                    <a:pt x="90679" y="60670"/>
                    <a:pt x="93076" y="58708"/>
                    <a:pt x="94165" y="56528"/>
                  </a:cubicBezTo>
                  <a:close/>
                </a:path>
              </a:pathLst>
            </a:custGeom>
            <a:grpFill/>
            <a:ln w="218" cap="flat">
              <a:noFill/>
              <a:prstDash val="solid"/>
              <a:miter/>
            </a:ln>
          </p:spPr>
          <p:txBody>
            <a:bodyPr rtlCol="0" anchor="ctr"/>
            <a:lstStyle/>
            <a:p>
              <a:endParaRPr lang="en-GB" dirty="0"/>
            </a:p>
          </p:txBody>
        </p:sp>
        <p:sp>
          <p:nvSpPr>
            <p:cNvPr id="187" name="Freihandform: Form 186">
              <a:extLst>
                <a:ext uri="{FF2B5EF4-FFF2-40B4-BE49-F238E27FC236}">
                  <a16:creationId xmlns:a16="http://schemas.microsoft.com/office/drawing/2014/main" xmlns="" id="{0CAB6802-8BB7-46AA-9C96-865B70C09263}"/>
                </a:ext>
              </a:extLst>
            </p:cNvPr>
            <p:cNvSpPr/>
            <p:nvPr/>
          </p:nvSpPr>
          <p:spPr>
            <a:xfrm flipV="1">
              <a:off x="4905342" y="5203723"/>
              <a:ext cx="151405" cy="195239"/>
            </a:xfrm>
            <a:custGeom>
              <a:avLst/>
              <a:gdLst>
                <a:gd name="connsiteX0" fmla="*/ 97775 w 151405"/>
                <a:gd name="connsiteY0" fmla="*/ 191971 h 195239"/>
                <a:gd name="connsiteX1" fmla="*/ 100826 w 151405"/>
                <a:gd name="connsiteY1" fmla="*/ 187175 h 195239"/>
                <a:gd name="connsiteX2" fmla="*/ 104748 w 151405"/>
                <a:gd name="connsiteY2" fmla="*/ 176711 h 195239"/>
                <a:gd name="connsiteX3" fmla="*/ 110849 w 151405"/>
                <a:gd name="connsiteY3" fmla="*/ 167336 h 195239"/>
                <a:gd name="connsiteX4" fmla="*/ 130461 w 151405"/>
                <a:gd name="connsiteY4" fmla="*/ 149024 h 195239"/>
                <a:gd name="connsiteX5" fmla="*/ 126103 w 151405"/>
                <a:gd name="connsiteY5" fmla="*/ 144882 h 195239"/>
                <a:gd name="connsiteX6" fmla="*/ 119130 w 151405"/>
                <a:gd name="connsiteY6" fmla="*/ 144228 h 195239"/>
                <a:gd name="connsiteX7" fmla="*/ 115207 w 151405"/>
                <a:gd name="connsiteY7" fmla="*/ 150550 h 195239"/>
                <a:gd name="connsiteX8" fmla="*/ 101697 w 151405"/>
                <a:gd name="connsiteY8" fmla="*/ 156872 h 195239"/>
                <a:gd name="connsiteX9" fmla="*/ 89276 w 151405"/>
                <a:gd name="connsiteY9" fmla="*/ 156436 h 195239"/>
                <a:gd name="connsiteX10" fmla="*/ 85572 w 151405"/>
                <a:gd name="connsiteY10" fmla="*/ 165810 h 195239"/>
                <a:gd name="connsiteX11" fmla="*/ 83611 w 151405"/>
                <a:gd name="connsiteY11" fmla="*/ 179763 h 195239"/>
                <a:gd name="connsiteX12" fmla="*/ 77074 w 151405"/>
                <a:gd name="connsiteY12" fmla="*/ 193061 h 195239"/>
                <a:gd name="connsiteX13" fmla="*/ 73805 w 151405"/>
                <a:gd name="connsiteY13" fmla="*/ 186957 h 195239"/>
                <a:gd name="connsiteX14" fmla="*/ 66832 w 151405"/>
                <a:gd name="connsiteY14" fmla="*/ 175621 h 195239"/>
                <a:gd name="connsiteX15" fmla="*/ 62910 w 151405"/>
                <a:gd name="connsiteY15" fmla="*/ 181071 h 195239"/>
                <a:gd name="connsiteX16" fmla="*/ 55283 w 151405"/>
                <a:gd name="connsiteY16" fmla="*/ 184341 h 195239"/>
                <a:gd name="connsiteX17" fmla="*/ 47438 w 151405"/>
                <a:gd name="connsiteY17" fmla="*/ 182161 h 195239"/>
                <a:gd name="connsiteX18" fmla="*/ 41555 w 151405"/>
                <a:gd name="connsiteY18" fmla="*/ 178455 h 195239"/>
                <a:gd name="connsiteX19" fmla="*/ 46349 w 151405"/>
                <a:gd name="connsiteY19" fmla="*/ 174531 h 195239"/>
                <a:gd name="connsiteX20" fmla="*/ 46131 w 151405"/>
                <a:gd name="connsiteY20" fmla="*/ 168644 h 195239"/>
                <a:gd name="connsiteX21" fmla="*/ 43080 w 151405"/>
                <a:gd name="connsiteY21" fmla="*/ 156218 h 195239"/>
                <a:gd name="connsiteX22" fmla="*/ 55719 w 151405"/>
                <a:gd name="connsiteY22" fmla="*/ 162322 h 195239"/>
                <a:gd name="connsiteX23" fmla="*/ 64217 w 151405"/>
                <a:gd name="connsiteY23" fmla="*/ 168208 h 195239"/>
                <a:gd name="connsiteX24" fmla="*/ 83175 w 151405"/>
                <a:gd name="connsiteY24" fmla="*/ 154474 h 195239"/>
                <a:gd name="connsiteX25" fmla="*/ 78163 w 151405"/>
                <a:gd name="connsiteY25" fmla="*/ 154910 h 195239"/>
                <a:gd name="connsiteX26" fmla="*/ 60077 w 151405"/>
                <a:gd name="connsiteY26" fmla="*/ 154910 h 195239"/>
                <a:gd name="connsiteX27" fmla="*/ 53104 w 151405"/>
                <a:gd name="connsiteY27" fmla="*/ 143792 h 195239"/>
                <a:gd name="connsiteX28" fmla="*/ 54193 w 151405"/>
                <a:gd name="connsiteY28" fmla="*/ 137469 h 195239"/>
                <a:gd name="connsiteX29" fmla="*/ 54629 w 151405"/>
                <a:gd name="connsiteY29" fmla="*/ 130493 h 195239"/>
                <a:gd name="connsiteX30" fmla="*/ 62038 w 151405"/>
                <a:gd name="connsiteY30" fmla="*/ 136379 h 195239"/>
                <a:gd name="connsiteX31" fmla="*/ 72280 w 151405"/>
                <a:gd name="connsiteY31" fmla="*/ 145536 h 195239"/>
                <a:gd name="connsiteX32" fmla="*/ 94070 w 151405"/>
                <a:gd name="connsiteY32" fmla="*/ 144664 h 195239"/>
                <a:gd name="connsiteX33" fmla="*/ 98646 w 151405"/>
                <a:gd name="connsiteY33" fmla="*/ 131365 h 195239"/>
                <a:gd name="connsiteX34" fmla="*/ 94724 w 151405"/>
                <a:gd name="connsiteY34" fmla="*/ 113707 h 195239"/>
                <a:gd name="connsiteX35" fmla="*/ 90366 w 151405"/>
                <a:gd name="connsiteY35" fmla="*/ 105858 h 195239"/>
                <a:gd name="connsiteX36" fmla="*/ 84700 w 151405"/>
                <a:gd name="connsiteY36" fmla="*/ 109128 h 195239"/>
                <a:gd name="connsiteX37" fmla="*/ 86662 w 151405"/>
                <a:gd name="connsiteY37" fmla="*/ 112398 h 195239"/>
                <a:gd name="connsiteX38" fmla="*/ 89712 w 151405"/>
                <a:gd name="connsiteY38" fmla="*/ 125479 h 195239"/>
                <a:gd name="connsiteX39" fmla="*/ 83175 w 151405"/>
                <a:gd name="connsiteY39" fmla="*/ 122863 h 195239"/>
                <a:gd name="connsiteX40" fmla="*/ 78163 w 151405"/>
                <a:gd name="connsiteY40" fmla="*/ 112398 h 195239"/>
                <a:gd name="connsiteX41" fmla="*/ 72933 w 151405"/>
                <a:gd name="connsiteY41" fmla="*/ 108474 h 195239"/>
                <a:gd name="connsiteX42" fmla="*/ 73587 w 151405"/>
                <a:gd name="connsiteY42" fmla="*/ 102588 h 195239"/>
                <a:gd name="connsiteX43" fmla="*/ 77727 w 151405"/>
                <a:gd name="connsiteY43" fmla="*/ 99318 h 195239"/>
                <a:gd name="connsiteX44" fmla="*/ 80996 w 151405"/>
                <a:gd name="connsiteY44" fmla="*/ 93868 h 195239"/>
                <a:gd name="connsiteX45" fmla="*/ 71626 w 151405"/>
                <a:gd name="connsiteY45" fmla="*/ 94304 h 195239"/>
                <a:gd name="connsiteX46" fmla="*/ 64217 w 151405"/>
                <a:gd name="connsiteY46" fmla="*/ 112398 h 195239"/>
                <a:gd name="connsiteX47" fmla="*/ 54629 w 151405"/>
                <a:gd name="connsiteY47" fmla="*/ 121555 h 195239"/>
                <a:gd name="connsiteX48" fmla="*/ 41119 w 151405"/>
                <a:gd name="connsiteY48" fmla="*/ 120029 h 195239"/>
                <a:gd name="connsiteX49" fmla="*/ 32403 w 151405"/>
                <a:gd name="connsiteY49" fmla="*/ 115451 h 195239"/>
                <a:gd name="connsiteX50" fmla="*/ 24776 w 151405"/>
                <a:gd name="connsiteY50" fmla="*/ 101498 h 195239"/>
                <a:gd name="connsiteX51" fmla="*/ 21507 w 151405"/>
                <a:gd name="connsiteY51" fmla="*/ 118067 h 195239"/>
                <a:gd name="connsiteX52" fmla="*/ 21943 w 151405"/>
                <a:gd name="connsiteY52" fmla="*/ 132455 h 195239"/>
                <a:gd name="connsiteX53" fmla="*/ 23250 w 151405"/>
                <a:gd name="connsiteY53" fmla="*/ 137687 h 195239"/>
                <a:gd name="connsiteX54" fmla="*/ 19982 w 151405"/>
                <a:gd name="connsiteY54" fmla="*/ 143792 h 195239"/>
                <a:gd name="connsiteX55" fmla="*/ 12573 w 151405"/>
                <a:gd name="connsiteY55" fmla="*/ 139213 h 195239"/>
                <a:gd name="connsiteX56" fmla="*/ 10394 w 151405"/>
                <a:gd name="connsiteY56" fmla="*/ 127223 h 195239"/>
                <a:gd name="connsiteX57" fmla="*/ 6690 w 151405"/>
                <a:gd name="connsiteY57" fmla="*/ 121119 h 195239"/>
                <a:gd name="connsiteX58" fmla="*/ -4642 w 151405"/>
                <a:gd name="connsiteY58" fmla="*/ 110654 h 195239"/>
                <a:gd name="connsiteX59" fmla="*/ 2549 w 151405"/>
                <a:gd name="connsiteY59" fmla="*/ 108038 h 195239"/>
                <a:gd name="connsiteX60" fmla="*/ 20418 w 151405"/>
                <a:gd name="connsiteY60" fmla="*/ 90162 h 195239"/>
                <a:gd name="connsiteX61" fmla="*/ 24558 w 151405"/>
                <a:gd name="connsiteY61" fmla="*/ 82313 h 195239"/>
                <a:gd name="connsiteX62" fmla="*/ 24776 w 151405"/>
                <a:gd name="connsiteY62" fmla="*/ 74465 h 195239"/>
                <a:gd name="connsiteX63" fmla="*/ 26955 w 151405"/>
                <a:gd name="connsiteY63" fmla="*/ 66399 h 195239"/>
                <a:gd name="connsiteX64" fmla="*/ 37850 w 151405"/>
                <a:gd name="connsiteY64" fmla="*/ 69451 h 195239"/>
                <a:gd name="connsiteX65" fmla="*/ 52668 w 151405"/>
                <a:gd name="connsiteY65" fmla="*/ 65963 h 195239"/>
                <a:gd name="connsiteX66" fmla="*/ 55283 w 151405"/>
                <a:gd name="connsiteY66" fmla="*/ 53536 h 195239"/>
                <a:gd name="connsiteX67" fmla="*/ 72062 w 151405"/>
                <a:gd name="connsiteY67" fmla="*/ 61167 h 195239"/>
                <a:gd name="connsiteX68" fmla="*/ 70318 w 151405"/>
                <a:gd name="connsiteY68" fmla="*/ 68797 h 195239"/>
                <a:gd name="connsiteX69" fmla="*/ 78381 w 151405"/>
                <a:gd name="connsiteY69" fmla="*/ 78389 h 195239"/>
                <a:gd name="connsiteX70" fmla="*/ 91238 w 151405"/>
                <a:gd name="connsiteY70" fmla="*/ 84058 h 195239"/>
                <a:gd name="connsiteX71" fmla="*/ 111067 w 151405"/>
                <a:gd name="connsiteY71" fmla="*/ 94958 h 195239"/>
                <a:gd name="connsiteX72" fmla="*/ 117386 w 151405"/>
                <a:gd name="connsiteY72" fmla="*/ 89944 h 195239"/>
                <a:gd name="connsiteX73" fmla="*/ 106055 w 151405"/>
                <a:gd name="connsiteY73" fmla="*/ 79261 h 195239"/>
                <a:gd name="connsiteX74" fmla="*/ 91238 w 151405"/>
                <a:gd name="connsiteY74" fmla="*/ 78607 h 195239"/>
                <a:gd name="connsiteX75" fmla="*/ 92981 w 151405"/>
                <a:gd name="connsiteY75" fmla="*/ 75337 h 195239"/>
                <a:gd name="connsiteX76" fmla="*/ 91891 w 151405"/>
                <a:gd name="connsiteY76" fmla="*/ 53100 h 195239"/>
                <a:gd name="connsiteX77" fmla="*/ 89059 w 151405"/>
                <a:gd name="connsiteY77" fmla="*/ 46342 h 195239"/>
                <a:gd name="connsiteX78" fmla="*/ 93852 w 151405"/>
                <a:gd name="connsiteY78" fmla="*/ 43726 h 195239"/>
                <a:gd name="connsiteX79" fmla="*/ 96685 w 151405"/>
                <a:gd name="connsiteY79" fmla="*/ 41328 h 195239"/>
                <a:gd name="connsiteX80" fmla="*/ 93852 w 151405"/>
                <a:gd name="connsiteY80" fmla="*/ 31954 h 195239"/>
                <a:gd name="connsiteX81" fmla="*/ 75330 w 151405"/>
                <a:gd name="connsiteY81" fmla="*/ 14295 h 195239"/>
                <a:gd name="connsiteX82" fmla="*/ 72715 w 151405"/>
                <a:gd name="connsiteY82" fmla="*/ 9499 h 195239"/>
                <a:gd name="connsiteX83" fmla="*/ 82739 w 151405"/>
                <a:gd name="connsiteY83" fmla="*/ 343 h 195239"/>
                <a:gd name="connsiteX84" fmla="*/ 84700 w 151405"/>
                <a:gd name="connsiteY84" fmla="*/ 7101 h 195239"/>
                <a:gd name="connsiteX85" fmla="*/ 95596 w 151405"/>
                <a:gd name="connsiteY85" fmla="*/ 23451 h 195239"/>
                <a:gd name="connsiteX86" fmla="*/ 106491 w 151405"/>
                <a:gd name="connsiteY86" fmla="*/ 36968 h 195239"/>
                <a:gd name="connsiteX87" fmla="*/ 103222 w 151405"/>
                <a:gd name="connsiteY87" fmla="*/ 47868 h 195239"/>
                <a:gd name="connsiteX88" fmla="*/ 105619 w 151405"/>
                <a:gd name="connsiteY88" fmla="*/ 69015 h 195239"/>
                <a:gd name="connsiteX89" fmla="*/ 108670 w 151405"/>
                <a:gd name="connsiteY89" fmla="*/ 66835 h 195239"/>
                <a:gd name="connsiteX90" fmla="*/ 106491 w 151405"/>
                <a:gd name="connsiteY90" fmla="*/ 62257 h 195239"/>
                <a:gd name="connsiteX91" fmla="*/ 107581 w 151405"/>
                <a:gd name="connsiteY91" fmla="*/ 54408 h 195239"/>
                <a:gd name="connsiteX92" fmla="*/ 114554 w 151405"/>
                <a:gd name="connsiteY92" fmla="*/ 55935 h 195239"/>
                <a:gd name="connsiteX93" fmla="*/ 113900 w 151405"/>
                <a:gd name="connsiteY93" fmla="*/ 38058 h 195239"/>
                <a:gd name="connsiteX94" fmla="*/ 118258 w 151405"/>
                <a:gd name="connsiteY94" fmla="*/ 33044 h 195239"/>
                <a:gd name="connsiteX95" fmla="*/ 127192 w 151405"/>
                <a:gd name="connsiteY95" fmla="*/ 31736 h 195239"/>
                <a:gd name="connsiteX96" fmla="*/ 138088 w 151405"/>
                <a:gd name="connsiteY96" fmla="*/ 32826 h 195239"/>
                <a:gd name="connsiteX97" fmla="*/ 143535 w 151405"/>
                <a:gd name="connsiteY97" fmla="*/ 45034 h 195239"/>
                <a:gd name="connsiteX98" fmla="*/ 136998 w 151405"/>
                <a:gd name="connsiteY98" fmla="*/ 46560 h 195239"/>
                <a:gd name="connsiteX99" fmla="*/ 124795 w 151405"/>
                <a:gd name="connsiteY99" fmla="*/ 54844 h 195239"/>
                <a:gd name="connsiteX100" fmla="*/ 131550 w 151405"/>
                <a:gd name="connsiteY100" fmla="*/ 59205 h 195239"/>
                <a:gd name="connsiteX101" fmla="*/ 132640 w 151405"/>
                <a:gd name="connsiteY101" fmla="*/ 65527 h 195239"/>
                <a:gd name="connsiteX102" fmla="*/ 121745 w 151405"/>
                <a:gd name="connsiteY102" fmla="*/ 67925 h 195239"/>
                <a:gd name="connsiteX103" fmla="*/ 116515 w 151405"/>
                <a:gd name="connsiteY103" fmla="*/ 71413 h 195239"/>
                <a:gd name="connsiteX104" fmla="*/ 123052 w 151405"/>
                <a:gd name="connsiteY104" fmla="*/ 80351 h 195239"/>
                <a:gd name="connsiteX105" fmla="*/ 123924 w 151405"/>
                <a:gd name="connsiteY105" fmla="*/ 94958 h 195239"/>
                <a:gd name="connsiteX106" fmla="*/ 119566 w 151405"/>
                <a:gd name="connsiteY106" fmla="*/ 101280 h 195239"/>
                <a:gd name="connsiteX107" fmla="*/ 108670 w 151405"/>
                <a:gd name="connsiteY107" fmla="*/ 106948 h 195239"/>
                <a:gd name="connsiteX108" fmla="*/ 99082 w 151405"/>
                <a:gd name="connsiteY108" fmla="*/ 117631 h 195239"/>
                <a:gd name="connsiteX109" fmla="*/ 105619 w 151405"/>
                <a:gd name="connsiteY109" fmla="*/ 117849 h 195239"/>
                <a:gd name="connsiteX110" fmla="*/ 113900 w 151405"/>
                <a:gd name="connsiteY110" fmla="*/ 123081 h 195239"/>
                <a:gd name="connsiteX111" fmla="*/ 117386 w 151405"/>
                <a:gd name="connsiteY111" fmla="*/ 132019 h 195239"/>
                <a:gd name="connsiteX112" fmla="*/ 126321 w 151405"/>
                <a:gd name="connsiteY112" fmla="*/ 130711 h 195239"/>
                <a:gd name="connsiteX113" fmla="*/ 133947 w 151405"/>
                <a:gd name="connsiteY113" fmla="*/ 130275 h 195239"/>
                <a:gd name="connsiteX114" fmla="*/ 135037 w 151405"/>
                <a:gd name="connsiteY114" fmla="*/ 138123 h 195239"/>
                <a:gd name="connsiteX115" fmla="*/ 136127 w 151405"/>
                <a:gd name="connsiteY115" fmla="*/ 144664 h 195239"/>
                <a:gd name="connsiteX116" fmla="*/ 135691 w 151405"/>
                <a:gd name="connsiteY116" fmla="*/ 156872 h 195239"/>
                <a:gd name="connsiteX117" fmla="*/ 126756 w 151405"/>
                <a:gd name="connsiteY117" fmla="*/ 168208 h 195239"/>
                <a:gd name="connsiteX118" fmla="*/ 120873 w 151405"/>
                <a:gd name="connsiteY118" fmla="*/ 174095 h 195239"/>
                <a:gd name="connsiteX119" fmla="*/ 110849 w 151405"/>
                <a:gd name="connsiteY119" fmla="*/ 183905 h 195239"/>
                <a:gd name="connsiteX120" fmla="*/ 102133 w 151405"/>
                <a:gd name="connsiteY120" fmla="*/ 191971 h 195239"/>
                <a:gd name="connsiteX121" fmla="*/ 99954 w 151405"/>
                <a:gd name="connsiteY121" fmla="*/ 195241 h 195239"/>
                <a:gd name="connsiteX122" fmla="*/ 97775 w 151405"/>
                <a:gd name="connsiteY122" fmla="*/ 191971 h 195239"/>
                <a:gd name="connsiteX123" fmla="*/ 57244 w 151405"/>
                <a:gd name="connsiteY123" fmla="*/ 99100 h 195239"/>
                <a:gd name="connsiteX124" fmla="*/ 60513 w 151405"/>
                <a:gd name="connsiteY124" fmla="*/ 94958 h 195239"/>
                <a:gd name="connsiteX125" fmla="*/ 68793 w 151405"/>
                <a:gd name="connsiteY125" fmla="*/ 91470 h 195239"/>
                <a:gd name="connsiteX126" fmla="*/ 72933 w 151405"/>
                <a:gd name="connsiteY126" fmla="*/ 89290 h 195239"/>
                <a:gd name="connsiteX127" fmla="*/ 77292 w 151405"/>
                <a:gd name="connsiteY127" fmla="*/ 82531 h 195239"/>
                <a:gd name="connsiteX128" fmla="*/ 72933 w 151405"/>
                <a:gd name="connsiteY128" fmla="*/ 83185 h 195239"/>
                <a:gd name="connsiteX129" fmla="*/ 64217 w 151405"/>
                <a:gd name="connsiteY129" fmla="*/ 82095 h 195239"/>
                <a:gd name="connsiteX130" fmla="*/ 55283 w 151405"/>
                <a:gd name="connsiteY130" fmla="*/ 79697 h 195239"/>
                <a:gd name="connsiteX131" fmla="*/ 48964 w 151405"/>
                <a:gd name="connsiteY131" fmla="*/ 79915 h 195239"/>
                <a:gd name="connsiteX132" fmla="*/ 42208 w 151405"/>
                <a:gd name="connsiteY132" fmla="*/ 82749 h 195239"/>
                <a:gd name="connsiteX133" fmla="*/ 30224 w 151405"/>
                <a:gd name="connsiteY133" fmla="*/ 85802 h 195239"/>
                <a:gd name="connsiteX134" fmla="*/ 28044 w 151405"/>
                <a:gd name="connsiteY134" fmla="*/ 86238 h 195239"/>
                <a:gd name="connsiteX135" fmla="*/ 29352 w 151405"/>
                <a:gd name="connsiteY135" fmla="*/ 92996 h 195239"/>
                <a:gd name="connsiteX136" fmla="*/ 32403 w 151405"/>
                <a:gd name="connsiteY136" fmla="*/ 98882 h 195239"/>
                <a:gd name="connsiteX137" fmla="*/ 35235 w 151405"/>
                <a:gd name="connsiteY137" fmla="*/ 101498 h 195239"/>
                <a:gd name="connsiteX138" fmla="*/ 41119 w 151405"/>
                <a:gd name="connsiteY138" fmla="*/ 106730 h 195239"/>
                <a:gd name="connsiteX139" fmla="*/ 43952 w 151405"/>
                <a:gd name="connsiteY139" fmla="*/ 112180 h 195239"/>
                <a:gd name="connsiteX140" fmla="*/ 52450 w 151405"/>
                <a:gd name="connsiteY140" fmla="*/ 107820 h 195239"/>
                <a:gd name="connsiteX141" fmla="*/ 57244 w 151405"/>
                <a:gd name="connsiteY141" fmla="*/ 99100 h 195239"/>
                <a:gd name="connsiteX142" fmla="*/ 97121 w 151405"/>
                <a:gd name="connsiteY142" fmla="*/ 95830 h 195239"/>
                <a:gd name="connsiteX143" fmla="*/ 92545 w 151405"/>
                <a:gd name="connsiteY143" fmla="*/ 99754 h 195239"/>
                <a:gd name="connsiteX144" fmla="*/ 96249 w 151405"/>
                <a:gd name="connsiteY144" fmla="*/ 99536 h 195239"/>
                <a:gd name="connsiteX145" fmla="*/ 97121 w 151405"/>
                <a:gd name="connsiteY145" fmla="*/ 95830 h 19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151405" h="195239">
                  <a:moveTo>
                    <a:pt x="97775" y="191971"/>
                  </a:moveTo>
                  <a:cubicBezTo>
                    <a:pt x="97775" y="190445"/>
                    <a:pt x="99082" y="188047"/>
                    <a:pt x="100826" y="187175"/>
                  </a:cubicBezTo>
                  <a:cubicBezTo>
                    <a:pt x="102569" y="186303"/>
                    <a:pt x="104312" y="181507"/>
                    <a:pt x="104748" y="176711"/>
                  </a:cubicBezTo>
                  <a:cubicBezTo>
                    <a:pt x="105402" y="169298"/>
                    <a:pt x="106273" y="167990"/>
                    <a:pt x="110849" y="167336"/>
                  </a:cubicBezTo>
                  <a:cubicBezTo>
                    <a:pt x="117604" y="166464"/>
                    <a:pt x="130461" y="154474"/>
                    <a:pt x="130461" y="149024"/>
                  </a:cubicBezTo>
                  <a:cubicBezTo>
                    <a:pt x="130461" y="146626"/>
                    <a:pt x="128718" y="144882"/>
                    <a:pt x="126103" y="144882"/>
                  </a:cubicBezTo>
                  <a:cubicBezTo>
                    <a:pt x="123706" y="144664"/>
                    <a:pt x="120437" y="144446"/>
                    <a:pt x="119130" y="144228"/>
                  </a:cubicBezTo>
                  <a:cubicBezTo>
                    <a:pt x="117604" y="144010"/>
                    <a:pt x="115861" y="147062"/>
                    <a:pt x="115207" y="150550"/>
                  </a:cubicBezTo>
                  <a:cubicBezTo>
                    <a:pt x="114118" y="156872"/>
                    <a:pt x="113900" y="157090"/>
                    <a:pt x="101697" y="156872"/>
                  </a:cubicBezTo>
                  <a:lnTo>
                    <a:pt x="89276" y="156436"/>
                  </a:lnTo>
                  <a:lnTo>
                    <a:pt x="85572" y="165810"/>
                  </a:lnTo>
                  <a:cubicBezTo>
                    <a:pt x="83611" y="171043"/>
                    <a:pt x="82739" y="177147"/>
                    <a:pt x="83611" y="179763"/>
                  </a:cubicBezTo>
                  <a:cubicBezTo>
                    <a:pt x="85354" y="185213"/>
                    <a:pt x="81432" y="193061"/>
                    <a:pt x="77074" y="193061"/>
                  </a:cubicBezTo>
                  <a:cubicBezTo>
                    <a:pt x="74895" y="193061"/>
                    <a:pt x="73805" y="190881"/>
                    <a:pt x="73805" y="186957"/>
                  </a:cubicBezTo>
                  <a:cubicBezTo>
                    <a:pt x="73805" y="181071"/>
                    <a:pt x="70536" y="175621"/>
                    <a:pt x="66832" y="175621"/>
                  </a:cubicBezTo>
                  <a:cubicBezTo>
                    <a:pt x="65742" y="175621"/>
                    <a:pt x="63999" y="178019"/>
                    <a:pt x="62910" y="181071"/>
                  </a:cubicBezTo>
                  <a:cubicBezTo>
                    <a:pt x="60731" y="186739"/>
                    <a:pt x="57680" y="188047"/>
                    <a:pt x="55283" y="184341"/>
                  </a:cubicBezTo>
                  <a:cubicBezTo>
                    <a:pt x="54629" y="183251"/>
                    <a:pt x="50925" y="182161"/>
                    <a:pt x="47438" y="182161"/>
                  </a:cubicBezTo>
                  <a:cubicBezTo>
                    <a:pt x="42208" y="182161"/>
                    <a:pt x="40901" y="181289"/>
                    <a:pt x="41555" y="178455"/>
                  </a:cubicBezTo>
                  <a:cubicBezTo>
                    <a:pt x="41991" y="176275"/>
                    <a:pt x="44170" y="174531"/>
                    <a:pt x="46349" y="174531"/>
                  </a:cubicBezTo>
                  <a:cubicBezTo>
                    <a:pt x="53104" y="174531"/>
                    <a:pt x="52886" y="169516"/>
                    <a:pt x="46131" y="168644"/>
                  </a:cubicBezTo>
                  <a:cubicBezTo>
                    <a:pt x="38504" y="167772"/>
                    <a:pt x="36543" y="159706"/>
                    <a:pt x="43080" y="156218"/>
                  </a:cubicBezTo>
                  <a:cubicBezTo>
                    <a:pt x="48964" y="152948"/>
                    <a:pt x="52886" y="154910"/>
                    <a:pt x="55719" y="162322"/>
                  </a:cubicBezTo>
                  <a:cubicBezTo>
                    <a:pt x="57462" y="167336"/>
                    <a:pt x="59205" y="168426"/>
                    <a:pt x="64217" y="168208"/>
                  </a:cubicBezTo>
                  <a:cubicBezTo>
                    <a:pt x="72280" y="167772"/>
                    <a:pt x="84700" y="158616"/>
                    <a:pt x="83175" y="154474"/>
                  </a:cubicBezTo>
                  <a:cubicBezTo>
                    <a:pt x="82085" y="151858"/>
                    <a:pt x="81432" y="152076"/>
                    <a:pt x="78163" y="154910"/>
                  </a:cubicBezTo>
                  <a:cubicBezTo>
                    <a:pt x="73587" y="159052"/>
                    <a:pt x="69883" y="159052"/>
                    <a:pt x="60077" y="154910"/>
                  </a:cubicBezTo>
                  <a:cubicBezTo>
                    <a:pt x="50271" y="150768"/>
                    <a:pt x="48092" y="147498"/>
                    <a:pt x="53104" y="143792"/>
                  </a:cubicBezTo>
                  <a:cubicBezTo>
                    <a:pt x="56372" y="141393"/>
                    <a:pt x="56590" y="140303"/>
                    <a:pt x="54193" y="137469"/>
                  </a:cubicBezTo>
                  <a:cubicBezTo>
                    <a:pt x="51796" y="134635"/>
                    <a:pt x="51796" y="133327"/>
                    <a:pt x="54629" y="130493"/>
                  </a:cubicBezTo>
                  <a:cubicBezTo>
                    <a:pt x="59423" y="125697"/>
                    <a:pt x="63563" y="128967"/>
                    <a:pt x="62038" y="136379"/>
                  </a:cubicBezTo>
                  <a:cubicBezTo>
                    <a:pt x="60513" y="144446"/>
                    <a:pt x="65525" y="149024"/>
                    <a:pt x="72280" y="145536"/>
                  </a:cubicBezTo>
                  <a:cubicBezTo>
                    <a:pt x="79035" y="142048"/>
                    <a:pt x="86879" y="141829"/>
                    <a:pt x="94070" y="144664"/>
                  </a:cubicBezTo>
                  <a:cubicBezTo>
                    <a:pt x="106273" y="149678"/>
                    <a:pt x="107363" y="146626"/>
                    <a:pt x="98646" y="131365"/>
                  </a:cubicBezTo>
                  <a:cubicBezTo>
                    <a:pt x="94288" y="123517"/>
                    <a:pt x="93417" y="119593"/>
                    <a:pt x="94724" y="113707"/>
                  </a:cubicBezTo>
                  <a:cubicBezTo>
                    <a:pt x="96032" y="106294"/>
                    <a:pt x="95814" y="105858"/>
                    <a:pt x="90366" y="105858"/>
                  </a:cubicBezTo>
                  <a:cubicBezTo>
                    <a:pt x="86879" y="105858"/>
                    <a:pt x="84700" y="106948"/>
                    <a:pt x="84700" y="109128"/>
                  </a:cubicBezTo>
                  <a:cubicBezTo>
                    <a:pt x="84700" y="110872"/>
                    <a:pt x="85572" y="112398"/>
                    <a:pt x="86662" y="112398"/>
                  </a:cubicBezTo>
                  <a:cubicBezTo>
                    <a:pt x="89712" y="112398"/>
                    <a:pt x="91238" y="118503"/>
                    <a:pt x="89712" y="125479"/>
                  </a:cubicBezTo>
                  <a:cubicBezTo>
                    <a:pt x="87751" y="135725"/>
                    <a:pt x="82739" y="133763"/>
                    <a:pt x="83175" y="122863"/>
                  </a:cubicBezTo>
                  <a:cubicBezTo>
                    <a:pt x="83611" y="114797"/>
                    <a:pt x="82957" y="113707"/>
                    <a:pt x="78163" y="112398"/>
                  </a:cubicBezTo>
                  <a:cubicBezTo>
                    <a:pt x="75112" y="111744"/>
                    <a:pt x="72715" y="110000"/>
                    <a:pt x="72933" y="108474"/>
                  </a:cubicBezTo>
                  <a:cubicBezTo>
                    <a:pt x="73151" y="106948"/>
                    <a:pt x="73369" y="104332"/>
                    <a:pt x="73587" y="102588"/>
                  </a:cubicBezTo>
                  <a:cubicBezTo>
                    <a:pt x="73587" y="100844"/>
                    <a:pt x="75548" y="99318"/>
                    <a:pt x="77727" y="99318"/>
                  </a:cubicBezTo>
                  <a:cubicBezTo>
                    <a:pt x="83611" y="99318"/>
                    <a:pt x="85136" y="96920"/>
                    <a:pt x="80996" y="93868"/>
                  </a:cubicBezTo>
                  <a:cubicBezTo>
                    <a:pt x="78381" y="91906"/>
                    <a:pt x="76202" y="91906"/>
                    <a:pt x="71626" y="94304"/>
                  </a:cubicBezTo>
                  <a:cubicBezTo>
                    <a:pt x="64871" y="97574"/>
                    <a:pt x="62474" y="103460"/>
                    <a:pt x="64217" y="112398"/>
                  </a:cubicBezTo>
                  <a:cubicBezTo>
                    <a:pt x="65742" y="119811"/>
                    <a:pt x="60077" y="125479"/>
                    <a:pt x="54629" y="121555"/>
                  </a:cubicBezTo>
                  <a:cubicBezTo>
                    <a:pt x="47656" y="116541"/>
                    <a:pt x="45259" y="116323"/>
                    <a:pt x="41119" y="120029"/>
                  </a:cubicBezTo>
                  <a:cubicBezTo>
                    <a:pt x="36107" y="124607"/>
                    <a:pt x="32403" y="122645"/>
                    <a:pt x="32403" y="115451"/>
                  </a:cubicBezTo>
                  <a:cubicBezTo>
                    <a:pt x="32403" y="108256"/>
                    <a:pt x="28698" y="101498"/>
                    <a:pt x="24776" y="101498"/>
                  </a:cubicBezTo>
                  <a:cubicBezTo>
                    <a:pt x="19546" y="101498"/>
                    <a:pt x="18674" y="106076"/>
                    <a:pt x="21507" y="118067"/>
                  </a:cubicBezTo>
                  <a:cubicBezTo>
                    <a:pt x="23686" y="127005"/>
                    <a:pt x="23686" y="130711"/>
                    <a:pt x="21943" y="132455"/>
                  </a:cubicBezTo>
                  <a:cubicBezTo>
                    <a:pt x="20200" y="134199"/>
                    <a:pt x="20418" y="135725"/>
                    <a:pt x="23250" y="137687"/>
                  </a:cubicBezTo>
                  <a:cubicBezTo>
                    <a:pt x="27391" y="140739"/>
                    <a:pt x="26955" y="141829"/>
                    <a:pt x="19982" y="143792"/>
                  </a:cubicBezTo>
                  <a:cubicBezTo>
                    <a:pt x="15842" y="145100"/>
                    <a:pt x="14534" y="144228"/>
                    <a:pt x="12573" y="139213"/>
                  </a:cubicBezTo>
                  <a:cubicBezTo>
                    <a:pt x="11048" y="135943"/>
                    <a:pt x="10176" y="130493"/>
                    <a:pt x="10394" y="127223"/>
                  </a:cubicBezTo>
                  <a:cubicBezTo>
                    <a:pt x="10612" y="122645"/>
                    <a:pt x="9740" y="121119"/>
                    <a:pt x="6690" y="121119"/>
                  </a:cubicBezTo>
                  <a:cubicBezTo>
                    <a:pt x="2331" y="121119"/>
                    <a:pt x="-4642" y="114797"/>
                    <a:pt x="-4642" y="110654"/>
                  </a:cubicBezTo>
                  <a:cubicBezTo>
                    <a:pt x="-4642" y="109128"/>
                    <a:pt x="-1373" y="108038"/>
                    <a:pt x="2549" y="108038"/>
                  </a:cubicBezTo>
                  <a:cubicBezTo>
                    <a:pt x="11701" y="108038"/>
                    <a:pt x="19546" y="100190"/>
                    <a:pt x="20418" y="90162"/>
                  </a:cubicBezTo>
                  <a:cubicBezTo>
                    <a:pt x="20636" y="85584"/>
                    <a:pt x="22161" y="82749"/>
                    <a:pt x="24558" y="82313"/>
                  </a:cubicBezTo>
                  <a:cubicBezTo>
                    <a:pt x="28916" y="81441"/>
                    <a:pt x="28916" y="78825"/>
                    <a:pt x="24776" y="74465"/>
                  </a:cubicBezTo>
                  <a:cubicBezTo>
                    <a:pt x="19110" y="69015"/>
                    <a:pt x="21289" y="61167"/>
                    <a:pt x="26955" y="66399"/>
                  </a:cubicBezTo>
                  <a:cubicBezTo>
                    <a:pt x="28262" y="67489"/>
                    <a:pt x="33056" y="68797"/>
                    <a:pt x="37850" y="69451"/>
                  </a:cubicBezTo>
                  <a:cubicBezTo>
                    <a:pt x="47220" y="70759"/>
                    <a:pt x="56590" y="68361"/>
                    <a:pt x="52668" y="65963"/>
                  </a:cubicBezTo>
                  <a:cubicBezTo>
                    <a:pt x="49835" y="64219"/>
                    <a:pt x="51361" y="56807"/>
                    <a:pt x="55283" y="53536"/>
                  </a:cubicBezTo>
                  <a:cubicBezTo>
                    <a:pt x="58551" y="50702"/>
                    <a:pt x="65742" y="53972"/>
                    <a:pt x="72062" y="61167"/>
                  </a:cubicBezTo>
                  <a:cubicBezTo>
                    <a:pt x="77292" y="67053"/>
                    <a:pt x="76856" y="68797"/>
                    <a:pt x="70318" y="68797"/>
                  </a:cubicBezTo>
                  <a:cubicBezTo>
                    <a:pt x="61384" y="68797"/>
                    <a:pt x="65307" y="73375"/>
                    <a:pt x="78381" y="78389"/>
                  </a:cubicBezTo>
                  <a:cubicBezTo>
                    <a:pt x="84700" y="80787"/>
                    <a:pt x="90584" y="83403"/>
                    <a:pt x="91238" y="84058"/>
                  </a:cubicBezTo>
                  <a:cubicBezTo>
                    <a:pt x="95814" y="89290"/>
                    <a:pt x="106055" y="94958"/>
                    <a:pt x="111067" y="94958"/>
                  </a:cubicBezTo>
                  <a:cubicBezTo>
                    <a:pt x="116297" y="94958"/>
                    <a:pt x="117386" y="94086"/>
                    <a:pt x="117386" y="89944"/>
                  </a:cubicBezTo>
                  <a:cubicBezTo>
                    <a:pt x="117386" y="82967"/>
                    <a:pt x="109542" y="75773"/>
                    <a:pt x="106055" y="79261"/>
                  </a:cubicBezTo>
                  <a:cubicBezTo>
                    <a:pt x="102133" y="83185"/>
                    <a:pt x="91238" y="82531"/>
                    <a:pt x="91238" y="78607"/>
                  </a:cubicBezTo>
                  <a:cubicBezTo>
                    <a:pt x="91238" y="76863"/>
                    <a:pt x="92109" y="75337"/>
                    <a:pt x="92981" y="75337"/>
                  </a:cubicBezTo>
                  <a:cubicBezTo>
                    <a:pt x="95814" y="75337"/>
                    <a:pt x="94724" y="56153"/>
                    <a:pt x="91891" y="53100"/>
                  </a:cubicBezTo>
                  <a:cubicBezTo>
                    <a:pt x="90366" y="51792"/>
                    <a:pt x="89059" y="48740"/>
                    <a:pt x="89059" y="46342"/>
                  </a:cubicBezTo>
                  <a:cubicBezTo>
                    <a:pt x="89059" y="43290"/>
                    <a:pt x="90148" y="42636"/>
                    <a:pt x="93852" y="43726"/>
                  </a:cubicBezTo>
                  <a:cubicBezTo>
                    <a:pt x="97775" y="45034"/>
                    <a:pt x="98211" y="44598"/>
                    <a:pt x="96685" y="41328"/>
                  </a:cubicBezTo>
                  <a:cubicBezTo>
                    <a:pt x="95814" y="38930"/>
                    <a:pt x="94506" y="34788"/>
                    <a:pt x="93852" y="31954"/>
                  </a:cubicBezTo>
                  <a:cubicBezTo>
                    <a:pt x="92545" y="25631"/>
                    <a:pt x="80778" y="14513"/>
                    <a:pt x="75330" y="14295"/>
                  </a:cubicBezTo>
                  <a:cubicBezTo>
                    <a:pt x="72280" y="14295"/>
                    <a:pt x="71626" y="13205"/>
                    <a:pt x="72715" y="9499"/>
                  </a:cubicBezTo>
                  <a:cubicBezTo>
                    <a:pt x="74459" y="3831"/>
                    <a:pt x="80124" y="-1401"/>
                    <a:pt x="82739" y="343"/>
                  </a:cubicBezTo>
                  <a:cubicBezTo>
                    <a:pt x="83829" y="997"/>
                    <a:pt x="84700" y="4049"/>
                    <a:pt x="84700" y="7101"/>
                  </a:cubicBezTo>
                  <a:cubicBezTo>
                    <a:pt x="84700" y="11025"/>
                    <a:pt x="88187" y="16039"/>
                    <a:pt x="95596" y="23451"/>
                  </a:cubicBezTo>
                  <a:cubicBezTo>
                    <a:pt x="101697" y="29338"/>
                    <a:pt x="106491" y="35442"/>
                    <a:pt x="106491" y="36968"/>
                  </a:cubicBezTo>
                  <a:cubicBezTo>
                    <a:pt x="106491" y="38712"/>
                    <a:pt x="104966" y="43508"/>
                    <a:pt x="103222" y="47868"/>
                  </a:cubicBezTo>
                  <a:cubicBezTo>
                    <a:pt x="99736" y="56371"/>
                    <a:pt x="100608" y="64873"/>
                    <a:pt x="105619" y="69015"/>
                  </a:cubicBezTo>
                  <a:cubicBezTo>
                    <a:pt x="108016" y="70977"/>
                    <a:pt x="108670" y="70541"/>
                    <a:pt x="108670" y="66835"/>
                  </a:cubicBezTo>
                  <a:cubicBezTo>
                    <a:pt x="108670" y="64437"/>
                    <a:pt x="107799" y="62257"/>
                    <a:pt x="106491" y="62257"/>
                  </a:cubicBezTo>
                  <a:cubicBezTo>
                    <a:pt x="103005" y="62257"/>
                    <a:pt x="103876" y="55717"/>
                    <a:pt x="107581" y="54408"/>
                  </a:cubicBezTo>
                  <a:cubicBezTo>
                    <a:pt x="109324" y="53536"/>
                    <a:pt x="112593" y="54408"/>
                    <a:pt x="114554" y="55935"/>
                  </a:cubicBezTo>
                  <a:cubicBezTo>
                    <a:pt x="118476" y="59205"/>
                    <a:pt x="118476" y="60295"/>
                    <a:pt x="113900" y="38058"/>
                  </a:cubicBezTo>
                  <a:cubicBezTo>
                    <a:pt x="112593" y="31736"/>
                    <a:pt x="112810" y="31518"/>
                    <a:pt x="118258" y="33044"/>
                  </a:cubicBezTo>
                  <a:cubicBezTo>
                    <a:pt x="121527" y="33698"/>
                    <a:pt x="125231" y="33262"/>
                    <a:pt x="127192" y="31736"/>
                  </a:cubicBezTo>
                  <a:cubicBezTo>
                    <a:pt x="129589" y="29774"/>
                    <a:pt x="131986" y="29992"/>
                    <a:pt x="138088" y="32826"/>
                  </a:cubicBezTo>
                  <a:cubicBezTo>
                    <a:pt x="148111" y="37840"/>
                    <a:pt x="148765" y="38930"/>
                    <a:pt x="143535" y="45034"/>
                  </a:cubicBezTo>
                  <a:cubicBezTo>
                    <a:pt x="139395" y="49830"/>
                    <a:pt x="138959" y="50048"/>
                    <a:pt x="136998" y="46560"/>
                  </a:cubicBezTo>
                  <a:cubicBezTo>
                    <a:pt x="131986" y="38276"/>
                    <a:pt x="122398" y="45034"/>
                    <a:pt x="124795" y="54844"/>
                  </a:cubicBezTo>
                  <a:cubicBezTo>
                    <a:pt x="126103" y="59641"/>
                    <a:pt x="127192" y="60295"/>
                    <a:pt x="131550" y="59205"/>
                  </a:cubicBezTo>
                  <a:cubicBezTo>
                    <a:pt x="138088" y="57461"/>
                    <a:pt x="138524" y="60077"/>
                    <a:pt x="132640" y="65527"/>
                  </a:cubicBezTo>
                  <a:cubicBezTo>
                    <a:pt x="129589" y="68361"/>
                    <a:pt x="126539" y="69015"/>
                    <a:pt x="121745" y="67925"/>
                  </a:cubicBezTo>
                  <a:cubicBezTo>
                    <a:pt x="115425" y="66835"/>
                    <a:pt x="114989" y="67053"/>
                    <a:pt x="116515" y="71413"/>
                  </a:cubicBezTo>
                  <a:cubicBezTo>
                    <a:pt x="117386" y="74029"/>
                    <a:pt x="120219" y="78171"/>
                    <a:pt x="123052" y="80351"/>
                  </a:cubicBezTo>
                  <a:cubicBezTo>
                    <a:pt x="129371" y="85366"/>
                    <a:pt x="129807" y="91906"/>
                    <a:pt x="123924" y="94958"/>
                  </a:cubicBezTo>
                  <a:cubicBezTo>
                    <a:pt x="121527" y="96266"/>
                    <a:pt x="119566" y="99100"/>
                    <a:pt x="119566" y="101280"/>
                  </a:cubicBezTo>
                  <a:cubicBezTo>
                    <a:pt x="119566" y="105858"/>
                    <a:pt x="114118" y="108692"/>
                    <a:pt x="108670" y="106948"/>
                  </a:cubicBezTo>
                  <a:cubicBezTo>
                    <a:pt x="103876" y="105422"/>
                    <a:pt x="97339" y="112834"/>
                    <a:pt x="99082" y="117631"/>
                  </a:cubicBezTo>
                  <a:cubicBezTo>
                    <a:pt x="100390" y="120901"/>
                    <a:pt x="100826" y="120901"/>
                    <a:pt x="105619" y="117849"/>
                  </a:cubicBezTo>
                  <a:cubicBezTo>
                    <a:pt x="112593" y="113489"/>
                    <a:pt x="115425" y="115233"/>
                    <a:pt x="113900" y="123081"/>
                  </a:cubicBezTo>
                  <a:cubicBezTo>
                    <a:pt x="112810" y="128095"/>
                    <a:pt x="113464" y="130057"/>
                    <a:pt x="117386" y="132019"/>
                  </a:cubicBezTo>
                  <a:cubicBezTo>
                    <a:pt x="121309" y="133981"/>
                    <a:pt x="122834" y="133763"/>
                    <a:pt x="126321" y="130711"/>
                  </a:cubicBezTo>
                  <a:cubicBezTo>
                    <a:pt x="130243" y="127223"/>
                    <a:pt x="130897" y="127223"/>
                    <a:pt x="133947" y="130275"/>
                  </a:cubicBezTo>
                  <a:cubicBezTo>
                    <a:pt x="136780" y="132891"/>
                    <a:pt x="136998" y="134635"/>
                    <a:pt x="135037" y="138123"/>
                  </a:cubicBezTo>
                  <a:cubicBezTo>
                    <a:pt x="133076" y="141829"/>
                    <a:pt x="133294" y="143138"/>
                    <a:pt x="136127" y="144664"/>
                  </a:cubicBezTo>
                  <a:cubicBezTo>
                    <a:pt x="139613" y="146626"/>
                    <a:pt x="139613" y="147498"/>
                    <a:pt x="135691" y="156872"/>
                  </a:cubicBezTo>
                  <a:cubicBezTo>
                    <a:pt x="133076" y="163412"/>
                    <a:pt x="129807" y="167554"/>
                    <a:pt x="126756" y="168208"/>
                  </a:cubicBezTo>
                  <a:cubicBezTo>
                    <a:pt x="124142" y="168862"/>
                    <a:pt x="121527" y="171479"/>
                    <a:pt x="120873" y="174095"/>
                  </a:cubicBezTo>
                  <a:cubicBezTo>
                    <a:pt x="120219" y="176711"/>
                    <a:pt x="115643" y="181071"/>
                    <a:pt x="110849" y="183905"/>
                  </a:cubicBezTo>
                  <a:cubicBezTo>
                    <a:pt x="106055" y="186521"/>
                    <a:pt x="102133" y="190227"/>
                    <a:pt x="102133" y="191971"/>
                  </a:cubicBezTo>
                  <a:cubicBezTo>
                    <a:pt x="102133" y="193715"/>
                    <a:pt x="101261" y="195241"/>
                    <a:pt x="99954" y="195241"/>
                  </a:cubicBezTo>
                  <a:cubicBezTo>
                    <a:pt x="98864" y="195241"/>
                    <a:pt x="97775" y="193715"/>
                    <a:pt x="97775" y="191971"/>
                  </a:cubicBezTo>
                  <a:close/>
                  <a:moveTo>
                    <a:pt x="57244" y="99100"/>
                  </a:moveTo>
                  <a:cubicBezTo>
                    <a:pt x="53540" y="95176"/>
                    <a:pt x="53758" y="94958"/>
                    <a:pt x="60513" y="94958"/>
                  </a:cubicBezTo>
                  <a:cubicBezTo>
                    <a:pt x="64653" y="94958"/>
                    <a:pt x="67922" y="93650"/>
                    <a:pt x="68793" y="91470"/>
                  </a:cubicBezTo>
                  <a:cubicBezTo>
                    <a:pt x="69447" y="89726"/>
                    <a:pt x="71408" y="88636"/>
                    <a:pt x="72933" y="89290"/>
                  </a:cubicBezTo>
                  <a:cubicBezTo>
                    <a:pt x="76638" y="90816"/>
                    <a:pt x="79035" y="87110"/>
                    <a:pt x="77292" y="82531"/>
                  </a:cubicBezTo>
                  <a:cubicBezTo>
                    <a:pt x="75984" y="79479"/>
                    <a:pt x="75548" y="79479"/>
                    <a:pt x="72933" y="83185"/>
                  </a:cubicBezTo>
                  <a:cubicBezTo>
                    <a:pt x="69883" y="87110"/>
                    <a:pt x="69665" y="87110"/>
                    <a:pt x="64217" y="82095"/>
                  </a:cubicBezTo>
                  <a:cubicBezTo>
                    <a:pt x="59641" y="77735"/>
                    <a:pt x="58116" y="77299"/>
                    <a:pt x="55283" y="79697"/>
                  </a:cubicBezTo>
                  <a:cubicBezTo>
                    <a:pt x="52668" y="81877"/>
                    <a:pt x="51361" y="81877"/>
                    <a:pt x="48964" y="79915"/>
                  </a:cubicBezTo>
                  <a:cubicBezTo>
                    <a:pt x="46349" y="77735"/>
                    <a:pt x="45041" y="78389"/>
                    <a:pt x="42208" y="82749"/>
                  </a:cubicBezTo>
                  <a:cubicBezTo>
                    <a:pt x="38286" y="88636"/>
                    <a:pt x="30224" y="90598"/>
                    <a:pt x="30224" y="85802"/>
                  </a:cubicBezTo>
                  <a:cubicBezTo>
                    <a:pt x="30224" y="83839"/>
                    <a:pt x="29570" y="84058"/>
                    <a:pt x="28044" y="86238"/>
                  </a:cubicBezTo>
                  <a:cubicBezTo>
                    <a:pt x="26737" y="88418"/>
                    <a:pt x="27173" y="90598"/>
                    <a:pt x="29352" y="92996"/>
                  </a:cubicBezTo>
                  <a:cubicBezTo>
                    <a:pt x="30877" y="94740"/>
                    <a:pt x="32403" y="97574"/>
                    <a:pt x="32403" y="98882"/>
                  </a:cubicBezTo>
                  <a:cubicBezTo>
                    <a:pt x="32403" y="100408"/>
                    <a:pt x="33710" y="101498"/>
                    <a:pt x="35235" y="101498"/>
                  </a:cubicBezTo>
                  <a:cubicBezTo>
                    <a:pt x="36979" y="101498"/>
                    <a:pt x="39594" y="103896"/>
                    <a:pt x="41119" y="106730"/>
                  </a:cubicBezTo>
                  <a:lnTo>
                    <a:pt x="43952" y="112180"/>
                  </a:lnTo>
                  <a:lnTo>
                    <a:pt x="52450" y="107820"/>
                  </a:lnTo>
                  <a:cubicBezTo>
                    <a:pt x="60948" y="103460"/>
                    <a:pt x="60948" y="103242"/>
                    <a:pt x="57244" y="99100"/>
                  </a:cubicBezTo>
                  <a:close/>
                  <a:moveTo>
                    <a:pt x="97121" y="95830"/>
                  </a:moveTo>
                  <a:cubicBezTo>
                    <a:pt x="95160" y="93868"/>
                    <a:pt x="91020" y="97138"/>
                    <a:pt x="92545" y="99754"/>
                  </a:cubicBezTo>
                  <a:cubicBezTo>
                    <a:pt x="93417" y="101062"/>
                    <a:pt x="94724" y="101062"/>
                    <a:pt x="96249" y="99536"/>
                  </a:cubicBezTo>
                  <a:cubicBezTo>
                    <a:pt x="97557" y="98228"/>
                    <a:pt x="97993" y="96702"/>
                    <a:pt x="97121" y="95830"/>
                  </a:cubicBezTo>
                  <a:close/>
                </a:path>
              </a:pathLst>
            </a:custGeom>
            <a:grpFill/>
            <a:ln w="218" cap="flat">
              <a:noFill/>
              <a:prstDash val="solid"/>
              <a:miter/>
            </a:ln>
          </p:spPr>
          <p:txBody>
            <a:bodyPr rtlCol="0" anchor="ctr"/>
            <a:lstStyle/>
            <a:p>
              <a:endParaRPr lang="en-GB" dirty="0"/>
            </a:p>
          </p:txBody>
        </p:sp>
        <p:sp>
          <p:nvSpPr>
            <p:cNvPr id="188" name="Freihandform: Form 187">
              <a:extLst>
                <a:ext uri="{FF2B5EF4-FFF2-40B4-BE49-F238E27FC236}">
                  <a16:creationId xmlns:a16="http://schemas.microsoft.com/office/drawing/2014/main" xmlns="" id="{075A4472-265D-474B-BAB7-09A0FC50D12D}"/>
                </a:ext>
              </a:extLst>
            </p:cNvPr>
            <p:cNvSpPr/>
            <p:nvPr/>
          </p:nvSpPr>
          <p:spPr>
            <a:xfrm flipV="1">
              <a:off x="4951103" y="5300458"/>
              <a:ext cx="5775" cy="5483"/>
            </a:xfrm>
            <a:custGeom>
              <a:avLst/>
              <a:gdLst>
                <a:gd name="connsiteX0" fmla="*/ -4530 w 5775"/>
                <a:gd name="connsiteY0" fmla="*/ 4562 h 5483"/>
                <a:gd name="connsiteX1" fmla="*/ 1136 w 5775"/>
                <a:gd name="connsiteY1" fmla="*/ 420 h 5483"/>
                <a:gd name="connsiteX2" fmla="*/ -1261 w 5775"/>
                <a:gd name="connsiteY2" fmla="*/ 4126 h 5483"/>
                <a:gd name="connsiteX3" fmla="*/ -4530 w 5775"/>
                <a:gd name="connsiteY3" fmla="*/ 4562 h 5483"/>
              </a:gdLst>
              <a:ahLst/>
              <a:cxnLst>
                <a:cxn ang="0">
                  <a:pos x="connsiteX0" y="connsiteY0"/>
                </a:cxn>
                <a:cxn ang="0">
                  <a:pos x="connsiteX1" y="connsiteY1"/>
                </a:cxn>
                <a:cxn ang="0">
                  <a:pos x="connsiteX2" y="connsiteY2"/>
                </a:cxn>
                <a:cxn ang="0">
                  <a:pos x="connsiteX3" y="connsiteY3"/>
                </a:cxn>
              </a:cxnLst>
              <a:rect l="l" t="t" r="r" b="b"/>
              <a:pathLst>
                <a:path w="5775" h="5483">
                  <a:moveTo>
                    <a:pt x="-4530" y="4562"/>
                  </a:moveTo>
                  <a:cubicBezTo>
                    <a:pt x="-4530" y="1946"/>
                    <a:pt x="-390" y="-1106"/>
                    <a:pt x="1136" y="420"/>
                  </a:cubicBezTo>
                  <a:cubicBezTo>
                    <a:pt x="1571" y="856"/>
                    <a:pt x="700" y="2600"/>
                    <a:pt x="-1261" y="4126"/>
                  </a:cubicBezTo>
                  <a:cubicBezTo>
                    <a:pt x="-3222" y="5870"/>
                    <a:pt x="-4530" y="5870"/>
                    <a:pt x="-4530" y="4562"/>
                  </a:cubicBezTo>
                  <a:close/>
                </a:path>
              </a:pathLst>
            </a:custGeom>
            <a:grpFill/>
            <a:ln w="218" cap="flat">
              <a:noFill/>
              <a:prstDash val="solid"/>
              <a:miter/>
            </a:ln>
          </p:spPr>
          <p:txBody>
            <a:bodyPr rtlCol="0" anchor="ctr"/>
            <a:lstStyle/>
            <a:p>
              <a:endParaRPr lang="en-GB" dirty="0"/>
            </a:p>
          </p:txBody>
        </p:sp>
        <p:sp>
          <p:nvSpPr>
            <p:cNvPr id="189" name="Freihandform: Form 188">
              <a:extLst>
                <a:ext uri="{FF2B5EF4-FFF2-40B4-BE49-F238E27FC236}">
                  <a16:creationId xmlns:a16="http://schemas.microsoft.com/office/drawing/2014/main" xmlns="" id="{B1F20ECA-92B0-4827-A10A-357464CF7749}"/>
                </a:ext>
              </a:extLst>
            </p:cNvPr>
            <p:cNvSpPr/>
            <p:nvPr/>
          </p:nvSpPr>
          <p:spPr>
            <a:xfrm flipV="1">
              <a:off x="5028570" y="5203723"/>
              <a:ext cx="28901" cy="25812"/>
            </a:xfrm>
            <a:custGeom>
              <a:avLst/>
              <a:gdLst>
                <a:gd name="connsiteX0" fmla="*/ -4790 w 28901"/>
                <a:gd name="connsiteY0" fmla="*/ 23424 h 25812"/>
                <a:gd name="connsiteX1" fmla="*/ 440 w 28901"/>
                <a:gd name="connsiteY1" fmla="*/ 14268 h 25812"/>
                <a:gd name="connsiteX2" fmla="*/ 8284 w 28901"/>
                <a:gd name="connsiteY2" fmla="*/ 3150 h 25812"/>
                <a:gd name="connsiteX3" fmla="*/ 18962 w 28901"/>
                <a:gd name="connsiteY3" fmla="*/ 5984 h 25812"/>
                <a:gd name="connsiteX4" fmla="*/ 19398 w 28901"/>
                <a:gd name="connsiteY4" fmla="*/ 24950 h 25812"/>
                <a:gd name="connsiteX5" fmla="*/ 17001 w 28901"/>
                <a:gd name="connsiteY5" fmla="*/ 16884 h 25812"/>
                <a:gd name="connsiteX6" fmla="*/ 15911 w 28901"/>
                <a:gd name="connsiteY6" fmla="*/ 7946 h 25812"/>
                <a:gd name="connsiteX7" fmla="*/ 13514 w 28901"/>
                <a:gd name="connsiteY7" fmla="*/ 10344 h 25812"/>
                <a:gd name="connsiteX8" fmla="*/ -2175 w 28901"/>
                <a:gd name="connsiteY8" fmla="*/ 25386 h 25812"/>
                <a:gd name="connsiteX9" fmla="*/ -4790 w 28901"/>
                <a:gd name="connsiteY9" fmla="*/ 23424 h 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01" h="25812">
                  <a:moveTo>
                    <a:pt x="-4790" y="23424"/>
                  </a:moveTo>
                  <a:cubicBezTo>
                    <a:pt x="-5444" y="22334"/>
                    <a:pt x="-3047" y="18192"/>
                    <a:pt x="440" y="14268"/>
                  </a:cubicBezTo>
                  <a:cubicBezTo>
                    <a:pt x="3926" y="10126"/>
                    <a:pt x="7413" y="5112"/>
                    <a:pt x="8284" y="3150"/>
                  </a:cubicBezTo>
                  <a:cubicBezTo>
                    <a:pt x="10028" y="-2300"/>
                    <a:pt x="12425" y="-1646"/>
                    <a:pt x="18962" y="5984"/>
                  </a:cubicBezTo>
                  <a:cubicBezTo>
                    <a:pt x="25499" y="13832"/>
                    <a:pt x="25717" y="23860"/>
                    <a:pt x="19398" y="24950"/>
                  </a:cubicBezTo>
                  <a:cubicBezTo>
                    <a:pt x="16129" y="25604"/>
                    <a:pt x="15693" y="24514"/>
                    <a:pt x="17001" y="16884"/>
                  </a:cubicBezTo>
                  <a:cubicBezTo>
                    <a:pt x="17872" y="10780"/>
                    <a:pt x="17654" y="7946"/>
                    <a:pt x="15911" y="7946"/>
                  </a:cubicBezTo>
                  <a:cubicBezTo>
                    <a:pt x="14604" y="7946"/>
                    <a:pt x="13514" y="9036"/>
                    <a:pt x="13514" y="10344"/>
                  </a:cubicBezTo>
                  <a:cubicBezTo>
                    <a:pt x="13514" y="12742"/>
                    <a:pt x="440" y="25386"/>
                    <a:pt x="-2175" y="25386"/>
                  </a:cubicBezTo>
                  <a:cubicBezTo>
                    <a:pt x="-3047" y="25386"/>
                    <a:pt x="-4136" y="24514"/>
                    <a:pt x="-4790" y="23424"/>
                  </a:cubicBezTo>
                  <a:close/>
                </a:path>
              </a:pathLst>
            </a:custGeom>
            <a:grpFill/>
            <a:ln w="218" cap="flat">
              <a:noFill/>
              <a:prstDash val="solid"/>
              <a:miter/>
            </a:ln>
          </p:spPr>
          <p:txBody>
            <a:bodyPr rtlCol="0" anchor="ctr"/>
            <a:lstStyle/>
            <a:p>
              <a:endParaRPr lang="en-GB" dirty="0"/>
            </a:p>
          </p:txBody>
        </p:sp>
        <p:sp>
          <p:nvSpPr>
            <p:cNvPr id="190" name="Freihandform: Form 189">
              <a:extLst>
                <a:ext uri="{FF2B5EF4-FFF2-40B4-BE49-F238E27FC236}">
                  <a16:creationId xmlns:a16="http://schemas.microsoft.com/office/drawing/2014/main" xmlns="" id="{3DAFADBA-B03A-49A0-A947-091F704F5144}"/>
                </a:ext>
              </a:extLst>
            </p:cNvPr>
            <p:cNvSpPr/>
            <p:nvPr/>
          </p:nvSpPr>
          <p:spPr>
            <a:xfrm flipV="1">
              <a:off x="5165496" y="5204568"/>
              <a:ext cx="4849" cy="4851"/>
            </a:xfrm>
            <a:custGeom>
              <a:avLst/>
              <a:gdLst>
                <a:gd name="connsiteX0" fmla="*/ -4950 w 4849"/>
                <a:gd name="connsiteY0" fmla="*/ 3260 h 4851"/>
                <a:gd name="connsiteX1" fmla="*/ -4296 w 4849"/>
                <a:gd name="connsiteY1" fmla="*/ -11 h 4851"/>
                <a:gd name="connsiteX2" fmla="*/ -1027 w 4849"/>
                <a:gd name="connsiteY2" fmla="*/ 643 h 4851"/>
                <a:gd name="connsiteX3" fmla="*/ -1681 w 4849"/>
                <a:gd name="connsiteY3" fmla="*/ 3914 h 4851"/>
                <a:gd name="connsiteX4" fmla="*/ -4950 w 4849"/>
                <a:gd name="connsiteY4" fmla="*/ 3260 h 4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9" h="4851">
                  <a:moveTo>
                    <a:pt x="-4950" y="3260"/>
                  </a:moveTo>
                  <a:cubicBezTo>
                    <a:pt x="-5821" y="2169"/>
                    <a:pt x="-5386" y="643"/>
                    <a:pt x="-4296" y="-11"/>
                  </a:cubicBezTo>
                  <a:cubicBezTo>
                    <a:pt x="-3207" y="-883"/>
                    <a:pt x="-1681" y="-447"/>
                    <a:pt x="-1027" y="643"/>
                  </a:cubicBezTo>
                  <a:cubicBezTo>
                    <a:pt x="-156" y="1733"/>
                    <a:pt x="-592" y="3260"/>
                    <a:pt x="-1681" y="3914"/>
                  </a:cubicBezTo>
                  <a:cubicBezTo>
                    <a:pt x="-2771" y="4786"/>
                    <a:pt x="-4296" y="4350"/>
                    <a:pt x="-4950" y="3260"/>
                  </a:cubicBezTo>
                  <a:close/>
                </a:path>
              </a:pathLst>
            </a:custGeom>
            <a:grpFill/>
            <a:ln w="218" cap="flat">
              <a:noFill/>
              <a:prstDash val="solid"/>
              <a:miter/>
            </a:ln>
          </p:spPr>
          <p:txBody>
            <a:bodyPr rtlCol="0" anchor="ctr"/>
            <a:lstStyle/>
            <a:p>
              <a:endParaRPr lang="en-GB" dirty="0"/>
            </a:p>
          </p:txBody>
        </p:sp>
        <p:sp>
          <p:nvSpPr>
            <p:cNvPr id="191" name="Freihandform: Form 190">
              <a:extLst>
                <a:ext uri="{FF2B5EF4-FFF2-40B4-BE49-F238E27FC236}">
                  <a16:creationId xmlns:a16="http://schemas.microsoft.com/office/drawing/2014/main" xmlns="" id="{53B6F11E-5A7F-446E-BF10-6B72629ADF84}"/>
                </a:ext>
              </a:extLst>
            </p:cNvPr>
            <p:cNvSpPr/>
            <p:nvPr/>
          </p:nvSpPr>
          <p:spPr>
            <a:xfrm flipV="1">
              <a:off x="5264889" y="5204982"/>
              <a:ext cx="30232" cy="16155"/>
            </a:xfrm>
            <a:custGeom>
              <a:avLst/>
              <a:gdLst>
                <a:gd name="connsiteX0" fmla="*/ -2172 w 30232"/>
                <a:gd name="connsiteY0" fmla="*/ 14572 h 16155"/>
                <a:gd name="connsiteX1" fmla="*/ -5876 w 30232"/>
                <a:gd name="connsiteY1" fmla="*/ 8032 h 16155"/>
                <a:gd name="connsiteX2" fmla="*/ 5237 w 30232"/>
                <a:gd name="connsiteY2" fmla="*/ 4108 h 16155"/>
                <a:gd name="connsiteX3" fmla="*/ 18311 w 30232"/>
                <a:gd name="connsiteY3" fmla="*/ 1492 h 16155"/>
                <a:gd name="connsiteX4" fmla="*/ 22452 w 30232"/>
                <a:gd name="connsiteY4" fmla="*/ 1710 h 16155"/>
                <a:gd name="connsiteX5" fmla="*/ 19837 w 30232"/>
                <a:gd name="connsiteY5" fmla="*/ 11302 h 16155"/>
                <a:gd name="connsiteX6" fmla="*/ -2172 w 30232"/>
                <a:gd name="connsiteY6" fmla="*/ 14572 h 16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232" h="16155">
                  <a:moveTo>
                    <a:pt x="-2172" y="14572"/>
                  </a:moveTo>
                  <a:cubicBezTo>
                    <a:pt x="-4133" y="13264"/>
                    <a:pt x="-5876" y="10430"/>
                    <a:pt x="-5876" y="8032"/>
                  </a:cubicBezTo>
                  <a:cubicBezTo>
                    <a:pt x="-5876" y="4108"/>
                    <a:pt x="-4569" y="3672"/>
                    <a:pt x="5237" y="4108"/>
                  </a:cubicBezTo>
                  <a:cubicBezTo>
                    <a:pt x="12864" y="4544"/>
                    <a:pt x="16786" y="3890"/>
                    <a:pt x="18311" y="1492"/>
                  </a:cubicBezTo>
                  <a:cubicBezTo>
                    <a:pt x="20055" y="-1124"/>
                    <a:pt x="20490" y="-1124"/>
                    <a:pt x="22452" y="1710"/>
                  </a:cubicBezTo>
                  <a:cubicBezTo>
                    <a:pt x="25502" y="6506"/>
                    <a:pt x="25066" y="7814"/>
                    <a:pt x="19837" y="11302"/>
                  </a:cubicBezTo>
                  <a:cubicBezTo>
                    <a:pt x="12864" y="15444"/>
                    <a:pt x="2404" y="16970"/>
                    <a:pt x="-2172" y="14572"/>
                  </a:cubicBezTo>
                  <a:close/>
                </a:path>
              </a:pathLst>
            </a:custGeom>
            <a:grpFill/>
            <a:ln w="218" cap="flat">
              <a:noFill/>
              <a:prstDash val="solid"/>
              <a:miter/>
            </a:ln>
          </p:spPr>
          <p:txBody>
            <a:bodyPr rtlCol="0" anchor="ctr"/>
            <a:lstStyle/>
            <a:p>
              <a:endParaRPr lang="en-GB" dirty="0"/>
            </a:p>
          </p:txBody>
        </p:sp>
        <p:sp>
          <p:nvSpPr>
            <p:cNvPr id="192" name="Freihandform: Form 191">
              <a:extLst>
                <a:ext uri="{FF2B5EF4-FFF2-40B4-BE49-F238E27FC236}">
                  <a16:creationId xmlns:a16="http://schemas.microsoft.com/office/drawing/2014/main" xmlns="" id="{51B14E84-B9E8-4C86-909A-59817B582741}"/>
                </a:ext>
              </a:extLst>
            </p:cNvPr>
            <p:cNvSpPr/>
            <p:nvPr/>
          </p:nvSpPr>
          <p:spPr>
            <a:xfrm flipV="1">
              <a:off x="4540396" y="5205904"/>
              <a:ext cx="6440" cy="8720"/>
            </a:xfrm>
            <a:custGeom>
              <a:avLst/>
              <a:gdLst>
                <a:gd name="connsiteX0" fmla="*/ -1358 w 6440"/>
                <a:gd name="connsiteY0" fmla="*/ 3902 h 8720"/>
                <a:gd name="connsiteX1" fmla="*/ -2230 w 6440"/>
                <a:gd name="connsiteY1" fmla="*/ -458 h 8720"/>
                <a:gd name="connsiteX2" fmla="*/ 2128 w 6440"/>
                <a:gd name="connsiteY2" fmla="*/ 3902 h 8720"/>
                <a:gd name="connsiteX3" fmla="*/ 3000 w 6440"/>
                <a:gd name="connsiteY3" fmla="*/ 8262 h 8720"/>
                <a:gd name="connsiteX4" fmla="*/ -1358 w 6440"/>
                <a:gd name="connsiteY4" fmla="*/ 3902 h 8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40" h="8720">
                  <a:moveTo>
                    <a:pt x="-1358" y="3902"/>
                  </a:moveTo>
                  <a:cubicBezTo>
                    <a:pt x="-2883" y="1504"/>
                    <a:pt x="-3319" y="-458"/>
                    <a:pt x="-2230" y="-458"/>
                  </a:cubicBezTo>
                  <a:cubicBezTo>
                    <a:pt x="-1358" y="-458"/>
                    <a:pt x="603" y="1504"/>
                    <a:pt x="2128" y="3902"/>
                  </a:cubicBezTo>
                  <a:cubicBezTo>
                    <a:pt x="3654" y="6300"/>
                    <a:pt x="4090" y="8262"/>
                    <a:pt x="3000" y="8262"/>
                  </a:cubicBezTo>
                  <a:cubicBezTo>
                    <a:pt x="2128" y="8262"/>
                    <a:pt x="167" y="6300"/>
                    <a:pt x="-1358" y="3902"/>
                  </a:cubicBezTo>
                  <a:close/>
                </a:path>
              </a:pathLst>
            </a:custGeom>
            <a:grpFill/>
            <a:ln w="218" cap="flat">
              <a:noFill/>
              <a:prstDash val="solid"/>
              <a:miter/>
            </a:ln>
          </p:spPr>
          <p:txBody>
            <a:bodyPr rtlCol="0" anchor="ctr"/>
            <a:lstStyle/>
            <a:p>
              <a:endParaRPr lang="en-GB" dirty="0"/>
            </a:p>
          </p:txBody>
        </p:sp>
        <p:sp>
          <p:nvSpPr>
            <p:cNvPr id="193" name="Freihandform: Form 192">
              <a:extLst>
                <a:ext uri="{FF2B5EF4-FFF2-40B4-BE49-F238E27FC236}">
                  <a16:creationId xmlns:a16="http://schemas.microsoft.com/office/drawing/2014/main" xmlns="" id="{052F9415-C266-448D-BDED-254D92A71830}"/>
                </a:ext>
              </a:extLst>
            </p:cNvPr>
            <p:cNvSpPr/>
            <p:nvPr/>
          </p:nvSpPr>
          <p:spPr>
            <a:xfrm flipV="1">
              <a:off x="4590203" y="5206256"/>
              <a:ext cx="33737" cy="36157"/>
            </a:xfrm>
            <a:custGeom>
              <a:avLst/>
              <a:gdLst>
                <a:gd name="connsiteX0" fmla="*/ 3921 w 33737"/>
                <a:gd name="connsiteY0" fmla="*/ 28275 h 36157"/>
                <a:gd name="connsiteX1" fmla="*/ -2398 w 33737"/>
                <a:gd name="connsiteY1" fmla="*/ 16720 h 36157"/>
                <a:gd name="connsiteX2" fmla="*/ 4357 w 33737"/>
                <a:gd name="connsiteY2" fmla="*/ 13668 h 36157"/>
                <a:gd name="connsiteX3" fmla="*/ 9587 w 33737"/>
                <a:gd name="connsiteY3" fmla="*/ 7128 h 36157"/>
                <a:gd name="connsiteX4" fmla="*/ 18303 w 33737"/>
                <a:gd name="connsiteY4" fmla="*/ -284 h 36157"/>
                <a:gd name="connsiteX5" fmla="*/ 27891 w 33737"/>
                <a:gd name="connsiteY5" fmla="*/ 3858 h 36157"/>
                <a:gd name="connsiteX6" fmla="*/ 23097 w 33737"/>
                <a:gd name="connsiteY6" fmla="*/ 13450 h 36157"/>
                <a:gd name="connsiteX7" fmla="*/ 14163 w 33737"/>
                <a:gd name="connsiteY7" fmla="*/ 18682 h 36157"/>
                <a:gd name="connsiteX8" fmla="*/ 11330 w 33737"/>
                <a:gd name="connsiteY8" fmla="*/ 23043 h 36157"/>
                <a:gd name="connsiteX9" fmla="*/ 21354 w 33737"/>
                <a:gd name="connsiteY9" fmla="*/ 27403 h 36157"/>
                <a:gd name="connsiteX10" fmla="*/ 30506 w 33737"/>
                <a:gd name="connsiteY10" fmla="*/ 31327 h 36157"/>
                <a:gd name="connsiteX11" fmla="*/ 21136 w 33737"/>
                <a:gd name="connsiteY11" fmla="*/ 35687 h 36157"/>
                <a:gd name="connsiteX12" fmla="*/ 3921 w 33737"/>
                <a:gd name="connsiteY12" fmla="*/ 28275 h 3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37" h="36157">
                  <a:moveTo>
                    <a:pt x="3921" y="28275"/>
                  </a:moveTo>
                  <a:cubicBezTo>
                    <a:pt x="-2834" y="21735"/>
                    <a:pt x="-4141" y="19554"/>
                    <a:pt x="-2398" y="16720"/>
                  </a:cubicBezTo>
                  <a:cubicBezTo>
                    <a:pt x="-1091" y="14758"/>
                    <a:pt x="1960" y="13450"/>
                    <a:pt x="4357" y="13668"/>
                  </a:cubicBezTo>
                  <a:cubicBezTo>
                    <a:pt x="8061" y="14104"/>
                    <a:pt x="8933" y="12796"/>
                    <a:pt x="9587" y="7128"/>
                  </a:cubicBezTo>
                  <a:cubicBezTo>
                    <a:pt x="10240" y="806"/>
                    <a:pt x="10894" y="152"/>
                    <a:pt x="18303" y="-284"/>
                  </a:cubicBezTo>
                  <a:cubicBezTo>
                    <a:pt x="24840" y="-720"/>
                    <a:pt x="26584" y="152"/>
                    <a:pt x="27891" y="3858"/>
                  </a:cubicBezTo>
                  <a:cubicBezTo>
                    <a:pt x="28763" y="7128"/>
                    <a:pt x="27673" y="9526"/>
                    <a:pt x="23097" y="13450"/>
                  </a:cubicBezTo>
                  <a:cubicBezTo>
                    <a:pt x="19610" y="16284"/>
                    <a:pt x="15470" y="18464"/>
                    <a:pt x="14163" y="18682"/>
                  </a:cubicBezTo>
                  <a:cubicBezTo>
                    <a:pt x="12637" y="18682"/>
                    <a:pt x="11330" y="20645"/>
                    <a:pt x="11330" y="23043"/>
                  </a:cubicBezTo>
                  <a:cubicBezTo>
                    <a:pt x="11330" y="26749"/>
                    <a:pt x="12855" y="27403"/>
                    <a:pt x="21354" y="27403"/>
                  </a:cubicBezTo>
                  <a:cubicBezTo>
                    <a:pt x="29634" y="27403"/>
                    <a:pt x="31160" y="28057"/>
                    <a:pt x="30506" y="31327"/>
                  </a:cubicBezTo>
                  <a:cubicBezTo>
                    <a:pt x="30070" y="33943"/>
                    <a:pt x="27455" y="35251"/>
                    <a:pt x="21136" y="35687"/>
                  </a:cubicBezTo>
                  <a:cubicBezTo>
                    <a:pt x="13727" y="36123"/>
                    <a:pt x="11112" y="35033"/>
                    <a:pt x="3921" y="28275"/>
                  </a:cubicBezTo>
                  <a:close/>
                </a:path>
              </a:pathLst>
            </a:custGeom>
            <a:grpFill/>
            <a:ln w="218" cap="flat">
              <a:noFill/>
              <a:prstDash val="solid"/>
              <a:miter/>
            </a:ln>
          </p:spPr>
          <p:txBody>
            <a:bodyPr rtlCol="0" anchor="ctr"/>
            <a:lstStyle/>
            <a:p>
              <a:endParaRPr lang="en-GB" dirty="0"/>
            </a:p>
          </p:txBody>
        </p:sp>
        <p:sp>
          <p:nvSpPr>
            <p:cNvPr id="194" name="Freihandform: Form 193">
              <a:extLst>
                <a:ext uri="{FF2B5EF4-FFF2-40B4-BE49-F238E27FC236}">
                  <a16:creationId xmlns:a16="http://schemas.microsoft.com/office/drawing/2014/main" xmlns="" id="{430FFEDE-5C4B-406D-812E-E4FBE96F2BF6}"/>
                </a:ext>
              </a:extLst>
            </p:cNvPr>
            <p:cNvSpPr/>
            <p:nvPr/>
          </p:nvSpPr>
          <p:spPr>
            <a:xfrm flipV="1">
              <a:off x="4678718" y="5206613"/>
              <a:ext cx="4274" cy="5381"/>
            </a:xfrm>
            <a:custGeom>
              <a:avLst/>
              <a:gdLst>
                <a:gd name="connsiteX0" fmla="*/ -1876 w 4274"/>
                <a:gd name="connsiteY0" fmla="*/ 4102 h 5381"/>
                <a:gd name="connsiteX1" fmla="*/ -3402 w 4274"/>
                <a:gd name="connsiteY1" fmla="*/ 396 h 5381"/>
                <a:gd name="connsiteX2" fmla="*/ -787 w 4274"/>
                <a:gd name="connsiteY2" fmla="*/ 832 h 5381"/>
                <a:gd name="connsiteX3" fmla="*/ 738 w 4274"/>
                <a:gd name="connsiteY3" fmla="*/ 4538 h 5381"/>
                <a:gd name="connsiteX4" fmla="*/ -1876 w 4274"/>
                <a:gd name="connsiteY4" fmla="*/ 4102 h 5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4" h="5381">
                  <a:moveTo>
                    <a:pt x="-1876" y="4102"/>
                  </a:moveTo>
                  <a:cubicBezTo>
                    <a:pt x="-2748" y="3448"/>
                    <a:pt x="-3402" y="1704"/>
                    <a:pt x="-3402" y="396"/>
                  </a:cubicBezTo>
                  <a:cubicBezTo>
                    <a:pt x="-3402" y="-912"/>
                    <a:pt x="-2312" y="-694"/>
                    <a:pt x="-787" y="832"/>
                  </a:cubicBezTo>
                  <a:cubicBezTo>
                    <a:pt x="521" y="2140"/>
                    <a:pt x="1174" y="3884"/>
                    <a:pt x="738" y="4538"/>
                  </a:cubicBezTo>
                  <a:cubicBezTo>
                    <a:pt x="85" y="5192"/>
                    <a:pt x="-1223" y="4974"/>
                    <a:pt x="-1876" y="4102"/>
                  </a:cubicBezTo>
                  <a:close/>
                </a:path>
              </a:pathLst>
            </a:custGeom>
            <a:grpFill/>
            <a:ln w="218" cap="flat">
              <a:noFill/>
              <a:prstDash val="solid"/>
              <a:miter/>
            </a:ln>
          </p:spPr>
          <p:txBody>
            <a:bodyPr rtlCol="0" anchor="ctr"/>
            <a:lstStyle/>
            <a:p>
              <a:endParaRPr lang="en-GB" dirty="0"/>
            </a:p>
          </p:txBody>
        </p:sp>
        <p:sp>
          <p:nvSpPr>
            <p:cNvPr id="195" name="Freihandform: Form 194">
              <a:extLst>
                <a:ext uri="{FF2B5EF4-FFF2-40B4-BE49-F238E27FC236}">
                  <a16:creationId xmlns:a16="http://schemas.microsoft.com/office/drawing/2014/main" xmlns="" id="{B58CBF45-D7EC-4B38-B49F-96021CA051A9}"/>
                </a:ext>
              </a:extLst>
            </p:cNvPr>
            <p:cNvSpPr/>
            <p:nvPr/>
          </p:nvSpPr>
          <p:spPr>
            <a:xfrm flipV="1">
              <a:off x="4766552" y="5206144"/>
              <a:ext cx="18753" cy="16222"/>
            </a:xfrm>
            <a:custGeom>
              <a:avLst/>
              <a:gdLst>
                <a:gd name="connsiteX0" fmla="*/ -3158 w 18753"/>
                <a:gd name="connsiteY0" fmla="*/ 12537 h 16222"/>
                <a:gd name="connsiteX1" fmla="*/ 1200 w 18753"/>
                <a:gd name="connsiteY1" fmla="*/ 5125 h 16222"/>
                <a:gd name="connsiteX2" fmla="*/ 9699 w 18753"/>
                <a:gd name="connsiteY2" fmla="*/ 1636 h 16222"/>
                <a:gd name="connsiteX3" fmla="*/ 9263 w 18753"/>
                <a:gd name="connsiteY3" fmla="*/ 9267 h 16222"/>
                <a:gd name="connsiteX4" fmla="*/ -3158 w 18753"/>
                <a:gd name="connsiteY4" fmla="*/ 12537 h 162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53" h="16222">
                  <a:moveTo>
                    <a:pt x="-3158" y="12537"/>
                  </a:moveTo>
                  <a:cubicBezTo>
                    <a:pt x="-4901" y="8177"/>
                    <a:pt x="-2940" y="5125"/>
                    <a:pt x="1200" y="5125"/>
                  </a:cubicBezTo>
                  <a:cubicBezTo>
                    <a:pt x="2944" y="5125"/>
                    <a:pt x="6866" y="3599"/>
                    <a:pt x="9699" y="1636"/>
                  </a:cubicBezTo>
                  <a:cubicBezTo>
                    <a:pt x="16890" y="-3160"/>
                    <a:pt x="16672" y="764"/>
                    <a:pt x="9263" y="9267"/>
                  </a:cubicBezTo>
                  <a:cubicBezTo>
                    <a:pt x="2726" y="16679"/>
                    <a:pt x="-1197" y="17769"/>
                    <a:pt x="-3158" y="12537"/>
                  </a:cubicBezTo>
                  <a:close/>
                </a:path>
              </a:pathLst>
            </a:custGeom>
            <a:grpFill/>
            <a:ln w="218" cap="flat">
              <a:noFill/>
              <a:prstDash val="solid"/>
              <a:miter/>
            </a:ln>
          </p:spPr>
          <p:txBody>
            <a:bodyPr rtlCol="0" anchor="ctr"/>
            <a:lstStyle/>
            <a:p>
              <a:endParaRPr lang="en-GB" dirty="0"/>
            </a:p>
          </p:txBody>
        </p:sp>
        <p:sp>
          <p:nvSpPr>
            <p:cNvPr id="196" name="Freihandform: Form 195">
              <a:extLst>
                <a:ext uri="{FF2B5EF4-FFF2-40B4-BE49-F238E27FC236}">
                  <a16:creationId xmlns:a16="http://schemas.microsoft.com/office/drawing/2014/main" xmlns="" id="{398CAF8A-F211-4B1B-8B81-124E741A31D3}"/>
                </a:ext>
              </a:extLst>
            </p:cNvPr>
            <p:cNvSpPr/>
            <p:nvPr/>
          </p:nvSpPr>
          <p:spPr>
            <a:xfrm flipV="1">
              <a:off x="5149547" y="5205904"/>
              <a:ext cx="12337" cy="16433"/>
            </a:xfrm>
            <a:custGeom>
              <a:avLst/>
              <a:gdLst>
                <a:gd name="connsiteX0" fmla="*/ -2896 w 12337"/>
                <a:gd name="connsiteY0" fmla="*/ 13378 h 16433"/>
                <a:gd name="connsiteX1" fmla="*/ -1371 w 12337"/>
                <a:gd name="connsiteY1" fmla="*/ 2042 h 16433"/>
                <a:gd name="connsiteX2" fmla="*/ 5384 w 12337"/>
                <a:gd name="connsiteY2" fmla="*/ 1824 h 16433"/>
                <a:gd name="connsiteX3" fmla="*/ 2551 w 12337"/>
                <a:gd name="connsiteY3" fmla="*/ 15994 h 16433"/>
                <a:gd name="connsiteX4" fmla="*/ -2896 w 12337"/>
                <a:gd name="connsiteY4" fmla="*/ 13378 h 16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37" h="16433">
                  <a:moveTo>
                    <a:pt x="-2896" y="13378"/>
                  </a:moveTo>
                  <a:cubicBezTo>
                    <a:pt x="-6601" y="9672"/>
                    <a:pt x="-6165" y="6402"/>
                    <a:pt x="-1371" y="2042"/>
                  </a:cubicBezTo>
                  <a:cubicBezTo>
                    <a:pt x="2115" y="-1228"/>
                    <a:pt x="2987" y="-1228"/>
                    <a:pt x="5384" y="1824"/>
                  </a:cubicBezTo>
                  <a:cubicBezTo>
                    <a:pt x="8653" y="5748"/>
                    <a:pt x="6474" y="15994"/>
                    <a:pt x="2551" y="15994"/>
                  </a:cubicBezTo>
                  <a:cubicBezTo>
                    <a:pt x="1026" y="15994"/>
                    <a:pt x="-1371" y="14904"/>
                    <a:pt x="-2896" y="13378"/>
                  </a:cubicBezTo>
                  <a:close/>
                </a:path>
              </a:pathLst>
            </a:custGeom>
            <a:grpFill/>
            <a:ln w="218" cap="flat">
              <a:noFill/>
              <a:prstDash val="solid"/>
              <a:miter/>
            </a:ln>
          </p:spPr>
          <p:txBody>
            <a:bodyPr rtlCol="0" anchor="ctr"/>
            <a:lstStyle/>
            <a:p>
              <a:endParaRPr lang="en-GB" dirty="0"/>
            </a:p>
          </p:txBody>
        </p:sp>
        <p:sp>
          <p:nvSpPr>
            <p:cNvPr id="197" name="Freihandform: Form 196">
              <a:extLst>
                <a:ext uri="{FF2B5EF4-FFF2-40B4-BE49-F238E27FC236}">
                  <a16:creationId xmlns:a16="http://schemas.microsoft.com/office/drawing/2014/main" xmlns="" id="{70563E67-E9C0-47B2-8A3A-143ACA840A03}"/>
                </a:ext>
              </a:extLst>
            </p:cNvPr>
            <p:cNvSpPr/>
            <p:nvPr/>
          </p:nvSpPr>
          <p:spPr>
            <a:xfrm flipV="1">
              <a:off x="5129017" y="5210197"/>
              <a:ext cx="29005" cy="44337"/>
            </a:xfrm>
            <a:custGeom>
              <a:avLst/>
              <a:gdLst>
                <a:gd name="connsiteX0" fmla="*/ -4107 w 29005"/>
                <a:gd name="connsiteY0" fmla="*/ 41091 h 44337"/>
                <a:gd name="connsiteX1" fmla="*/ -4543 w 29005"/>
                <a:gd name="connsiteY1" fmla="*/ 35205 h 44337"/>
                <a:gd name="connsiteX2" fmla="*/ -2364 w 29005"/>
                <a:gd name="connsiteY2" fmla="*/ 27138 h 44337"/>
                <a:gd name="connsiteX3" fmla="*/ 7006 w 29005"/>
                <a:gd name="connsiteY3" fmla="*/ 21906 h 44337"/>
                <a:gd name="connsiteX4" fmla="*/ 10710 w 29005"/>
                <a:gd name="connsiteY4" fmla="*/ 20162 h 44337"/>
                <a:gd name="connsiteX5" fmla="*/ 6570 w 29005"/>
                <a:gd name="connsiteY5" fmla="*/ 17764 h 44337"/>
                <a:gd name="connsiteX6" fmla="*/ 3955 w 29005"/>
                <a:gd name="connsiteY6" fmla="*/ 11878 h 44337"/>
                <a:gd name="connsiteX7" fmla="*/ 8095 w 29005"/>
                <a:gd name="connsiteY7" fmla="*/ 4902 h 44337"/>
                <a:gd name="connsiteX8" fmla="*/ 15068 w 29005"/>
                <a:gd name="connsiteY8" fmla="*/ -113 h 44337"/>
                <a:gd name="connsiteX9" fmla="*/ 23567 w 29005"/>
                <a:gd name="connsiteY9" fmla="*/ 1632 h 44337"/>
                <a:gd name="connsiteX10" fmla="*/ 19427 w 29005"/>
                <a:gd name="connsiteY10" fmla="*/ 9480 h 44337"/>
                <a:gd name="connsiteX11" fmla="*/ 16812 w 29005"/>
                <a:gd name="connsiteY11" fmla="*/ 19944 h 44337"/>
                <a:gd name="connsiteX12" fmla="*/ 12671 w 29005"/>
                <a:gd name="connsiteY12" fmla="*/ 29536 h 44337"/>
                <a:gd name="connsiteX13" fmla="*/ 6352 w 29005"/>
                <a:gd name="connsiteY13" fmla="*/ 39565 h 44337"/>
                <a:gd name="connsiteX14" fmla="*/ -4107 w 29005"/>
                <a:gd name="connsiteY14" fmla="*/ 41091 h 44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005" h="44337">
                  <a:moveTo>
                    <a:pt x="-4107" y="41091"/>
                  </a:moveTo>
                  <a:cubicBezTo>
                    <a:pt x="-5633" y="39347"/>
                    <a:pt x="-5633" y="37167"/>
                    <a:pt x="-4543" y="35205"/>
                  </a:cubicBezTo>
                  <a:cubicBezTo>
                    <a:pt x="-3236" y="33461"/>
                    <a:pt x="-2364" y="29754"/>
                    <a:pt x="-2364" y="27138"/>
                  </a:cubicBezTo>
                  <a:cubicBezTo>
                    <a:pt x="-2364" y="22124"/>
                    <a:pt x="-621" y="21252"/>
                    <a:pt x="7006" y="21906"/>
                  </a:cubicBezTo>
                  <a:cubicBezTo>
                    <a:pt x="8967" y="22124"/>
                    <a:pt x="10710" y="21252"/>
                    <a:pt x="10710" y="20162"/>
                  </a:cubicBezTo>
                  <a:cubicBezTo>
                    <a:pt x="10710" y="18854"/>
                    <a:pt x="8749" y="17764"/>
                    <a:pt x="6570" y="17764"/>
                  </a:cubicBezTo>
                  <a:cubicBezTo>
                    <a:pt x="469" y="17764"/>
                    <a:pt x="-1493" y="13404"/>
                    <a:pt x="3955" y="11878"/>
                  </a:cubicBezTo>
                  <a:cubicBezTo>
                    <a:pt x="7442" y="11006"/>
                    <a:pt x="8531" y="9262"/>
                    <a:pt x="8095" y="4902"/>
                  </a:cubicBezTo>
                  <a:cubicBezTo>
                    <a:pt x="7442" y="-331"/>
                    <a:pt x="7878" y="-767"/>
                    <a:pt x="15068" y="-113"/>
                  </a:cubicBezTo>
                  <a:cubicBezTo>
                    <a:pt x="19209" y="323"/>
                    <a:pt x="23131" y="1195"/>
                    <a:pt x="23567" y="1632"/>
                  </a:cubicBezTo>
                  <a:cubicBezTo>
                    <a:pt x="24221" y="2068"/>
                    <a:pt x="22259" y="5556"/>
                    <a:pt x="19427" y="9480"/>
                  </a:cubicBezTo>
                  <a:cubicBezTo>
                    <a:pt x="15504" y="14712"/>
                    <a:pt x="14851" y="17110"/>
                    <a:pt x="16812" y="19944"/>
                  </a:cubicBezTo>
                  <a:cubicBezTo>
                    <a:pt x="18773" y="23214"/>
                    <a:pt x="17901" y="24958"/>
                    <a:pt x="12671" y="29536"/>
                  </a:cubicBezTo>
                  <a:cubicBezTo>
                    <a:pt x="9185" y="32589"/>
                    <a:pt x="6352" y="37167"/>
                    <a:pt x="6352" y="39565"/>
                  </a:cubicBezTo>
                  <a:cubicBezTo>
                    <a:pt x="6352" y="44579"/>
                    <a:pt x="-403" y="45669"/>
                    <a:pt x="-4107" y="41091"/>
                  </a:cubicBezTo>
                  <a:close/>
                </a:path>
              </a:pathLst>
            </a:custGeom>
            <a:grpFill/>
            <a:ln w="218" cap="flat">
              <a:noFill/>
              <a:prstDash val="solid"/>
              <a:miter/>
            </a:ln>
          </p:spPr>
          <p:txBody>
            <a:bodyPr rtlCol="0" anchor="ctr"/>
            <a:lstStyle/>
            <a:p>
              <a:endParaRPr lang="en-GB" dirty="0"/>
            </a:p>
          </p:txBody>
        </p:sp>
        <p:sp>
          <p:nvSpPr>
            <p:cNvPr id="198" name="Freihandform: Form 197">
              <a:extLst>
                <a:ext uri="{FF2B5EF4-FFF2-40B4-BE49-F238E27FC236}">
                  <a16:creationId xmlns:a16="http://schemas.microsoft.com/office/drawing/2014/main" xmlns="" id="{F01A28F5-94DA-4854-B9FE-6DC79CC2CDFE}"/>
                </a:ext>
              </a:extLst>
            </p:cNvPr>
            <p:cNvSpPr/>
            <p:nvPr/>
          </p:nvSpPr>
          <p:spPr>
            <a:xfrm flipV="1">
              <a:off x="5206054" y="5210788"/>
              <a:ext cx="14891" cy="12555"/>
            </a:xfrm>
            <a:custGeom>
              <a:avLst/>
              <a:gdLst>
                <a:gd name="connsiteX0" fmla="*/ 1807 w 14891"/>
                <a:gd name="connsiteY0" fmla="*/ 9605 h 12555"/>
                <a:gd name="connsiteX1" fmla="*/ -2551 w 14891"/>
                <a:gd name="connsiteY1" fmla="*/ 6117 h 12555"/>
                <a:gd name="connsiteX2" fmla="*/ -5602 w 14891"/>
                <a:gd name="connsiteY2" fmla="*/ 2846 h 12555"/>
                <a:gd name="connsiteX3" fmla="*/ -3423 w 14891"/>
                <a:gd name="connsiteY3" fmla="*/ -424 h 12555"/>
                <a:gd name="connsiteX4" fmla="*/ 64 w 14891"/>
                <a:gd name="connsiteY4" fmla="*/ 2846 h 12555"/>
                <a:gd name="connsiteX5" fmla="*/ 5729 w 14891"/>
                <a:gd name="connsiteY5" fmla="*/ 6117 h 12555"/>
                <a:gd name="connsiteX6" fmla="*/ 9216 w 14891"/>
                <a:gd name="connsiteY6" fmla="*/ 8733 h 12555"/>
                <a:gd name="connsiteX7" fmla="*/ 1807 w 14891"/>
                <a:gd name="connsiteY7" fmla="*/ 9605 h 12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891" h="12555">
                  <a:moveTo>
                    <a:pt x="1807" y="9605"/>
                  </a:moveTo>
                  <a:cubicBezTo>
                    <a:pt x="1153" y="7643"/>
                    <a:pt x="-808" y="6117"/>
                    <a:pt x="-2551" y="6117"/>
                  </a:cubicBezTo>
                  <a:cubicBezTo>
                    <a:pt x="-4294" y="6117"/>
                    <a:pt x="-5602" y="4590"/>
                    <a:pt x="-5602" y="2846"/>
                  </a:cubicBezTo>
                  <a:cubicBezTo>
                    <a:pt x="-5602" y="1102"/>
                    <a:pt x="-4512" y="-424"/>
                    <a:pt x="-3423" y="-424"/>
                  </a:cubicBezTo>
                  <a:cubicBezTo>
                    <a:pt x="-2115" y="-424"/>
                    <a:pt x="-590" y="1102"/>
                    <a:pt x="64" y="2846"/>
                  </a:cubicBezTo>
                  <a:cubicBezTo>
                    <a:pt x="935" y="4590"/>
                    <a:pt x="3332" y="6117"/>
                    <a:pt x="5729" y="6117"/>
                  </a:cubicBezTo>
                  <a:cubicBezTo>
                    <a:pt x="8126" y="6117"/>
                    <a:pt x="9652" y="7207"/>
                    <a:pt x="9216" y="8733"/>
                  </a:cubicBezTo>
                  <a:cubicBezTo>
                    <a:pt x="7691" y="12875"/>
                    <a:pt x="3332" y="13311"/>
                    <a:pt x="1807" y="9605"/>
                  </a:cubicBezTo>
                  <a:close/>
                </a:path>
              </a:pathLst>
            </a:custGeom>
            <a:grpFill/>
            <a:ln w="218" cap="flat">
              <a:noFill/>
              <a:prstDash val="solid"/>
              <a:miter/>
            </a:ln>
          </p:spPr>
          <p:txBody>
            <a:bodyPr rtlCol="0" anchor="ctr"/>
            <a:lstStyle/>
            <a:p>
              <a:endParaRPr lang="en-GB" dirty="0"/>
            </a:p>
          </p:txBody>
        </p:sp>
        <p:sp>
          <p:nvSpPr>
            <p:cNvPr id="199" name="Freihandform: Form 198">
              <a:extLst>
                <a:ext uri="{FF2B5EF4-FFF2-40B4-BE49-F238E27FC236}">
                  <a16:creationId xmlns:a16="http://schemas.microsoft.com/office/drawing/2014/main" xmlns="" id="{B1C6C25A-5C6D-4B90-87A2-4E200FF4CCB1}"/>
                </a:ext>
              </a:extLst>
            </p:cNvPr>
            <p:cNvSpPr/>
            <p:nvPr/>
          </p:nvSpPr>
          <p:spPr>
            <a:xfrm flipV="1">
              <a:off x="5299754" y="5215334"/>
              <a:ext cx="4274" cy="5381"/>
            </a:xfrm>
            <a:custGeom>
              <a:avLst/>
              <a:gdLst>
                <a:gd name="connsiteX0" fmla="*/ -4441 w 4274"/>
                <a:gd name="connsiteY0" fmla="*/ 4146 h 5381"/>
                <a:gd name="connsiteX1" fmla="*/ -5967 w 4274"/>
                <a:gd name="connsiteY1" fmla="*/ 440 h 5381"/>
                <a:gd name="connsiteX2" fmla="*/ -3352 w 4274"/>
                <a:gd name="connsiteY2" fmla="*/ 876 h 5381"/>
                <a:gd name="connsiteX3" fmla="*/ -1827 w 4274"/>
                <a:gd name="connsiteY3" fmla="*/ 4582 h 5381"/>
                <a:gd name="connsiteX4" fmla="*/ -4441 w 4274"/>
                <a:gd name="connsiteY4" fmla="*/ 4146 h 5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4" h="5381">
                  <a:moveTo>
                    <a:pt x="-4441" y="4146"/>
                  </a:moveTo>
                  <a:cubicBezTo>
                    <a:pt x="-5313" y="3492"/>
                    <a:pt x="-5967" y="1748"/>
                    <a:pt x="-5967" y="440"/>
                  </a:cubicBezTo>
                  <a:cubicBezTo>
                    <a:pt x="-5967" y="-868"/>
                    <a:pt x="-4877" y="-650"/>
                    <a:pt x="-3352" y="876"/>
                  </a:cubicBezTo>
                  <a:cubicBezTo>
                    <a:pt x="-2044" y="2184"/>
                    <a:pt x="-1391" y="3928"/>
                    <a:pt x="-1827" y="4582"/>
                  </a:cubicBezTo>
                  <a:cubicBezTo>
                    <a:pt x="-2480" y="5236"/>
                    <a:pt x="-3788" y="5018"/>
                    <a:pt x="-4441" y="4146"/>
                  </a:cubicBezTo>
                  <a:close/>
                </a:path>
              </a:pathLst>
            </a:custGeom>
            <a:grpFill/>
            <a:ln w="218" cap="flat">
              <a:noFill/>
              <a:prstDash val="solid"/>
              <a:miter/>
            </a:ln>
          </p:spPr>
          <p:txBody>
            <a:bodyPr rtlCol="0" anchor="ctr"/>
            <a:lstStyle/>
            <a:p>
              <a:endParaRPr lang="en-GB" dirty="0"/>
            </a:p>
          </p:txBody>
        </p:sp>
        <p:sp>
          <p:nvSpPr>
            <p:cNvPr id="200" name="Freihandform: Form 199">
              <a:extLst>
                <a:ext uri="{FF2B5EF4-FFF2-40B4-BE49-F238E27FC236}">
                  <a16:creationId xmlns:a16="http://schemas.microsoft.com/office/drawing/2014/main" xmlns="" id="{B8D1CDCF-8DB0-4B01-BCE2-73A051370795}"/>
                </a:ext>
              </a:extLst>
            </p:cNvPr>
            <p:cNvSpPr/>
            <p:nvPr/>
          </p:nvSpPr>
          <p:spPr>
            <a:xfrm flipV="1">
              <a:off x="4672393" y="5216979"/>
              <a:ext cx="10389" cy="12664"/>
            </a:xfrm>
            <a:custGeom>
              <a:avLst/>
              <a:gdLst>
                <a:gd name="connsiteX0" fmla="*/ -113 w 10389"/>
                <a:gd name="connsiteY0" fmla="*/ 7651 h 12664"/>
                <a:gd name="connsiteX1" fmla="*/ 1412 w 10389"/>
                <a:gd name="connsiteY1" fmla="*/ -198 h 12664"/>
                <a:gd name="connsiteX2" fmla="*/ 6860 w 10389"/>
                <a:gd name="connsiteY2" fmla="*/ 6561 h 12664"/>
                <a:gd name="connsiteX3" fmla="*/ -113 w 10389"/>
                <a:gd name="connsiteY3" fmla="*/ 7651 h 12664"/>
              </a:gdLst>
              <a:ahLst/>
              <a:cxnLst>
                <a:cxn ang="0">
                  <a:pos x="connsiteX0" y="connsiteY0"/>
                </a:cxn>
                <a:cxn ang="0">
                  <a:pos x="connsiteX1" y="connsiteY1"/>
                </a:cxn>
                <a:cxn ang="0">
                  <a:pos x="connsiteX2" y="connsiteY2"/>
                </a:cxn>
                <a:cxn ang="0">
                  <a:pos x="connsiteX3" y="connsiteY3"/>
                </a:cxn>
              </a:cxnLst>
              <a:rect l="l" t="t" r="r" b="b"/>
              <a:pathLst>
                <a:path w="10389" h="12664">
                  <a:moveTo>
                    <a:pt x="-113" y="7651"/>
                  </a:moveTo>
                  <a:cubicBezTo>
                    <a:pt x="-4907" y="892"/>
                    <a:pt x="-4471" y="-1070"/>
                    <a:pt x="1412" y="-198"/>
                  </a:cubicBezTo>
                  <a:cubicBezTo>
                    <a:pt x="4899" y="238"/>
                    <a:pt x="6424" y="2201"/>
                    <a:pt x="6860" y="6561"/>
                  </a:cubicBezTo>
                  <a:cubicBezTo>
                    <a:pt x="7732" y="13755"/>
                    <a:pt x="4463" y="14191"/>
                    <a:pt x="-113" y="7651"/>
                  </a:cubicBezTo>
                  <a:close/>
                </a:path>
              </a:pathLst>
            </a:custGeom>
            <a:grpFill/>
            <a:ln w="218" cap="flat">
              <a:noFill/>
              <a:prstDash val="solid"/>
              <a:miter/>
            </a:ln>
          </p:spPr>
          <p:txBody>
            <a:bodyPr rtlCol="0" anchor="ctr"/>
            <a:lstStyle/>
            <a:p>
              <a:endParaRPr lang="en-GB" dirty="0"/>
            </a:p>
          </p:txBody>
        </p:sp>
        <p:sp>
          <p:nvSpPr>
            <p:cNvPr id="201" name="Freihandform: Form 200">
              <a:extLst>
                <a:ext uri="{FF2B5EF4-FFF2-40B4-BE49-F238E27FC236}">
                  <a16:creationId xmlns:a16="http://schemas.microsoft.com/office/drawing/2014/main" xmlns="" id="{AFED5B51-1BF1-4AAB-B974-0CF48A17B9E7}"/>
                </a:ext>
              </a:extLst>
            </p:cNvPr>
            <p:cNvSpPr/>
            <p:nvPr/>
          </p:nvSpPr>
          <p:spPr>
            <a:xfrm flipV="1">
              <a:off x="4752927" y="5216804"/>
              <a:ext cx="19491" cy="19520"/>
            </a:xfrm>
            <a:custGeom>
              <a:avLst/>
              <a:gdLst>
                <a:gd name="connsiteX0" fmla="*/ -1681 w 19491"/>
                <a:gd name="connsiteY0" fmla="*/ 16529 h 19520"/>
                <a:gd name="connsiteX1" fmla="*/ -3206 w 19491"/>
                <a:gd name="connsiteY1" fmla="*/ 8463 h 19520"/>
                <a:gd name="connsiteX2" fmla="*/ 934 w 19491"/>
                <a:gd name="connsiteY2" fmla="*/ 4538 h 19520"/>
                <a:gd name="connsiteX3" fmla="*/ 7907 w 19491"/>
                <a:gd name="connsiteY3" fmla="*/ 2794 h 19520"/>
                <a:gd name="connsiteX4" fmla="*/ 15752 w 19491"/>
                <a:gd name="connsiteY4" fmla="*/ 2358 h 19520"/>
                <a:gd name="connsiteX5" fmla="*/ -156 w 19491"/>
                <a:gd name="connsiteY5" fmla="*/ 19145 h 19520"/>
                <a:gd name="connsiteX6" fmla="*/ -1681 w 19491"/>
                <a:gd name="connsiteY6" fmla="*/ 16529 h 19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91" h="19520">
                  <a:moveTo>
                    <a:pt x="-1681" y="16529"/>
                  </a:moveTo>
                  <a:cubicBezTo>
                    <a:pt x="-1681" y="15003"/>
                    <a:pt x="-2335" y="11297"/>
                    <a:pt x="-3206" y="8463"/>
                  </a:cubicBezTo>
                  <a:cubicBezTo>
                    <a:pt x="-4296" y="3666"/>
                    <a:pt x="-4078" y="3448"/>
                    <a:pt x="934" y="4538"/>
                  </a:cubicBezTo>
                  <a:cubicBezTo>
                    <a:pt x="4856" y="5629"/>
                    <a:pt x="7035" y="4974"/>
                    <a:pt x="7907" y="2794"/>
                  </a:cubicBezTo>
                  <a:cubicBezTo>
                    <a:pt x="9432" y="-1130"/>
                    <a:pt x="15752" y="-1566"/>
                    <a:pt x="15752" y="2358"/>
                  </a:cubicBezTo>
                  <a:cubicBezTo>
                    <a:pt x="15752" y="5193"/>
                    <a:pt x="2677" y="19145"/>
                    <a:pt x="-156" y="19145"/>
                  </a:cubicBezTo>
                  <a:cubicBezTo>
                    <a:pt x="-1027" y="19145"/>
                    <a:pt x="-1681" y="17837"/>
                    <a:pt x="-1681" y="16529"/>
                  </a:cubicBezTo>
                  <a:close/>
                </a:path>
              </a:pathLst>
            </a:custGeom>
            <a:grpFill/>
            <a:ln w="218" cap="flat">
              <a:noFill/>
              <a:prstDash val="solid"/>
              <a:miter/>
            </a:ln>
          </p:spPr>
          <p:txBody>
            <a:bodyPr rtlCol="0" anchor="ctr"/>
            <a:lstStyle/>
            <a:p>
              <a:endParaRPr lang="en-GB" dirty="0"/>
            </a:p>
          </p:txBody>
        </p:sp>
        <p:sp>
          <p:nvSpPr>
            <p:cNvPr id="202" name="Freihandform: Form 201">
              <a:extLst>
                <a:ext uri="{FF2B5EF4-FFF2-40B4-BE49-F238E27FC236}">
                  <a16:creationId xmlns:a16="http://schemas.microsoft.com/office/drawing/2014/main" xmlns="" id="{CA7B8A5A-41C8-45D9-AD77-6F61F320A75D}"/>
                </a:ext>
              </a:extLst>
            </p:cNvPr>
            <p:cNvSpPr/>
            <p:nvPr/>
          </p:nvSpPr>
          <p:spPr>
            <a:xfrm flipV="1">
              <a:off x="5002298" y="5216770"/>
              <a:ext cx="9173" cy="15294"/>
            </a:xfrm>
            <a:custGeom>
              <a:avLst/>
              <a:gdLst>
                <a:gd name="connsiteX0" fmla="*/ -4518 w 9173"/>
                <a:gd name="connsiteY0" fmla="*/ 12912 h 15294"/>
                <a:gd name="connsiteX1" fmla="*/ 930 w 9173"/>
                <a:gd name="connsiteY1" fmla="*/ -387 h 15294"/>
                <a:gd name="connsiteX2" fmla="*/ 3981 w 9173"/>
                <a:gd name="connsiteY2" fmla="*/ 10732 h 15294"/>
                <a:gd name="connsiteX3" fmla="*/ -4518 w 9173"/>
                <a:gd name="connsiteY3" fmla="*/ 12912 h 15294"/>
              </a:gdLst>
              <a:ahLst/>
              <a:cxnLst>
                <a:cxn ang="0">
                  <a:pos x="connsiteX0" y="connsiteY0"/>
                </a:cxn>
                <a:cxn ang="0">
                  <a:pos x="connsiteX1" y="connsiteY1"/>
                </a:cxn>
                <a:cxn ang="0">
                  <a:pos x="connsiteX2" y="connsiteY2"/>
                </a:cxn>
                <a:cxn ang="0">
                  <a:pos x="connsiteX3" y="connsiteY3"/>
                </a:cxn>
              </a:cxnLst>
              <a:rect l="l" t="t" r="r" b="b"/>
              <a:pathLst>
                <a:path w="9173" h="15294">
                  <a:moveTo>
                    <a:pt x="-4518" y="12912"/>
                  </a:moveTo>
                  <a:cubicBezTo>
                    <a:pt x="-5825" y="10950"/>
                    <a:pt x="-1249" y="-387"/>
                    <a:pt x="930" y="-387"/>
                  </a:cubicBezTo>
                  <a:cubicBezTo>
                    <a:pt x="3545" y="-387"/>
                    <a:pt x="5288" y="6590"/>
                    <a:pt x="3981" y="10732"/>
                  </a:cubicBezTo>
                  <a:cubicBezTo>
                    <a:pt x="2455" y="15092"/>
                    <a:pt x="-2556" y="16400"/>
                    <a:pt x="-4518" y="12912"/>
                  </a:cubicBezTo>
                  <a:close/>
                </a:path>
              </a:pathLst>
            </a:custGeom>
            <a:grpFill/>
            <a:ln w="218" cap="flat">
              <a:noFill/>
              <a:prstDash val="solid"/>
              <a:miter/>
            </a:ln>
          </p:spPr>
          <p:txBody>
            <a:bodyPr rtlCol="0" anchor="ctr"/>
            <a:lstStyle/>
            <a:p>
              <a:endParaRPr lang="en-GB" dirty="0"/>
            </a:p>
          </p:txBody>
        </p:sp>
        <p:sp>
          <p:nvSpPr>
            <p:cNvPr id="203" name="Freihandform: Form 202">
              <a:extLst>
                <a:ext uri="{FF2B5EF4-FFF2-40B4-BE49-F238E27FC236}">
                  <a16:creationId xmlns:a16="http://schemas.microsoft.com/office/drawing/2014/main" xmlns="" id="{E44E31C6-9FAA-4861-B808-B74E41C902D6}"/>
                </a:ext>
              </a:extLst>
            </p:cNvPr>
            <p:cNvSpPr/>
            <p:nvPr/>
          </p:nvSpPr>
          <p:spPr>
            <a:xfrm flipV="1">
              <a:off x="5171457" y="5216885"/>
              <a:ext cx="7573" cy="6275"/>
            </a:xfrm>
            <a:custGeom>
              <a:avLst/>
              <a:gdLst>
                <a:gd name="connsiteX0" fmla="*/ -4622 w 7573"/>
                <a:gd name="connsiteY0" fmla="*/ 3550 h 6275"/>
                <a:gd name="connsiteX1" fmla="*/ -264 w 7573"/>
                <a:gd name="connsiteY1" fmla="*/ 280 h 6275"/>
                <a:gd name="connsiteX2" fmla="*/ 1915 w 7573"/>
                <a:gd name="connsiteY2" fmla="*/ 3768 h 6275"/>
                <a:gd name="connsiteX3" fmla="*/ -4622 w 7573"/>
                <a:gd name="connsiteY3" fmla="*/ 3550 h 6275"/>
              </a:gdLst>
              <a:ahLst/>
              <a:cxnLst>
                <a:cxn ang="0">
                  <a:pos x="connsiteX0" y="connsiteY0"/>
                </a:cxn>
                <a:cxn ang="0">
                  <a:pos x="connsiteX1" y="connsiteY1"/>
                </a:cxn>
                <a:cxn ang="0">
                  <a:pos x="connsiteX2" y="connsiteY2"/>
                </a:cxn>
                <a:cxn ang="0">
                  <a:pos x="connsiteX3" y="connsiteY3"/>
                </a:cxn>
              </a:cxnLst>
              <a:rect l="l" t="t" r="r" b="b"/>
              <a:pathLst>
                <a:path w="7573" h="6275">
                  <a:moveTo>
                    <a:pt x="-4622" y="3550"/>
                  </a:moveTo>
                  <a:cubicBezTo>
                    <a:pt x="-6801" y="280"/>
                    <a:pt x="-4404" y="-1464"/>
                    <a:pt x="-264" y="280"/>
                  </a:cubicBezTo>
                  <a:cubicBezTo>
                    <a:pt x="1697" y="934"/>
                    <a:pt x="2569" y="2460"/>
                    <a:pt x="1915" y="3768"/>
                  </a:cubicBezTo>
                  <a:cubicBezTo>
                    <a:pt x="172" y="6602"/>
                    <a:pt x="-2879" y="6602"/>
                    <a:pt x="-4622" y="3550"/>
                  </a:cubicBezTo>
                  <a:close/>
                </a:path>
              </a:pathLst>
            </a:custGeom>
            <a:grpFill/>
            <a:ln w="218" cap="flat">
              <a:noFill/>
              <a:prstDash val="solid"/>
              <a:miter/>
            </a:ln>
          </p:spPr>
          <p:txBody>
            <a:bodyPr rtlCol="0" anchor="ctr"/>
            <a:lstStyle/>
            <a:p>
              <a:endParaRPr lang="en-GB" dirty="0"/>
            </a:p>
          </p:txBody>
        </p:sp>
        <p:sp>
          <p:nvSpPr>
            <p:cNvPr id="204" name="Freihandform: Form 203">
              <a:extLst>
                <a:ext uri="{FF2B5EF4-FFF2-40B4-BE49-F238E27FC236}">
                  <a16:creationId xmlns:a16="http://schemas.microsoft.com/office/drawing/2014/main" xmlns="" id="{8E16F161-EA96-4DC0-802C-5D6C07762101}"/>
                </a:ext>
              </a:extLst>
            </p:cNvPr>
            <p:cNvSpPr/>
            <p:nvPr/>
          </p:nvSpPr>
          <p:spPr>
            <a:xfrm flipV="1">
              <a:off x="5055854" y="5225524"/>
              <a:ext cx="12851" cy="21855"/>
            </a:xfrm>
            <a:custGeom>
              <a:avLst/>
              <a:gdLst>
                <a:gd name="connsiteX0" fmla="*/ -1210 w 12851"/>
                <a:gd name="connsiteY0" fmla="*/ 19131 h 21855"/>
                <a:gd name="connsiteX1" fmla="*/ -1864 w 12851"/>
                <a:gd name="connsiteY1" fmla="*/ 2781 h 21855"/>
                <a:gd name="connsiteX2" fmla="*/ 4673 w 12851"/>
                <a:gd name="connsiteY2" fmla="*/ 2781 h 21855"/>
                <a:gd name="connsiteX3" fmla="*/ 5327 w 12851"/>
                <a:gd name="connsiteY3" fmla="*/ 21529 h 21855"/>
                <a:gd name="connsiteX4" fmla="*/ -1210 w 12851"/>
                <a:gd name="connsiteY4" fmla="*/ 19131 h 218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51" h="21855">
                  <a:moveTo>
                    <a:pt x="-1210" y="19131"/>
                  </a:moveTo>
                  <a:cubicBezTo>
                    <a:pt x="-6004" y="16515"/>
                    <a:pt x="-6222" y="8667"/>
                    <a:pt x="-1864" y="2781"/>
                  </a:cubicBezTo>
                  <a:cubicBezTo>
                    <a:pt x="1404" y="-1361"/>
                    <a:pt x="1404" y="-1361"/>
                    <a:pt x="4673" y="2781"/>
                  </a:cubicBezTo>
                  <a:cubicBezTo>
                    <a:pt x="8595" y="8013"/>
                    <a:pt x="9031" y="21529"/>
                    <a:pt x="5327" y="21529"/>
                  </a:cubicBezTo>
                  <a:cubicBezTo>
                    <a:pt x="3801" y="21529"/>
                    <a:pt x="751" y="20439"/>
                    <a:pt x="-1210" y="19131"/>
                  </a:cubicBezTo>
                  <a:close/>
                </a:path>
              </a:pathLst>
            </a:custGeom>
            <a:grpFill/>
            <a:ln w="218" cap="flat">
              <a:noFill/>
              <a:prstDash val="solid"/>
              <a:miter/>
            </a:ln>
          </p:spPr>
          <p:txBody>
            <a:bodyPr rtlCol="0" anchor="ctr"/>
            <a:lstStyle/>
            <a:p>
              <a:endParaRPr lang="en-GB" dirty="0"/>
            </a:p>
          </p:txBody>
        </p:sp>
        <p:sp>
          <p:nvSpPr>
            <p:cNvPr id="205" name="Freihandform: Form 204">
              <a:extLst>
                <a:ext uri="{FF2B5EF4-FFF2-40B4-BE49-F238E27FC236}">
                  <a16:creationId xmlns:a16="http://schemas.microsoft.com/office/drawing/2014/main" xmlns="" id="{A303754B-F142-47ED-A967-8D8D79C9DF79}"/>
                </a:ext>
              </a:extLst>
            </p:cNvPr>
            <p:cNvSpPr/>
            <p:nvPr/>
          </p:nvSpPr>
          <p:spPr>
            <a:xfrm flipV="1">
              <a:off x="4683077" y="5232064"/>
              <a:ext cx="6537" cy="4360"/>
            </a:xfrm>
            <a:custGeom>
              <a:avLst/>
              <a:gdLst>
                <a:gd name="connsiteX0" fmla="*/ -3425 w 6537"/>
                <a:gd name="connsiteY0" fmla="*/ 1843 h 4360"/>
                <a:gd name="connsiteX1" fmla="*/ -156 w 6537"/>
                <a:gd name="connsiteY1" fmla="*/ -337 h 4360"/>
                <a:gd name="connsiteX2" fmla="*/ 3113 w 6537"/>
                <a:gd name="connsiteY2" fmla="*/ 1843 h 4360"/>
                <a:gd name="connsiteX3" fmla="*/ -156 w 6537"/>
                <a:gd name="connsiteY3" fmla="*/ 4023 h 4360"/>
                <a:gd name="connsiteX4" fmla="*/ -3425 w 6537"/>
                <a:gd name="connsiteY4" fmla="*/ 1843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7" h="4360">
                  <a:moveTo>
                    <a:pt x="-3425" y="1843"/>
                  </a:moveTo>
                  <a:cubicBezTo>
                    <a:pt x="-3425" y="753"/>
                    <a:pt x="-1899" y="-337"/>
                    <a:pt x="-156" y="-337"/>
                  </a:cubicBezTo>
                  <a:cubicBezTo>
                    <a:pt x="1587" y="-337"/>
                    <a:pt x="3113" y="753"/>
                    <a:pt x="3113" y="1843"/>
                  </a:cubicBezTo>
                  <a:cubicBezTo>
                    <a:pt x="3113" y="3151"/>
                    <a:pt x="1587" y="4023"/>
                    <a:pt x="-156" y="4023"/>
                  </a:cubicBezTo>
                  <a:cubicBezTo>
                    <a:pt x="-1899" y="4023"/>
                    <a:pt x="-3425" y="3151"/>
                    <a:pt x="-3425" y="1843"/>
                  </a:cubicBezTo>
                  <a:close/>
                </a:path>
              </a:pathLst>
            </a:custGeom>
            <a:grpFill/>
            <a:ln w="218" cap="flat">
              <a:noFill/>
              <a:prstDash val="solid"/>
              <a:miter/>
            </a:ln>
          </p:spPr>
          <p:txBody>
            <a:bodyPr rtlCol="0" anchor="ctr"/>
            <a:lstStyle/>
            <a:p>
              <a:endParaRPr lang="en-GB" dirty="0"/>
            </a:p>
          </p:txBody>
        </p:sp>
        <p:sp>
          <p:nvSpPr>
            <p:cNvPr id="206" name="Freihandform: Form 205">
              <a:extLst>
                <a:ext uri="{FF2B5EF4-FFF2-40B4-BE49-F238E27FC236}">
                  <a16:creationId xmlns:a16="http://schemas.microsoft.com/office/drawing/2014/main" xmlns="" id="{18039B65-95A6-4BA9-9953-1F04A0403628}"/>
                </a:ext>
              </a:extLst>
            </p:cNvPr>
            <p:cNvSpPr/>
            <p:nvPr/>
          </p:nvSpPr>
          <p:spPr>
            <a:xfrm flipV="1">
              <a:off x="5041267" y="5238925"/>
              <a:ext cx="59020" cy="68542"/>
            </a:xfrm>
            <a:custGeom>
              <a:avLst/>
              <a:gdLst>
                <a:gd name="connsiteX0" fmla="*/ 30338 w 59020"/>
                <a:gd name="connsiteY0" fmla="*/ 61310 h 68542"/>
                <a:gd name="connsiteX1" fmla="*/ 18789 w 59020"/>
                <a:gd name="connsiteY1" fmla="*/ 53026 h 68542"/>
                <a:gd name="connsiteX2" fmla="*/ 17045 w 59020"/>
                <a:gd name="connsiteY2" fmla="*/ 42561 h 68542"/>
                <a:gd name="connsiteX3" fmla="*/ 22493 w 59020"/>
                <a:gd name="connsiteY3" fmla="*/ 28391 h 68542"/>
                <a:gd name="connsiteX4" fmla="*/ 20314 w 59020"/>
                <a:gd name="connsiteY4" fmla="*/ 19452 h 68542"/>
                <a:gd name="connsiteX5" fmla="*/ 15520 w 59020"/>
                <a:gd name="connsiteY5" fmla="*/ 13130 h 68542"/>
                <a:gd name="connsiteX6" fmla="*/ 3753 w 59020"/>
                <a:gd name="connsiteY6" fmla="*/ 21197 h 68542"/>
                <a:gd name="connsiteX7" fmla="*/ -2131 w 59020"/>
                <a:gd name="connsiteY7" fmla="*/ 17054 h 68542"/>
                <a:gd name="connsiteX8" fmla="*/ 1356 w 59020"/>
                <a:gd name="connsiteY8" fmla="*/ 10514 h 68542"/>
                <a:gd name="connsiteX9" fmla="*/ 702 w 59020"/>
                <a:gd name="connsiteY9" fmla="*/ 6372 h 68542"/>
                <a:gd name="connsiteX10" fmla="*/ 4189 w 59020"/>
                <a:gd name="connsiteY10" fmla="*/ 4192 h 68542"/>
                <a:gd name="connsiteX11" fmla="*/ 14212 w 59020"/>
                <a:gd name="connsiteY11" fmla="*/ 2012 h 68542"/>
                <a:gd name="connsiteX12" fmla="*/ 33606 w 59020"/>
                <a:gd name="connsiteY12" fmla="*/ 3756 h 68542"/>
                <a:gd name="connsiteX13" fmla="*/ 32299 w 59020"/>
                <a:gd name="connsiteY13" fmla="*/ 14438 h 68542"/>
                <a:gd name="connsiteX14" fmla="*/ 32735 w 59020"/>
                <a:gd name="connsiteY14" fmla="*/ 31661 h 68542"/>
                <a:gd name="connsiteX15" fmla="*/ 38618 w 59020"/>
                <a:gd name="connsiteY15" fmla="*/ 28391 h 68542"/>
                <a:gd name="connsiteX16" fmla="*/ 42758 w 59020"/>
                <a:gd name="connsiteY16" fmla="*/ 20106 h 68542"/>
                <a:gd name="connsiteX17" fmla="*/ 44502 w 59020"/>
                <a:gd name="connsiteY17" fmla="*/ 19670 h 68542"/>
                <a:gd name="connsiteX18" fmla="*/ 51257 w 59020"/>
                <a:gd name="connsiteY18" fmla="*/ 28609 h 68542"/>
                <a:gd name="connsiteX19" fmla="*/ 48642 w 59020"/>
                <a:gd name="connsiteY19" fmla="*/ 40381 h 68542"/>
                <a:gd name="connsiteX20" fmla="*/ 46027 w 59020"/>
                <a:gd name="connsiteY20" fmla="*/ 50192 h 68542"/>
                <a:gd name="connsiteX21" fmla="*/ 43194 w 59020"/>
                <a:gd name="connsiteY21" fmla="*/ 64362 h 68542"/>
                <a:gd name="connsiteX22" fmla="*/ 30338 w 59020"/>
                <a:gd name="connsiteY22" fmla="*/ 61310 h 68542"/>
                <a:gd name="connsiteX23" fmla="*/ 42105 w 59020"/>
                <a:gd name="connsiteY23" fmla="*/ 53244 h 68542"/>
                <a:gd name="connsiteX24" fmla="*/ 29684 w 59020"/>
                <a:gd name="connsiteY24" fmla="*/ 45613 h 68542"/>
                <a:gd name="connsiteX25" fmla="*/ 31209 w 59020"/>
                <a:gd name="connsiteY25" fmla="*/ 53244 h 68542"/>
                <a:gd name="connsiteX26" fmla="*/ 37964 w 59020"/>
                <a:gd name="connsiteY26" fmla="*/ 57168 h 68542"/>
                <a:gd name="connsiteX27" fmla="*/ 42105 w 59020"/>
                <a:gd name="connsiteY27" fmla="*/ 53244 h 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020" h="68542">
                  <a:moveTo>
                    <a:pt x="30338" y="61310"/>
                  </a:moveTo>
                  <a:cubicBezTo>
                    <a:pt x="27287" y="54988"/>
                    <a:pt x="25544" y="53680"/>
                    <a:pt x="18789" y="53026"/>
                  </a:cubicBezTo>
                  <a:cubicBezTo>
                    <a:pt x="8111" y="52154"/>
                    <a:pt x="7457" y="48447"/>
                    <a:pt x="17045" y="42561"/>
                  </a:cubicBezTo>
                  <a:cubicBezTo>
                    <a:pt x="24454" y="37983"/>
                    <a:pt x="27069" y="31225"/>
                    <a:pt x="22493" y="28391"/>
                  </a:cubicBezTo>
                  <a:cubicBezTo>
                    <a:pt x="21403" y="27737"/>
                    <a:pt x="20314" y="23595"/>
                    <a:pt x="20314" y="19452"/>
                  </a:cubicBezTo>
                  <a:cubicBezTo>
                    <a:pt x="20314" y="12476"/>
                    <a:pt x="19878" y="11822"/>
                    <a:pt x="15520" y="13130"/>
                  </a:cubicBezTo>
                  <a:cubicBezTo>
                    <a:pt x="12687" y="14002"/>
                    <a:pt x="7457" y="17708"/>
                    <a:pt x="3753" y="21197"/>
                  </a:cubicBezTo>
                  <a:cubicBezTo>
                    <a:pt x="-4310" y="28827"/>
                    <a:pt x="-8014" y="26211"/>
                    <a:pt x="-2131" y="17054"/>
                  </a:cubicBezTo>
                  <a:cubicBezTo>
                    <a:pt x="49" y="13784"/>
                    <a:pt x="1574" y="10950"/>
                    <a:pt x="1356" y="10514"/>
                  </a:cubicBezTo>
                  <a:cubicBezTo>
                    <a:pt x="920" y="10078"/>
                    <a:pt x="702" y="8334"/>
                    <a:pt x="702" y="6372"/>
                  </a:cubicBezTo>
                  <a:cubicBezTo>
                    <a:pt x="702" y="3974"/>
                    <a:pt x="1792" y="3320"/>
                    <a:pt x="4189" y="4192"/>
                  </a:cubicBezTo>
                  <a:cubicBezTo>
                    <a:pt x="5932" y="4846"/>
                    <a:pt x="10508" y="3974"/>
                    <a:pt x="14212" y="2012"/>
                  </a:cubicBezTo>
                  <a:cubicBezTo>
                    <a:pt x="20968" y="-1476"/>
                    <a:pt x="30991" y="-604"/>
                    <a:pt x="33606" y="3756"/>
                  </a:cubicBezTo>
                  <a:cubicBezTo>
                    <a:pt x="34478" y="5064"/>
                    <a:pt x="33824" y="9860"/>
                    <a:pt x="32299" y="14438"/>
                  </a:cubicBezTo>
                  <a:cubicBezTo>
                    <a:pt x="29684" y="21633"/>
                    <a:pt x="29902" y="31661"/>
                    <a:pt x="32735" y="31661"/>
                  </a:cubicBezTo>
                  <a:cubicBezTo>
                    <a:pt x="33170" y="31661"/>
                    <a:pt x="35785" y="30135"/>
                    <a:pt x="38618" y="28391"/>
                  </a:cubicBezTo>
                  <a:cubicBezTo>
                    <a:pt x="42323" y="25993"/>
                    <a:pt x="43412" y="23377"/>
                    <a:pt x="42758" y="20106"/>
                  </a:cubicBezTo>
                  <a:cubicBezTo>
                    <a:pt x="41887" y="15528"/>
                    <a:pt x="41887" y="15528"/>
                    <a:pt x="44502" y="19670"/>
                  </a:cubicBezTo>
                  <a:cubicBezTo>
                    <a:pt x="45809" y="22069"/>
                    <a:pt x="48860" y="25993"/>
                    <a:pt x="51257" y="28609"/>
                  </a:cubicBezTo>
                  <a:cubicBezTo>
                    <a:pt x="55833" y="33841"/>
                    <a:pt x="54525" y="40381"/>
                    <a:pt x="48642" y="40381"/>
                  </a:cubicBezTo>
                  <a:cubicBezTo>
                    <a:pt x="45373" y="40381"/>
                    <a:pt x="44937" y="41907"/>
                    <a:pt x="46027" y="50192"/>
                  </a:cubicBezTo>
                  <a:cubicBezTo>
                    <a:pt x="46681" y="57822"/>
                    <a:pt x="46027" y="61092"/>
                    <a:pt x="43194" y="64362"/>
                  </a:cubicBezTo>
                  <a:cubicBezTo>
                    <a:pt x="37529" y="70466"/>
                    <a:pt x="34478" y="69812"/>
                    <a:pt x="30338" y="61310"/>
                  </a:cubicBezTo>
                  <a:close/>
                  <a:moveTo>
                    <a:pt x="42105" y="53244"/>
                  </a:moveTo>
                  <a:cubicBezTo>
                    <a:pt x="42105" y="51064"/>
                    <a:pt x="30991" y="44305"/>
                    <a:pt x="29684" y="45613"/>
                  </a:cubicBezTo>
                  <a:cubicBezTo>
                    <a:pt x="29030" y="46267"/>
                    <a:pt x="29684" y="49756"/>
                    <a:pt x="31209" y="53244"/>
                  </a:cubicBezTo>
                  <a:cubicBezTo>
                    <a:pt x="33388" y="58912"/>
                    <a:pt x="34260" y="59348"/>
                    <a:pt x="37964" y="57168"/>
                  </a:cubicBezTo>
                  <a:cubicBezTo>
                    <a:pt x="40143" y="55860"/>
                    <a:pt x="42105" y="53898"/>
                    <a:pt x="42105" y="53244"/>
                  </a:cubicBezTo>
                  <a:close/>
                </a:path>
              </a:pathLst>
            </a:custGeom>
            <a:grpFill/>
            <a:ln w="218" cap="flat">
              <a:noFill/>
              <a:prstDash val="solid"/>
              <a:miter/>
            </a:ln>
          </p:spPr>
          <p:txBody>
            <a:bodyPr rtlCol="0" anchor="ctr"/>
            <a:lstStyle/>
            <a:p>
              <a:endParaRPr lang="en-GB" dirty="0"/>
            </a:p>
          </p:txBody>
        </p:sp>
        <p:sp>
          <p:nvSpPr>
            <p:cNvPr id="207" name="Freihandform: Form 206">
              <a:extLst>
                <a:ext uri="{FF2B5EF4-FFF2-40B4-BE49-F238E27FC236}">
                  <a16:creationId xmlns:a16="http://schemas.microsoft.com/office/drawing/2014/main" xmlns="" id="{07D9EC82-782C-47BC-8522-066791D10FCE}"/>
                </a:ext>
              </a:extLst>
            </p:cNvPr>
            <p:cNvSpPr/>
            <p:nvPr/>
          </p:nvSpPr>
          <p:spPr>
            <a:xfrm flipV="1">
              <a:off x="4800857" y="5247782"/>
              <a:ext cx="15142" cy="20293"/>
            </a:xfrm>
            <a:custGeom>
              <a:avLst/>
              <a:gdLst>
                <a:gd name="connsiteX0" fmla="*/ 2062 w 15142"/>
                <a:gd name="connsiteY0" fmla="*/ 15519 h 20293"/>
                <a:gd name="connsiteX1" fmla="*/ 754 w 15142"/>
                <a:gd name="connsiteY1" fmla="*/ 258 h 20293"/>
                <a:gd name="connsiteX2" fmla="*/ 11214 w 15142"/>
                <a:gd name="connsiteY2" fmla="*/ 12031 h 20293"/>
                <a:gd name="connsiteX3" fmla="*/ 2062 w 15142"/>
                <a:gd name="connsiteY3" fmla="*/ 15519 h 20293"/>
              </a:gdLst>
              <a:ahLst/>
              <a:cxnLst>
                <a:cxn ang="0">
                  <a:pos x="connsiteX0" y="connsiteY0"/>
                </a:cxn>
                <a:cxn ang="0">
                  <a:pos x="connsiteX1" y="connsiteY1"/>
                </a:cxn>
                <a:cxn ang="0">
                  <a:pos x="connsiteX2" y="connsiteY2"/>
                </a:cxn>
                <a:cxn ang="0">
                  <a:pos x="connsiteX3" y="connsiteY3"/>
                </a:cxn>
              </a:cxnLst>
              <a:rect l="l" t="t" r="r" b="b"/>
              <a:pathLst>
                <a:path w="15142" h="20293">
                  <a:moveTo>
                    <a:pt x="2062" y="15519"/>
                  </a:moveTo>
                  <a:cubicBezTo>
                    <a:pt x="-5347" y="9415"/>
                    <a:pt x="-6001" y="2002"/>
                    <a:pt x="754" y="258"/>
                  </a:cubicBezTo>
                  <a:cubicBezTo>
                    <a:pt x="7728" y="-1704"/>
                    <a:pt x="11214" y="2438"/>
                    <a:pt x="11214" y="12031"/>
                  </a:cubicBezTo>
                  <a:cubicBezTo>
                    <a:pt x="11214" y="21841"/>
                    <a:pt x="10124" y="22277"/>
                    <a:pt x="2062" y="15519"/>
                  </a:cubicBezTo>
                  <a:close/>
                </a:path>
              </a:pathLst>
            </a:custGeom>
            <a:grpFill/>
            <a:ln w="218" cap="flat">
              <a:noFill/>
              <a:prstDash val="solid"/>
              <a:miter/>
            </a:ln>
          </p:spPr>
          <p:txBody>
            <a:bodyPr rtlCol="0" anchor="ctr"/>
            <a:lstStyle/>
            <a:p>
              <a:endParaRPr lang="en-GB" dirty="0"/>
            </a:p>
          </p:txBody>
        </p:sp>
        <p:sp>
          <p:nvSpPr>
            <p:cNvPr id="208" name="Freihandform: Form 207">
              <a:extLst>
                <a:ext uri="{FF2B5EF4-FFF2-40B4-BE49-F238E27FC236}">
                  <a16:creationId xmlns:a16="http://schemas.microsoft.com/office/drawing/2014/main" xmlns="" id="{E4F0B24B-C153-40B6-94EB-8573750B6717}"/>
                </a:ext>
              </a:extLst>
            </p:cNvPr>
            <p:cNvSpPr/>
            <p:nvPr/>
          </p:nvSpPr>
          <p:spPr>
            <a:xfrm flipV="1">
              <a:off x="4857821" y="5260860"/>
              <a:ext cx="10123" cy="10073"/>
            </a:xfrm>
            <a:custGeom>
              <a:avLst/>
              <a:gdLst>
                <a:gd name="connsiteX0" fmla="*/ -3700 w 10123"/>
                <a:gd name="connsiteY0" fmla="*/ 7081 h 10073"/>
                <a:gd name="connsiteX1" fmla="*/ -2829 w 10123"/>
                <a:gd name="connsiteY1" fmla="*/ 1195 h 10073"/>
                <a:gd name="connsiteX2" fmla="*/ 5888 w 10123"/>
                <a:gd name="connsiteY2" fmla="*/ 5337 h 10073"/>
                <a:gd name="connsiteX3" fmla="*/ -3700 w 10123"/>
                <a:gd name="connsiteY3" fmla="*/ 7081 h 10073"/>
              </a:gdLst>
              <a:ahLst/>
              <a:cxnLst>
                <a:cxn ang="0">
                  <a:pos x="connsiteX0" y="connsiteY0"/>
                </a:cxn>
                <a:cxn ang="0">
                  <a:pos x="connsiteX1" y="connsiteY1"/>
                </a:cxn>
                <a:cxn ang="0">
                  <a:pos x="connsiteX2" y="connsiteY2"/>
                </a:cxn>
                <a:cxn ang="0">
                  <a:pos x="connsiteX3" y="connsiteY3"/>
                </a:cxn>
              </a:cxnLst>
              <a:rect l="l" t="t" r="r" b="b"/>
              <a:pathLst>
                <a:path w="10123" h="10073">
                  <a:moveTo>
                    <a:pt x="-3700" y="7081"/>
                  </a:moveTo>
                  <a:cubicBezTo>
                    <a:pt x="-4572" y="5119"/>
                    <a:pt x="-4136" y="2503"/>
                    <a:pt x="-2829" y="1195"/>
                  </a:cubicBezTo>
                  <a:cubicBezTo>
                    <a:pt x="440" y="-2075"/>
                    <a:pt x="6759" y="977"/>
                    <a:pt x="5888" y="5337"/>
                  </a:cubicBezTo>
                  <a:cubicBezTo>
                    <a:pt x="5016" y="10351"/>
                    <a:pt x="-1957" y="11659"/>
                    <a:pt x="-3700" y="7081"/>
                  </a:cubicBezTo>
                  <a:close/>
                </a:path>
              </a:pathLst>
            </a:custGeom>
            <a:grpFill/>
            <a:ln w="218" cap="flat">
              <a:noFill/>
              <a:prstDash val="solid"/>
              <a:miter/>
            </a:ln>
          </p:spPr>
          <p:txBody>
            <a:bodyPr rtlCol="0" anchor="ctr"/>
            <a:lstStyle/>
            <a:p>
              <a:endParaRPr lang="en-GB" dirty="0"/>
            </a:p>
          </p:txBody>
        </p:sp>
        <p:sp>
          <p:nvSpPr>
            <p:cNvPr id="209" name="Freihandform: Form 208">
              <a:extLst>
                <a:ext uri="{FF2B5EF4-FFF2-40B4-BE49-F238E27FC236}">
                  <a16:creationId xmlns:a16="http://schemas.microsoft.com/office/drawing/2014/main" xmlns="" id="{0F0EDFED-E4B5-4FCE-BCDD-94505B3F5D78}"/>
                </a:ext>
              </a:extLst>
            </p:cNvPr>
            <p:cNvSpPr/>
            <p:nvPr/>
          </p:nvSpPr>
          <p:spPr>
            <a:xfrm flipV="1">
              <a:off x="5058313" y="5263217"/>
              <a:ext cx="174844" cy="133674"/>
            </a:xfrm>
            <a:custGeom>
              <a:avLst/>
              <a:gdLst>
                <a:gd name="connsiteX0" fmla="*/ 151136 w 174844"/>
                <a:gd name="connsiteY0" fmla="*/ 129439 h 133674"/>
                <a:gd name="connsiteX1" fmla="*/ 145688 w 174844"/>
                <a:gd name="connsiteY1" fmla="*/ 122681 h 133674"/>
                <a:gd name="connsiteX2" fmla="*/ 140676 w 174844"/>
                <a:gd name="connsiteY2" fmla="*/ 113088 h 133674"/>
                <a:gd name="connsiteX3" fmla="*/ 134793 w 174844"/>
                <a:gd name="connsiteY3" fmla="*/ 105022 h 133674"/>
                <a:gd name="connsiteX4" fmla="*/ 128909 w 174844"/>
                <a:gd name="connsiteY4" fmla="*/ 102406 h 133674"/>
                <a:gd name="connsiteX5" fmla="*/ 129999 w 174844"/>
                <a:gd name="connsiteY5" fmla="*/ 96956 h 133674"/>
                <a:gd name="connsiteX6" fmla="*/ 125640 w 174844"/>
                <a:gd name="connsiteY6" fmla="*/ 94776 h 133674"/>
                <a:gd name="connsiteX7" fmla="*/ 120193 w 174844"/>
                <a:gd name="connsiteY7" fmla="*/ 88235 h 133674"/>
                <a:gd name="connsiteX8" fmla="*/ 111476 w 174844"/>
                <a:gd name="connsiteY8" fmla="*/ 87581 h 133674"/>
                <a:gd name="connsiteX9" fmla="*/ 100581 w 174844"/>
                <a:gd name="connsiteY9" fmla="*/ 99572 h 133674"/>
                <a:gd name="connsiteX10" fmla="*/ 98838 w 174844"/>
                <a:gd name="connsiteY10" fmla="*/ 89761 h 133674"/>
                <a:gd name="connsiteX11" fmla="*/ 104068 w 174844"/>
                <a:gd name="connsiteY11" fmla="*/ 79951 h 133674"/>
                <a:gd name="connsiteX12" fmla="*/ 109515 w 174844"/>
                <a:gd name="connsiteY12" fmla="*/ 68833 h 133674"/>
                <a:gd name="connsiteX13" fmla="*/ 91865 w 174844"/>
                <a:gd name="connsiteY13" fmla="*/ 70577 h 133674"/>
                <a:gd name="connsiteX14" fmla="*/ 93390 w 174844"/>
                <a:gd name="connsiteY14" fmla="*/ 62728 h 133674"/>
                <a:gd name="connsiteX15" fmla="*/ 107772 w 174844"/>
                <a:gd name="connsiteY15" fmla="*/ 53790 h 133674"/>
                <a:gd name="connsiteX16" fmla="*/ 114091 w 174844"/>
                <a:gd name="connsiteY16" fmla="*/ 49648 h 133674"/>
                <a:gd name="connsiteX17" fmla="*/ 103632 w 174844"/>
                <a:gd name="connsiteY17" fmla="*/ 42890 h 133674"/>
                <a:gd name="connsiteX18" fmla="*/ 99709 w 174844"/>
                <a:gd name="connsiteY18" fmla="*/ 37440 h 133674"/>
                <a:gd name="connsiteX19" fmla="*/ 97966 w 174844"/>
                <a:gd name="connsiteY19" fmla="*/ 28719 h 133674"/>
                <a:gd name="connsiteX20" fmla="*/ 90122 w 174844"/>
                <a:gd name="connsiteY20" fmla="*/ 29591 h 133674"/>
                <a:gd name="connsiteX21" fmla="*/ 86853 w 174844"/>
                <a:gd name="connsiteY21" fmla="*/ 35042 h 133674"/>
                <a:gd name="connsiteX22" fmla="*/ 86635 w 174844"/>
                <a:gd name="connsiteY22" fmla="*/ 42890 h 133674"/>
                <a:gd name="connsiteX23" fmla="*/ 91211 w 174844"/>
                <a:gd name="connsiteY23" fmla="*/ 44852 h 133674"/>
                <a:gd name="connsiteX24" fmla="*/ 82059 w 174844"/>
                <a:gd name="connsiteY24" fmla="*/ 61420 h 133674"/>
                <a:gd name="connsiteX25" fmla="*/ 82495 w 174844"/>
                <a:gd name="connsiteY25" fmla="*/ 77771 h 133674"/>
                <a:gd name="connsiteX26" fmla="*/ 87943 w 174844"/>
                <a:gd name="connsiteY26" fmla="*/ 81259 h 133674"/>
                <a:gd name="connsiteX27" fmla="*/ 72471 w 174844"/>
                <a:gd name="connsiteY27" fmla="*/ 92377 h 133674"/>
                <a:gd name="connsiteX28" fmla="*/ 67241 w 174844"/>
                <a:gd name="connsiteY28" fmla="*/ 108728 h 133674"/>
                <a:gd name="connsiteX29" fmla="*/ 58525 w 174844"/>
                <a:gd name="connsiteY29" fmla="*/ 120500 h 133674"/>
                <a:gd name="connsiteX30" fmla="*/ 54603 w 174844"/>
                <a:gd name="connsiteY30" fmla="*/ 113960 h 133674"/>
                <a:gd name="connsiteX31" fmla="*/ 50245 w 174844"/>
                <a:gd name="connsiteY31" fmla="*/ 114396 h 133674"/>
                <a:gd name="connsiteX32" fmla="*/ 44143 w 174844"/>
                <a:gd name="connsiteY32" fmla="*/ 111998 h 133674"/>
                <a:gd name="connsiteX33" fmla="*/ 40657 w 174844"/>
                <a:gd name="connsiteY33" fmla="*/ 103932 h 133674"/>
                <a:gd name="connsiteX34" fmla="*/ 30633 w 174844"/>
                <a:gd name="connsiteY34" fmla="*/ 100880 h 133674"/>
                <a:gd name="connsiteX35" fmla="*/ 30415 w 174844"/>
                <a:gd name="connsiteY35" fmla="*/ 94994 h 133674"/>
                <a:gd name="connsiteX36" fmla="*/ 38042 w 174844"/>
                <a:gd name="connsiteY36" fmla="*/ 94776 h 133674"/>
                <a:gd name="connsiteX37" fmla="*/ 41746 w 174844"/>
                <a:gd name="connsiteY37" fmla="*/ 93250 h 133674"/>
                <a:gd name="connsiteX38" fmla="*/ 43054 w 174844"/>
                <a:gd name="connsiteY38" fmla="*/ 84529 h 133674"/>
                <a:gd name="connsiteX39" fmla="*/ 51770 w 174844"/>
                <a:gd name="connsiteY39" fmla="*/ 79515 h 133674"/>
                <a:gd name="connsiteX40" fmla="*/ 55692 w 174844"/>
                <a:gd name="connsiteY40" fmla="*/ 75809 h 133674"/>
                <a:gd name="connsiteX41" fmla="*/ 59615 w 174844"/>
                <a:gd name="connsiteY41" fmla="*/ 64691 h 133674"/>
                <a:gd name="connsiteX42" fmla="*/ 62883 w 174844"/>
                <a:gd name="connsiteY42" fmla="*/ 69705 h 133674"/>
                <a:gd name="connsiteX43" fmla="*/ 64408 w 174844"/>
                <a:gd name="connsiteY43" fmla="*/ 74501 h 133674"/>
                <a:gd name="connsiteX44" fmla="*/ 66152 w 174844"/>
                <a:gd name="connsiteY44" fmla="*/ 69051 h 133674"/>
                <a:gd name="connsiteX45" fmla="*/ 63319 w 174844"/>
                <a:gd name="connsiteY45" fmla="*/ 55970 h 133674"/>
                <a:gd name="connsiteX46" fmla="*/ 55910 w 174844"/>
                <a:gd name="connsiteY46" fmla="*/ 53572 h 133674"/>
                <a:gd name="connsiteX47" fmla="*/ 45451 w 174844"/>
                <a:gd name="connsiteY47" fmla="*/ 62946 h 133674"/>
                <a:gd name="connsiteX48" fmla="*/ 35209 w 174844"/>
                <a:gd name="connsiteY48" fmla="*/ 72975 h 133674"/>
                <a:gd name="connsiteX49" fmla="*/ 31287 w 174844"/>
                <a:gd name="connsiteY49" fmla="*/ 66653 h 133674"/>
                <a:gd name="connsiteX50" fmla="*/ 22134 w 174844"/>
                <a:gd name="connsiteY50" fmla="*/ 61638 h 133674"/>
                <a:gd name="connsiteX51" fmla="*/ 23006 w 174844"/>
                <a:gd name="connsiteY51" fmla="*/ 55534 h 133674"/>
                <a:gd name="connsiteX52" fmla="*/ 8842 w 174844"/>
                <a:gd name="connsiteY52" fmla="*/ 56406 h 133674"/>
                <a:gd name="connsiteX53" fmla="*/ -5322 w 174844"/>
                <a:gd name="connsiteY53" fmla="*/ 57278 h 133674"/>
                <a:gd name="connsiteX54" fmla="*/ -4886 w 174844"/>
                <a:gd name="connsiteY54" fmla="*/ 48994 h 133674"/>
                <a:gd name="connsiteX55" fmla="*/ 6009 w 174844"/>
                <a:gd name="connsiteY55" fmla="*/ 43980 h 133674"/>
                <a:gd name="connsiteX56" fmla="*/ 13854 w 174844"/>
                <a:gd name="connsiteY56" fmla="*/ 43980 h 133674"/>
                <a:gd name="connsiteX57" fmla="*/ 9278 w 174844"/>
                <a:gd name="connsiteY57" fmla="*/ 36132 h 133674"/>
                <a:gd name="connsiteX58" fmla="*/ 6227 w 174844"/>
                <a:gd name="connsiteY58" fmla="*/ 26103 h 133674"/>
                <a:gd name="connsiteX59" fmla="*/ 4920 w 174844"/>
                <a:gd name="connsiteY59" fmla="*/ 17601 h 133674"/>
                <a:gd name="connsiteX60" fmla="*/ 11239 w 174844"/>
                <a:gd name="connsiteY60" fmla="*/ 13459 h 133674"/>
                <a:gd name="connsiteX61" fmla="*/ 13418 w 174844"/>
                <a:gd name="connsiteY61" fmla="*/ 22179 h 133674"/>
                <a:gd name="connsiteX62" fmla="*/ 16469 w 174844"/>
                <a:gd name="connsiteY62" fmla="*/ 28065 h 133674"/>
                <a:gd name="connsiteX63" fmla="*/ 25839 w 174844"/>
                <a:gd name="connsiteY63" fmla="*/ 40710 h 133674"/>
                <a:gd name="connsiteX64" fmla="*/ 29107 w 174844"/>
                <a:gd name="connsiteY64" fmla="*/ 54880 h 133674"/>
                <a:gd name="connsiteX65" fmla="*/ 31504 w 174844"/>
                <a:gd name="connsiteY65" fmla="*/ 61202 h 133674"/>
                <a:gd name="connsiteX66" fmla="*/ 35645 w 174844"/>
                <a:gd name="connsiteY66" fmla="*/ 54662 h 133674"/>
                <a:gd name="connsiteX67" fmla="*/ 40003 w 174844"/>
                <a:gd name="connsiteY67" fmla="*/ 45288 h 133674"/>
                <a:gd name="connsiteX68" fmla="*/ 45233 w 174844"/>
                <a:gd name="connsiteY68" fmla="*/ 43762 h 133674"/>
                <a:gd name="connsiteX69" fmla="*/ 57435 w 174844"/>
                <a:gd name="connsiteY69" fmla="*/ 33733 h 133674"/>
                <a:gd name="connsiteX70" fmla="*/ 60268 w 174844"/>
                <a:gd name="connsiteY70" fmla="*/ 26103 h 133674"/>
                <a:gd name="connsiteX71" fmla="*/ 62229 w 174844"/>
                <a:gd name="connsiteY71" fmla="*/ 32861 h 133674"/>
                <a:gd name="connsiteX72" fmla="*/ 76611 w 174844"/>
                <a:gd name="connsiteY72" fmla="*/ 50738 h 133674"/>
                <a:gd name="connsiteX73" fmla="*/ 78572 w 174844"/>
                <a:gd name="connsiteY73" fmla="*/ 40056 h 133674"/>
                <a:gd name="connsiteX74" fmla="*/ 73343 w 174844"/>
                <a:gd name="connsiteY74" fmla="*/ 30899 h 133674"/>
                <a:gd name="connsiteX75" fmla="*/ 67023 w 174844"/>
                <a:gd name="connsiteY75" fmla="*/ 20217 h 133674"/>
                <a:gd name="connsiteX76" fmla="*/ 75958 w 174844"/>
                <a:gd name="connsiteY76" fmla="*/ 16729 h 133674"/>
                <a:gd name="connsiteX77" fmla="*/ 84456 w 174844"/>
                <a:gd name="connsiteY77" fmla="*/ 18909 h 133674"/>
                <a:gd name="connsiteX78" fmla="*/ 96223 w 174844"/>
                <a:gd name="connsiteY78" fmla="*/ 8881 h 133674"/>
                <a:gd name="connsiteX79" fmla="*/ 108426 w 174844"/>
                <a:gd name="connsiteY79" fmla="*/ 4520 h 133674"/>
                <a:gd name="connsiteX80" fmla="*/ 106029 w 174844"/>
                <a:gd name="connsiteY80" fmla="*/ 12369 h 133674"/>
                <a:gd name="connsiteX81" fmla="*/ 101017 w 174844"/>
                <a:gd name="connsiteY81" fmla="*/ 20217 h 133674"/>
                <a:gd name="connsiteX82" fmla="*/ 103632 w 174844"/>
                <a:gd name="connsiteY82" fmla="*/ 21525 h 133674"/>
                <a:gd name="connsiteX83" fmla="*/ 114091 w 174844"/>
                <a:gd name="connsiteY83" fmla="*/ 21743 h 133674"/>
                <a:gd name="connsiteX84" fmla="*/ 109733 w 174844"/>
                <a:gd name="connsiteY84" fmla="*/ 28719 h 133674"/>
                <a:gd name="connsiteX85" fmla="*/ 112566 w 174844"/>
                <a:gd name="connsiteY85" fmla="*/ 36786 h 133674"/>
                <a:gd name="connsiteX86" fmla="*/ 120193 w 174844"/>
                <a:gd name="connsiteY86" fmla="*/ 42454 h 133674"/>
                <a:gd name="connsiteX87" fmla="*/ 130217 w 174844"/>
                <a:gd name="connsiteY87" fmla="*/ 43980 h 133674"/>
                <a:gd name="connsiteX88" fmla="*/ 142419 w 174844"/>
                <a:gd name="connsiteY88" fmla="*/ 45942 h 133674"/>
                <a:gd name="connsiteX89" fmla="*/ 134793 w 174844"/>
                <a:gd name="connsiteY89" fmla="*/ 51392 h 133674"/>
                <a:gd name="connsiteX90" fmla="*/ 127166 w 174844"/>
                <a:gd name="connsiteY90" fmla="*/ 56188 h 133674"/>
                <a:gd name="connsiteX91" fmla="*/ 122808 w 174844"/>
                <a:gd name="connsiteY91" fmla="*/ 57060 h 133674"/>
                <a:gd name="connsiteX92" fmla="*/ 118450 w 174844"/>
                <a:gd name="connsiteY92" fmla="*/ 59022 h 133674"/>
                <a:gd name="connsiteX93" fmla="*/ 120847 w 174844"/>
                <a:gd name="connsiteY93" fmla="*/ 62510 h 133674"/>
                <a:gd name="connsiteX94" fmla="*/ 120629 w 174844"/>
                <a:gd name="connsiteY94" fmla="*/ 65781 h 133674"/>
                <a:gd name="connsiteX95" fmla="*/ 123679 w 174844"/>
                <a:gd name="connsiteY95" fmla="*/ 75591 h 133674"/>
                <a:gd name="connsiteX96" fmla="*/ 134575 w 174844"/>
                <a:gd name="connsiteY96" fmla="*/ 84529 h 133674"/>
                <a:gd name="connsiteX97" fmla="*/ 156801 w 174844"/>
                <a:gd name="connsiteY97" fmla="*/ 99572 h 133674"/>
                <a:gd name="connsiteX98" fmla="*/ 157237 w 174844"/>
                <a:gd name="connsiteY98" fmla="*/ 103278 h 133674"/>
                <a:gd name="connsiteX99" fmla="*/ 150918 w 174844"/>
                <a:gd name="connsiteY99" fmla="*/ 105458 h 133674"/>
                <a:gd name="connsiteX100" fmla="*/ 154404 w 174844"/>
                <a:gd name="connsiteY100" fmla="*/ 117012 h 133674"/>
                <a:gd name="connsiteX101" fmla="*/ 164210 w 174844"/>
                <a:gd name="connsiteY101" fmla="*/ 106112 h 133674"/>
                <a:gd name="connsiteX102" fmla="*/ 167697 w 174844"/>
                <a:gd name="connsiteY102" fmla="*/ 106112 h 133674"/>
                <a:gd name="connsiteX103" fmla="*/ 165300 w 174844"/>
                <a:gd name="connsiteY103" fmla="*/ 114396 h 133674"/>
                <a:gd name="connsiteX104" fmla="*/ 161813 w 174844"/>
                <a:gd name="connsiteY104" fmla="*/ 122027 h 133674"/>
                <a:gd name="connsiteX105" fmla="*/ 160506 w 174844"/>
                <a:gd name="connsiteY105" fmla="*/ 130965 h 133674"/>
                <a:gd name="connsiteX106" fmla="*/ 153968 w 174844"/>
                <a:gd name="connsiteY106" fmla="*/ 133581 h 133674"/>
                <a:gd name="connsiteX107" fmla="*/ 151136 w 174844"/>
                <a:gd name="connsiteY107" fmla="*/ 129439 h 133674"/>
                <a:gd name="connsiteX108" fmla="*/ 58525 w 174844"/>
                <a:gd name="connsiteY108" fmla="*/ 101534 h 133674"/>
                <a:gd name="connsiteX109" fmla="*/ 61140 w 174844"/>
                <a:gd name="connsiteY109" fmla="*/ 92813 h 133674"/>
                <a:gd name="connsiteX110" fmla="*/ 54603 w 174844"/>
                <a:gd name="connsiteY110" fmla="*/ 91505 h 133674"/>
                <a:gd name="connsiteX111" fmla="*/ 51988 w 174844"/>
                <a:gd name="connsiteY111" fmla="*/ 100226 h 133674"/>
                <a:gd name="connsiteX112" fmla="*/ 53731 w 174844"/>
                <a:gd name="connsiteY112" fmla="*/ 103932 h 133674"/>
                <a:gd name="connsiteX113" fmla="*/ 58525 w 174844"/>
                <a:gd name="connsiteY113" fmla="*/ 101534 h 133674"/>
                <a:gd name="connsiteX114" fmla="*/ 66152 w 174844"/>
                <a:gd name="connsiteY114" fmla="*/ 79079 h 133674"/>
                <a:gd name="connsiteX115" fmla="*/ 63973 w 174844"/>
                <a:gd name="connsiteY115" fmla="*/ 76681 h 133674"/>
                <a:gd name="connsiteX116" fmla="*/ 61794 w 174844"/>
                <a:gd name="connsiteY116" fmla="*/ 77553 h 133674"/>
                <a:gd name="connsiteX117" fmla="*/ 63973 w 174844"/>
                <a:gd name="connsiteY117" fmla="*/ 79951 h 133674"/>
                <a:gd name="connsiteX118" fmla="*/ 66152 w 174844"/>
                <a:gd name="connsiteY118" fmla="*/ 79079 h 133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174844" h="133674">
                  <a:moveTo>
                    <a:pt x="151136" y="129439"/>
                  </a:moveTo>
                  <a:cubicBezTo>
                    <a:pt x="151136" y="125515"/>
                    <a:pt x="149610" y="123553"/>
                    <a:pt x="145688" y="122681"/>
                  </a:cubicBezTo>
                  <a:cubicBezTo>
                    <a:pt x="140676" y="121372"/>
                    <a:pt x="140240" y="120282"/>
                    <a:pt x="140676" y="113088"/>
                  </a:cubicBezTo>
                  <a:cubicBezTo>
                    <a:pt x="141330" y="105458"/>
                    <a:pt x="140894" y="105022"/>
                    <a:pt x="134793" y="105022"/>
                  </a:cubicBezTo>
                  <a:cubicBezTo>
                    <a:pt x="130652" y="105022"/>
                    <a:pt x="128473" y="103932"/>
                    <a:pt x="128909" y="102406"/>
                  </a:cubicBezTo>
                  <a:cubicBezTo>
                    <a:pt x="129127" y="100880"/>
                    <a:pt x="129563" y="98264"/>
                    <a:pt x="129999" y="96956"/>
                  </a:cubicBezTo>
                  <a:cubicBezTo>
                    <a:pt x="130217" y="95212"/>
                    <a:pt x="128473" y="94340"/>
                    <a:pt x="125640" y="94776"/>
                  </a:cubicBezTo>
                  <a:cubicBezTo>
                    <a:pt x="121718" y="95430"/>
                    <a:pt x="120847" y="94122"/>
                    <a:pt x="120193" y="88235"/>
                  </a:cubicBezTo>
                  <a:cubicBezTo>
                    <a:pt x="119321" y="79079"/>
                    <a:pt x="113873" y="78643"/>
                    <a:pt x="111476" y="87581"/>
                  </a:cubicBezTo>
                  <a:cubicBezTo>
                    <a:pt x="109951" y="93686"/>
                    <a:pt x="104503" y="99572"/>
                    <a:pt x="100581" y="99572"/>
                  </a:cubicBezTo>
                  <a:cubicBezTo>
                    <a:pt x="99709" y="99572"/>
                    <a:pt x="98838" y="95212"/>
                    <a:pt x="98838" y="89761"/>
                  </a:cubicBezTo>
                  <a:cubicBezTo>
                    <a:pt x="98838" y="80823"/>
                    <a:pt x="99274" y="79951"/>
                    <a:pt x="104068" y="79951"/>
                  </a:cubicBezTo>
                  <a:cubicBezTo>
                    <a:pt x="110387" y="79951"/>
                    <a:pt x="114309" y="71885"/>
                    <a:pt x="109515" y="68833"/>
                  </a:cubicBezTo>
                  <a:cubicBezTo>
                    <a:pt x="104721" y="65781"/>
                    <a:pt x="96223" y="66653"/>
                    <a:pt x="91865" y="70577"/>
                  </a:cubicBezTo>
                  <a:cubicBezTo>
                    <a:pt x="84238" y="77335"/>
                    <a:pt x="85546" y="71667"/>
                    <a:pt x="93390" y="62728"/>
                  </a:cubicBezTo>
                  <a:cubicBezTo>
                    <a:pt x="99274" y="56188"/>
                    <a:pt x="103196" y="53790"/>
                    <a:pt x="107772" y="53790"/>
                  </a:cubicBezTo>
                  <a:cubicBezTo>
                    <a:pt x="112566" y="53790"/>
                    <a:pt x="114091" y="52700"/>
                    <a:pt x="114091" y="49648"/>
                  </a:cubicBezTo>
                  <a:cubicBezTo>
                    <a:pt x="114091" y="45506"/>
                    <a:pt x="110169" y="42890"/>
                    <a:pt x="103632" y="42890"/>
                  </a:cubicBezTo>
                  <a:cubicBezTo>
                    <a:pt x="101235" y="42890"/>
                    <a:pt x="99709" y="40928"/>
                    <a:pt x="99709" y="37440"/>
                  </a:cubicBezTo>
                  <a:cubicBezTo>
                    <a:pt x="99492" y="34387"/>
                    <a:pt x="98838" y="30463"/>
                    <a:pt x="97966" y="28719"/>
                  </a:cubicBezTo>
                  <a:cubicBezTo>
                    <a:pt x="96223" y="23923"/>
                    <a:pt x="90122" y="24795"/>
                    <a:pt x="90122" y="29591"/>
                  </a:cubicBezTo>
                  <a:cubicBezTo>
                    <a:pt x="90122" y="31771"/>
                    <a:pt x="88596" y="34169"/>
                    <a:pt x="86853" y="35042"/>
                  </a:cubicBezTo>
                  <a:cubicBezTo>
                    <a:pt x="82713" y="36568"/>
                    <a:pt x="82495" y="42890"/>
                    <a:pt x="86635" y="42890"/>
                  </a:cubicBezTo>
                  <a:cubicBezTo>
                    <a:pt x="88378" y="42890"/>
                    <a:pt x="90339" y="43762"/>
                    <a:pt x="91211" y="44852"/>
                  </a:cubicBezTo>
                  <a:cubicBezTo>
                    <a:pt x="92954" y="48122"/>
                    <a:pt x="87725" y="57714"/>
                    <a:pt x="82059" y="61420"/>
                  </a:cubicBezTo>
                  <a:cubicBezTo>
                    <a:pt x="75086" y="65999"/>
                    <a:pt x="75304" y="74937"/>
                    <a:pt x="82495" y="77771"/>
                  </a:cubicBezTo>
                  <a:cubicBezTo>
                    <a:pt x="85546" y="78861"/>
                    <a:pt x="87943" y="80387"/>
                    <a:pt x="87943" y="81259"/>
                  </a:cubicBezTo>
                  <a:cubicBezTo>
                    <a:pt x="87943" y="84965"/>
                    <a:pt x="76176" y="93250"/>
                    <a:pt x="72471" y="92377"/>
                  </a:cubicBezTo>
                  <a:cubicBezTo>
                    <a:pt x="67895" y="91069"/>
                    <a:pt x="67677" y="91941"/>
                    <a:pt x="67241" y="108728"/>
                  </a:cubicBezTo>
                  <a:cubicBezTo>
                    <a:pt x="67023" y="121372"/>
                    <a:pt x="63101" y="126605"/>
                    <a:pt x="58525" y="120500"/>
                  </a:cubicBezTo>
                  <a:cubicBezTo>
                    <a:pt x="56782" y="118320"/>
                    <a:pt x="55038" y="115268"/>
                    <a:pt x="54603" y="113960"/>
                  </a:cubicBezTo>
                  <a:cubicBezTo>
                    <a:pt x="53949" y="112216"/>
                    <a:pt x="52641" y="112434"/>
                    <a:pt x="50245" y="114396"/>
                  </a:cubicBezTo>
                  <a:cubicBezTo>
                    <a:pt x="46104" y="117884"/>
                    <a:pt x="40439" y="115704"/>
                    <a:pt x="44143" y="111998"/>
                  </a:cubicBezTo>
                  <a:cubicBezTo>
                    <a:pt x="48501" y="107638"/>
                    <a:pt x="46758" y="103932"/>
                    <a:pt x="40657" y="103932"/>
                  </a:cubicBezTo>
                  <a:cubicBezTo>
                    <a:pt x="37170" y="103932"/>
                    <a:pt x="32812" y="102406"/>
                    <a:pt x="30633" y="100880"/>
                  </a:cubicBezTo>
                  <a:cubicBezTo>
                    <a:pt x="27146" y="98264"/>
                    <a:pt x="27146" y="97610"/>
                    <a:pt x="30415" y="94994"/>
                  </a:cubicBezTo>
                  <a:cubicBezTo>
                    <a:pt x="33030" y="92813"/>
                    <a:pt x="34773" y="92813"/>
                    <a:pt x="38042" y="94776"/>
                  </a:cubicBezTo>
                  <a:cubicBezTo>
                    <a:pt x="43925" y="98482"/>
                    <a:pt x="44797" y="98046"/>
                    <a:pt x="41746" y="93250"/>
                  </a:cubicBezTo>
                  <a:cubicBezTo>
                    <a:pt x="39567" y="89761"/>
                    <a:pt x="39785" y="88235"/>
                    <a:pt x="43054" y="84529"/>
                  </a:cubicBezTo>
                  <a:cubicBezTo>
                    <a:pt x="45233" y="82131"/>
                    <a:pt x="49155" y="79951"/>
                    <a:pt x="51770" y="79515"/>
                  </a:cubicBezTo>
                  <a:cubicBezTo>
                    <a:pt x="54167" y="79079"/>
                    <a:pt x="56128" y="77553"/>
                    <a:pt x="55692" y="75809"/>
                  </a:cubicBezTo>
                  <a:cubicBezTo>
                    <a:pt x="54821" y="71885"/>
                    <a:pt x="57218" y="64691"/>
                    <a:pt x="59615" y="64691"/>
                  </a:cubicBezTo>
                  <a:cubicBezTo>
                    <a:pt x="60486" y="64691"/>
                    <a:pt x="62012" y="66871"/>
                    <a:pt x="62883" y="69705"/>
                  </a:cubicBezTo>
                  <a:lnTo>
                    <a:pt x="64408" y="74501"/>
                  </a:lnTo>
                  <a:lnTo>
                    <a:pt x="66152" y="69051"/>
                  </a:lnTo>
                  <a:cubicBezTo>
                    <a:pt x="69420" y="59022"/>
                    <a:pt x="68767" y="55970"/>
                    <a:pt x="63319" y="55970"/>
                  </a:cubicBezTo>
                  <a:cubicBezTo>
                    <a:pt x="60486" y="55970"/>
                    <a:pt x="57218" y="54880"/>
                    <a:pt x="55910" y="53572"/>
                  </a:cubicBezTo>
                  <a:cubicBezTo>
                    <a:pt x="51552" y="49212"/>
                    <a:pt x="46976" y="53136"/>
                    <a:pt x="45451" y="62946"/>
                  </a:cubicBezTo>
                  <a:cubicBezTo>
                    <a:pt x="42618" y="79951"/>
                    <a:pt x="36516" y="85837"/>
                    <a:pt x="35209" y="72975"/>
                  </a:cubicBezTo>
                  <a:cubicBezTo>
                    <a:pt x="34773" y="67961"/>
                    <a:pt x="33684" y="65999"/>
                    <a:pt x="31287" y="66653"/>
                  </a:cubicBezTo>
                  <a:cubicBezTo>
                    <a:pt x="22788" y="68615"/>
                    <a:pt x="21481" y="67961"/>
                    <a:pt x="22134" y="61638"/>
                  </a:cubicBezTo>
                  <a:lnTo>
                    <a:pt x="23006" y="55534"/>
                  </a:lnTo>
                  <a:lnTo>
                    <a:pt x="8842" y="56406"/>
                  </a:lnTo>
                  <a:lnTo>
                    <a:pt x="-5322" y="57278"/>
                  </a:lnTo>
                  <a:lnTo>
                    <a:pt x="-4886" y="48994"/>
                  </a:lnTo>
                  <a:cubicBezTo>
                    <a:pt x="-4668" y="39838"/>
                    <a:pt x="-3143" y="39184"/>
                    <a:pt x="6009" y="43980"/>
                  </a:cubicBezTo>
                  <a:cubicBezTo>
                    <a:pt x="13636" y="47904"/>
                    <a:pt x="13854" y="47904"/>
                    <a:pt x="13854" y="43980"/>
                  </a:cubicBezTo>
                  <a:cubicBezTo>
                    <a:pt x="13854" y="42236"/>
                    <a:pt x="11893" y="38748"/>
                    <a:pt x="9278" y="36132"/>
                  </a:cubicBezTo>
                  <a:cubicBezTo>
                    <a:pt x="6009" y="32861"/>
                    <a:pt x="5138" y="30027"/>
                    <a:pt x="6227" y="26103"/>
                  </a:cubicBezTo>
                  <a:cubicBezTo>
                    <a:pt x="6881" y="23051"/>
                    <a:pt x="6445" y="19345"/>
                    <a:pt x="4920" y="17601"/>
                  </a:cubicBezTo>
                  <a:cubicBezTo>
                    <a:pt x="780" y="12587"/>
                    <a:pt x="5573" y="9535"/>
                    <a:pt x="11239" y="13459"/>
                  </a:cubicBezTo>
                  <a:cubicBezTo>
                    <a:pt x="15161" y="16293"/>
                    <a:pt x="15597" y="17601"/>
                    <a:pt x="13418" y="22179"/>
                  </a:cubicBezTo>
                  <a:cubicBezTo>
                    <a:pt x="10585" y="28283"/>
                    <a:pt x="12547" y="31989"/>
                    <a:pt x="16469" y="28065"/>
                  </a:cubicBezTo>
                  <a:cubicBezTo>
                    <a:pt x="21699" y="22833"/>
                    <a:pt x="24531" y="26757"/>
                    <a:pt x="25839" y="40710"/>
                  </a:cubicBezTo>
                  <a:cubicBezTo>
                    <a:pt x="26275" y="45070"/>
                    <a:pt x="27800" y="51392"/>
                    <a:pt x="29107" y="54880"/>
                  </a:cubicBezTo>
                  <a:lnTo>
                    <a:pt x="31504" y="61202"/>
                  </a:lnTo>
                  <a:lnTo>
                    <a:pt x="35645" y="54662"/>
                  </a:lnTo>
                  <a:cubicBezTo>
                    <a:pt x="38042" y="51174"/>
                    <a:pt x="40003" y="47032"/>
                    <a:pt x="40003" y="45288"/>
                  </a:cubicBezTo>
                  <a:cubicBezTo>
                    <a:pt x="40003" y="43326"/>
                    <a:pt x="41746" y="42890"/>
                    <a:pt x="45233" y="43762"/>
                  </a:cubicBezTo>
                  <a:cubicBezTo>
                    <a:pt x="54167" y="45942"/>
                    <a:pt x="57435" y="43326"/>
                    <a:pt x="57435" y="33733"/>
                  </a:cubicBezTo>
                  <a:cubicBezTo>
                    <a:pt x="57435" y="27847"/>
                    <a:pt x="58307" y="25449"/>
                    <a:pt x="60268" y="26103"/>
                  </a:cubicBezTo>
                  <a:cubicBezTo>
                    <a:pt x="61576" y="26539"/>
                    <a:pt x="62665" y="29591"/>
                    <a:pt x="62229" y="32861"/>
                  </a:cubicBezTo>
                  <a:cubicBezTo>
                    <a:pt x="61576" y="39402"/>
                    <a:pt x="72689" y="53136"/>
                    <a:pt x="76611" y="50738"/>
                  </a:cubicBezTo>
                  <a:cubicBezTo>
                    <a:pt x="77919" y="50084"/>
                    <a:pt x="78790" y="45288"/>
                    <a:pt x="78572" y="40056"/>
                  </a:cubicBezTo>
                  <a:cubicBezTo>
                    <a:pt x="78137" y="32207"/>
                    <a:pt x="77483" y="30899"/>
                    <a:pt x="73343" y="30899"/>
                  </a:cubicBezTo>
                  <a:cubicBezTo>
                    <a:pt x="65280" y="30681"/>
                    <a:pt x="62665" y="26539"/>
                    <a:pt x="67023" y="20217"/>
                  </a:cubicBezTo>
                  <a:cubicBezTo>
                    <a:pt x="70728" y="14331"/>
                    <a:pt x="73779" y="13241"/>
                    <a:pt x="75958" y="16729"/>
                  </a:cubicBezTo>
                  <a:cubicBezTo>
                    <a:pt x="76611" y="18037"/>
                    <a:pt x="80534" y="18909"/>
                    <a:pt x="84456" y="18909"/>
                  </a:cubicBezTo>
                  <a:cubicBezTo>
                    <a:pt x="90557" y="18909"/>
                    <a:pt x="92083" y="17819"/>
                    <a:pt x="96223" y="8881"/>
                  </a:cubicBezTo>
                  <a:cubicBezTo>
                    <a:pt x="101235" y="-1148"/>
                    <a:pt x="104286" y="-2456"/>
                    <a:pt x="108426" y="4520"/>
                  </a:cubicBezTo>
                  <a:cubicBezTo>
                    <a:pt x="110387" y="7573"/>
                    <a:pt x="109733" y="9099"/>
                    <a:pt x="106029" y="12369"/>
                  </a:cubicBezTo>
                  <a:cubicBezTo>
                    <a:pt x="103196" y="14549"/>
                    <a:pt x="101017" y="18037"/>
                    <a:pt x="101017" y="20217"/>
                  </a:cubicBezTo>
                  <a:cubicBezTo>
                    <a:pt x="101017" y="23269"/>
                    <a:pt x="101671" y="23487"/>
                    <a:pt x="103632" y="21525"/>
                  </a:cubicBezTo>
                  <a:cubicBezTo>
                    <a:pt x="107118" y="18037"/>
                    <a:pt x="114091" y="18255"/>
                    <a:pt x="114091" y="21743"/>
                  </a:cubicBezTo>
                  <a:cubicBezTo>
                    <a:pt x="114091" y="23487"/>
                    <a:pt x="112130" y="26539"/>
                    <a:pt x="109733" y="28719"/>
                  </a:cubicBezTo>
                  <a:cubicBezTo>
                    <a:pt x="103632" y="34169"/>
                    <a:pt x="104286" y="35914"/>
                    <a:pt x="112566" y="36786"/>
                  </a:cubicBezTo>
                  <a:cubicBezTo>
                    <a:pt x="117796" y="37222"/>
                    <a:pt x="119757" y="38530"/>
                    <a:pt x="120193" y="42454"/>
                  </a:cubicBezTo>
                  <a:cubicBezTo>
                    <a:pt x="121064" y="47904"/>
                    <a:pt x="126512" y="48776"/>
                    <a:pt x="130217" y="43980"/>
                  </a:cubicBezTo>
                  <a:cubicBezTo>
                    <a:pt x="133049" y="40274"/>
                    <a:pt x="142419" y="41800"/>
                    <a:pt x="142419" y="45942"/>
                  </a:cubicBezTo>
                  <a:cubicBezTo>
                    <a:pt x="142419" y="47468"/>
                    <a:pt x="138933" y="49866"/>
                    <a:pt x="134793" y="51392"/>
                  </a:cubicBezTo>
                  <a:cubicBezTo>
                    <a:pt x="130652" y="52918"/>
                    <a:pt x="127166" y="55098"/>
                    <a:pt x="127166" y="56188"/>
                  </a:cubicBezTo>
                  <a:cubicBezTo>
                    <a:pt x="127166" y="57496"/>
                    <a:pt x="125205" y="57714"/>
                    <a:pt x="122808" y="57060"/>
                  </a:cubicBezTo>
                  <a:cubicBezTo>
                    <a:pt x="119757" y="55970"/>
                    <a:pt x="118450" y="56624"/>
                    <a:pt x="118450" y="59022"/>
                  </a:cubicBezTo>
                  <a:cubicBezTo>
                    <a:pt x="118450" y="60984"/>
                    <a:pt x="119539" y="62510"/>
                    <a:pt x="120847" y="62510"/>
                  </a:cubicBezTo>
                  <a:cubicBezTo>
                    <a:pt x="122590" y="62510"/>
                    <a:pt x="122590" y="63600"/>
                    <a:pt x="120629" y="65781"/>
                  </a:cubicBezTo>
                  <a:cubicBezTo>
                    <a:pt x="117360" y="69705"/>
                    <a:pt x="119321" y="75591"/>
                    <a:pt x="123679" y="75591"/>
                  </a:cubicBezTo>
                  <a:cubicBezTo>
                    <a:pt x="125423" y="75591"/>
                    <a:pt x="130217" y="79733"/>
                    <a:pt x="134575" y="84529"/>
                  </a:cubicBezTo>
                  <a:cubicBezTo>
                    <a:pt x="142201" y="93468"/>
                    <a:pt x="151136" y="99572"/>
                    <a:pt x="156801" y="99572"/>
                  </a:cubicBezTo>
                  <a:cubicBezTo>
                    <a:pt x="161595" y="99572"/>
                    <a:pt x="162031" y="103060"/>
                    <a:pt x="157237" y="103278"/>
                  </a:cubicBezTo>
                  <a:cubicBezTo>
                    <a:pt x="154622" y="103496"/>
                    <a:pt x="151789" y="104586"/>
                    <a:pt x="150918" y="105458"/>
                  </a:cubicBezTo>
                  <a:cubicBezTo>
                    <a:pt x="148303" y="108074"/>
                    <a:pt x="151136" y="117012"/>
                    <a:pt x="154404" y="117012"/>
                  </a:cubicBezTo>
                  <a:cubicBezTo>
                    <a:pt x="157673" y="117012"/>
                    <a:pt x="164210" y="110036"/>
                    <a:pt x="164210" y="106112"/>
                  </a:cubicBezTo>
                  <a:cubicBezTo>
                    <a:pt x="164210" y="103932"/>
                    <a:pt x="164864" y="103932"/>
                    <a:pt x="167697" y="106112"/>
                  </a:cubicBezTo>
                  <a:cubicBezTo>
                    <a:pt x="170529" y="108728"/>
                    <a:pt x="170312" y="109600"/>
                    <a:pt x="165300" y="114396"/>
                  </a:cubicBezTo>
                  <a:cubicBezTo>
                    <a:pt x="161159" y="118102"/>
                    <a:pt x="160070" y="120282"/>
                    <a:pt x="161813" y="122027"/>
                  </a:cubicBezTo>
                  <a:cubicBezTo>
                    <a:pt x="165300" y="125515"/>
                    <a:pt x="164646" y="129439"/>
                    <a:pt x="160506" y="130965"/>
                  </a:cubicBezTo>
                  <a:cubicBezTo>
                    <a:pt x="158327" y="131619"/>
                    <a:pt x="155276" y="132927"/>
                    <a:pt x="153968" y="133581"/>
                  </a:cubicBezTo>
                  <a:cubicBezTo>
                    <a:pt x="152007" y="134453"/>
                    <a:pt x="151136" y="132927"/>
                    <a:pt x="151136" y="129439"/>
                  </a:cubicBezTo>
                  <a:close/>
                  <a:moveTo>
                    <a:pt x="58525" y="101534"/>
                  </a:moveTo>
                  <a:cubicBezTo>
                    <a:pt x="59397" y="100444"/>
                    <a:pt x="60486" y="96520"/>
                    <a:pt x="61140" y="92813"/>
                  </a:cubicBezTo>
                  <a:cubicBezTo>
                    <a:pt x="62229" y="85183"/>
                    <a:pt x="56346" y="83657"/>
                    <a:pt x="54603" y="91505"/>
                  </a:cubicBezTo>
                  <a:cubicBezTo>
                    <a:pt x="54167" y="94122"/>
                    <a:pt x="52859" y="98046"/>
                    <a:pt x="51988" y="100226"/>
                  </a:cubicBezTo>
                  <a:cubicBezTo>
                    <a:pt x="50898" y="102842"/>
                    <a:pt x="51334" y="103932"/>
                    <a:pt x="53731" y="103932"/>
                  </a:cubicBezTo>
                  <a:cubicBezTo>
                    <a:pt x="55692" y="103932"/>
                    <a:pt x="57871" y="102842"/>
                    <a:pt x="58525" y="101534"/>
                  </a:cubicBezTo>
                  <a:close/>
                  <a:moveTo>
                    <a:pt x="66152" y="79079"/>
                  </a:moveTo>
                  <a:cubicBezTo>
                    <a:pt x="66152" y="78425"/>
                    <a:pt x="65280" y="77335"/>
                    <a:pt x="63973" y="76681"/>
                  </a:cubicBezTo>
                  <a:cubicBezTo>
                    <a:pt x="62883" y="76027"/>
                    <a:pt x="61794" y="76463"/>
                    <a:pt x="61794" y="77553"/>
                  </a:cubicBezTo>
                  <a:cubicBezTo>
                    <a:pt x="61794" y="78861"/>
                    <a:pt x="62883" y="79951"/>
                    <a:pt x="63973" y="79951"/>
                  </a:cubicBezTo>
                  <a:cubicBezTo>
                    <a:pt x="65280" y="79951"/>
                    <a:pt x="66152" y="79515"/>
                    <a:pt x="66152" y="79079"/>
                  </a:cubicBezTo>
                  <a:close/>
                </a:path>
              </a:pathLst>
            </a:custGeom>
            <a:grpFill/>
            <a:ln w="218" cap="flat">
              <a:noFill/>
              <a:prstDash val="solid"/>
              <a:miter/>
            </a:ln>
          </p:spPr>
          <p:txBody>
            <a:bodyPr rtlCol="0" anchor="ctr"/>
            <a:lstStyle/>
            <a:p>
              <a:endParaRPr lang="en-GB" dirty="0"/>
            </a:p>
          </p:txBody>
        </p:sp>
        <p:sp>
          <p:nvSpPr>
            <p:cNvPr id="210" name="Freihandform: Form 209">
              <a:extLst>
                <a:ext uri="{FF2B5EF4-FFF2-40B4-BE49-F238E27FC236}">
                  <a16:creationId xmlns:a16="http://schemas.microsoft.com/office/drawing/2014/main" xmlns="" id="{EA2BA535-394A-4CC2-B938-713A39F7308E}"/>
                </a:ext>
              </a:extLst>
            </p:cNvPr>
            <p:cNvSpPr/>
            <p:nvPr/>
          </p:nvSpPr>
          <p:spPr>
            <a:xfrm flipV="1">
              <a:off x="4781135" y="5266946"/>
              <a:ext cx="5664" cy="4360"/>
            </a:xfrm>
            <a:custGeom>
              <a:avLst/>
              <a:gdLst>
                <a:gd name="connsiteX0" fmla="*/ -3828 w 5664"/>
                <a:gd name="connsiteY0" fmla="*/ 2019 h 4360"/>
                <a:gd name="connsiteX1" fmla="*/ -341 w 5664"/>
                <a:gd name="connsiteY1" fmla="*/ -161 h 4360"/>
                <a:gd name="connsiteX2" fmla="*/ 1620 w 5664"/>
                <a:gd name="connsiteY2" fmla="*/ 2019 h 4360"/>
                <a:gd name="connsiteX3" fmla="*/ -1867 w 5664"/>
                <a:gd name="connsiteY3" fmla="*/ 4199 h 4360"/>
                <a:gd name="connsiteX4" fmla="*/ -3828 w 5664"/>
                <a:gd name="connsiteY4" fmla="*/ 2019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 h="4360">
                  <a:moveTo>
                    <a:pt x="-3828" y="2019"/>
                  </a:moveTo>
                  <a:cubicBezTo>
                    <a:pt x="-3828" y="929"/>
                    <a:pt x="-2302" y="-161"/>
                    <a:pt x="-341" y="-161"/>
                  </a:cubicBezTo>
                  <a:cubicBezTo>
                    <a:pt x="1402" y="-161"/>
                    <a:pt x="2274" y="929"/>
                    <a:pt x="1620" y="2019"/>
                  </a:cubicBezTo>
                  <a:cubicBezTo>
                    <a:pt x="966" y="3327"/>
                    <a:pt x="-559" y="4199"/>
                    <a:pt x="-1867" y="4199"/>
                  </a:cubicBezTo>
                  <a:cubicBezTo>
                    <a:pt x="-2956" y="4199"/>
                    <a:pt x="-3828" y="3327"/>
                    <a:pt x="-3828" y="2019"/>
                  </a:cubicBezTo>
                  <a:close/>
                </a:path>
              </a:pathLst>
            </a:custGeom>
            <a:grpFill/>
            <a:ln w="218" cap="flat">
              <a:noFill/>
              <a:prstDash val="solid"/>
              <a:miter/>
            </a:ln>
          </p:spPr>
          <p:txBody>
            <a:bodyPr rtlCol="0" anchor="ctr"/>
            <a:lstStyle/>
            <a:p>
              <a:endParaRPr lang="en-GB" dirty="0"/>
            </a:p>
          </p:txBody>
        </p:sp>
        <p:sp>
          <p:nvSpPr>
            <p:cNvPr id="211" name="Freihandform: Form 210">
              <a:extLst>
                <a:ext uri="{FF2B5EF4-FFF2-40B4-BE49-F238E27FC236}">
                  <a16:creationId xmlns:a16="http://schemas.microsoft.com/office/drawing/2014/main" xmlns="" id="{F346FA33-D2C7-4996-88F7-6C044BB58511}"/>
                </a:ext>
              </a:extLst>
            </p:cNvPr>
            <p:cNvSpPr/>
            <p:nvPr/>
          </p:nvSpPr>
          <p:spPr>
            <a:xfrm flipV="1">
              <a:off x="4980180" y="5268181"/>
              <a:ext cx="8864" cy="9664"/>
            </a:xfrm>
            <a:custGeom>
              <a:avLst/>
              <a:gdLst>
                <a:gd name="connsiteX0" fmla="*/ -3227 w 8864"/>
                <a:gd name="connsiteY0" fmla="*/ 7707 h 9664"/>
                <a:gd name="connsiteX1" fmla="*/ 42 w 8864"/>
                <a:gd name="connsiteY1" fmla="*/ -141 h 9664"/>
                <a:gd name="connsiteX2" fmla="*/ 2439 w 8864"/>
                <a:gd name="connsiteY2" fmla="*/ 8361 h 9664"/>
                <a:gd name="connsiteX3" fmla="*/ -3227 w 8864"/>
                <a:gd name="connsiteY3" fmla="*/ 7707 h 9664"/>
              </a:gdLst>
              <a:ahLst/>
              <a:cxnLst>
                <a:cxn ang="0">
                  <a:pos x="connsiteX0" y="connsiteY0"/>
                </a:cxn>
                <a:cxn ang="0">
                  <a:pos x="connsiteX1" y="connsiteY1"/>
                </a:cxn>
                <a:cxn ang="0">
                  <a:pos x="connsiteX2" y="connsiteY2"/>
                </a:cxn>
                <a:cxn ang="0">
                  <a:pos x="connsiteX3" y="connsiteY3"/>
                </a:cxn>
              </a:cxnLst>
              <a:rect l="l" t="t" r="r" b="b"/>
              <a:pathLst>
                <a:path w="8864" h="9664">
                  <a:moveTo>
                    <a:pt x="-3227" y="7707"/>
                  </a:moveTo>
                  <a:cubicBezTo>
                    <a:pt x="-6060" y="4001"/>
                    <a:pt x="-4534" y="-141"/>
                    <a:pt x="42" y="-141"/>
                  </a:cubicBezTo>
                  <a:cubicBezTo>
                    <a:pt x="4182" y="-141"/>
                    <a:pt x="5707" y="5745"/>
                    <a:pt x="2439" y="8361"/>
                  </a:cubicBezTo>
                  <a:cubicBezTo>
                    <a:pt x="260" y="10105"/>
                    <a:pt x="-1266" y="9887"/>
                    <a:pt x="-3227" y="7707"/>
                  </a:cubicBezTo>
                  <a:close/>
                </a:path>
              </a:pathLst>
            </a:custGeom>
            <a:grpFill/>
            <a:ln w="218" cap="flat">
              <a:noFill/>
              <a:prstDash val="solid"/>
              <a:miter/>
            </a:ln>
          </p:spPr>
          <p:txBody>
            <a:bodyPr rtlCol="0" anchor="ctr"/>
            <a:lstStyle/>
            <a:p>
              <a:endParaRPr lang="en-GB" dirty="0"/>
            </a:p>
          </p:txBody>
        </p:sp>
        <p:sp>
          <p:nvSpPr>
            <p:cNvPr id="212" name="Freihandform: Form 211">
              <a:extLst>
                <a:ext uri="{FF2B5EF4-FFF2-40B4-BE49-F238E27FC236}">
                  <a16:creationId xmlns:a16="http://schemas.microsoft.com/office/drawing/2014/main" xmlns="" id="{0192CDAA-B4FF-4252-A240-97D067CA55FC}"/>
                </a:ext>
              </a:extLst>
            </p:cNvPr>
            <p:cNvSpPr/>
            <p:nvPr/>
          </p:nvSpPr>
          <p:spPr>
            <a:xfrm flipV="1">
              <a:off x="4789851" y="5269126"/>
              <a:ext cx="12817" cy="14576"/>
            </a:xfrm>
            <a:custGeom>
              <a:avLst/>
              <a:gdLst>
                <a:gd name="connsiteX0" fmla="*/ -3878 w 12817"/>
                <a:gd name="connsiteY0" fmla="*/ 12490 h 14576"/>
                <a:gd name="connsiteX1" fmla="*/ 8542 w 12817"/>
                <a:gd name="connsiteY1" fmla="*/ 63 h 14576"/>
                <a:gd name="connsiteX2" fmla="*/ 7453 w 12817"/>
                <a:gd name="connsiteY2" fmla="*/ 3988 h 14576"/>
                <a:gd name="connsiteX3" fmla="*/ 4838 w 12817"/>
                <a:gd name="connsiteY3" fmla="*/ 10528 h 14576"/>
                <a:gd name="connsiteX4" fmla="*/ 480 w 12817"/>
                <a:gd name="connsiteY4" fmla="*/ 14452 h 14576"/>
                <a:gd name="connsiteX5" fmla="*/ -3878 w 12817"/>
                <a:gd name="connsiteY5" fmla="*/ 12490 h 14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17" h="14576">
                  <a:moveTo>
                    <a:pt x="-3878" y="12490"/>
                  </a:moveTo>
                  <a:cubicBezTo>
                    <a:pt x="-3878" y="9220"/>
                    <a:pt x="6799" y="-1681"/>
                    <a:pt x="8542" y="63"/>
                  </a:cubicBezTo>
                  <a:cubicBezTo>
                    <a:pt x="9414" y="717"/>
                    <a:pt x="8760" y="2680"/>
                    <a:pt x="7453" y="3988"/>
                  </a:cubicBezTo>
                  <a:cubicBezTo>
                    <a:pt x="5927" y="5514"/>
                    <a:pt x="4838" y="8348"/>
                    <a:pt x="4838" y="10528"/>
                  </a:cubicBezTo>
                  <a:cubicBezTo>
                    <a:pt x="4838" y="12926"/>
                    <a:pt x="3312" y="14452"/>
                    <a:pt x="480" y="14452"/>
                  </a:cubicBezTo>
                  <a:cubicBezTo>
                    <a:pt x="-1917" y="14452"/>
                    <a:pt x="-3878" y="13580"/>
                    <a:pt x="-3878" y="12490"/>
                  </a:cubicBezTo>
                  <a:close/>
                </a:path>
              </a:pathLst>
            </a:custGeom>
            <a:grpFill/>
            <a:ln w="218" cap="flat">
              <a:noFill/>
              <a:prstDash val="solid"/>
              <a:miter/>
            </a:ln>
          </p:spPr>
          <p:txBody>
            <a:bodyPr rtlCol="0" anchor="ctr"/>
            <a:lstStyle/>
            <a:p>
              <a:endParaRPr lang="en-GB" dirty="0"/>
            </a:p>
          </p:txBody>
        </p:sp>
        <p:sp>
          <p:nvSpPr>
            <p:cNvPr id="213" name="Freihandform: Form 212">
              <a:extLst>
                <a:ext uri="{FF2B5EF4-FFF2-40B4-BE49-F238E27FC236}">
                  <a16:creationId xmlns:a16="http://schemas.microsoft.com/office/drawing/2014/main" xmlns="" id="{BA565EC4-0490-4439-B839-316665F6377F}"/>
                </a:ext>
              </a:extLst>
            </p:cNvPr>
            <p:cNvSpPr/>
            <p:nvPr/>
          </p:nvSpPr>
          <p:spPr>
            <a:xfrm flipV="1">
              <a:off x="5055924" y="5269383"/>
              <a:ext cx="6926" cy="12823"/>
            </a:xfrm>
            <a:custGeom>
              <a:avLst/>
              <a:gdLst>
                <a:gd name="connsiteX0" fmla="*/ -4537 w 6926"/>
                <a:gd name="connsiteY0" fmla="*/ 8375 h 12823"/>
                <a:gd name="connsiteX1" fmla="*/ -3012 w 6926"/>
                <a:gd name="connsiteY1" fmla="*/ 1617 h 12823"/>
                <a:gd name="connsiteX2" fmla="*/ 39 w 6926"/>
                <a:gd name="connsiteY2" fmla="*/ -127 h 12823"/>
                <a:gd name="connsiteX3" fmla="*/ -3012 w 6926"/>
                <a:gd name="connsiteY3" fmla="*/ 12517 h 12823"/>
                <a:gd name="connsiteX4" fmla="*/ -4537 w 6926"/>
                <a:gd name="connsiteY4" fmla="*/ 8375 h 128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6" h="12823">
                  <a:moveTo>
                    <a:pt x="-4537" y="8375"/>
                  </a:moveTo>
                  <a:cubicBezTo>
                    <a:pt x="-3666" y="5541"/>
                    <a:pt x="-3012" y="2489"/>
                    <a:pt x="-3012" y="1617"/>
                  </a:cubicBezTo>
                  <a:cubicBezTo>
                    <a:pt x="-3012" y="527"/>
                    <a:pt x="-1704" y="-127"/>
                    <a:pt x="39" y="-127"/>
                  </a:cubicBezTo>
                  <a:cubicBezTo>
                    <a:pt x="3961" y="-127"/>
                    <a:pt x="1346" y="11209"/>
                    <a:pt x="-3012" y="12517"/>
                  </a:cubicBezTo>
                  <a:cubicBezTo>
                    <a:pt x="-4973" y="13171"/>
                    <a:pt x="-5409" y="12081"/>
                    <a:pt x="-4537" y="8375"/>
                  </a:cubicBezTo>
                  <a:close/>
                </a:path>
              </a:pathLst>
            </a:custGeom>
            <a:grpFill/>
            <a:ln w="218" cap="flat">
              <a:noFill/>
              <a:prstDash val="solid"/>
              <a:miter/>
            </a:ln>
          </p:spPr>
          <p:txBody>
            <a:bodyPr rtlCol="0" anchor="ctr"/>
            <a:lstStyle/>
            <a:p>
              <a:endParaRPr lang="en-GB" dirty="0"/>
            </a:p>
          </p:txBody>
        </p:sp>
        <p:sp>
          <p:nvSpPr>
            <p:cNvPr id="214" name="Freihandform: Form 213">
              <a:extLst>
                <a:ext uri="{FF2B5EF4-FFF2-40B4-BE49-F238E27FC236}">
                  <a16:creationId xmlns:a16="http://schemas.microsoft.com/office/drawing/2014/main" xmlns="" id="{EC058CC5-237D-41AF-B72F-31DDDB8E71A9}"/>
                </a:ext>
              </a:extLst>
            </p:cNvPr>
            <p:cNvSpPr/>
            <p:nvPr/>
          </p:nvSpPr>
          <p:spPr>
            <a:xfrm flipV="1">
              <a:off x="5029549" y="5280420"/>
              <a:ext cx="8445" cy="12186"/>
            </a:xfrm>
            <a:custGeom>
              <a:avLst/>
              <a:gdLst>
                <a:gd name="connsiteX0" fmla="*/ -4859 w 8445"/>
                <a:gd name="connsiteY0" fmla="*/ 8800 h 12186"/>
                <a:gd name="connsiteX1" fmla="*/ -2680 w 8445"/>
                <a:gd name="connsiteY1" fmla="*/ 1606 h 12186"/>
                <a:gd name="connsiteX2" fmla="*/ 3421 w 8445"/>
                <a:gd name="connsiteY2" fmla="*/ 7274 h 12186"/>
                <a:gd name="connsiteX3" fmla="*/ -4859 w 8445"/>
                <a:gd name="connsiteY3" fmla="*/ 8800 h 12186"/>
              </a:gdLst>
              <a:ahLst/>
              <a:cxnLst>
                <a:cxn ang="0">
                  <a:pos x="connsiteX0" y="connsiteY0"/>
                </a:cxn>
                <a:cxn ang="0">
                  <a:pos x="connsiteX1" y="connsiteY1"/>
                </a:cxn>
                <a:cxn ang="0">
                  <a:pos x="connsiteX2" y="connsiteY2"/>
                </a:cxn>
                <a:cxn ang="0">
                  <a:pos x="connsiteX3" y="connsiteY3"/>
                </a:cxn>
              </a:cxnLst>
              <a:rect l="l" t="t" r="r" b="b"/>
              <a:pathLst>
                <a:path w="8445" h="12186">
                  <a:moveTo>
                    <a:pt x="-4859" y="8800"/>
                  </a:moveTo>
                  <a:cubicBezTo>
                    <a:pt x="-4859" y="6620"/>
                    <a:pt x="-3770" y="3350"/>
                    <a:pt x="-2680" y="1606"/>
                  </a:cubicBezTo>
                  <a:cubicBezTo>
                    <a:pt x="-65" y="-2536"/>
                    <a:pt x="4511" y="1606"/>
                    <a:pt x="3421" y="7274"/>
                  </a:cubicBezTo>
                  <a:cubicBezTo>
                    <a:pt x="2549" y="12725"/>
                    <a:pt x="-4859" y="14033"/>
                    <a:pt x="-4859" y="8800"/>
                  </a:cubicBezTo>
                  <a:close/>
                </a:path>
              </a:pathLst>
            </a:custGeom>
            <a:grpFill/>
            <a:ln w="218" cap="flat">
              <a:noFill/>
              <a:prstDash val="solid"/>
              <a:miter/>
            </a:ln>
          </p:spPr>
          <p:txBody>
            <a:bodyPr rtlCol="0" anchor="ctr"/>
            <a:lstStyle/>
            <a:p>
              <a:endParaRPr lang="en-GB" dirty="0"/>
            </a:p>
          </p:txBody>
        </p:sp>
        <p:sp>
          <p:nvSpPr>
            <p:cNvPr id="215" name="Freihandform: Form 214">
              <a:extLst>
                <a:ext uri="{FF2B5EF4-FFF2-40B4-BE49-F238E27FC236}">
                  <a16:creationId xmlns:a16="http://schemas.microsoft.com/office/drawing/2014/main" xmlns="" id="{3FCCD164-4B9D-40C7-A94C-E10CDE51E2C2}"/>
                </a:ext>
              </a:extLst>
            </p:cNvPr>
            <p:cNvSpPr/>
            <p:nvPr/>
          </p:nvSpPr>
          <p:spPr>
            <a:xfrm flipV="1">
              <a:off x="4421636" y="5292218"/>
              <a:ext cx="10763" cy="11788"/>
            </a:xfrm>
            <a:custGeom>
              <a:avLst/>
              <a:gdLst>
                <a:gd name="connsiteX0" fmla="*/ 2392 w 10763"/>
                <a:gd name="connsiteY0" fmla="*/ 9796 h 11788"/>
                <a:gd name="connsiteX1" fmla="*/ 867 w 10763"/>
                <a:gd name="connsiteY1" fmla="*/ -15 h 11788"/>
                <a:gd name="connsiteX2" fmla="*/ 4136 w 10763"/>
                <a:gd name="connsiteY2" fmla="*/ 3037 h 11788"/>
                <a:gd name="connsiteX3" fmla="*/ 6751 w 10763"/>
                <a:gd name="connsiteY3" fmla="*/ 6961 h 11788"/>
                <a:gd name="connsiteX4" fmla="*/ 8276 w 10763"/>
                <a:gd name="connsiteY4" fmla="*/ 10450 h 11788"/>
                <a:gd name="connsiteX5" fmla="*/ 2392 w 10763"/>
                <a:gd name="connsiteY5" fmla="*/ 9796 h 1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63" h="11788">
                  <a:moveTo>
                    <a:pt x="2392" y="9796"/>
                  </a:moveTo>
                  <a:cubicBezTo>
                    <a:pt x="-3055" y="5871"/>
                    <a:pt x="-4145" y="-15"/>
                    <a:pt x="867" y="-15"/>
                  </a:cubicBezTo>
                  <a:cubicBezTo>
                    <a:pt x="2610" y="-15"/>
                    <a:pt x="4136" y="1293"/>
                    <a:pt x="4136" y="3037"/>
                  </a:cubicBezTo>
                  <a:cubicBezTo>
                    <a:pt x="4136" y="4781"/>
                    <a:pt x="5225" y="6525"/>
                    <a:pt x="6751" y="6961"/>
                  </a:cubicBezTo>
                  <a:cubicBezTo>
                    <a:pt x="8058" y="7398"/>
                    <a:pt x="8712" y="8924"/>
                    <a:pt x="8276" y="10450"/>
                  </a:cubicBezTo>
                  <a:cubicBezTo>
                    <a:pt x="7622" y="12412"/>
                    <a:pt x="6097" y="12194"/>
                    <a:pt x="2392" y="9796"/>
                  </a:cubicBezTo>
                  <a:close/>
                </a:path>
              </a:pathLst>
            </a:custGeom>
            <a:grpFill/>
            <a:ln w="218" cap="flat">
              <a:noFill/>
              <a:prstDash val="solid"/>
              <a:miter/>
            </a:ln>
          </p:spPr>
          <p:txBody>
            <a:bodyPr rtlCol="0" anchor="ctr"/>
            <a:lstStyle/>
            <a:p>
              <a:endParaRPr lang="en-GB" dirty="0"/>
            </a:p>
          </p:txBody>
        </p:sp>
        <p:sp>
          <p:nvSpPr>
            <p:cNvPr id="216" name="Freihandform: Form 215">
              <a:extLst>
                <a:ext uri="{FF2B5EF4-FFF2-40B4-BE49-F238E27FC236}">
                  <a16:creationId xmlns:a16="http://schemas.microsoft.com/office/drawing/2014/main" xmlns="" id="{7CC7F12D-CDC9-4236-B7F1-594C40CD3BAD}"/>
                </a:ext>
              </a:extLst>
            </p:cNvPr>
            <p:cNvSpPr/>
            <p:nvPr/>
          </p:nvSpPr>
          <p:spPr>
            <a:xfrm flipV="1">
              <a:off x="5262627" y="5291704"/>
              <a:ext cx="6620" cy="10122"/>
            </a:xfrm>
            <a:custGeom>
              <a:avLst/>
              <a:gdLst>
                <a:gd name="connsiteX0" fmla="*/ -4427 w 6620"/>
                <a:gd name="connsiteY0" fmla="*/ 9353 h 10122"/>
                <a:gd name="connsiteX1" fmla="*/ -2466 w 6620"/>
                <a:gd name="connsiteY1" fmla="*/ -22 h 10122"/>
                <a:gd name="connsiteX2" fmla="*/ 802 w 6620"/>
                <a:gd name="connsiteY2" fmla="*/ 4121 h 10122"/>
                <a:gd name="connsiteX3" fmla="*/ -4427 w 6620"/>
                <a:gd name="connsiteY3" fmla="*/ 9353 h 10122"/>
              </a:gdLst>
              <a:ahLst/>
              <a:cxnLst>
                <a:cxn ang="0">
                  <a:pos x="connsiteX0" y="connsiteY0"/>
                </a:cxn>
                <a:cxn ang="0">
                  <a:pos x="connsiteX1" y="connsiteY1"/>
                </a:cxn>
                <a:cxn ang="0">
                  <a:pos x="connsiteX2" y="connsiteY2"/>
                </a:cxn>
                <a:cxn ang="0">
                  <a:pos x="connsiteX3" y="connsiteY3"/>
                </a:cxn>
              </a:cxnLst>
              <a:rect l="l" t="t" r="r" b="b"/>
              <a:pathLst>
                <a:path w="6620" h="10122">
                  <a:moveTo>
                    <a:pt x="-4427" y="9353"/>
                  </a:moveTo>
                  <a:cubicBezTo>
                    <a:pt x="-7042" y="6737"/>
                    <a:pt x="-5735" y="-22"/>
                    <a:pt x="-2466" y="-22"/>
                  </a:cubicBezTo>
                  <a:cubicBezTo>
                    <a:pt x="-723" y="-22"/>
                    <a:pt x="802" y="1941"/>
                    <a:pt x="802" y="4121"/>
                  </a:cubicBezTo>
                  <a:cubicBezTo>
                    <a:pt x="802" y="8699"/>
                    <a:pt x="-2030" y="11533"/>
                    <a:pt x="-4427" y="9353"/>
                  </a:cubicBezTo>
                  <a:close/>
                </a:path>
              </a:pathLst>
            </a:custGeom>
            <a:grpFill/>
            <a:ln w="218" cap="flat">
              <a:noFill/>
              <a:prstDash val="solid"/>
              <a:miter/>
            </a:ln>
          </p:spPr>
          <p:txBody>
            <a:bodyPr rtlCol="0" anchor="ctr"/>
            <a:lstStyle/>
            <a:p>
              <a:endParaRPr lang="en-GB" dirty="0"/>
            </a:p>
          </p:txBody>
        </p:sp>
        <p:sp>
          <p:nvSpPr>
            <p:cNvPr id="217" name="Freihandform: Form 216">
              <a:extLst>
                <a:ext uri="{FF2B5EF4-FFF2-40B4-BE49-F238E27FC236}">
                  <a16:creationId xmlns:a16="http://schemas.microsoft.com/office/drawing/2014/main" xmlns="" id="{4AAE1567-EE4C-4503-8B98-48D9ED5E710A}"/>
                </a:ext>
              </a:extLst>
            </p:cNvPr>
            <p:cNvSpPr/>
            <p:nvPr/>
          </p:nvSpPr>
          <p:spPr>
            <a:xfrm flipV="1">
              <a:off x="4404218" y="5299692"/>
              <a:ext cx="8609" cy="16213"/>
            </a:xfrm>
            <a:custGeom>
              <a:avLst/>
              <a:gdLst>
                <a:gd name="connsiteX0" fmla="*/ 275 w 8609"/>
                <a:gd name="connsiteY0" fmla="*/ 13676 h 16213"/>
                <a:gd name="connsiteX1" fmla="*/ -379 w 8609"/>
                <a:gd name="connsiteY1" fmla="*/ 160 h 16213"/>
                <a:gd name="connsiteX2" fmla="*/ 3979 w 8609"/>
                <a:gd name="connsiteY2" fmla="*/ 4520 h 16213"/>
                <a:gd name="connsiteX3" fmla="*/ 275 w 8609"/>
                <a:gd name="connsiteY3" fmla="*/ 13676 h 16213"/>
              </a:gdLst>
              <a:ahLst/>
              <a:cxnLst>
                <a:cxn ang="0">
                  <a:pos x="connsiteX0" y="connsiteY0"/>
                </a:cxn>
                <a:cxn ang="0">
                  <a:pos x="connsiteX1" y="connsiteY1"/>
                </a:cxn>
                <a:cxn ang="0">
                  <a:pos x="connsiteX2" y="connsiteY2"/>
                </a:cxn>
                <a:cxn ang="0">
                  <a:pos x="connsiteX3" y="connsiteY3"/>
                </a:cxn>
              </a:cxnLst>
              <a:rect l="l" t="t" r="r" b="b"/>
              <a:pathLst>
                <a:path w="8609" h="16213">
                  <a:moveTo>
                    <a:pt x="275" y="13676"/>
                  </a:moveTo>
                  <a:cubicBezTo>
                    <a:pt x="-2776" y="10624"/>
                    <a:pt x="-3212" y="1904"/>
                    <a:pt x="-379" y="160"/>
                  </a:cubicBezTo>
                  <a:cubicBezTo>
                    <a:pt x="493" y="-494"/>
                    <a:pt x="2454" y="1468"/>
                    <a:pt x="3979" y="4520"/>
                  </a:cubicBezTo>
                  <a:cubicBezTo>
                    <a:pt x="8338" y="14330"/>
                    <a:pt x="6376" y="19781"/>
                    <a:pt x="275" y="13676"/>
                  </a:cubicBezTo>
                  <a:close/>
                </a:path>
              </a:pathLst>
            </a:custGeom>
            <a:grpFill/>
            <a:ln w="218" cap="flat">
              <a:noFill/>
              <a:prstDash val="solid"/>
              <a:miter/>
            </a:ln>
          </p:spPr>
          <p:txBody>
            <a:bodyPr rtlCol="0" anchor="ctr"/>
            <a:lstStyle/>
            <a:p>
              <a:endParaRPr lang="en-GB" dirty="0"/>
            </a:p>
          </p:txBody>
        </p:sp>
        <p:sp>
          <p:nvSpPr>
            <p:cNvPr id="218" name="Freihandform: Form 217">
              <a:extLst>
                <a:ext uri="{FF2B5EF4-FFF2-40B4-BE49-F238E27FC236}">
                  <a16:creationId xmlns:a16="http://schemas.microsoft.com/office/drawing/2014/main" xmlns="" id="{D560F1F0-9C2A-4536-A95E-7879F6CC49EB}"/>
                </a:ext>
              </a:extLst>
            </p:cNvPr>
            <p:cNvSpPr/>
            <p:nvPr/>
          </p:nvSpPr>
          <p:spPr>
            <a:xfrm flipV="1">
              <a:off x="5288859" y="5299647"/>
              <a:ext cx="4358" cy="4360"/>
            </a:xfrm>
            <a:custGeom>
              <a:avLst/>
              <a:gdLst>
                <a:gd name="connsiteX0" fmla="*/ -5922 w 4358"/>
                <a:gd name="connsiteY0" fmla="*/ 2184 h 4360"/>
                <a:gd name="connsiteX1" fmla="*/ -3743 w 4358"/>
                <a:gd name="connsiteY1" fmla="*/ 4 h 4360"/>
                <a:gd name="connsiteX2" fmla="*/ -1564 w 4358"/>
                <a:gd name="connsiteY2" fmla="*/ 2184 h 4360"/>
                <a:gd name="connsiteX3" fmla="*/ -3743 w 4358"/>
                <a:gd name="connsiteY3" fmla="*/ 4364 h 4360"/>
                <a:gd name="connsiteX4" fmla="*/ -5922 w 4358"/>
                <a:gd name="connsiteY4" fmla="*/ 2184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5922" y="2184"/>
                  </a:moveTo>
                  <a:cubicBezTo>
                    <a:pt x="-5922" y="1094"/>
                    <a:pt x="-4832" y="4"/>
                    <a:pt x="-3743" y="4"/>
                  </a:cubicBezTo>
                  <a:cubicBezTo>
                    <a:pt x="-2435" y="4"/>
                    <a:pt x="-1564" y="1094"/>
                    <a:pt x="-1564" y="2184"/>
                  </a:cubicBezTo>
                  <a:cubicBezTo>
                    <a:pt x="-1564" y="3492"/>
                    <a:pt x="-2435" y="4364"/>
                    <a:pt x="-3743" y="4364"/>
                  </a:cubicBezTo>
                  <a:cubicBezTo>
                    <a:pt x="-4832" y="4364"/>
                    <a:pt x="-5922" y="3492"/>
                    <a:pt x="-5922" y="2184"/>
                  </a:cubicBezTo>
                  <a:close/>
                </a:path>
              </a:pathLst>
            </a:custGeom>
            <a:grpFill/>
            <a:ln w="218" cap="flat">
              <a:noFill/>
              <a:prstDash val="solid"/>
              <a:miter/>
            </a:ln>
          </p:spPr>
          <p:txBody>
            <a:bodyPr rtlCol="0" anchor="ctr"/>
            <a:lstStyle/>
            <a:p>
              <a:endParaRPr lang="en-GB" dirty="0"/>
            </a:p>
          </p:txBody>
        </p:sp>
        <p:sp>
          <p:nvSpPr>
            <p:cNvPr id="219" name="Freihandform: Form 218">
              <a:extLst>
                <a:ext uri="{FF2B5EF4-FFF2-40B4-BE49-F238E27FC236}">
                  <a16:creationId xmlns:a16="http://schemas.microsoft.com/office/drawing/2014/main" xmlns="" id="{D11C4832-F6A4-45C0-88E3-77BE1DCADC91}"/>
                </a:ext>
              </a:extLst>
            </p:cNvPr>
            <p:cNvSpPr/>
            <p:nvPr/>
          </p:nvSpPr>
          <p:spPr>
            <a:xfrm flipV="1">
              <a:off x="4307327" y="5301876"/>
              <a:ext cx="32829" cy="55626"/>
            </a:xfrm>
            <a:custGeom>
              <a:avLst/>
              <a:gdLst>
                <a:gd name="connsiteX0" fmla="*/ -325 w 32829"/>
                <a:gd name="connsiteY0" fmla="*/ 51460 h 55626"/>
                <a:gd name="connsiteX1" fmla="*/ 1637 w 32829"/>
                <a:gd name="connsiteY1" fmla="*/ 40559 h 55626"/>
                <a:gd name="connsiteX2" fmla="*/ 2508 w 32829"/>
                <a:gd name="connsiteY2" fmla="*/ 33801 h 55626"/>
                <a:gd name="connsiteX3" fmla="*/ 5123 w 32829"/>
                <a:gd name="connsiteY3" fmla="*/ 27697 h 55626"/>
                <a:gd name="connsiteX4" fmla="*/ 9699 w 32829"/>
                <a:gd name="connsiteY4" fmla="*/ 15270 h 55626"/>
                <a:gd name="connsiteX5" fmla="*/ 5123 w 32829"/>
                <a:gd name="connsiteY5" fmla="*/ 10474 h 55626"/>
                <a:gd name="connsiteX6" fmla="*/ 9917 w 32829"/>
                <a:gd name="connsiteY6" fmla="*/ 5678 h 55626"/>
                <a:gd name="connsiteX7" fmla="*/ 18851 w 32829"/>
                <a:gd name="connsiteY7" fmla="*/ 2408 h 55626"/>
                <a:gd name="connsiteX8" fmla="*/ 26260 w 32829"/>
                <a:gd name="connsiteY8" fmla="*/ 1318 h 55626"/>
                <a:gd name="connsiteX9" fmla="*/ 30400 w 32829"/>
                <a:gd name="connsiteY9" fmla="*/ 1100 h 55626"/>
                <a:gd name="connsiteX10" fmla="*/ 24081 w 32829"/>
                <a:gd name="connsiteY10" fmla="*/ 15270 h 55626"/>
                <a:gd name="connsiteX11" fmla="*/ 21684 w 32829"/>
                <a:gd name="connsiteY11" fmla="*/ 21811 h 55626"/>
                <a:gd name="connsiteX12" fmla="*/ 17544 w 32829"/>
                <a:gd name="connsiteY12" fmla="*/ 34891 h 55626"/>
                <a:gd name="connsiteX13" fmla="*/ 12096 w 32829"/>
                <a:gd name="connsiteY13" fmla="*/ 46009 h 55626"/>
                <a:gd name="connsiteX14" fmla="*/ -325 w 32829"/>
                <a:gd name="connsiteY14" fmla="*/ 51460 h 55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829" h="55626">
                  <a:moveTo>
                    <a:pt x="-325" y="51460"/>
                  </a:moveTo>
                  <a:cubicBezTo>
                    <a:pt x="-3157" y="47100"/>
                    <a:pt x="-2068" y="40559"/>
                    <a:pt x="1637" y="40559"/>
                  </a:cubicBezTo>
                  <a:cubicBezTo>
                    <a:pt x="2944" y="40559"/>
                    <a:pt x="3380" y="37943"/>
                    <a:pt x="2508" y="33801"/>
                  </a:cubicBezTo>
                  <a:cubicBezTo>
                    <a:pt x="1419" y="28351"/>
                    <a:pt x="1855" y="27261"/>
                    <a:pt x="5123" y="27697"/>
                  </a:cubicBezTo>
                  <a:cubicBezTo>
                    <a:pt x="15583" y="28569"/>
                    <a:pt x="17544" y="23555"/>
                    <a:pt x="9699" y="15270"/>
                  </a:cubicBezTo>
                  <a:lnTo>
                    <a:pt x="5123" y="10474"/>
                  </a:lnTo>
                  <a:lnTo>
                    <a:pt x="9917" y="5678"/>
                  </a:lnTo>
                  <a:cubicBezTo>
                    <a:pt x="12968" y="2626"/>
                    <a:pt x="16019" y="1536"/>
                    <a:pt x="18851" y="2408"/>
                  </a:cubicBezTo>
                  <a:cubicBezTo>
                    <a:pt x="21248" y="3280"/>
                    <a:pt x="24517" y="2844"/>
                    <a:pt x="26260" y="1318"/>
                  </a:cubicBezTo>
                  <a:cubicBezTo>
                    <a:pt x="28003" y="-208"/>
                    <a:pt x="29529" y="-208"/>
                    <a:pt x="30400" y="1100"/>
                  </a:cubicBezTo>
                  <a:cubicBezTo>
                    <a:pt x="32362" y="4152"/>
                    <a:pt x="28221" y="13526"/>
                    <a:pt x="24081" y="15270"/>
                  </a:cubicBezTo>
                  <a:cubicBezTo>
                    <a:pt x="21466" y="16142"/>
                    <a:pt x="20812" y="18105"/>
                    <a:pt x="21684" y="21811"/>
                  </a:cubicBezTo>
                  <a:cubicBezTo>
                    <a:pt x="22556" y="25299"/>
                    <a:pt x="21248" y="29441"/>
                    <a:pt x="17544" y="34891"/>
                  </a:cubicBezTo>
                  <a:cubicBezTo>
                    <a:pt x="14493" y="39251"/>
                    <a:pt x="12096" y="44265"/>
                    <a:pt x="12096" y="46009"/>
                  </a:cubicBezTo>
                  <a:cubicBezTo>
                    <a:pt x="12096" y="55820"/>
                    <a:pt x="4469" y="59308"/>
                    <a:pt x="-325" y="51460"/>
                  </a:cubicBezTo>
                  <a:close/>
                </a:path>
              </a:pathLst>
            </a:custGeom>
            <a:grpFill/>
            <a:ln w="218" cap="flat">
              <a:noFill/>
              <a:prstDash val="solid"/>
              <a:miter/>
            </a:ln>
          </p:spPr>
          <p:txBody>
            <a:bodyPr rtlCol="0" anchor="ctr"/>
            <a:lstStyle/>
            <a:p>
              <a:endParaRPr lang="en-GB" dirty="0"/>
            </a:p>
          </p:txBody>
        </p:sp>
        <p:sp>
          <p:nvSpPr>
            <p:cNvPr id="220" name="Freihandform: Form 219">
              <a:extLst>
                <a:ext uri="{FF2B5EF4-FFF2-40B4-BE49-F238E27FC236}">
                  <a16:creationId xmlns:a16="http://schemas.microsoft.com/office/drawing/2014/main" xmlns="" id="{1030A332-7304-4C39-B1B2-7467A31D037C}"/>
                </a:ext>
              </a:extLst>
            </p:cNvPr>
            <p:cNvSpPr/>
            <p:nvPr/>
          </p:nvSpPr>
          <p:spPr>
            <a:xfrm flipV="1">
              <a:off x="5047000" y="5313594"/>
              <a:ext cx="33430" cy="20451"/>
            </a:xfrm>
            <a:custGeom>
              <a:avLst/>
              <a:gdLst>
                <a:gd name="connsiteX0" fmla="*/ -3476 w 33430"/>
                <a:gd name="connsiteY0" fmla="*/ 20125 h 20451"/>
                <a:gd name="connsiteX1" fmla="*/ -3040 w 33430"/>
                <a:gd name="connsiteY1" fmla="*/ 3120 h 20451"/>
                <a:gd name="connsiteX2" fmla="*/ 5676 w 33430"/>
                <a:gd name="connsiteY2" fmla="*/ 4646 h 20451"/>
                <a:gd name="connsiteX3" fmla="*/ 15918 w 33430"/>
                <a:gd name="connsiteY3" fmla="*/ 3120 h 20451"/>
                <a:gd name="connsiteX4" fmla="*/ 24198 w 33430"/>
                <a:gd name="connsiteY4" fmla="*/ 3992 h 20451"/>
                <a:gd name="connsiteX5" fmla="*/ 26377 w 33430"/>
                <a:gd name="connsiteY5" fmla="*/ 15329 h 20451"/>
                <a:gd name="connsiteX6" fmla="*/ 19840 w 33430"/>
                <a:gd name="connsiteY6" fmla="*/ 19035 h 20451"/>
                <a:gd name="connsiteX7" fmla="*/ 13738 w 33430"/>
                <a:gd name="connsiteY7" fmla="*/ 19035 h 20451"/>
                <a:gd name="connsiteX8" fmla="*/ 6330 w 33430"/>
                <a:gd name="connsiteY8" fmla="*/ 19471 h 20451"/>
                <a:gd name="connsiteX9" fmla="*/ 10 w 33430"/>
                <a:gd name="connsiteY9" fmla="*/ 19471 h 20451"/>
                <a:gd name="connsiteX10" fmla="*/ -3476 w 33430"/>
                <a:gd name="connsiteY10" fmla="*/ 20125 h 20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430" h="20451">
                  <a:moveTo>
                    <a:pt x="-3476" y="20125"/>
                  </a:moveTo>
                  <a:cubicBezTo>
                    <a:pt x="-5655" y="17945"/>
                    <a:pt x="-5437" y="4428"/>
                    <a:pt x="-3040" y="3120"/>
                  </a:cubicBezTo>
                  <a:cubicBezTo>
                    <a:pt x="-2169" y="2466"/>
                    <a:pt x="1971" y="3120"/>
                    <a:pt x="5676" y="4646"/>
                  </a:cubicBezTo>
                  <a:cubicBezTo>
                    <a:pt x="11995" y="7045"/>
                    <a:pt x="13085" y="6826"/>
                    <a:pt x="15918" y="3120"/>
                  </a:cubicBezTo>
                  <a:cubicBezTo>
                    <a:pt x="18968" y="-1022"/>
                    <a:pt x="18968" y="-1022"/>
                    <a:pt x="24198" y="3992"/>
                  </a:cubicBezTo>
                  <a:cubicBezTo>
                    <a:pt x="29428" y="8571"/>
                    <a:pt x="29428" y="9225"/>
                    <a:pt x="26377" y="15329"/>
                  </a:cubicBezTo>
                  <a:cubicBezTo>
                    <a:pt x="23762" y="20561"/>
                    <a:pt x="22455" y="21215"/>
                    <a:pt x="19840" y="19035"/>
                  </a:cubicBezTo>
                  <a:cubicBezTo>
                    <a:pt x="17443" y="17073"/>
                    <a:pt x="16135" y="17073"/>
                    <a:pt x="13738" y="19035"/>
                  </a:cubicBezTo>
                  <a:cubicBezTo>
                    <a:pt x="11341" y="20997"/>
                    <a:pt x="9380" y="20997"/>
                    <a:pt x="6330" y="19471"/>
                  </a:cubicBezTo>
                  <a:cubicBezTo>
                    <a:pt x="3715" y="18163"/>
                    <a:pt x="1536" y="17945"/>
                    <a:pt x="10" y="19471"/>
                  </a:cubicBezTo>
                  <a:cubicBezTo>
                    <a:pt x="-1079" y="20561"/>
                    <a:pt x="-2605" y="20779"/>
                    <a:pt x="-3476" y="20125"/>
                  </a:cubicBezTo>
                  <a:close/>
                </a:path>
              </a:pathLst>
            </a:custGeom>
            <a:grpFill/>
            <a:ln w="218" cap="flat">
              <a:noFill/>
              <a:prstDash val="solid"/>
              <a:miter/>
            </a:ln>
          </p:spPr>
          <p:txBody>
            <a:bodyPr rtlCol="0" anchor="ctr"/>
            <a:lstStyle/>
            <a:p>
              <a:endParaRPr lang="en-GB" dirty="0"/>
            </a:p>
          </p:txBody>
        </p:sp>
        <p:sp>
          <p:nvSpPr>
            <p:cNvPr id="221" name="Freihandform: Form 220">
              <a:extLst>
                <a:ext uri="{FF2B5EF4-FFF2-40B4-BE49-F238E27FC236}">
                  <a16:creationId xmlns:a16="http://schemas.microsoft.com/office/drawing/2014/main" xmlns="" id="{D4F82292-72F8-43D6-BE54-28B960222BCD}"/>
                </a:ext>
              </a:extLst>
            </p:cNvPr>
            <p:cNvSpPr/>
            <p:nvPr/>
          </p:nvSpPr>
          <p:spPr>
            <a:xfrm flipV="1">
              <a:off x="4662130" y="5319368"/>
              <a:ext cx="8833" cy="10187"/>
            </a:xfrm>
            <a:custGeom>
              <a:avLst/>
              <a:gdLst>
                <a:gd name="connsiteX0" fmla="*/ -2879 w 8833"/>
                <a:gd name="connsiteY0" fmla="*/ 6700 h 10187"/>
                <a:gd name="connsiteX1" fmla="*/ -2225 w 8833"/>
                <a:gd name="connsiteY1" fmla="*/ 1032 h 10187"/>
                <a:gd name="connsiteX2" fmla="*/ 5184 w 8833"/>
                <a:gd name="connsiteY2" fmla="*/ 7354 h 10187"/>
                <a:gd name="connsiteX3" fmla="*/ -2879 w 8833"/>
                <a:gd name="connsiteY3" fmla="*/ 6700 h 10187"/>
              </a:gdLst>
              <a:ahLst/>
              <a:cxnLst>
                <a:cxn ang="0">
                  <a:pos x="connsiteX0" y="connsiteY0"/>
                </a:cxn>
                <a:cxn ang="0">
                  <a:pos x="connsiteX1" y="connsiteY1"/>
                </a:cxn>
                <a:cxn ang="0">
                  <a:pos x="connsiteX2" y="connsiteY2"/>
                </a:cxn>
                <a:cxn ang="0">
                  <a:pos x="connsiteX3" y="connsiteY3"/>
                </a:cxn>
              </a:cxnLst>
              <a:rect l="l" t="t" r="r" b="b"/>
              <a:pathLst>
                <a:path w="8833" h="10187">
                  <a:moveTo>
                    <a:pt x="-2879" y="6700"/>
                  </a:moveTo>
                  <a:cubicBezTo>
                    <a:pt x="-3751" y="4738"/>
                    <a:pt x="-3315" y="2122"/>
                    <a:pt x="-2225" y="1032"/>
                  </a:cubicBezTo>
                  <a:cubicBezTo>
                    <a:pt x="825" y="-2020"/>
                    <a:pt x="6927" y="3212"/>
                    <a:pt x="5184" y="7354"/>
                  </a:cubicBezTo>
                  <a:cubicBezTo>
                    <a:pt x="3658" y="11496"/>
                    <a:pt x="-1136" y="11278"/>
                    <a:pt x="-2879" y="6700"/>
                  </a:cubicBezTo>
                  <a:close/>
                </a:path>
              </a:pathLst>
            </a:custGeom>
            <a:grpFill/>
            <a:ln w="218" cap="flat">
              <a:noFill/>
              <a:prstDash val="solid"/>
              <a:miter/>
            </a:ln>
          </p:spPr>
          <p:txBody>
            <a:bodyPr rtlCol="0" anchor="ctr"/>
            <a:lstStyle/>
            <a:p>
              <a:endParaRPr lang="en-GB" dirty="0"/>
            </a:p>
          </p:txBody>
        </p:sp>
        <p:sp>
          <p:nvSpPr>
            <p:cNvPr id="222" name="Freihandform: Form 221">
              <a:extLst>
                <a:ext uri="{FF2B5EF4-FFF2-40B4-BE49-F238E27FC236}">
                  <a16:creationId xmlns:a16="http://schemas.microsoft.com/office/drawing/2014/main" xmlns="" id="{C0079640-4CC3-4093-80E5-8D92373CA8DE}"/>
                </a:ext>
              </a:extLst>
            </p:cNvPr>
            <p:cNvSpPr/>
            <p:nvPr/>
          </p:nvSpPr>
          <p:spPr>
            <a:xfrm flipV="1">
              <a:off x="4509271" y="5323728"/>
              <a:ext cx="31528" cy="32957"/>
            </a:xfrm>
            <a:custGeom>
              <a:avLst/>
              <a:gdLst>
                <a:gd name="connsiteX0" fmla="*/ 4130 w 31528"/>
                <a:gd name="connsiteY0" fmla="*/ 25625 h 32957"/>
                <a:gd name="connsiteX1" fmla="*/ -446 w 31528"/>
                <a:gd name="connsiteY1" fmla="*/ 14289 h 32957"/>
                <a:gd name="connsiteX2" fmla="*/ 5873 w 31528"/>
                <a:gd name="connsiteY2" fmla="*/ 13199 h 32957"/>
                <a:gd name="connsiteX3" fmla="*/ 11321 w 31528"/>
                <a:gd name="connsiteY3" fmla="*/ 7749 h 32957"/>
                <a:gd name="connsiteX4" fmla="*/ 14154 w 31528"/>
                <a:gd name="connsiteY4" fmla="*/ 336 h 32957"/>
                <a:gd name="connsiteX5" fmla="*/ 23524 w 31528"/>
                <a:gd name="connsiteY5" fmla="*/ 1208 h 32957"/>
                <a:gd name="connsiteX6" fmla="*/ 28535 w 31528"/>
                <a:gd name="connsiteY6" fmla="*/ 4261 h 32957"/>
                <a:gd name="connsiteX7" fmla="*/ 27228 w 31528"/>
                <a:gd name="connsiteY7" fmla="*/ 11891 h 32957"/>
                <a:gd name="connsiteX8" fmla="*/ 23959 w 31528"/>
                <a:gd name="connsiteY8" fmla="*/ 13635 h 32957"/>
                <a:gd name="connsiteX9" fmla="*/ 21345 w 31528"/>
                <a:gd name="connsiteY9" fmla="*/ 17559 h 32957"/>
                <a:gd name="connsiteX10" fmla="*/ 20691 w 31528"/>
                <a:gd name="connsiteY10" fmla="*/ 28895 h 32957"/>
                <a:gd name="connsiteX11" fmla="*/ 16333 w 31528"/>
                <a:gd name="connsiteY11" fmla="*/ 31075 h 32957"/>
                <a:gd name="connsiteX12" fmla="*/ 4130 w 31528"/>
                <a:gd name="connsiteY12" fmla="*/ 25625 h 32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528" h="32957">
                  <a:moveTo>
                    <a:pt x="4130" y="25625"/>
                  </a:moveTo>
                  <a:cubicBezTo>
                    <a:pt x="-3933" y="18431"/>
                    <a:pt x="-4151" y="17777"/>
                    <a:pt x="-446" y="14289"/>
                  </a:cubicBezTo>
                  <a:cubicBezTo>
                    <a:pt x="2387" y="11455"/>
                    <a:pt x="3912" y="11237"/>
                    <a:pt x="5873" y="13199"/>
                  </a:cubicBezTo>
                  <a:cubicBezTo>
                    <a:pt x="10231" y="17559"/>
                    <a:pt x="11757" y="16033"/>
                    <a:pt x="11321" y="7749"/>
                  </a:cubicBezTo>
                  <a:cubicBezTo>
                    <a:pt x="10885" y="1208"/>
                    <a:pt x="11539" y="-318"/>
                    <a:pt x="14154" y="336"/>
                  </a:cubicBezTo>
                  <a:cubicBezTo>
                    <a:pt x="15897" y="990"/>
                    <a:pt x="20255" y="1426"/>
                    <a:pt x="23524" y="1208"/>
                  </a:cubicBezTo>
                  <a:cubicBezTo>
                    <a:pt x="27882" y="1208"/>
                    <a:pt x="29407" y="2080"/>
                    <a:pt x="28535" y="4261"/>
                  </a:cubicBezTo>
                  <a:cubicBezTo>
                    <a:pt x="27664" y="6005"/>
                    <a:pt x="27228" y="9493"/>
                    <a:pt x="27228" y="11891"/>
                  </a:cubicBezTo>
                  <a:cubicBezTo>
                    <a:pt x="27228" y="15597"/>
                    <a:pt x="26792" y="15815"/>
                    <a:pt x="23959" y="13635"/>
                  </a:cubicBezTo>
                  <a:cubicBezTo>
                    <a:pt x="19165" y="9711"/>
                    <a:pt x="17204" y="12763"/>
                    <a:pt x="21345" y="17559"/>
                  </a:cubicBezTo>
                  <a:cubicBezTo>
                    <a:pt x="26356" y="23227"/>
                    <a:pt x="26139" y="28895"/>
                    <a:pt x="20691" y="28895"/>
                  </a:cubicBezTo>
                  <a:cubicBezTo>
                    <a:pt x="18294" y="28895"/>
                    <a:pt x="16333" y="29985"/>
                    <a:pt x="16333" y="31075"/>
                  </a:cubicBezTo>
                  <a:cubicBezTo>
                    <a:pt x="16333" y="35000"/>
                    <a:pt x="13064" y="33474"/>
                    <a:pt x="4130" y="25625"/>
                  </a:cubicBezTo>
                  <a:close/>
                </a:path>
              </a:pathLst>
            </a:custGeom>
            <a:grpFill/>
            <a:ln w="218" cap="flat">
              <a:noFill/>
              <a:prstDash val="solid"/>
              <a:miter/>
            </a:ln>
          </p:spPr>
          <p:txBody>
            <a:bodyPr rtlCol="0" anchor="ctr"/>
            <a:lstStyle/>
            <a:p>
              <a:endParaRPr lang="en-GB" dirty="0"/>
            </a:p>
          </p:txBody>
        </p:sp>
        <p:sp>
          <p:nvSpPr>
            <p:cNvPr id="223" name="Freihandform: Form 222">
              <a:extLst>
                <a:ext uri="{FF2B5EF4-FFF2-40B4-BE49-F238E27FC236}">
                  <a16:creationId xmlns:a16="http://schemas.microsoft.com/office/drawing/2014/main" xmlns="" id="{CB3032A1-2B7B-4CB3-98C4-102D3636D1D0}"/>
                </a:ext>
              </a:extLst>
            </p:cNvPr>
            <p:cNvSpPr/>
            <p:nvPr/>
          </p:nvSpPr>
          <p:spPr>
            <a:xfrm flipV="1">
              <a:off x="4994684" y="5327988"/>
              <a:ext cx="4358" cy="4360"/>
            </a:xfrm>
            <a:custGeom>
              <a:avLst/>
              <a:gdLst>
                <a:gd name="connsiteX0" fmla="*/ -4707 w 4358"/>
                <a:gd name="connsiteY0" fmla="*/ 2327 h 4360"/>
                <a:gd name="connsiteX1" fmla="*/ -2528 w 4358"/>
                <a:gd name="connsiteY1" fmla="*/ 147 h 4360"/>
                <a:gd name="connsiteX2" fmla="*/ -349 w 4358"/>
                <a:gd name="connsiteY2" fmla="*/ 2327 h 4360"/>
                <a:gd name="connsiteX3" fmla="*/ -2528 w 4358"/>
                <a:gd name="connsiteY3" fmla="*/ 4507 h 4360"/>
                <a:gd name="connsiteX4" fmla="*/ -4707 w 4358"/>
                <a:gd name="connsiteY4" fmla="*/ 2327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4707" y="2327"/>
                  </a:moveTo>
                  <a:cubicBezTo>
                    <a:pt x="-4707" y="1237"/>
                    <a:pt x="-3617" y="147"/>
                    <a:pt x="-2528" y="147"/>
                  </a:cubicBezTo>
                  <a:cubicBezTo>
                    <a:pt x="-1220" y="147"/>
                    <a:pt x="-349" y="1237"/>
                    <a:pt x="-349" y="2327"/>
                  </a:cubicBezTo>
                  <a:cubicBezTo>
                    <a:pt x="-349" y="3635"/>
                    <a:pt x="-1220" y="4507"/>
                    <a:pt x="-2528" y="4507"/>
                  </a:cubicBezTo>
                  <a:cubicBezTo>
                    <a:pt x="-3617" y="4507"/>
                    <a:pt x="-4707" y="3635"/>
                    <a:pt x="-4707" y="2327"/>
                  </a:cubicBezTo>
                  <a:close/>
                </a:path>
              </a:pathLst>
            </a:custGeom>
            <a:grpFill/>
            <a:ln w="218" cap="flat">
              <a:noFill/>
              <a:prstDash val="solid"/>
              <a:miter/>
            </a:ln>
          </p:spPr>
          <p:txBody>
            <a:bodyPr rtlCol="0" anchor="ctr"/>
            <a:lstStyle/>
            <a:p>
              <a:endParaRPr lang="en-GB" dirty="0"/>
            </a:p>
          </p:txBody>
        </p:sp>
        <p:sp>
          <p:nvSpPr>
            <p:cNvPr id="224" name="Freihandform: Form 223">
              <a:extLst>
                <a:ext uri="{FF2B5EF4-FFF2-40B4-BE49-F238E27FC236}">
                  <a16:creationId xmlns:a16="http://schemas.microsoft.com/office/drawing/2014/main" xmlns="" id="{F79A320B-B7D1-4027-B67F-1DFA6C6249CD}"/>
                </a:ext>
              </a:extLst>
            </p:cNvPr>
            <p:cNvSpPr/>
            <p:nvPr/>
          </p:nvSpPr>
          <p:spPr>
            <a:xfrm flipV="1">
              <a:off x="4546252" y="5339111"/>
              <a:ext cx="16630" cy="15341"/>
            </a:xfrm>
            <a:custGeom>
              <a:avLst/>
              <a:gdLst>
                <a:gd name="connsiteX0" fmla="*/ -2029 w 16630"/>
                <a:gd name="connsiteY0" fmla="*/ 10999 h 15341"/>
                <a:gd name="connsiteX1" fmla="*/ 9302 w 16630"/>
                <a:gd name="connsiteY1" fmla="*/ 4023 h 15341"/>
                <a:gd name="connsiteX2" fmla="*/ 8212 w 16630"/>
                <a:gd name="connsiteY2" fmla="*/ 13179 h 15341"/>
                <a:gd name="connsiteX3" fmla="*/ -2029 w 16630"/>
                <a:gd name="connsiteY3" fmla="*/ 10999 h 15341"/>
              </a:gdLst>
              <a:ahLst/>
              <a:cxnLst>
                <a:cxn ang="0">
                  <a:pos x="connsiteX0" y="connsiteY0"/>
                </a:cxn>
                <a:cxn ang="0">
                  <a:pos x="connsiteX1" y="connsiteY1"/>
                </a:cxn>
                <a:cxn ang="0">
                  <a:pos x="connsiteX2" y="connsiteY2"/>
                </a:cxn>
                <a:cxn ang="0">
                  <a:pos x="connsiteX3" y="connsiteY3"/>
                </a:cxn>
              </a:cxnLst>
              <a:rect l="l" t="t" r="r" b="b"/>
              <a:pathLst>
                <a:path w="16630" h="15341">
                  <a:moveTo>
                    <a:pt x="-2029" y="10999"/>
                  </a:moveTo>
                  <a:cubicBezTo>
                    <a:pt x="-4862" y="-119"/>
                    <a:pt x="-504" y="-2953"/>
                    <a:pt x="9302" y="4023"/>
                  </a:cubicBezTo>
                  <a:cubicBezTo>
                    <a:pt x="15403" y="8383"/>
                    <a:pt x="15403" y="9691"/>
                    <a:pt x="8212" y="13179"/>
                  </a:cubicBezTo>
                  <a:cubicBezTo>
                    <a:pt x="368" y="16668"/>
                    <a:pt x="-504" y="16668"/>
                    <a:pt x="-2029" y="10999"/>
                  </a:cubicBezTo>
                  <a:close/>
                </a:path>
              </a:pathLst>
            </a:custGeom>
            <a:grpFill/>
            <a:ln w="218" cap="flat">
              <a:noFill/>
              <a:prstDash val="solid"/>
              <a:miter/>
            </a:ln>
          </p:spPr>
          <p:txBody>
            <a:bodyPr rtlCol="0" anchor="ctr"/>
            <a:lstStyle/>
            <a:p>
              <a:endParaRPr lang="en-GB" dirty="0"/>
            </a:p>
          </p:txBody>
        </p:sp>
        <p:sp>
          <p:nvSpPr>
            <p:cNvPr id="225" name="Freihandform: Form 224">
              <a:extLst>
                <a:ext uri="{FF2B5EF4-FFF2-40B4-BE49-F238E27FC236}">
                  <a16:creationId xmlns:a16="http://schemas.microsoft.com/office/drawing/2014/main" xmlns="" id="{A3926CA4-3570-48A8-AF10-7DD3EAA0709E}"/>
                </a:ext>
              </a:extLst>
            </p:cNvPr>
            <p:cNvSpPr/>
            <p:nvPr/>
          </p:nvSpPr>
          <p:spPr>
            <a:xfrm flipV="1">
              <a:off x="4605121" y="5339052"/>
              <a:ext cx="3721" cy="6371"/>
            </a:xfrm>
            <a:custGeom>
              <a:avLst/>
              <a:gdLst>
                <a:gd name="connsiteX0" fmla="*/ -2281 w 3721"/>
                <a:gd name="connsiteY0" fmla="*/ 4780 h 6371"/>
                <a:gd name="connsiteX1" fmla="*/ -2717 w 3721"/>
                <a:gd name="connsiteY1" fmla="*/ 856 h 6371"/>
                <a:gd name="connsiteX2" fmla="*/ 334 w 3721"/>
                <a:gd name="connsiteY2" fmla="*/ 4780 h 6371"/>
                <a:gd name="connsiteX3" fmla="*/ -2281 w 3721"/>
                <a:gd name="connsiteY3" fmla="*/ 4780 h 6371"/>
              </a:gdLst>
              <a:ahLst/>
              <a:cxnLst>
                <a:cxn ang="0">
                  <a:pos x="connsiteX0" y="connsiteY0"/>
                </a:cxn>
                <a:cxn ang="0">
                  <a:pos x="connsiteX1" y="connsiteY1"/>
                </a:cxn>
                <a:cxn ang="0">
                  <a:pos x="connsiteX2" y="connsiteY2"/>
                </a:cxn>
                <a:cxn ang="0">
                  <a:pos x="connsiteX3" y="connsiteY3"/>
                </a:cxn>
              </a:cxnLst>
              <a:rect l="l" t="t" r="r" b="b"/>
              <a:pathLst>
                <a:path w="3721" h="6371">
                  <a:moveTo>
                    <a:pt x="-2281" y="4780"/>
                  </a:moveTo>
                  <a:cubicBezTo>
                    <a:pt x="-3152" y="3254"/>
                    <a:pt x="-3370" y="1510"/>
                    <a:pt x="-2717" y="856"/>
                  </a:cubicBezTo>
                  <a:cubicBezTo>
                    <a:pt x="-755" y="-1106"/>
                    <a:pt x="1424" y="1728"/>
                    <a:pt x="334" y="4780"/>
                  </a:cubicBezTo>
                  <a:cubicBezTo>
                    <a:pt x="-538" y="7178"/>
                    <a:pt x="-973" y="7178"/>
                    <a:pt x="-2281" y="4780"/>
                  </a:cubicBezTo>
                  <a:close/>
                </a:path>
              </a:pathLst>
            </a:custGeom>
            <a:grpFill/>
            <a:ln w="218" cap="flat">
              <a:noFill/>
              <a:prstDash val="solid"/>
              <a:miter/>
            </a:ln>
          </p:spPr>
          <p:txBody>
            <a:bodyPr rtlCol="0" anchor="ctr"/>
            <a:lstStyle/>
            <a:p>
              <a:endParaRPr lang="en-GB" dirty="0"/>
            </a:p>
          </p:txBody>
        </p:sp>
        <p:sp>
          <p:nvSpPr>
            <p:cNvPr id="226" name="Freihandform: Form 225">
              <a:extLst>
                <a:ext uri="{FF2B5EF4-FFF2-40B4-BE49-F238E27FC236}">
                  <a16:creationId xmlns:a16="http://schemas.microsoft.com/office/drawing/2014/main" xmlns="" id="{F6FDAE98-EEA4-4828-A0FD-37F0028B7BD0}"/>
                </a:ext>
              </a:extLst>
            </p:cNvPr>
            <p:cNvSpPr/>
            <p:nvPr/>
          </p:nvSpPr>
          <p:spPr>
            <a:xfrm flipV="1">
              <a:off x="4674360" y="5338888"/>
              <a:ext cx="4358" cy="4360"/>
            </a:xfrm>
            <a:custGeom>
              <a:avLst/>
              <a:gdLst>
                <a:gd name="connsiteX0" fmla="*/ -3384 w 4358"/>
                <a:gd name="connsiteY0" fmla="*/ 2382 h 4360"/>
                <a:gd name="connsiteX1" fmla="*/ -1205 w 4358"/>
                <a:gd name="connsiteY1" fmla="*/ 202 h 4360"/>
                <a:gd name="connsiteX2" fmla="*/ 974 w 4358"/>
                <a:gd name="connsiteY2" fmla="*/ 2382 h 4360"/>
                <a:gd name="connsiteX3" fmla="*/ -1205 w 4358"/>
                <a:gd name="connsiteY3" fmla="*/ 4562 h 4360"/>
                <a:gd name="connsiteX4" fmla="*/ -3384 w 4358"/>
                <a:gd name="connsiteY4" fmla="*/ 2382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3384" y="2382"/>
                  </a:moveTo>
                  <a:cubicBezTo>
                    <a:pt x="-3384" y="1292"/>
                    <a:pt x="-2294" y="202"/>
                    <a:pt x="-1205" y="202"/>
                  </a:cubicBezTo>
                  <a:cubicBezTo>
                    <a:pt x="103" y="202"/>
                    <a:pt x="974" y="1292"/>
                    <a:pt x="974" y="2382"/>
                  </a:cubicBezTo>
                  <a:cubicBezTo>
                    <a:pt x="974" y="3690"/>
                    <a:pt x="103" y="4562"/>
                    <a:pt x="-1205" y="4562"/>
                  </a:cubicBezTo>
                  <a:cubicBezTo>
                    <a:pt x="-2294" y="4562"/>
                    <a:pt x="-3384" y="3690"/>
                    <a:pt x="-3384" y="2382"/>
                  </a:cubicBezTo>
                  <a:close/>
                </a:path>
              </a:pathLst>
            </a:custGeom>
            <a:grpFill/>
            <a:ln w="218" cap="flat">
              <a:noFill/>
              <a:prstDash val="solid"/>
              <a:miter/>
            </a:ln>
          </p:spPr>
          <p:txBody>
            <a:bodyPr rtlCol="0" anchor="ctr"/>
            <a:lstStyle/>
            <a:p>
              <a:endParaRPr lang="en-GB" dirty="0"/>
            </a:p>
          </p:txBody>
        </p:sp>
        <p:sp>
          <p:nvSpPr>
            <p:cNvPr id="227" name="Freihandform: Form 226">
              <a:extLst>
                <a:ext uri="{FF2B5EF4-FFF2-40B4-BE49-F238E27FC236}">
                  <a16:creationId xmlns:a16="http://schemas.microsoft.com/office/drawing/2014/main" xmlns="" id="{C3AB46EA-5171-4058-A310-925C510A7D97}"/>
                </a:ext>
              </a:extLst>
            </p:cNvPr>
            <p:cNvSpPr/>
            <p:nvPr/>
          </p:nvSpPr>
          <p:spPr>
            <a:xfrm flipV="1">
              <a:off x="4922121" y="5341807"/>
              <a:ext cx="21769" cy="38076"/>
            </a:xfrm>
            <a:custGeom>
              <a:avLst/>
              <a:gdLst>
                <a:gd name="connsiteX0" fmla="*/ 4055 w 21769"/>
                <a:gd name="connsiteY0" fmla="*/ 37591 h 38076"/>
                <a:gd name="connsiteX1" fmla="*/ 4055 w 21769"/>
                <a:gd name="connsiteY1" fmla="*/ 31487 h 38076"/>
                <a:gd name="connsiteX2" fmla="*/ 351 w 21769"/>
                <a:gd name="connsiteY2" fmla="*/ 24729 h 38076"/>
                <a:gd name="connsiteX3" fmla="*/ -4443 w 21769"/>
                <a:gd name="connsiteY3" fmla="*/ 22549 h 38076"/>
                <a:gd name="connsiteX4" fmla="*/ 2094 w 21769"/>
                <a:gd name="connsiteY4" fmla="*/ 14919 h 38076"/>
                <a:gd name="connsiteX5" fmla="*/ 10157 w 21769"/>
                <a:gd name="connsiteY5" fmla="*/ 3364 h 38076"/>
                <a:gd name="connsiteX6" fmla="*/ 14951 w 21769"/>
                <a:gd name="connsiteY6" fmla="*/ 2492 h 38076"/>
                <a:gd name="connsiteX7" fmla="*/ 16040 w 21769"/>
                <a:gd name="connsiteY7" fmla="*/ 10558 h 38076"/>
                <a:gd name="connsiteX8" fmla="*/ 14951 w 21769"/>
                <a:gd name="connsiteY8" fmla="*/ 20369 h 38076"/>
                <a:gd name="connsiteX9" fmla="*/ 13861 w 21769"/>
                <a:gd name="connsiteY9" fmla="*/ 26909 h 38076"/>
                <a:gd name="connsiteX10" fmla="*/ 11464 w 21769"/>
                <a:gd name="connsiteY10" fmla="*/ 32577 h 38076"/>
                <a:gd name="connsiteX11" fmla="*/ 4055 w 21769"/>
                <a:gd name="connsiteY11" fmla="*/ 37591 h 38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769" h="38076">
                  <a:moveTo>
                    <a:pt x="4055" y="37591"/>
                  </a:moveTo>
                  <a:cubicBezTo>
                    <a:pt x="3401" y="36937"/>
                    <a:pt x="3401" y="34103"/>
                    <a:pt x="4055" y="31487"/>
                  </a:cubicBezTo>
                  <a:cubicBezTo>
                    <a:pt x="4927" y="27999"/>
                    <a:pt x="3837" y="26255"/>
                    <a:pt x="351" y="24729"/>
                  </a:cubicBezTo>
                  <a:lnTo>
                    <a:pt x="-4443" y="22549"/>
                  </a:lnTo>
                  <a:lnTo>
                    <a:pt x="2094" y="14919"/>
                  </a:lnTo>
                  <a:cubicBezTo>
                    <a:pt x="5580" y="10994"/>
                    <a:pt x="9285" y="5544"/>
                    <a:pt x="10157" y="3364"/>
                  </a:cubicBezTo>
                  <a:cubicBezTo>
                    <a:pt x="11464" y="-560"/>
                    <a:pt x="11900" y="-560"/>
                    <a:pt x="14951" y="2492"/>
                  </a:cubicBezTo>
                  <a:cubicBezTo>
                    <a:pt x="17783" y="5108"/>
                    <a:pt x="18001" y="6852"/>
                    <a:pt x="16040" y="10558"/>
                  </a:cubicBezTo>
                  <a:cubicBezTo>
                    <a:pt x="14733" y="12956"/>
                    <a:pt x="14079" y="17317"/>
                    <a:pt x="14951" y="20369"/>
                  </a:cubicBezTo>
                  <a:cubicBezTo>
                    <a:pt x="15604" y="23203"/>
                    <a:pt x="15168" y="26255"/>
                    <a:pt x="13861" y="26909"/>
                  </a:cubicBezTo>
                  <a:cubicBezTo>
                    <a:pt x="12554" y="27781"/>
                    <a:pt x="11464" y="30179"/>
                    <a:pt x="11464" y="32577"/>
                  </a:cubicBezTo>
                  <a:cubicBezTo>
                    <a:pt x="11464" y="36501"/>
                    <a:pt x="6452" y="39989"/>
                    <a:pt x="4055" y="37591"/>
                  </a:cubicBezTo>
                  <a:close/>
                </a:path>
              </a:pathLst>
            </a:custGeom>
            <a:grpFill/>
            <a:ln w="218" cap="flat">
              <a:noFill/>
              <a:prstDash val="solid"/>
              <a:miter/>
            </a:ln>
          </p:spPr>
          <p:txBody>
            <a:bodyPr rtlCol="0" anchor="ctr"/>
            <a:lstStyle/>
            <a:p>
              <a:endParaRPr lang="en-GB" dirty="0"/>
            </a:p>
          </p:txBody>
        </p:sp>
        <p:sp>
          <p:nvSpPr>
            <p:cNvPr id="228" name="Freihandform: Form 227">
              <a:extLst>
                <a:ext uri="{FF2B5EF4-FFF2-40B4-BE49-F238E27FC236}">
                  <a16:creationId xmlns:a16="http://schemas.microsoft.com/office/drawing/2014/main" xmlns="" id="{08AEF205-07FF-4C55-8794-88C0AA612EDF}"/>
                </a:ext>
              </a:extLst>
            </p:cNvPr>
            <p:cNvSpPr/>
            <p:nvPr/>
          </p:nvSpPr>
          <p:spPr>
            <a:xfrm flipV="1">
              <a:off x="4942386" y="5341068"/>
              <a:ext cx="55648" cy="75333"/>
            </a:xfrm>
            <a:custGeom>
              <a:avLst/>
              <a:gdLst>
                <a:gd name="connsiteX0" fmla="*/ -4597 w 55648"/>
                <a:gd name="connsiteY0" fmla="*/ 73546 h 75333"/>
                <a:gd name="connsiteX1" fmla="*/ -1546 w 55648"/>
                <a:gd name="connsiteY1" fmla="*/ 69840 h 75333"/>
                <a:gd name="connsiteX2" fmla="*/ 6081 w 55648"/>
                <a:gd name="connsiteY2" fmla="*/ 51091 h 75333"/>
                <a:gd name="connsiteX3" fmla="*/ 10657 w 55648"/>
                <a:gd name="connsiteY3" fmla="*/ 40191 h 75333"/>
                <a:gd name="connsiteX4" fmla="*/ 15015 w 55648"/>
                <a:gd name="connsiteY4" fmla="*/ 37138 h 75333"/>
                <a:gd name="connsiteX5" fmla="*/ 8042 w 55648"/>
                <a:gd name="connsiteY5" fmla="*/ 33650 h 75333"/>
                <a:gd name="connsiteX6" fmla="*/ 4119 w 55648"/>
                <a:gd name="connsiteY6" fmla="*/ 33650 h 75333"/>
                <a:gd name="connsiteX7" fmla="*/ 6516 w 55648"/>
                <a:gd name="connsiteY7" fmla="*/ 29944 h 75333"/>
                <a:gd name="connsiteX8" fmla="*/ 8042 w 55648"/>
                <a:gd name="connsiteY8" fmla="*/ 25802 h 75333"/>
                <a:gd name="connsiteX9" fmla="*/ 30268 w 55648"/>
                <a:gd name="connsiteY9" fmla="*/ 513 h 75333"/>
                <a:gd name="connsiteX10" fmla="*/ 29179 w 55648"/>
                <a:gd name="connsiteY10" fmla="*/ 11850 h 75333"/>
                <a:gd name="connsiteX11" fmla="*/ 28961 w 55648"/>
                <a:gd name="connsiteY11" fmla="*/ 34304 h 75333"/>
                <a:gd name="connsiteX12" fmla="*/ 48572 w 55648"/>
                <a:gd name="connsiteY12" fmla="*/ 52399 h 75333"/>
                <a:gd name="connsiteX13" fmla="*/ 48790 w 55648"/>
                <a:gd name="connsiteY13" fmla="*/ 61773 h 75333"/>
                <a:gd name="connsiteX14" fmla="*/ 46611 w 55648"/>
                <a:gd name="connsiteY14" fmla="*/ 69404 h 75333"/>
                <a:gd name="connsiteX15" fmla="*/ 42471 w 55648"/>
                <a:gd name="connsiteY15" fmla="*/ 73546 h 75333"/>
                <a:gd name="connsiteX16" fmla="*/ 36370 w 55648"/>
                <a:gd name="connsiteY16" fmla="*/ 67005 h 75333"/>
                <a:gd name="connsiteX17" fmla="*/ 35716 w 55648"/>
                <a:gd name="connsiteY17" fmla="*/ 53925 h 75333"/>
                <a:gd name="connsiteX18" fmla="*/ 29179 w 55648"/>
                <a:gd name="connsiteY18" fmla="*/ 46077 h 75333"/>
                <a:gd name="connsiteX19" fmla="*/ 27000 w 55648"/>
                <a:gd name="connsiteY19" fmla="*/ 51527 h 75333"/>
                <a:gd name="connsiteX20" fmla="*/ 25910 w 55648"/>
                <a:gd name="connsiteY20" fmla="*/ 61555 h 75333"/>
                <a:gd name="connsiteX21" fmla="*/ 20245 w 55648"/>
                <a:gd name="connsiteY21" fmla="*/ 64607 h 75333"/>
                <a:gd name="connsiteX22" fmla="*/ 14797 w 55648"/>
                <a:gd name="connsiteY22" fmla="*/ 65261 h 75333"/>
                <a:gd name="connsiteX23" fmla="*/ 633 w 55648"/>
                <a:gd name="connsiteY23" fmla="*/ 75726 h 75333"/>
                <a:gd name="connsiteX24" fmla="*/ -4597 w 55648"/>
                <a:gd name="connsiteY24" fmla="*/ 73546 h 75333"/>
                <a:gd name="connsiteX25" fmla="*/ 15451 w 55648"/>
                <a:gd name="connsiteY25" fmla="*/ 53489 h 75333"/>
                <a:gd name="connsiteX26" fmla="*/ 12836 w 55648"/>
                <a:gd name="connsiteY26" fmla="*/ 53053 h 75333"/>
                <a:gd name="connsiteX27" fmla="*/ 16976 w 55648"/>
                <a:gd name="connsiteY27" fmla="*/ 57195 h 75333"/>
                <a:gd name="connsiteX28" fmla="*/ 15451 w 55648"/>
                <a:gd name="connsiteY28" fmla="*/ 53489 h 75333"/>
                <a:gd name="connsiteX29" fmla="*/ 25910 w 55648"/>
                <a:gd name="connsiteY29" fmla="*/ 39973 h 75333"/>
                <a:gd name="connsiteX30" fmla="*/ 23731 w 55648"/>
                <a:gd name="connsiteY30" fmla="*/ 37574 h 75333"/>
                <a:gd name="connsiteX31" fmla="*/ 21552 w 55648"/>
                <a:gd name="connsiteY31" fmla="*/ 38446 h 75333"/>
                <a:gd name="connsiteX32" fmla="*/ 23731 w 55648"/>
                <a:gd name="connsiteY32" fmla="*/ 40845 h 75333"/>
                <a:gd name="connsiteX33" fmla="*/ 25910 w 55648"/>
                <a:gd name="connsiteY33" fmla="*/ 39973 h 75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5648" h="75333">
                  <a:moveTo>
                    <a:pt x="-4597" y="73546"/>
                  </a:moveTo>
                  <a:cubicBezTo>
                    <a:pt x="-4597" y="72456"/>
                    <a:pt x="-3289" y="70712"/>
                    <a:pt x="-1546" y="69840"/>
                  </a:cubicBezTo>
                  <a:cubicBezTo>
                    <a:pt x="3684" y="66787"/>
                    <a:pt x="8260" y="55233"/>
                    <a:pt x="6081" y="51091"/>
                  </a:cubicBezTo>
                  <a:cubicBezTo>
                    <a:pt x="2812" y="45423"/>
                    <a:pt x="5645" y="38883"/>
                    <a:pt x="10657" y="40191"/>
                  </a:cubicBezTo>
                  <a:cubicBezTo>
                    <a:pt x="13925" y="41063"/>
                    <a:pt x="15015" y="40191"/>
                    <a:pt x="15015" y="37138"/>
                  </a:cubicBezTo>
                  <a:cubicBezTo>
                    <a:pt x="15015" y="30816"/>
                    <a:pt x="12618" y="29508"/>
                    <a:pt x="8042" y="33650"/>
                  </a:cubicBezTo>
                  <a:cubicBezTo>
                    <a:pt x="4337" y="36920"/>
                    <a:pt x="4119" y="36920"/>
                    <a:pt x="4119" y="33650"/>
                  </a:cubicBezTo>
                  <a:cubicBezTo>
                    <a:pt x="4119" y="31470"/>
                    <a:pt x="5209" y="29944"/>
                    <a:pt x="6516" y="29944"/>
                  </a:cubicBezTo>
                  <a:cubicBezTo>
                    <a:pt x="7606" y="29944"/>
                    <a:pt x="8478" y="28200"/>
                    <a:pt x="8042" y="25802"/>
                  </a:cubicBezTo>
                  <a:cubicBezTo>
                    <a:pt x="7170" y="21006"/>
                    <a:pt x="27000" y="-1449"/>
                    <a:pt x="30268" y="513"/>
                  </a:cubicBezTo>
                  <a:cubicBezTo>
                    <a:pt x="33537" y="2475"/>
                    <a:pt x="32883" y="9888"/>
                    <a:pt x="29179" y="11850"/>
                  </a:cubicBezTo>
                  <a:cubicBezTo>
                    <a:pt x="23949" y="14902"/>
                    <a:pt x="23731" y="34304"/>
                    <a:pt x="28961" y="34304"/>
                  </a:cubicBezTo>
                  <a:cubicBezTo>
                    <a:pt x="32883" y="34304"/>
                    <a:pt x="43343" y="44115"/>
                    <a:pt x="48572" y="52399"/>
                  </a:cubicBezTo>
                  <a:cubicBezTo>
                    <a:pt x="51841" y="57849"/>
                    <a:pt x="51841" y="58721"/>
                    <a:pt x="48790" y="61773"/>
                  </a:cubicBezTo>
                  <a:cubicBezTo>
                    <a:pt x="46829" y="63735"/>
                    <a:pt x="45958" y="67005"/>
                    <a:pt x="46611" y="69404"/>
                  </a:cubicBezTo>
                  <a:cubicBezTo>
                    <a:pt x="47701" y="72674"/>
                    <a:pt x="46829" y="73546"/>
                    <a:pt x="42471" y="73546"/>
                  </a:cubicBezTo>
                  <a:cubicBezTo>
                    <a:pt x="37677" y="73546"/>
                    <a:pt x="36805" y="72456"/>
                    <a:pt x="36370" y="67005"/>
                  </a:cubicBezTo>
                  <a:cubicBezTo>
                    <a:pt x="36152" y="63517"/>
                    <a:pt x="35934" y="57413"/>
                    <a:pt x="35716" y="53925"/>
                  </a:cubicBezTo>
                  <a:cubicBezTo>
                    <a:pt x="35280" y="45859"/>
                    <a:pt x="33755" y="44333"/>
                    <a:pt x="29179" y="46077"/>
                  </a:cubicBezTo>
                  <a:cubicBezTo>
                    <a:pt x="26782" y="46949"/>
                    <a:pt x="26128" y="48911"/>
                    <a:pt x="27000" y="51527"/>
                  </a:cubicBezTo>
                  <a:cubicBezTo>
                    <a:pt x="27653" y="53707"/>
                    <a:pt x="27218" y="58285"/>
                    <a:pt x="25910" y="61555"/>
                  </a:cubicBezTo>
                  <a:cubicBezTo>
                    <a:pt x="23949" y="66569"/>
                    <a:pt x="23077" y="67005"/>
                    <a:pt x="20245" y="64607"/>
                  </a:cubicBezTo>
                  <a:cubicBezTo>
                    <a:pt x="17412" y="62209"/>
                    <a:pt x="16540" y="62427"/>
                    <a:pt x="14797" y="65261"/>
                  </a:cubicBezTo>
                  <a:cubicBezTo>
                    <a:pt x="11092" y="72020"/>
                    <a:pt x="6081" y="75726"/>
                    <a:pt x="633" y="75726"/>
                  </a:cubicBezTo>
                  <a:cubicBezTo>
                    <a:pt x="-2200" y="75726"/>
                    <a:pt x="-4597" y="74854"/>
                    <a:pt x="-4597" y="73546"/>
                  </a:cubicBezTo>
                  <a:close/>
                  <a:moveTo>
                    <a:pt x="15451" y="53489"/>
                  </a:moveTo>
                  <a:cubicBezTo>
                    <a:pt x="13925" y="51963"/>
                    <a:pt x="12836" y="51745"/>
                    <a:pt x="12836" y="53053"/>
                  </a:cubicBezTo>
                  <a:cubicBezTo>
                    <a:pt x="12836" y="56105"/>
                    <a:pt x="15451" y="58721"/>
                    <a:pt x="16976" y="57195"/>
                  </a:cubicBezTo>
                  <a:cubicBezTo>
                    <a:pt x="17412" y="56541"/>
                    <a:pt x="16758" y="54797"/>
                    <a:pt x="15451" y="53489"/>
                  </a:cubicBezTo>
                  <a:close/>
                  <a:moveTo>
                    <a:pt x="25910" y="39973"/>
                  </a:moveTo>
                  <a:cubicBezTo>
                    <a:pt x="25910" y="39319"/>
                    <a:pt x="25038" y="38228"/>
                    <a:pt x="23731" y="37574"/>
                  </a:cubicBezTo>
                  <a:cubicBezTo>
                    <a:pt x="22642" y="36920"/>
                    <a:pt x="21552" y="37356"/>
                    <a:pt x="21552" y="38446"/>
                  </a:cubicBezTo>
                  <a:cubicBezTo>
                    <a:pt x="21552" y="39755"/>
                    <a:pt x="22642" y="40845"/>
                    <a:pt x="23731" y="40845"/>
                  </a:cubicBezTo>
                  <a:cubicBezTo>
                    <a:pt x="25038" y="40845"/>
                    <a:pt x="25910" y="40409"/>
                    <a:pt x="25910" y="39973"/>
                  </a:cubicBezTo>
                  <a:close/>
                </a:path>
              </a:pathLst>
            </a:custGeom>
            <a:grpFill/>
            <a:ln w="218" cap="flat">
              <a:noFill/>
              <a:prstDash val="solid"/>
              <a:miter/>
            </a:ln>
          </p:spPr>
          <p:txBody>
            <a:bodyPr rtlCol="0" anchor="ctr"/>
            <a:lstStyle/>
            <a:p>
              <a:endParaRPr lang="en-GB" dirty="0"/>
            </a:p>
          </p:txBody>
        </p:sp>
        <p:sp>
          <p:nvSpPr>
            <p:cNvPr id="229" name="Freihandform: Form 228">
              <a:extLst>
                <a:ext uri="{FF2B5EF4-FFF2-40B4-BE49-F238E27FC236}">
                  <a16:creationId xmlns:a16="http://schemas.microsoft.com/office/drawing/2014/main" xmlns="" id="{D301E0A1-5EFB-4384-A6E7-46B66F3AE5A6}"/>
                </a:ext>
              </a:extLst>
            </p:cNvPr>
            <p:cNvSpPr/>
            <p:nvPr/>
          </p:nvSpPr>
          <p:spPr>
            <a:xfrm flipV="1">
              <a:off x="5258352" y="5341420"/>
              <a:ext cx="4793" cy="5836"/>
            </a:xfrm>
            <a:custGeom>
              <a:avLst/>
              <a:gdLst>
                <a:gd name="connsiteX0" fmla="*/ -5797 w 4793"/>
                <a:gd name="connsiteY0" fmla="*/ 3137 h 5836"/>
                <a:gd name="connsiteX1" fmla="*/ -3400 w 4793"/>
                <a:gd name="connsiteY1" fmla="*/ 303 h 5836"/>
                <a:gd name="connsiteX2" fmla="*/ -1003 w 4793"/>
                <a:gd name="connsiteY2" fmla="*/ 3137 h 5836"/>
                <a:gd name="connsiteX3" fmla="*/ -3400 w 4793"/>
                <a:gd name="connsiteY3" fmla="*/ 5971 h 5836"/>
                <a:gd name="connsiteX4" fmla="*/ -5797 w 4793"/>
                <a:gd name="connsiteY4" fmla="*/ 3137 h 5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3" h="5836">
                  <a:moveTo>
                    <a:pt x="-5797" y="3137"/>
                  </a:moveTo>
                  <a:cubicBezTo>
                    <a:pt x="-5797" y="1175"/>
                    <a:pt x="-4707" y="-133"/>
                    <a:pt x="-3400" y="303"/>
                  </a:cubicBezTo>
                  <a:cubicBezTo>
                    <a:pt x="-2092" y="739"/>
                    <a:pt x="-1003" y="2047"/>
                    <a:pt x="-1003" y="3137"/>
                  </a:cubicBezTo>
                  <a:cubicBezTo>
                    <a:pt x="-1003" y="4227"/>
                    <a:pt x="-2092" y="5535"/>
                    <a:pt x="-3400" y="5971"/>
                  </a:cubicBezTo>
                  <a:cubicBezTo>
                    <a:pt x="-4707" y="6407"/>
                    <a:pt x="-5797" y="5099"/>
                    <a:pt x="-5797" y="3137"/>
                  </a:cubicBezTo>
                  <a:close/>
                </a:path>
              </a:pathLst>
            </a:custGeom>
            <a:grpFill/>
            <a:ln w="218" cap="flat">
              <a:noFill/>
              <a:prstDash val="solid"/>
              <a:miter/>
            </a:ln>
          </p:spPr>
          <p:txBody>
            <a:bodyPr rtlCol="0" anchor="ctr"/>
            <a:lstStyle/>
            <a:p>
              <a:endParaRPr lang="en-GB" dirty="0"/>
            </a:p>
          </p:txBody>
        </p:sp>
        <p:sp>
          <p:nvSpPr>
            <p:cNvPr id="230" name="Freihandform: Form 229">
              <a:extLst>
                <a:ext uri="{FF2B5EF4-FFF2-40B4-BE49-F238E27FC236}">
                  <a16:creationId xmlns:a16="http://schemas.microsoft.com/office/drawing/2014/main" xmlns="" id="{7A23D4DF-2039-4FB2-BD55-ECA4C3F111EC}"/>
                </a:ext>
              </a:extLst>
            </p:cNvPr>
            <p:cNvSpPr/>
            <p:nvPr/>
          </p:nvSpPr>
          <p:spPr>
            <a:xfrm flipV="1">
              <a:off x="4657597" y="5343691"/>
              <a:ext cx="13920" cy="22387"/>
            </a:xfrm>
            <a:custGeom>
              <a:avLst/>
              <a:gdLst>
                <a:gd name="connsiteX0" fmla="*/ -2043 w 13920"/>
                <a:gd name="connsiteY0" fmla="*/ 17869 h 22387"/>
                <a:gd name="connsiteX1" fmla="*/ 354 w 13920"/>
                <a:gd name="connsiteY1" fmla="*/ 5661 h 22387"/>
                <a:gd name="connsiteX2" fmla="*/ 8635 w 13920"/>
                <a:gd name="connsiteY2" fmla="*/ 1954 h 22387"/>
                <a:gd name="connsiteX3" fmla="*/ 7763 w 13920"/>
                <a:gd name="connsiteY3" fmla="*/ 14163 h 22387"/>
                <a:gd name="connsiteX4" fmla="*/ -2043 w 13920"/>
                <a:gd name="connsiteY4" fmla="*/ 17869 h 2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20" h="22387">
                  <a:moveTo>
                    <a:pt x="-2043" y="17869"/>
                  </a:moveTo>
                  <a:cubicBezTo>
                    <a:pt x="-4222" y="13509"/>
                    <a:pt x="-3786" y="11329"/>
                    <a:pt x="354" y="5661"/>
                  </a:cubicBezTo>
                  <a:cubicBezTo>
                    <a:pt x="4713" y="-444"/>
                    <a:pt x="5584" y="-880"/>
                    <a:pt x="8635" y="1954"/>
                  </a:cubicBezTo>
                  <a:cubicBezTo>
                    <a:pt x="11468" y="5006"/>
                    <a:pt x="11250" y="6315"/>
                    <a:pt x="7763" y="14163"/>
                  </a:cubicBezTo>
                  <a:cubicBezTo>
                    <a:pt x="2969" y="24409"/>
                    <a:pt x="1226" y="25063"/>
                    <a:pt x="-2043" y="17869"/>
                  </a:cubicBezTo>
                  <a:close/>
                </a:path>
              </a:pathLst>
            </a:custGeom>
            <a:grpFill/>
            <a:ln w="218" cap="flat">
              <a:noFill/>
              <a:prstDash val="solid"/>
              <a:miter/>
            </a:ln>
          </p:spPr>
          <p:txBody>
            <a:bodyPr rtlCol="0" anchor="ctr"/>
            <a:lstStyle/>
            <a:p>
              <a:endParaRPr lang="en-GB" dirty="0"/>
            </a:p>
          </p:txBody>
        </p:sp>
        <p:sp>
          <p:nvSpPr>
            <p:cNvPr id="231" name="Freihandform: Form 230">
              <a:extLst>
                <a:ext uri="{FF2B5EF4-FFF2-40B4-BE49-F238E27FC236}">
                  <a16:creationId xmlns:a16="http://schemas.microsoft.com/office/drawing/2014/main" xmlns="" id="{DF02ED2A-2160-49A5-9C9C-78B4489A68C7}"/>
                </a:ext>
              </a:extLst>
            </p:cNvPr>
            <p:cNvSpPr/>
            <p:nvPr/>
          </p:nvSpPr>
          <p:spPr>
            <a:xfrm flipV="1">
              <a:off x="5232848" y="5352589"/>
              <a:ext cx="26792" cy="27938"/>
            </a:xfrm>
            <a:custGeom>
              <a:avLst/>
              <a:gdLst>
                <a:gd name="connsiteX0" fmla="*/ 6693 w 26792"/>
                <a:gd name="connsiteY0" fmla="*/ 26492 h 27938"/>
                <a:gd name="connsiteX1" fmla="*/ 1463 w 26792"/>
                <a:gd name="connsiteY1" fmla="*/ 24529 h 27938"/>
                <a:gd name="connsiteX2" fmla="*/ -3549 w 26792"/>
                <a:gd name="connsiteY2" fmla="*/ 16245 h 27938"/>
                <a:gd name="connsiteX3" fmla="*/ 2989 w 26792"/>
                <a:gd name="connsiteY3" fmla="*/ 15591 h 27938"/>
                <a:gd name="connsiteX4" fmla="*/ 7565 w 26792"/>
                <a:gd name="connsiteY4" fmla="*/ 9269 h 27938"/>
                <a:gd name="connsiteX5" fmla="*/ 8872 w 26792"/>
                <a:gd name="connsiteY5" fmla="*/ 331 h 27938"/>
                <a:gd name="connsiteX6" fmla="*/ 14320 w 26792"/>
                <a:gd name="connsiteY6" fmla="*/ 4255 h 27938"/>
                <a:gd name="connsiteX7" fmla="*/ 19767 w 26792"/>
                <a:gd name="connsiteY7" fmla="*/ 15155 h 27938"/>
                <a:gd name="connsiteX8" fmla="*/ 20857 w 26792"/>
                <a:gd name="connsiteY8" fmla="*/ 24965 h 27938"/>
                <a:gd name="connsiteX9" fmla="*/ 14320 w 26792"/>
                <a:gd name="connsiteY9" fmla="*/ 28236 h 27938"/>
                <a:gd name="connsiteX10" fmla="*/ 6693 w 26792"/>
                <a:gd name="connsiteY10" fmla="*/ 26492 h 27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792" h="27938">
                  <a:moveTo>
                    <a:pt x="6693" y="26492"/>
                  </a:moveTo>
                  <a:cubicBezTo>
                    <a:pt x="6693" y="25401"/>
                    <a:pt x="4296" y="24529"/>
                    <a:pt x="1463" y="24529"/>
                  </a:cubicBezTo>
                  <a:cubicBezTo>
                    <a:pt x="-5510" y="24529"/>
                    <a:pt x="-7907" y="20605"/>
                    <a:pt x="-3549" y="16245"/>
                  </a:cubicBezTo>
                  <a:cubicBezTo>
                    <a:pt x="-716" y="13629"/>
                    <a:pt x="592" y="13411"/>
                    <a:pt x="2989" y="15591"/>
                  </a:cubicBezTo>
                  <a:cubicBezTo>
                    <a:pt x="5603" y="17553"/>
                    <a:pt x="6475" y="16463"/>
                    <a:pt x="7565" y="9269"/>
                  </a:cubicBezTo>
                  <a:lnTo>
                    <a:pt x="8872" y="331"/>
                  </a:lnTo>
                  <a:lnTo>
                    <a:pt x="14320" y="4255"/>
                  </a:lnTo>
                  <a:cubicBezTo>
                    <a:pt x="18024" y="6871"/>
                    <a:pt x="19550" y="10359"/>
                    <a:pt x="19767" y="15155"/>
                  </a:cubicBezTo>
                  <a:cubicBezTo>
                    <a:pt x="19767" y="18861"/>
                    <a:pt x="20203" y="23221"/>
                    <a:pt x="20857" y="24965"/>
                  </a:cubicBezTo>
                  <a:cubicBezTo>
                    <a:pt x="21729" y="26928"/>
                    <a:pt x="19767" y="28018"/>
                    <a:pt x="14320" y="28236"/>
                  </a:cubicBezTo>
                  <a:cubicBezTo>
                    <a:pt x="10179" y="28454"/>
                    <a:pt x="6693" y="27582"/>
                    <a:pt x="6693" y="26492"/>
                  </a:cubicBezTo>
                  <a:close/>
                </a:path>
              </a:pathLst>
            </a:custGeom>
            <a:grpFill/>
            <a:ln w="218" cap="flat">
              <a:noFill/>
              <a:prstDash val="solid"/>
              <a:miter/>
            </a:ln>
          </p:spPr>
          <p:txBody>
            <a:bodyPr rtlCol="0" anchor="ctr"/>
            <a:lstStyle/>
            <a:p>
              <a:endParaRPr lang="en-GB" dirty="0"/>
            </a:p>
          </p:txBody>
        </p:sp>
        <p:sp>
          <p:nvSpPr>
            <p:cNvPr id="232" name="Freihandform: Form 231">
              <a:extLst>
                <a:ext uri="{FF2B5EF4-FFF2-40B4-BE49-F238E27FC236}">
                  <a16:creationId xmlns:a16="http://schemas.microsoft.com/office/drawing/2014/main" xmlns="" id="{32ABC0ED-7FEB-4B68-94E7-AD93775BA45F}"/>
                </a:ext>
              </a:extLst>
            </p:cNvPr>
            <p:cNvSpPr/>
            <p:nvPr/>
          </p:nvSpPr>
          <p:spPr>
            <a:xfrm flipV="1">
              <a:off x="4589376" y="5362869"/>
              <a:ext cx="4358" cy="4360"/>
            </a:xfrm>
            <a:custGeom>
              <a:avLst/>
              <a:gdLst>
                <a:gd name="connsiteX0" fmla="*/ -3033 w 4358"/>
                <a:gd name="connsiteY0" fmla="*/ 2503 h 4360"/>
                <a:gd name="connsiteX1" fmla="*/ -854 w 4358"/>
                <a:gd name="connsiteY1" fmla="*/ 323 h 4360"/>
                <a:gd name="connsiteX2" fmla="*/ 1325 w 4358"/>
                <a:gd name="connsiteY2" fmla="*/ 2503 h 4360"/>
                <a:gd name="connsiteX3" fmla="*/ -854 w 4358"/>
                <a:gd name="connsiteY3" fmla="*/ 4683 h 4360"/>
                <a:gd name="connsiteX4" fmla="*/ -3033 w 4358"/>
                <a:gd name="connsiteY4" fmla="*/ 2503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3033" y="2503"/>
                  </a:moveTo>
                  <a:cubicBezTo>
                    <a:pt x="-3033" y="1413"/>
                    <a:pt x="-1943" y="323"/>
                    <a:pt x="-854" y="323"/>
                  </a:cubicBezTo>
                  <a:cubicBezTo>
                    <a:pt x="454" y="323"/>
                    <a:pt x="1325" y="1413"/>
                    <a:pt x="1325" y="2503"/>
                  </a:cubicBezTo>
                  <a:cubicBezTo>
                    <a:pt x="1325" y="3811"/>
                    <a:pt x="454" y="4683"/>
                    <a:pt x="-854" y="4683"/>
                  </a:cubicBezTo>
                  <a:cubicBezTo>
                    <a:pt x="-1943" y="4683"/>
                    <a:pt x="-3033" y="3811"/>
                    <a:pt x="-3033" y="2503"/>
                  </a:cubicBezTo>
                  <a:close/>
                </a:path>
              </a:pathLst>
            </a:custGeom>
            <a:grpFill/>
            <a:ln w="218" cap="flat">
              <a:noFill/>
              <a:prstDash val="solid"/>
              <a:miter/>
            </a:ln>
          </p:spPr>
          <p:txBody>
            <a:bodyPr rtlCol="0" anchor="ctr"/>
            <a:lstStyle/>
            <a:p>
              <a:endParaRPr lang="en-GB" dirty="0"/>
            </a:p>
          </p:txBody>
        </p:sp>
        <p:sp>
          <p:nvSpPr>
            <p:cNvPr id="233" name="Freihandform: Form 232">
              <a:extLst>
                <a:ext uri="{FF2B5EF4-FFF2-40B4-BE49-F238E27FC236}">
                  <a16:creationId xmlns:a16="http://schemas.microsoft.com/office/drawing/2014/main" xmlns="" id="{5829E1EB-B38A-420B-B10D-5FDC87420651}"/>
                </a:ext>
              </a:extLst>
            </p:cNvPr>
            <p:cNvSpPr/>
            <p:nvPr/>
          </p:nvSpPr>
          <p:spPr>
            <a:xfrm flipV="1">
              <a:off x="4285599" y="5365049"/>
              <a:ext cx="82289" cy="67049"/>
            </a:xfrm>
            <a:custGeom>
              <a:avLst/>
              <a:gdLst>
                <a:gd name="connsiteX0" fmla="*/ 12021 w 82289"/>
                <a:gd name="connsiteY0" fmla="*/ 61001 h 67049"/>
                <a:gd name="connsiteX1" fmla="*/ 6573 w 82289"/>
                <a:gd name="connsiteY1" fmla="*/ 54461 h 67049"/>
                <a:gd name="connsiteX2" fmla="*/ 1561 w 82289"/>
                <a:gd name="connsiteY2" fmla="*/ 46395 h 67049"/>
                <a:gd name="connsiteX3" fmla="*/ 12021 w 82289"/>
                <a:gd name="connsiteY3" fmla="*/ 41381 h 67049"/>
                <a:gd name="connsiteX4" fmla="*/ 21391 w 82289"/>
                <a:gd name="connsiteY4" fmla="*/ 47921 h 67049"/>
                <a:gd name="connsiteX5" fmla="*/ 22045 w 82289"/>
                <a:gd name="connsiteY5" fmla="*/ 39201 h 67049"/>
                <a:gd name="connsiteX6" fmla="*/ 8534 w 82289"/>
                <a:gd name="connsiteY6" fmla="*/ 26556 h 67049"/>
                <a:gd name="connsiteX7" fmla="*/ -1054 w 82289"/>
                <a:gd name="connsiteY7" fmla="*/ 21760 h 67049"/>
                <a:gd name="connsiteX8" fmla="*/ 20737 w 82289"/>
                <a:gd name="connsiteY8" fmla="*/ 14348 h 67049"/>
                <a:gd name="connsiteX9" fmla="*/ 26838 w 82289"/>
                <a:gd name="connsiteY9" fmla="*/ 16964 h 67049"/>
                <a:gd name="connsiteX10" fmla="*/ 33376 w 82289"/>
                <a:gd name="connsiteY10" fmla="*/ 9552 h 67049"/>
                <a:gd name="connsiteX11" fmla="*/ 43617 w 82289"/>
                <a:gd name="connsiteY11" fmla="*/ 3011 h 67049"/>
                <a:gd name="connsiteX12" fmla="*/ 56474 w 82289"/>
                <a:gd name="connsiteY12" fmla="*/ 6281 h 67049"/>
                <a:gd name="connsiteX13" fmla="*/ 64319 w 82289"/>
                <a:gd name="connsiteY13" fmla="*/ 3011 h 67049"/>
                <a:gd name="connsiteX14" fmla="*/ 71509 w 82289"/>
                <a:gd name="connsiteY14" fmla="*/ 1049 h 67049"/>
                <a:gd name="connsiteX15" fmla="*/ 77829 w 82289"/>
                <a:gd name="connsiteY15" fmla="*/ 11950 h 67049"/>
                <a:gd name="connsiteX16" fmla="*/ 69766 w 82289"/>
                <a:gd name="connsiteY16" fmla="*/ 18708 h 67049"/>
                <a:gd name="connsiteX17" fmla="*/ 59525 w 82289"/>
                <a:gd name="connsiteY17" fmla="*/ 25030 h 67049"/>
                <a:gd name="connsiteX18" fmla="*/ 54513 w 82289"/>
                <a:gd name="connsiteY18" fmla="*/ 29390 h 67049"/>
                <a:gd name="connsiteX19" fmla="*/ 47322 w 82289"/>
                <a:gd name="connsiteY19" fmla="*/ 31352 h 67049"/>
                <a:gd name="connsiteX20" fmla="*/ 43182 w 82289"/>
                <a:gd name="connsiteY20" fmla="*/ 28736 h 67049"/>
                <a:gd name="connsiteX21" fmla="*/ 33812 w 82289"/>
                <a:gd name="connsiteY21" fmla="*/ 23286 h 67049"/>
                <a:gd name="connsiteX22" fmla="*/ 33376 w 82289"/>
                <a:gd name="connsiteY22" fmla="*/ 34404 h 67049"/>
                <a:gd name="connsiteX23" fmla="*/ 39041 w 82289"/>
                <a:gd name="connsiteY23" fmla="*/ 43343 h 67049"/>
                <a:gd name="connsiteX24" fmla="*/ 45796 w 82289"/>
                <a:gd name="connsiteY24" fmla="*/ 50319 h 67049"/>
                <a:gd name="connsiteX25" fmla="*/ 42964 w 82289"/>
                <a:gd name="connsiteY25" fmla="*/ 61655 h 67049"/>
                <a:gd name="connsiteX26" fmla="*/ 27928 w 82289"/>
                <a:gd name="connsiteY26" fmla="*/ 66888 h 67049"/>
                <a:gd name="connsiteX27" fmla="*/ 12021 w 82289"/>
                <a:gd name="connsiteY27" fmla="*/ 67542 h 67049"/>
                <a:gd name="connsiteX28" fmla="*/ 12021 w 82289"/>
                <a:gd name="connsiteY28" fmla="*/ 61001 h 67049"/>
                <a:gd name="connsiteX29" fmla="*/ 34465 w 82289"/>
                <a:gd name="connsiteY29" fmla="*/ 59475 h 67049"/>
                <a:gd name="connsiteX30" fmla="*/ 26185 w 82289"/>
                <a:gd name="connsiteY30" fmla="*/ 50101 h 67049"/>
                <a:gd name="connsiteX31" fmla="*/ 22045 w 82289"/>
                <a:gd name="connsiteY31" fmla="*/ 59039 h 67049"/>
                <a:gd name="connsiteX32" fmla="*/ 34465 w 82289"/>
                <a:gd name="connsiteY32" fmla="*/ 59475 h 67049"/>
                <a:gd name="connsiteX33" fmla="*/ 52987 w 82289"/>
                <a:gd name="connsiteY33" fmla="*/ 17836 h 67049"/>
                <a:gd name="connsiteX34" fmla="*/ 44489 w 82289"/>
                <a:gd name="connsiteY34" fmla="*/ 12386 h 67049"/>
                <a:gd name="connsiteX35" fmla="*/ 45143 w 82289"/>
                <a:gd name="connsiteY35" fmla="*/ 19362 h 67049"/>
                <a:gd name="connsiteX36" fmla="*/ 52987 w 82289"/>
                <a:gd name="connsiteY36" fmla="*/ 17836 h 67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2289" h="67049">
                  <a:moveTo>
                    <a:pt x="12021" y="61001"/>
                  </a:moveTo>
                  <a:cubicBezTo>
                    <a:pt x="12021" y="55551"/>
                    <a:pt x="11149" y="54461"/>
                    <a:pt x="6573" y="54461"/>
                  </a:cubicBezTo>
                  <a:cubicBezTo>
                    <a:pt x="1779" y="54461"/>
                    <a:pt x="1343" y="53589"/>
                    <a:pt x="1561" y="46395"/>
                  </a:cubicBezTo>
                  <a:cubicBezTo>
                    <a:pt x="1779" y="34404"/>
                    <a:pt x="2651" y="33968"/>
                    <a:pt x="12021" y="41381"/>
                  </a:cubicBezTo>
                  <a:cubicBezTo>
                    <a:pt x="16597" y="44869"/>
                    <a:pt x="20737" y="47921"/>
                    <a:pt x="21391" y="47921"/>
                  </a:cubicBezTo>
                  <a:cubicBezTo>
                    <a:pt x="22045" y="47921"/>
                    <a:pt x="22262" y="43997"/>
                    <a:pt x="22045" y="39201"/>
                  </a:cubicBezTo>
                  <a:cubicBezTo>
                    <a:pt x="21609" y="28518"/>
                    <a:pt x="15943" y="23286"/>
                    <a:pt x="8534" y="26556"/>
                  </a:cubicBezTo>
                  <a:cubicBezTo>
                    <a:pt x="1125" y="30044"/>
                    <a:pt x="-4104" y="27428"/>
                    <a:pt x="-1054" y="21760"/>
                  </a:cubicBezTo>
                  <a:cubicBezTo>
                    <a:pt x="3522" y="13476"/>
                    <a:pt x="20737" y="7372"/>
                    <a:pt x="20737" y="14348"/>
                  </a:cubicBezTo>
                  <a:cubicBezTo>
                    <a:pt x="20737" y="16746"/>
                    <a:pt x="22480" y="17400"/>
                    <a:pt x="26838" y="16964"/>
                  </a:cubicBezTo>
                  <a:cubicBezTo>
                    <a:pt x="31632" y="16528"/>
                    <a:pt x="32940" y="15002"/>
                    <a:pt x="33376" y="9552"/>
                  </a:cubicBezTo>
                  <a:cubicBezTo>
                    <a:pt x="34029" y="3011"/>
                    <a:pt x="34465" y="2793"/>
                    <a:pt x="43617" y="3011"/>
                  </a:cubicBezTo>
                  <a:cubicBezTo>
                    <a:pt x="48847" y="3229"/>
                    <a:pt x="54513" y="4755"/>
                    <a:pt x="56474" y="6281"/>
                  </a:cubicBezTo>
                  <a:cubicBezTo>
                    <a:pt x="60178" y="9552"/>
                    <a:pt x="64319" y="7808"/>
                    <a:pt x="64319" y="3011"/>
                  </a:cubicBezTo>
                  <a:cubicBezTo>
                    <a:pt x="64319" y="395"/>
                    <a:pt x="65844" y="-41"/>
                    <a:pt x="71509" y="1049"/>
                  </a:cubicBezTo>
                  <a:cubicBezTo>
                    <a:pt x="81751" y="3447"/>
                    <a:pt x="81969" y="3665"/>
                    <a:pt x="77829" y="11950"/>
                  </a:cubicBezTo>
                  <a:cubicBezTo>
                    <a:pt x="74996" y="17836"/>
                    <a:pt x="73035" y="19362"/>
                    <a:pt x="69766" y="18708"/>
                  </a:cubicBezTo>
                  <a:cubicBezTo>
                    <a:pt x="64101" y="17400"/>
                    <a:pt x="60614" y="19580"/>
                    <a:pt x="59525" y="25030"/>
                  </a:cubicBezTo>
                  <a:cubicBezTo>
                    <a:pt x="59089" y="27646"/>
                    <a:pt x="57128" y="29390"/>
                    <a:pt x="54513" y="29390"/>
                  </a:cubicBezTo>
                  <a:cubicBezTo>
                    <a:pt x="52116" y="29390"/>
                    <a:pt x="48847" y="30262"/>
                    <a:pt x="47322" y="31352"/>
                  </a:cubicBezTo>
                  <a:cubicBezTo>
                    <a:pt x="45361" y="32442"/>
                    <a:pt x="44053" y="31788"/>
                    <a:pt x="43182" y="28736"/>
                  </a:cubicBezTo>
                  <a:cubicBezTo>
                    <a:pt x="42092" y="23940"/>
                    <a:pt x="36208" y="20670"/>
                    <a:pt x="33812" y="23286"/>
                  </a:cubicBezTo>
                  <a:cubicBezTo>
                    <a:pt x="32940" y="24158"/>
                    <a:pt x="32722" y="29172"/>
                    <a:pt x="33376" y="34404"/>
                  </a:cubicBezTo>
                  <a:cubicBezTo>
                    <a:pt x="34247" y="42471"/>
                    <a:pt x="34901" y="43779"/>
                    <a:pt x="39041" y="43343"/>
                  </a:cubicBezTo>
                  <a:cubicBezTo>
                    <a:pt x="48847" y="42689"/>
                    <a:pt x="49283" y="43125"/>
                    <a:pt x="45796" y="50319"/>
                  </a:cubicBezTo>
                  <a:cubicBezTo>
                    <a:pt x="43835" y="53807"/>
                    <a:pt x="42528" y="59039"/>
                    <a:pt x="42964" y="61655"/>
                  </a:cubicBezTo>
                  <a:cubicBezTo>
                    <a:pt x="43617" y="66016"/>
                    <a:pt x="42528" y="66234"/>
                    <a:pt x="27928" y="66888"/>
                  </a:cubicBezTo>
                  <a:lnTo>
                    <a:pt x="12021" y="67542"/>
                  </a:lnTo>
                  <a:lnTo>
                    <a:pt x="12021" y="61001"/>
                  </a:lnTo>
                  <a:close/>
                  <a:moveTo>
                    <a:pt x="34465" y="59475"/>
                  </a:moveTo>
                  <a:cubicBezTo>
                    <a:pt x="36426" y="57731"/>
                    <a:pt x="29671" y="50101"/>
                    <a:pt x="26185" y="50101"/>
                  </a:cubicBezTo>
                  <a:cubicBezTo>
                    <a:pt x="22916" y="50101"/>
                    <a:pt x="20083" y="56205"/>
                    <a:pt x="22045" y="59039"/>
                  </a:cubicBezTo>
                  <a:cubicBezTo>
                    <a:pt x="23352" y="61219"/>
                    <a:pt x="32286" y="61655"/>
                    <a:pt x="34465" y="59475"/>
                  </a:cubicBezTo>
                  <a:close/>
                  <a:moveTo>
                    <a:pt x="52987" y="17836"/>
                  </a:moveTo>
                  <a:cubicBezTo>
                    <a:pt x="53859" y="12386"/>
                    <a:pt x="47975" y="8898"/>
                    <a:pt x="44489" y="12386"/>
                  </a:cubicBezTo>
                  <a:cubicBezTo>
                    <a:pt x="42964" y="13912"/>
                    <a:pt x="43182" y="16310"/>
                    <a:pt x="45143" y="19362"/>
                  </a:cubicBezTo>
                  <a:cubicBezTo>
                    <a:pt x="48629" y="24812"/>
                    <a:pt x="52116" y="24158"/>
                    <a:pt x="52987" y="17836"/>
                  </a:cubicBezTo>
                  <a:close/>
                </a:path>
              </a:pathLst>
            </a:custGeom>
            <a:grpFill/>
            <a:ln w="218" cap="flat">
              <a:noFill/>
              <a:prstDash val="solid"/>
              <a:miter/>
            </a:ln>
          </p:spPr>
          <p:txBody>
            <a:bodyPr rtlCol="0" anchor="ctr"/>
            <a:lstStyle/>
            <a:p>
              <a:endParaRPr lang="en-GB" dirty="0"/>
            </a:p>
          </p:txBody>
        </p:sp>
        <p:sp>
          <p:nvSpPr>
            <p:cNvPr id="234" name="Freihandform: Form 233">
              <a:extLst>
                <a:ext uri="{FF2B5EF4-FFF2-40B4-BE49-F238E27FC236}">
                  <a16:creationId xmlns:a16="http://schemas.microsoft.com/office/drawing/2014/main" xmlns="" id="{CC96298F-D5FF-4465-A4E5-4F22207BDEDC}"/>
                </a:ext>
              </a:extLst>
            </p:cNvPr>
            <p:cNvSpPr/>
            <p:nvPr/>
          </p:nvSpPr>
          <p:spPr>
            <a:xfrm flipV="1">
              <a:off x="4336604" y="5365458"/>
              <a:ext cx="10605" cy="25751"/>
            </a:xfrm>
            <a:custGeom>
              <a:avLst/>
              <a:gdLst>
                <a:gd name="connsiteX0" fmla="*/ -2002 w 10605"/>
                <a:gd name="connsiteY0" fmla="*/ 22409 h 25751"/>
                <a:gd name="connsiteX1" fmla="*/ 177 w 10605"/>
                <a:gd name="connsiteY1" fmla="*/ 16741 h 25751"/>
                <a:gd name="connsiteX2" fmla="*/ 2356 w 10605"/>
                <a:gd name="connsiteY2" fmla="*/ 7802 h 25751"/>
                <a:gd name="connsiteX3" fmla="*/ 5843 w 10605"/>
                <a:gd name="connsiteY3" fmla="*/ 390 h 25751"/>
                <a:gd name="connsiteX4" fmla="*/ 8240 w 10605"/>
                <a:gd name="connsiteY4" fmla="*/ 5404 h 25751"/>
                <a:gd name="connsiteX5" fmla="*/ 5189 w 10605"/>
                <a:gd name="connsiteY5" fmla="*/ 17613 h 25751"/>
                <a:gd name="connsiteX6" fmla="*/ -2002 w 10605"/>
                <a:gd name="connsiteY6" fmla="*/ 22409 h 25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05" h="25751">
                  <a:moveTo>
                    <a:pt x="-2002" y="22409"/>
                  </a:moveTo>
                  <a:cubicBezTo>
                    <a:pt x="-2002" y="20011"/>
                    <a:pt x="-912" y="17395"/>
                    <a:pt x="177" y="16741"/>
                  </a:cubicBezTo>
                  <a:cubicBezTo>
                    <a:pt x="1485" y="16087"/>
                    <a:pt x="2356" y="11944"/>
                    <a:pt x="2356" y="7802"/>
                  </a:cubicBezTo>
                  <a:cubicBezTo>
                    <a:pt x="2356" y="2352"/>
                    <a:pt x="3228" y="390"/>
                    <a:pt x="5843" y="390"/>
                  </a:cubicBezTo>
                  <a:cubicBezTo>
                    <a:pt x="8458" y="390"/>
                    <a:pt x="9111" y="1698"/>
                    <a:pt x="8240" y="5404"/>
                  </a:cubicBezTo>
                  <a:cubicBezTo>
                    <a:pt x="7586" y="8020"/>
                    <a:pt x="6061" y="13470"/>
                    <a:pt x="5189" y="17613"/>
                  </a:cubicBezTo>
                  <a:cubicBezTo>
                    <a:pt x="3228" y="25897"/>
                    <a:pt x="-2002" y="29385"/>
                    <a:pt x="-2002" y="22409"/>
                  </a:cubicBezTo>
                  <a:close/>
                </a:path>
              </a:pathLst>
            </a:custGeom>
            <a:grpFill/>
            <a:ln w="218" cap="flat">
              <a:noFill/>
              <a:prstDash val="solid"/>
              <a:miter/>
            </a:ln>
          </p:spPr>
          <p:txBody>
            <a:bodyPr rtlCol="0" anchor="ctr"/>
            <a:lstStyle/>
            <a:p>
              <a:endParaRPr lang="en-GB" dirty="0"/>
            </a:p>
          </p:txBody>
        </p:sp>
        <p:sp>
          <p:nvSpPr>
            <p:cNvPr id="235" name="Freihandform: Form 234">
              <a:extLst>
                <a:ext uri="{FF2B5EF4-FFF2-40B4-BE49-F238E27FC236}">
                  <a16:creationId xmlns:a16="http://schemas.microsoft.com/office/drawing/2014/main" xmlns="" id="{80B88F80-8416-4FB0-A33F-37ED664030C0}"/>
                </a:ext>
              </a:extLst>
            </p:cNvPr>
            <p:cNvSpPr/>
            <p:nvPr/>
          </p:nvSpPr>
          <p:spPr>
            <a:xfrm flipV="1">
              <a:off x="4532720" y="5365049"/>
              <a:ext cx="3575" cy="4360"/>
            </a:xfrm>
            <a:custGeom>
              <a:avLst/>
              <a:gdLst>
                <a:gd name="connsiteX0" fmla="*/ -2797 w 3575"/>
                <a:gd name="connsiteY0" fmla="*/ 2514 h 4360"/>
                <a:gd name="connsiteX1" fmla="*/ -400 w 3575"/>
                <a:gd name="connsiteY1" fmla="*/ 334 h 4360"/>
                <a:gd name="connsiteX2" fmla="*/ 471 w 3575"/>
                <a:gd name="connsiteY2" fmla="*/ 2514 h 4360"/>
                <a:gd name="connsiteX3" fmla="*/ -1926 w 3575"/>
                <a:gd name="connsiteY3" fmla="*/ 4694 h 4360"/>
                <a:gd name="connsiteX4" fmla="*/ -2797 w 3575"/>
                <a:gd name="connsiteY4" fmla="*/ 2514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2797" y="2514"/>
                  </a:moveTo>
                  <a:cubicBezTo>
                    <a:pt x="-2797" y="1424"/>
                    <a:pt x="-1708" y="334"/>
                    <a:pt x="-400" y="334"/>
                  </a:cubicBezTo>
                  <a:cubicBezTo>
                    <a:pt x="689" y="334"/>
                    <a:pt x="1125" y="1424"/>
                    <a:pt x="471" y="2514"/>
                  </a:cubicBezTo>
                  <a:cubicBezTo>
                    <a:pt x="-182" y="3822"/>
                    <a:pt x="-1272" y="4694"/>
                    <a:pt x="-1926" y="4694"/>
                  </a:cubicBezTo>
                  <a:cubicBezTo>
                    <a:pt x="-2362" y="4694"/>
                    <a:pt x="-2797" y="3822"/>
                    <a:pt x="-2797" y="2514"/>
                  </a:cubicBezTo>
                  <a:close/>
                </a:path>
              </a:pathLst>
            </a:custGeom>
            <a:grpFill/>
            <a:ln w="218" cap="flat">
              <a:noFill/>
              <a:prstDash val="solid"/>
              <a:miter/>
            </a:ln>
          </p:spPr>
          <p:txBody>
            <a:bodyPr rtlCol="0" anchor="ctr"/>
            <a:lstStyle/>
            <a:p>
              <a:endParaRPr lang="en-GB" dirty="0"/>
            </a:p>
          </p:txBody>
        </p:sp>
        <p:sp>
          <p:nvSpPr>
            <p:cNvPr id="236" name="Freihandform: Form 235">
              <a:extLst>
                <a:ext uri="{FF2B5EF4-FFF2-40B4-BE49-F238E27FC236}">
                  <a16:creationId xmlns:a16="http://schemas.microsoft.com/office/drawing/2014/main" xmlns="" id="{D86E3CDA-3555-4558-A705-1AAF19284CB1}"/>
                </a:ext>
              </a:extLst>
            </p:cNvPr>
            <p:cNvSpPr/>
            <p:nvPr/>
          </p:nvSpPr>
          <p:spPr>
            <a:xfrm flipV="1">
              <a:off x="4561668" y="5370592"/>
              <a:ext cx="78450" cy="96492"/>
            </a:xfrm>
            <a:custGeom>
              <a:avLst/>
              <a:gdLst>
                <a:gd name="connsiteX0" fmla="*/ 19625 w 78450"/>
                <a:gd name="connsiteY0" fmla="*/ 96962 h 96492"/>
                <a:gd name="connsiteX1" fmla="*/ 18100 w 78450"/>
                <a:gd name="connsiteY1" fmla="*/ 88242 h 96492"/>
                <a:gd name="connsiteX2" fmla="*/ 23112 w 78450"/>
                <a:gd name="connsiteY2" fmla="*/ 80394 h 96492"/>
                <a:gd name="connsiteX3" fmla="*/ 27906 w 78450"/>
                <a:gd name="connsiteY3" fmla="*/ 73199 h 96492"/>
                <a:gd name="connsiteX4" fmla="*/ 30739 w 78450"/>
                <a:gd name="connsiteY4" fmla="*/ 61645 h 96492"/>
                <a:gd name="connsiteX5" fmla="*/ 23766 w 78450"/>
                <a:gd name="connsiteY5" fmla="*/ 50745 h 96492"/>
                <a:gd name="connsiteX6" fmla="*/ 18754 w 78450"/>
                <a:gd name="connsiteY6" fmla="*/ 49219 h 96492"/>
                <a:gd name="connsiteX7" fmla="*/ 23112 w 78450"/>
                <a:gd name="connsiteY7" fmla="*/ 47038 h 96492"/>
                <a:gd name="connsiteX8" fmla="*/ 25727 w 78450"/>
                <a:gd name="connsiteY8" fmla="*/ 37228 h 96492"/>
                <a:gd name="connsiteX9" fmla="*/ 19843 w 78450"/>
                <a:gd name="connsiteY9" fmla="*/ 36792 h 96492"/>
                <a:gd name="connsiteX10" fmla="*/ 15049 w 78450"/>
                <a:gd name="connsiteY10" fmla="*/ 39408 h 96492"/>
                <a:gd name="connsiteX11" fmla="*/ 15485 w 78450"/>
                <a:gd name="connsiteY11" fmla="*/ 36792 h 96492"/>
                <a:gd name="connsiteX12" fmla="*/ 13742 w 78450"/>
                <a:gd name="connsiteY12" fmla="*/ 26328 h 96492"/>
                <a:gd name="connsiteX13" fmla="*/ 9384 w 78450"/>
                <a:gd name="connsiteY13" fmla="*/ 21532 h 96492"/>
                <a:gd name="connsiteX14" fmla="*/ 2411 w 78450"/>
                <a:gd name="connsiteY14" fmla="*/ 10631 h 96492"/>
                <a:gd name="connsiteX15" fmla="*/ -2165 w 78450"/>
                <a:gd name="connsiteY15" fmla="*/ 2129 h 96492"/>
                <a:gd name="connsiteX16" fmla="*/ 5897 w 78450"/>
                <a:gd name="connsiteY16" fmla="*/ 1039 h 96492"/>
                <a:gd name="connsiteX17" fmla="*/ 11563 w 78450"/>
                <a:gd name="connsiteY17" fmla="*/ 8887 h 96492"/>
                <a:gd name="connsiteX18" fmla="*/ 18972 w 78450"/>
                <a:gd name="connsiteY18" fmla="*/ 13465 h 96492"/>
                <a:gd name="connsiteX19" fmla="*/ 29431 w 78450"/>
                <a:gd name="connsiteY19" fmla="*/ 12593 h 96492"/>
                <a:gd name="connsiteX20" fmla="*/ 43595 w 78450"/>
                <a:gd name="connsiteY20" fmla="*/ 13247 h 96492"/>
                <a:gd name="connsiteX21" fmla="*/ 47300 w 78450"/>
                <a:gd name="connsiteY21" fmla="*/ 18915 h 96492"/>
                <a:gd name="connsiteX22" fmla="*/ 40109 w 78450"/>
                <a:gd name="connsiteY22" fmla="*/ 33304 h 96492"/>
                <a:gd name="connsiteX23" fmla="*/ 40544 w 78450"/>
                <a:gd name="connsiteY23" fmla="*/ 40934 h 96492"/>
                <a:gd name="connsiteX24" fmla="*/ 41852 w 78450"/>
                <a:gd name="connsiteY24" fmla="*/ 45948 h 96492"/>
                <a:gd name="connsiteX25" fmla="*/ 44467 w 78450"/>
                <a:gd name="connsiteY25" fmla="*/ 42242 h 96492"/>
                <a:gd name="connsiteX26" fmla="*/ 51440 w 78450"/>
                <a:gd name="connsiteY26" fmla="*/ 26764 h 96492"/>
                <a:gd name="connsiteX27" fmla="*/ 60592 w 78450"/>
                <a:gd name="connsiteY27" fmla="*/ 28508 h 96492"/>
                <a:gd name="connsiteX28" fmla="*/ 68219 w 78450"/>
                <a:gd name="connsiteY28" fmla="*/ 28508 h 96492"/>
                <a:gd name="connsiteX29" fmla="*/ 75192 w 78450"/>
                <a:gd name="connsiteY29" fmla="*/ 33086 h 96492"/>
                <a:gd name="connsiteX30" fmla="*/ 63425 w 78450"/>
                <a:gd name="connsiteY30" fmla="*/ 38318 h 96492"/>
                <a:gd name="connsiteX31" fmla="*/ 50350 w 78450"/>
                <a:gd name="connsiteY31" fmla="*/ 44858 h 96492"/>
                <a:gd name="connsiteX32" fmla="*/ 45120 w 78450"/>
                <a:gd name="connsiteY32" fmla="*/ 50963 h 96492"/>
                <a:gd name="connsiteX33" fmla="*/ 40544 w 78450"/>
                <a:gd name="connsiteY33" fmla="*/ 60119 h 96492"/>
                <a:gd name="connsiteX34" fmla="*/ 46428 w 78450"/>
                <a:gd name="connsiteY34" fmla="*/ 67313 h 96492"/>
                <a:gd name="connsiteX35" fmla="*/ 51658 w 78450"/>
                <a:gd name="connsiteY35" fmla="*/ 73853 h 96492"/>
                <a:gd name="connsiteX36" fmla="*/ 44249 w 78450"/>
                <a:gd name="connsiteY36" fmla="*/ 78650 h 96492"/>
                <a:gd name="connsiteX37" fmla="*/ 36186 w 78450"/>
                <a:gd name="connsiteY37" fmla="*/ 79958 h 96492"/>
                <a:gd name="connsiteX38" fmla="*/ 19625 w 78450"/>
                <a:gd name="connsiteY38" fmla="*/ 96962 h 96492"/>
                <a:gd name="connsiteX39" fmla="*/ 33353 w 78450"/>
                <a:gd name="connsiteY39" fmla="*/ 25456 h 96492"/>
                <a:gd name="connsiteX40" fmla="*/ 31174 w 78450"/>
                <a:gd name="connsiteY40" fmla="*/ 23058 h 96492"/>
                <a:gd name="connsiteX41" fmla="*/ 28995 w 78450"/>
                <a:gd name="connsiteY41" fmla="*/ 23930 h 96492"/>
                <a:gd name="connsiteX42" fmla="*/ 31174 w 78450"/>
                <a:gd name="connsiteY42" fmla="*/ 26328 h 96492"/>
                <a:gd name="connsiteX43" fmla="*/ 33353 w 78450"/>
                <a:gd name="connsiteY43" fmla="*/ 25456 h 96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8450" h="96492">
                  <a:moveTo>
                    <a:pt x="19625" y="96962"/>
                  </a:moveTo>
                  <a:cubicBezTo>
                    <a:pt x="18754" y="96090"/>
                    <a:pt x="18100" y="92166"/>
                    <a:pt x="18100" y="88242"/>
                  </a:cubicBezTo>
                  <a:cubicBezTo>
                    <a:pt x="18100" y="82574"/>
                    <a:pt x="18972" y="81048"/>
                    <a:pt x="23112" y="80394"/>
                  </a:cubicBezTo>
                  <a:cubicBezTo>
                    <a:pt x="26816" y="79958"/>
                    <a:pt x="27906" y="78214"/>
                    <a:pt x="27906" y="73199"/>
                  </a:cubicBezTo>
                  <a:cubicBezTo>
                    <a:pt x="27906" y="69711"/>
                    <a:pt x="29213" y="64479"/>
                    <a:pt x="30739" y="61645"/>
                  </a:cubicBezTo>
                  <a:cubicBezTo>
                    <a:pt x="34225" y="55323"/>
                    <a:pt x="30739" y="49873"/>
                    <a:pt x="23766" y="50745"/>
                  </a:cubicBezTo>
                  <a:cubicBezTo>
                    <a:pt x="21369" y="51181"/>
                    <a:pt x="18972" y="50527"/>
                    <a:pt x="18754" y="49219"/>
                  </a:cubicBezTo>
                  <a:cubicBezTo>
                    <a:pt x="18318" y="48128"/>
                    <a:pt x="20279" y="47038"/>
                    <a:pt x="23112" y="47038"/>
                  </a:cubicBezTo>
                  <a:cubicBezTo>
                    <a:pt x="28777" y="47038"/>
                    <a:pt x="30521" y="41152"/>
                    <a:pt x="25727" y="37228"/>
                  </a:cubicBezTo>
                  <a:cubicBezTo>
                    <a:pt x="23112" y="35048"/>
                    <a:pt x="21586" y="35048"/>
                    <a:pt x="19843" y="36792"/>
                  </a:cubicBezTo>
                  <a:cubicBezTo>
                    <a:pt x="18318" y="38318"/>
                    <a:pt x="16357" y="39408"/>
                    <a:pt x="15049" y="39408"/>
                  </a:cubicBezTo>
                  <a:cubicBezTo>
                    <a:pt x="13742" y="39408"/>
                    <a:pt x="13960" y="38318"/>
                    <a:pt x="15485" y="36792"/>
                  </a:cubicBezTo>
                  <a:cubicBezTo>
                    <a:pt x="19625" y="32650"/>
                    <a:pt x="18754" y="26328"/>
                    <a:pt x="13742" y="26328"/>
                  </a:cubicBezTo>
                  <a:cubicBezTo>
                    <a:pt x="10691" y="26328"/>
                    <a:pt x="9384" y="24802"/>
                    <a:pt x="9384" y="21532"/>
                  </a:cubicBezTo>
                  <a:cubicBezTo>
                    <a:pt x="9384" y="18479"/>
                    <a:pt x="6551" y="14119"/>
                    <a:pt x="2411" y="10631"/>
                  </a:cubicBezTo>
                  <a:cubicBezTo>
                    <a:pt x="-3037" y="6053"/>
                    <a:pt x="-4127" y="4091"/>
                    <a:pt x="-2165" y="2129"/>
                  </a:cubicBezTo>
                  <a:cubicBezTo>
                    <a:pt x="-640" y="603"/>
                    <a:pt x="2628" y="167"/>
                    <a:pt x="5897" y="1039"/>
                  </a:cubicBezTo>
                  <a:cubicBezTo>
                    <a:pt x="10473" y="2129"/>
                    <a:pt x="11563" y="3873"/>
                    <a:pt x="11563" y="8887"/>
                  </a:cubicBezTo>
                  <a:cubicBezTo>
                    <a:pt x="11563" y="15209"/>
                    <a:pt x="16139" y="18043"/>
                    <a:pt x="18972" y="13465"/>
                  </a:cubicBezTo>
                  <a:cubicBezTo>
                    <a:pt x="19625" y="12593"/>
                    <a:pt x="24419" y="11939"/>
                    <a:pt x="29431" y="12593"/>
                  </a:cubicBezTo>
                  <a:cubicBezTo>
                    <a:pt x="34661" y="13029"/>
                    <a:pt x="40980" y="13465"/>
                    <a:pt x="43595" y="13247"/>
                  </a:cubicBezTo>
                  <a:cubicBezTo>
                    <a:pt x="49696" y="13247"/>
                    <a:pt x="52529" y="17607"/>
                    <a:pt x="47300" y="18915"/>
                  </a:cubicBezTo>
                  <a:cubicBezTo>
                    <a:pt x="42070" y="20224"/>
                    <a:pt x="37712" y="29380"/>
                    <a:pt x="40109" y="33304"/>
                  </a:cubicBezTo>
                  <a:cubicBezTo>
                    <a:pt x="40980" y="34830"/>
                    <a:pt x="41416" y="38318"/>
                    <a:pt x="40544" y="40934"/>
                  </a:cubicBezTo>
                  <a:cubicBezTo>
                    <a:pt x="39891" y="43986"/>
                    <a:pt x="40326" y="45948"/>
                    <a:pt x="41852" y="45948"/>
                  </a:cubicBezTo>
                  <a:cubicBezTo>
                    <a:pt x="43159" y="45948"/>
                    <a:pt x="44249" y="44204"/>
                    <a:pt x="44467" y="42242"/>
                  </a:cubicBezTo>
                  <a:cubicBezTo>
                    <a:pt x="45338" y="27418"/>
                    <a:pt x="45338" y="27418"/>
                    <a:pt x="51440" y="26764"/>
                  </a:cubicBezTo>
                  <a:cubicBezTo>
                    <a:pt x="54926" y="26328"/>
                    <a:pt x="58849" y="27200"/>
                    <a:pt x="60592" y="28508"/>
                  </a:cubicBezTo>
                  <a:cubicBezTo>
                    <a:pt x="62771" y="30470"/>
                    <a:pt x="64732" y="30470"/>
                    <a:pt x="68219" y="28508"/>
                  </a:cubicBezTo>
                  <a:cubicBezTo>
                    <a:pt x="73884" y="25456"/>
                    <a:pt x="74538" y="25892"/>
                    <a:pt x="75192" y="33086"/>
                  </a:cubicBezTo>
                  <a:cubicBezTo>
                    <a:pt x="75845" y="38100"/>
                    <a:pt x="75410" y="38318"/>
                    <a:pt x="63425" y="38318"/>
                  </a:cubicBezTo>
                  <a:cubicBezTo>
                    <a:pt x="51222" y="38318"/>
                    <a:pt x="51004" y="38318"/>
                    <a:pt x="50350" y="44858"/>
                  </a:cubicBezTo>
                  <a:cubicBezTo>
                    <a:pt x="49914" y="50091"/>
                    <a:pt x="48825" y="51399"/>
                    <a:pt x="45120" y="50963"/>
                  </a:cubicBezTo>
                  <a:cubicBezTo>
                    <a:pt x="41198" y="50527"/>
                    <a:pt x="40544" y="51617"/>
                    <a:pt x="40544" y="60119"/>
                  </a:cubicBezTo>
                  <a:cubicBezTo>
                    <a:pt x="40544" y="71019"/>
                    <a:pt x="40544" y="71019"/>
                    <a:pt x="46428" y="67313"/>
                  </a:cubicBezTo>
                  <a:cubicBezTo>
                    <a:pt x="51876" y="63825"/>
                    <a:pt x="53401" y="65569"/>
                    <a:pt x="51658" y="73853"/>
                  </a:cubicBezTo>
                  <a:cubicBezTo>
                    <a:pt x="50350" y="80176"/>
                    <a:pt x="44249" y="84100"/>
                    <a:pt x="44249" y="78650"/>
                  </a:cubicBezTo>
                  <a:cubicBezTo>
                    <a:pt x="44249" y="75161"/>
                    <a:pt x="37712" y="76251"/>
                    <a:pt x="36186" y="79958"/>
                  </a:cubicBezTo>
                  <a:cubicBezTo>
                    <a:pt x="34007" y="85626"/>
                    <a:pt x="21369" y="98488"/>
                    <a:pt x="19625" y="96962"/>
                  </a:cubicBezTo>
                  <a:close/>
                  <a:moveTo>
                    <a:pt x="33353" y="25456"/>
                  </a:moveTo>
                  <a:cubicBezTo>
                    <a:pt x="33353" y="24802"/>
                    <a:pt x="32482" y="23712"/>
                    <a:pt x="31174" y="23058"/>
                  </a:cubicBezTo>
                  <a:cubicBezTo>
                    <a:pt x="30085" y="22404"/>
                    <a:pt x="28995" y="22840"/>
                    <a:pt x="28995" y="23930"/>
                  </a:cubicBezTo>
                  <a:cubicBezTo>
                    <a:pt x="28995" y="25238"/>
                    <a:pt x="30085" y="26328"/>
                    <a:pt x="31174" y="26328"/>
                  </a:cubicBezTo>
                  <a:cubicBezTo>
                    <a:pt x="32482" y="26328"/>
                    <a:pt x="33353" y="25892"/>
                    <a:pt x="33353" y="25456"/>
                  </a:cubicBezTo>
                  <a:close/>
                </a:path>
              </a:pathLst>
            </a:custGeom>
            <a:grpFill/>
            <a:ln w="218" cap="flat">
              <a:noFill/>
              <a:prstDash val="solid"/>
              <a:miter/>
            </a:ln>
          </p:spPr>
          <p:txBody>
            <a:bodyPr rtlCol="0" anchor="ctr"/>
            <a:lstStyle/>
            <a:p>
              <a:endParaRPr lang="en-GB" dirty="0"/>
            </a:p>
          </p:txBody>
        </p:sp>
        <p:sp>
          <p:nvSpPr>
            <p:cNvPr id="237" name="Freihandform: Form 236">
              <a:extLst>
                <a:ext uri="{FF2B5EF4-FFF2-40B4-BE49-F238E27FC236}">
                  <a16:creationId xmlns:a16="http://schemas.microsoft.com/office/drawing/2014/main" xmlns="" id="{D2AB20A7-E6A0-4E8C-A8CB-157F4906E49E}"/>
                </a:ext>
              </a:extLst>
            </p:cNvPr>
            <p:cNvSpPr/>
            <p:nvPr/>
          </p:nvSpPr>
          <p:spPr>
            <a:xfrm flipV="1">
              <a:off x="4781754" y="5373769"/>
              <a:ext cx="23350" cy="37876"/>
            </a:xfrm>
            <a:custGeom>
              <a:avLst/>
              <a:gdLst>
                <a:gd name="connsiteX0" fmla="*/ 8588 w 23350"/>
                <a:gd name="connsiteY0" fmla="*/ 35069 h 37876"/>
                <a:gd name="connsiteX1" fmla="*/ 2051 w 23350"/>
                <a:gd name="connsiteY1" fmla="*/ 31799 h 37876"/>
                <a:gd name="connsiteX2" fmla="*/ -2089 w 23350"/>
                <a:gd name="connsiteY2" fmla="*/ 20027 h 37876"/>
                <a:gd name="connsiteX3" fmla="*/ -2089 w 23350"/>
                <a:gd name="connsiteY3" fmla="*/ 10217 h 37876"/>
                <a:gd name="connsiteX4" fmla="*/ -3614 w 23350"/>
                <a:gd name="connsiteY4" fmla="*/ 3676 h 37876"/>
                <a:gd name="connsiteX5" fmla="*/ 7717 w 23350"/>
                <a:gd name="connsiteY5" fmla="*/ 1496 h 37876"/>
                <a:gd name="connsiteX6" fmla="*/ 14254 w 23350"/>
                <a:gd name="connsiteY6" fmla="*/ 3458 h 37876"/>
                <a:gd name="connsiteX7" fmla="*/ 17523 w 23350"/>
                <a:gd name="connsiteY7" fmla="*/ 9781 h 37876"/>
                <a:gd name="connsiteX8" fmla="*/ 12075 w 23350"/>
                <a:gd name="connsiteY8" fmla="*/ 11525 h 37876"/>
                <a:gd name="connsiteX9" fmla="*/ 9896 w 23350"/>
                <a:gd name="connsiteY9" fmla="*/ 15449 h 37876"/>
                <a:gd name="connsiteX10" fmla="*/ 7717 w 23350"/>
                <a:gd name="connsiteY10" fmla="*/ 20899 h 37876"/>
                <a:gd name="connsiteX11" fmla="*/ 6191 w 23350"/>
                <a:gd name="connsiteY11" fmla="*/ 29401 h 37876"/>
                <a:gd name="connsiteX12" fmla="*/ 9460 w 23350"/>
                <a:gd name="connsiteY12" fmla="*/ 29837 h 37876"/>
                <a:gd name="connsiteX13" fmla="*/ 19484 w 23350"/>
                <a:gd name="connsiteY13" fmla="*/ 30273 h 37876"/>
                <a:gd name="connsiteX14" fmla="*/ 12729 w 23350"/>
                <a:gd name="connsiteY14" fmla="*/ 38339 h 37876"/>
                <a:gd name="connsiteX15" fmla="*/ 8588 w 23350"/>
                <a:gd name="connsiteY15" fmla="*/ 35069 h 37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350" h="37876">
                  <a:moveTo>
                    <a:pt x="8588" y="35069"/>
                  </a:moveTo>
                  <a:cubicBezTo>
                    <a:pt x="7063" y="33325"/>
                    <a:pt x="4230" y="31799"/>
                    <a:pt x="2051" y="31799"/>
                  </a:cubicBezTo>
                  <a:cubicBezTo>
                    <a:pt x="-3179" y="31799"/>
                    <a:pt x="-4922" y="26349"/>
                    <a:pt x="-2089" y="20027"/>
                  </a:cubicBezTo>
                  <a:cubicBezTo>
                    <a:pt x="-346" y="16321"/>
                    <a:pt x="-346" y="13705"/>
                    <a:pt x="-2089" y="10217"/>
                  </a:cubicBezTo>
                  <a:cubicBezTo>
                    <a:pt x="-3614" y="7600"/>
                    <a:pt x="-4268" y="4766"/>
                    <a:pt x="-3614" y="3676"/>
                  </a:cubicBezTo>
                  <a:cubicBezTo>
                    <a:pt x="-1871" y="842"/>
                    <a:pt x="6191" y="-684"/>
                    <a:pt x="7717" y="1496"/>
                  </a:cubicBezTo>
                  <a:cubicBezTo>
                    <a:pt x="8371" y="2586"/>
                    <a:pt x="11203" y="3458"/>
                    <a:pt x="14254" y="3458"/>
                  </a:cubicBezTo>
                  <a:cubicBezTo>
                    <a:pt x="19920" y="3458"/>
                    <a:pt x="20573" y="4984"/>
                    <a:pt x="17523" y="9781"/>
                  </a:cubicBezTo>
                  <a:cubicBezTo>
                    <a:pt x="16433" y="11525"/>
                    <a:pt x="14036" y="12179"/>
                    <a:pt x="12075" y="11525"/>
                  </a:cubicBezTo>
                  <a:cubicBezTo>
                    <a:pt x="9242" y="10435"/>
                    <a:pt x="8806" y="11089"/>
                    <a:pt x="9896" y="15449"/>
                  </a:cubicBezTo>
                  <a:cubicBezTo>
                    <a:pt x="10985" y="19591"/>
                    <a:pt x="10332" y="20899"/>
                    <a:pt x="7717" y="20899"/>
                  </a:cubicBezTo>
                  <a:cubicBezTo>
                    <a:pt x="4012" y="20899"/>
                    <a:pt x="3141" y="24605"/>
                    <a:pt x="6191" y="29401"/>
                  </a:cubicBezTo>
                  <a:cubicBezTo>
                    <a:pt x="7499" y="31363"/>
                    <a:pt x="8588" y="31581"/>
                    <a:pt x="9460" y="29837"/>
                  </a:cubicBezTo>
                  <a:cubicBezTo>
                    <a:pt x="11639" y="26567"/>
                    <a:pt x="19484" y="26785"/>
                    <a:pt x="19484" y="30273"/>
                  </a:cubicBezTo>
                  <a:cubicBezTo>
                    <a:pt x="19484" y="33325"/>
                    <a:pt x="15344" y="38339"/>
                    <a:pt x="12729" y="38339"/>
                  </a:cubicBezTo>
                  <a:cubicBezTo>
                    <a:pt x="11857" y="38339"/>
                    <a:pt x="10114" y="36813"/>
                    <a:pt x="8588" y="35069"/>
                  </a:cubicBezTo>
                  <a:close/>
                </a:path>
              </a:pathLst>
            </a:custGeom>
            <a:grpFill/>
            <a:ln w="218" cap="flat">
              <a:noFill/>
              <a:prstDash val="solid"/>
              <a:miter/>
            </a:ln>
          </p:spPr>
          <p:txBody>
            <a:bodyPr rtlCol="0" anchor="ctr"/>
            <a:lstStyle/>
            <a:p>
              <a:endParaRPr lang="en-GB" dirty="0"/>
            </a:p>
          </p:txBody>
        </p:sp>
        <p:sp>
          <p:nvSpPr>
            <p:cNvPr id="238" name="Freihandform: Form 237">
              <a:extLst>
                <a:ext uri="{FF2B5EF4-FFF2-40B4-BE49-F238E27FC236}">
                  <a16:creationId xmlns:a16="http://schemas.microsoft.com/office/drawing/2014/main" xmlns="" id="{D3D4CC9F-53B5-4887-8190-CD61730C2E05}"/>
                </a:ext>
              </a:extLst>
            </p:cNvPr>
            <p:cNvSpPr/>
            <p:nvPr/>
          </p:nvSpPr>
          <p:spPr>
            <a:xfrm flipV="1">
              <a:off x="5009824" y="5373981"/>
              <a:ext cx="18436" cy="21171"/>
            </a:xfrm>
            <a:custGeom>
              <a:avLst/>
              <a:gdLst>
                <a:gd name="connsiteX0" fmla="*/ 1416 w 18436"/>
                <a:gd name="connsiteY0" fmla="*/ 18099 h 21171"/>
                <a:gd name="connsiteX1" fmla="*/ 763 w 18436"/>
                <a:gd name="connsiteY1" fmla="*/ 1749 h 21171"/>
                <a:gd name="connsiteX2" fmla="*/ 10133 w 18436"/>
                <a:gd name="connsiteY2" fmla="*/ 4583 h 21171"/>
                <a:gd name="connsiteX3" fmla="*/ 13619 w 18436"/>
                <a:gd name="connsiteY3" fmla="*/ 10905 h 21171"/>
                <a:gd name="connsiteX4" fmla="*/ 8607 w 18436"/>
                <a:gd name="connsiteY4" fmla="*/ 21587 h 21171"/>
                <a:gd name="connsiteX5" fmla="*/ 1416 w 18436"/>
                <a:gd name="connsiteY5" fmla="*/ 18099 h 21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436" h="21171">
                  <a:moveTo>
                    <a:pt x="1416" y="18099"/>
                  </a:moveTo>
                  <a:cubicBezTo>
                    <a:pt x="-6646" y="13957"/>
                    <a:pt x="-6864" y="5237"/>
                    <a:pt x="763" y="1749"/>
                  </a:cubicBezTo>
                  <a:cubicBezTo>
                    <a:pt x="5774" y="-431"/>
                    <a:pt x="6864" y="-213"/>
                    <a:pt x="10133" y="4583"/>
                  </a:cubicBezTo>
                  <a:cubicBezTo>
                    <a:pt x="12094" y="7417"/>
                    <a:pt x="13837" y="10251"/>
                    <a:pt x="13619" y="10905"/>
                  </a:cubicBezTo>
                  <a:cubicBezTo>
                    <a:pt x="12530" y="15919"/>
                    <a:pt x="9697" y="21805"/>
                    <a:pt x="8607" y="21587"/>
                  </a:cubicBezTo>
                  <a:cubicBezTo>
                    <a:pt x="7954" y="21369"/>
                    <a:pt x="4685" y="19843"/>
                    <a:pt x="1416" y="18099"/>
                  </a:cubicBezTo>
                  <a:close/>
                </a:path>
              </a:pathLst>
            </a:custGeom>
            <a:grpFill/>
            <a:ln w="218" cap="flat">
              <a:noFill/>
              <a:prstDash val="solid"/>
              <a:miter/>
            </a:ln>
          </p:spPr>
          <p:txBody>
            <a:bodyPr rtlCol="0" anchor="ctr"/>
            <a:lstStyle/>
            <a:p>
              <a:endParaRPr lang="en-GB" dirty="0"/>
            </a:p>
          </p:txBody>
        </p:sp>
        <p:sp>
          <p:nvSpPr>
            <p:cNvPr id="239" name="Freihandform: Form 238">
              <a:extLst>
                <a:ext uri="{FF2B5EF4-FFF2-40B4-BE49-F238E27FC236}">
                  <a16:creationId xmlns:a16="http://schemas.microsoft.com/office/drawing/2014/main" xmlns="" id="{740915A4-13E4-4FD6-80F0-9056E58C9478}"/>
                </a:ext>
              </a:extLst>
            </p:cNvPr>
            <p:cNvSpPr/>
            <p:nvPr/>
          </p:nvSpPr>
          <p:spPr>
            <a:xfrm flipV="1">
              <a:off x="5034997" y="5373769"/>
              <a:ext cx="22880" cy="45781"/>
            </a:xfrm>
            <a:custGeom>
              <a:avLst/>
              <a:gdLst>
                <a:gd name="connsiteX0" fmla="*/ 8599 w 22880"/>
                <a:gd name="connsiteY0" fmla="*/ 44738 h 45781"/>
                <a:gd name="connsiteX1" fmla="*/ 7073 w 22880"/>
                <a:gd name="connsiteY1" fmla="*/ 38198 h 45781"/>
                <a:gd name="connsiteX2" fmla="*/ 536 w 22880"/>
                <a:gd name="connsiteY2" fmla="*/ 36454 h 45781"/>
                <a:gd name="connsiteX3" fmla="*/ -4912 w 22880"/>
                <a:gd name="connsiteY3" fmla="*/ 22719 h 45781"/>
                <a:gd name="connsiteX4" fmla="*/ 1843 w 22880"/>
                <a:gd name="connsiteY4" fmla="*/ 483 h 45781"/>
                <a:gd name="connsiteX5" fmla="*/ 7291 w 22880"/>
                <a:gd name="connsiteY5" fmla="*/ 16179 h 45781"/>
                <a:gd name="connsiteX6" fmla="*/ 7509 w 22880"/>
                <a:gd name="connsiteY6" fmla="*/ 22501 h 45781"/>
                <a:gd name="connsiteX7" fmla="*/ 12739 w 22880"/>
                <a:gd name="connsiteY7" fmla="*/ 24463 h 45781"/>
                <a:gd name="connsiteX8" fmla="*/ 17969 w 22880"/>
                <a:gd name="connsiteY8" fmla="*/ 38852 h 45781"/>
                <a:gd name="connsiteX9" fmla="*/ 14046 w 22880"/>
                <a:gd name="connsiteY9" fmla="*/ 46264 h 45781"/>
                <a:gd name="connsiteX10" fmla="*/ 8599 w 22880"/>
                <a:gd name="connsiteY10" fmla="*/ 44738 h 45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880" h="45781">
                  <a:moveTo>
                    <a:pt x="8599" y="44738"/>
                  </a:moveTo>
                  <a:cubicBezTo>
                    <a:pt x="7727" y="44084"/>
                    <a:pt x="7073" y="41032"/>
                    <a:pt x="7073" y="38198"/>
                  </a:cubicBezTo>
                  <a:cubicBezTo>
                    <a:pt x="7073" y="32530"/>
                    <a:pt x="4458" y="31658"/>
                    <a:pt x="536" y="36454"/>
                  </a:cubicBezTo>
                  <a:cubicBezTo>
                    <a:pt x="-4258" y="42122"/>
                    <a:pt x="-4912" y="40160"/>
                    <a:pt x="-4912" y="22719"/>
                  </a:cubicBezTo>
                  <a:cubicBezTo>
                    <a:pt x="-4912" y="5061"/>
                    <a:pt x="-3386" y="483"/>
                    <a:pt x="1843" y="483"/>
                  </a:cubicBezTo>
                  <a:cubicBezTo>
                    <a:pt x="7073" y="483"/>
                    <a:pt x="10560" y="10729"/>
                    <a:pt x="7291" y="16179"/>
                  </a:cubicBezTo>
                  <a:cubicBezTo>
                    <a:pt x="4894" y="19885"/>
                    <a:pt x="5112" y="20975"/>
                    <a:pt x="7509" y="22501"/>
                  </a:cubicBezTo>
                  <a:cubicBezTo>
                    <a:pt x="9034" y="23591"/>
                    <a:pt x="11431" y="24463"/>
                    <a:pt x="12739" y="24463"/>
                  </a:cubicBezTo>
                  <a:cubicBezTo>
                    <a:pt x="16225" y="24463"/>
                    <a:pt x="17969" y="29696"/>
                    <a:pt x="17969" y="38852"/>
                  </a:cubicBezTo>
                  <a:cubicBezTo>
                    <a:pt x="17969" y="44520"/>
                    <a:pt x="17097" y="46264"/>
                    <a:pt x="14046" y="46264"/>
                  </a:cubicBezTo>
                  <a:cubicBezTo>
                    <a:pt x="11867" y="46264"/>
                    <a:pt x="9252" y="45610"/>
                    <a:pt x="8599" y="44738"/>
                  </a:cubicBezTo>
                  <a:close/>
                </a:path>
              </a:pathLst>
            </a:custGeom>
            <a:grpFill/>
            <a:ln w="218" cap="flat">
              <a:noFill/>
              <a:prstDash val="solid"/>
              <a:miter/>
            </a:ln>
          </p:spPr>
          <p:txBody>
            <a:bodyPr rtlCol="0" anchor="ctr"/>
            <a:lstStyle/>
            <a:p>
              <a:endParaRPr lang="en-GB" dirty="0"/>
            </a:p>
          </p:txBody>
        </p:sp>
        <p:sp>
          <p:nvSpPr>
            <p:cNvPr id="240" name="Freihandform: Form 239">
              <a:extLst>
                <a:ext uri="{FF2B5EF4-FFF2-40B4-BE49-F238E27FC236}">
                  <a16:creationId xmlns:a16="http://schemas.microsoft.com/office/drawing/2014/main" xmlns="" id="{2B50FC7B-0272-4A8A-8FA2-ADF860A91846}"/>
                </a:ext>
              </a:extLst>
            </p:cNvPr>
            <p:cNvSpPr/>
            <p:nvPr/>
          </p:nvSpPr>
          <p:spPr>
            <a:xfrm flipV="1">
              <a:off x="4608988" y="5375949"/>
              <a:ext cx="4358" cy="4360"/>
            </a:xfrm>
            <a:custGeom>
              <a:avLst/>
              <a:gdLst>
                <a:gd name="connsiteX0" fmla="*/ -3114 w 4358"/>
                <a:gd name="connsiteY0" fmla="*/ 2569 h 4360"/>
                <a:gd name="connsiteX1" fmla="*/ -935 w 4358"/>
                <a:gd name="connsiteY1" fmla="*/ 389 h 4360"/>
                <a:gd name="connsiteX2" fmla="*/ 1244 w 4358"/>
                <a:gd name="connsiteY2" fmla="*/ 2569 h 4360"/>
                <a:gd name="connsiteX3" fmla="*/ -935 w 4358"/>
                <a:gd name="connsiteY3" fmla="*/ 4749 h 4360"/>
                <a:gd name="connsiteX4" fmla="*/ -3114 w 4358"/>
                <a:gd name="connsiteY4" fmla="*/ 2569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3114" y="2569"/>
                  </a:moveTo>
                  <a:cubicBezTo>
                    <a:pt x="-3114" y="1479"/>
                    <a:pt x="-2024" y="389"/>
                    <a:pt x="-935" y="389"/>
                  </a:cubicBezTo>
                  <a:cubicBezTo>
                    <a:pt x="373" y="389"/>
                    <a:pt x="1244" y="1479"/>
                    <a:pt x="1244" y="2569"/>
                  </a:cubicBezTo>
                  <a:cubicBezTo>
                    <a:pt x="1244" y="3877"/>
                    <a:pt x="373" y="4749"/>
                    <a:pt x="-935" y="4749"/>
                  </a:cubicBezTo>
                  <a:cubicBezTo>
                    <a:pt x="-2024" y="4749"/>
                    <a:pt x="-3114" y="3877"/>
                    <a:pt x="-3114" y="2569"/>
                  </a:cubicBezTo>
                  <a:close/>
                </a:path>
              </a:pathLst>
            </a:custGeom>
            <a:grpFill/>
            <a:ln w="218" cap="flat">
              <a:noFill/>
              <a:prstDash val="solid"/>
              <a:miter/>
            </a:ln>
          </p:spPr>
          <p:txBody>
            <a:bodyPr rtlCol="0" anchor="ctr"/>
            <a:lstStyle/>
            <a:p>
              <a:endParaRPr lang="en-GB" dirty="0"/>
            </a:p>
          </p:txBody>
        </p:sp>
        <p:sp>
          <p:nvSpPr>
            <p:cNvPr id="241" name="Freihandform: Form 240">
              <a:extLst>
                <a:ext uri="{FF2B5EF4-FFF2-40B4-BE49-F238E27FC236}">
                  <a16:creationId xmlns:a16="http://schemas.microsoft.com/office/drawing/2014/main" xmlns="" id="{F000F903-B51F-4FD9-882E-D50D8DA581C9}"/>
                </a:ext>
              </a:extLst>
            </p:cNvPr>
            <p:cNvSpPr/>
            <p:nvPr/>
          </p:nvSpPr>
          <p:spPr>
            <a:xfrm flipV="1">
              <a:off x="5136324" y="5387686"/>
              <a:ext cx="14987" cy="24914"/>
            </a:xfrm>
            <a:custGeom>
              <a:avLst/>
              <a:gdLst>
                <a:gd name="connsiteX0" fmla="*/ -520 w 14987"/>
                <a:gd name="connsiteY0" fmla="*/ 21237 h 24914"/>
                <a:gd name="connsiteX1" fmla="*/ -5314 w 14987"/>
                <a:gd name="connsiteY1" fmla="*/ 16222 h 24914"/>
                <a:gd name="connsiteX2" fmla="*/ 352 w 14987"/>
                <a:gd name="connsiteY2" fmla="*/ 8156 h 24914"/>
                <a:gd name="connsiteX3" fmla="*/ 9504 w 14987"/>
                <a:gd name="connsiteY3" fmla="*/ 12516 h 24914"/>
                <a:gd name="connsiteX4" fmla="*/ -520 w 14987"/>
                <a:gd name="connsiteY4" fmla="*/ 21237 h 24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987" h="24914">
                  <a:moveTo>
                    <a:pt x="-520" y="21237"/>
                  </a:moveTo>
                  <a:lnTo>
                    <a:pt x="-5314" y="16222"/>
                  </a:lnTo>
                  <a:lnTo>
                    <a:pt x="352" y="8156"/>
                  </a:lnTo>
                  <a:cubicBezTo>
                    <a:pt x="7978" y="-3180"/>
                    <a:pt x="10375" y="-2090"/>
                    <a:pt x="9504" y="12516"/>
                  </a:cubicBezTo>
                  <a:cubicBezTo>
                    <a:pt x="8850" y="26469"/>
                    <a:pt x="6453" y="28649"/>
                    <a:pt x="-520" y="21237"/>
                  </a:cubicBezTo>
                  <a:close/>
                </a:path>
              </a:pathLst>
            </a:custGeom>
            <a:grpFill/>
            <a:ln w="218" cap="flat">
              <a:noFill/>
              <a:prstDash val="solid"/>
              <a:miter/>
            </a:ln>
          </p:spPr>
          <p:txBody>
            <a:bodyPr rtlCol="0" anchor="ctr"/>
            <a:lstStyle/>
            <a:p>
              <a:endParaRPr lang="en-GB" dirty="0"/>
            </a:p>
          </p:txBody>
        </p:sp>
        <p:sp>
          <p:nvSpPr>
            <p:cNvPr id="242" name="Freihandform: Form 241">
              <a:extLst>
                <a:ext uri="{FF2B5EF4-FFF2-40B4-BE49-F238E27FC236}">
                  <a16:creationId xmlns:a16="http://schemas.microsoft.com/office/drawing/2014/main" xmlns="" id="{17020BBD-D5B5-469D-9EF6-692EAA8C063B}"/>
                </a:ext>
              </a:extLst>
            </p:cNvPr>
            <p:cNvSpPr/>
            <p:nvPr/>
          </p:nvSpPr>
          <p:spPr>
            <a:xfrm flipV="1">
              <a:off x="5299754" y="5389030"/>
              <a:ext cx="4358" cy="5667"/>
            </a:xfrm>
            <a:custGeom>
              <a:avLst/>
              <a:gdLst>
                <a:gd name="connsiteX0" fmla="*/ -5967 w 4358"/>
                <a:gd name="connsiteY0" fmla="*/ 2638 h 5667"/>
                <a:gd name="connsiteX1" fmla="*/ -3788 w 4358"/>
                <a:gd name="connsiteY1" fmla="*/ 675 h 5667"/>
                <a:gd name="connsiteX2" fmla="*/ -1609 w 4358"/>
                <a:gd name="connsiteY2" fmla="*/ 4164 h 5667"/>
                <a:gd name="connsiteX3" fmla="*/ -3788 w 4358"/>
                <a:gd name="connsiteY3" fmla="*/ 6126 h 5667"/>
                <a:gd name="connsiteX4" fmla="*/ -5967 w 4358"/>
                <a:gd name="connsiteY4" fmla="*/ 2638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5967" y="2638"/>
                  </a:moveTo>
                  <a:cubicBezTo>
                    <a:pt x="-5967" y="893"/>
                    <a:pt x="-4877" y="21"/>
                    <a:pt x="-3788" y="675"/>
                  </a:cubicBezTo>
                  <a:cubicBezTo>
                    <a:pt x="-2480" y="1329"/>
                    <a:pt x="-1609" y="2856"/>
                    <a:pt x="-1609" y="4164"/>
                  </a:cubicBezTo>
                  <a:cubicBezTo>
                    <a:pt x="-1609" y="5254"/>
                    <a:pt x="-2480" y="6126"/>
                    <a:pt x="-3788" y="6126"/>
                  </a:cubicBezTo>
                  <a:cubicBezTo>
                    <a:pt x="-4877" y="6126"/>
                    <a:pt x="-5967" y="4600"/>
                    <a:pt x="-5967" y="2638"/>
                  </a:cubicBezTo>
                  <a:close/>
                </a:path>
              </a:pathLst>
            </a:custGeom>
            <a:grpFill/>
            <a:ln w="218" cap="flat">
              <a:noFill/>
              <a:prstDash val="solid"/>
              <a:miter/>
            </a:ln>
          </p:spPr>
          <p:txBody>
            <a:bodyPr rtlCol="0" anchor="ctr"/>
            <a:lstStyle/>
            <a:p>
              <a:endParaRPr lang="en-GB" dirty="0"/>
            </a:p>
          </p:txBody>
        </p:sp>
        <p:sp>
          <p:nvSpPr>
            <p:cNvPr id="243" name="Freihandform: Form 242">
              <a:extLst>
                <a:ext uri="{FF2B5EF4-FFF2-40B4-BE49-F238E27FC236}">
                  <a16:creationId xmlns:a16="http://schemas.microsoft.com/office/drawing/2014/main" xmlns="" id="{33112041-72EA-4A83-B45B-822F5A9FE535}"/>
                </a:ext>
              </a:extLst>
            </p:cNvPr>
            <p:cNvSpPr/>
            <p:nvPr/>
          </p:nvSpPr>
          <p:spPr>
            <a:xfrm flipV="1">
              <a:off x="4770240" y="5392083"/>
              <a:ext cx="4358" cy="5667"/>
            </a:xfrm>
            <a:custGeom>
              <a:avLst/>
              <a:gdLst>
                <a:gd name="connsiteX0" fmla="*/ -3780 w 4358"/>
                <a:gd name="connsiteY0" fmla="*/ 3962 h 5667"/>
                <a:gd name="connsiteX1" fmla="*/ -1601 w 4358"/>
                <a:gd name="connsiteY1" fmla="*/ 474 h 5667"/>
                <a:gd name="connsiteX2" fmla="*/ 578 w 4358"/>
                <a:gd name="connsiteY2" fmla="*/ 2436 h 5667"/>
                <a:gd name="connsiteX3" fmla="*/ -1601 w 4358"/>
                <a:gd name="connsiteY3" fmla="*/ 5924 h 5667"/>
                <a:gd name="connsiteX4" fmla="*/ -3780 w 4358"/>
                <a:gd name="connsiteY4" fmla="*/ 3962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3780" y="3962"/>
                  </a:moveTo>
                  <a:cubicBezTo>
                    <a:pt x="-3780" y="2000"/>
                    <a:pt x="-2690" y="474"/>
                    <a:pt x="-1601" y="474"/>
                  </a:cubicBezTo>
                  <a:cubicBezTo>
                    <a:pt x="-293" y="474"/>
                    <a:pt x="578" y="1346"/>
                    <a:pt x="578" y="2436"/>
                  </a:cubicBezTo>
                  <a:cubicBezTo>
                    <a:pt x="578" y="3744"/>
                    <a:pt x="-293" y="5270"/>
                    <a:pt x="-1601" y="5924"/>
                  </a:cubicBezTo>
                  <a:cubicBezTo>
                    <a:pt x="-2690" y="6578"/>
                    <a:pt x="-3780" y="5706"/>
                    <a:pt x="-3780" y="3962"/>
                  </a:cubicBezTo>
                  <a:close/>
                </a:path>
              </a:pathLst>
            </a:custGeom>
            <a:grpFill/>
            <a:ln w="218" cap="flat">
              <a:noFill/>
              <a:prstDash val="solid"/>
              <a:miter/>
            </a:ln>
          </p:spPr>
          <p:txBody>
            <a:bodyPr rtlCol="0" anchor="ctr"/>
            <a:lstStyle/>
            <a:p>
              <a:endParaRPr lang="en-GB" dirty="0"/>
            </a:p>
          </p:txBody>
        </p:sp>
        <p:sp>
          <p:nvSpPr>
            <p:cNvPr id="244" name="Freihandform: Form 243">
              <a:extLst>
                <a:ext uri="{FF2B5EF4-FFF2-40B4-BE49-F238E27FC236}">
                  <a16:creationId xmlns:a16="http://schemas.microsoft.com/office/drawing/2014/main" xmlns="" id="{A6C6BBB3-F456-4003-A197-C34C52A3B3A2}"/>
                </a:ext>
              </a:extLst>
            </p:cNvPr>
            <p:cNvSpPr/>
            <p:nvPr/>
          </p:nvSpPr>
          <p:spPr>
            <a:xfrm flipV="1">
              <a:off x="5073131" y="5391210"/>
              <a:ext cx="4358" cy="4360"/>
            </a:xfrm>
            <a:custGeom>
              <a:avLst/>
              <a:gdLst>
                <a:gd name="connsiteX0" fmla="*/ -5031 w 4358"/>
                <a:gd name="connsiteY0" fmla="*/ 2646 h 4360"/>
                <a:gd name="connsiteX1" fmla="*/ -2852 w 4358"/>
                <a:gd name="connsiteY1" fmla="*/ 466 h 4360"/>
                <a:gd name="connsiteX2" fmla="*/ -673 w 4358"/>
                <a:gd name="connsiteY2" fmla="*/ 2646 h 4360"/>
                <a:gd name="connsiteX3" fmla="*/ -2852 w 4358"/>
                <a:gd name="connsiteY3" fmla="*/ 4826 h 4360"/>
                <a:gd name="connsiteX4" fmla="*/ -5031 w 4358"/>
                <a:gd name="connsiteY4" fmla="*/ 2646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5031" y="2646"/>
                  </a:moveTo>
                  <a:cubicBezTo>
                    <a:pt x="-5031" y="1556"/>
                    <a:pt x="-3941" y="466"/>
                    <a:pt x="-2852" y="466"/>
                  </a:cubicBezTo>
                  <a:cubicBezTo>
                    <a:pt x="-1544" y="466"/>
                    <a:pt x="-673" y="1556"/>
                    <a:pt x="-673" y="2646"/>
                  </a:cubicBezTo>
                  <a:cubicBezTo>
                    <a:pt x="-673" y="3954"/>
                    <a:pt x="-1544" y="4826"/>
                    <a:pt x="-2852" y="4826"/>
                  </a:cubicBezTo>
                  <a:cubicBezTo>
                    <a:pt x="-3941" y="4826"/>
                    <a:pt x="-5031" y="3954"/>
                    <a:pt x="-5031" y="2646"/>
                  </a:cubicBezTo>
                  <a:close/>
                </a:path>
              </a:pathLst>
            </a:custGeom>
            <a:grpFill/>
            <a:ln w="218" cap="flat">
              <a:noFill/>
              <a:prstDash val="solid"/>
              <a:miter/>
            </a:ln>
          </p:spPr>
          <p:txBody>
            <a:bodyPr rtlCol="0" anchor="ctr"/>
            <a:lstStyle/>
            <a:p>
              <a:endParaRPr lang="en-GB" dirty="0"/>
            </a:p>
          </p:txBody>
        </p:sp>
        <p:sp>
          <p:nvSpPr>
            <p:cNvPr id="245" name="Freihandform: Form 244">
              <a:extLst>
                <a:ext uri="{FF2B5EF4-FFF2-40B4-BE49-F238E27FC236}">
                  <a16:creationId xmlns:a16="http://schemas.microsoft.com/office/drawing/2014/main" xmlns="" id="{AB388643-D5B8-4006-968D-AC664A42C71E}"/>
                </a:ext>
              </a:extLst>
            </p:cNvPr>
            <p:cNvSpPr/>
            <p:nvPr/>
          </p:nvSpPr>
          <p:spPr>
            <a:xfrm flipV="1">
              <a:off x="4434662" y="5400146"/>
              <a:ext cx="29417" cy="113147"/>
            </a:xfrm>
            <a:custGeom>
              <a:avLst/>
              <a:gdLst>
                <a:gd name="connsiteX0" fmla="*/ 9103 w 29417"/>
                <a:gd name="connsiteY0" fmla="*/ 111533 h 113147"/>
                <a:gd name="connsiteX1" fmla="*/ 6706 w 29417"/>
                <a:gd name="connsiteY1" fmla="*/ 103031 h 113147"/>
                <a:gd name="connsiteX2" fmla="*/ 10847 w 29417"/>
                <a:gd name="connsiteY2" fmla="*/ 96709 h 113147"/>
                <a:gd name="connsiteX3" fmla="*/ 12808 w 29417"/>
                <a:gd name="connsiteY3" fmla="*/ 91041 h 113147"/>
                <a:gd name="connsiteX4" fmla="*/ 5181 w 29417"/>
                <a:gd name="connsiteY4" fmla="*/ 86681 h 113147"/>
                <a:gd name="connsiteX5" fmla="*/ -2446 w 29417"/>
                <a:gd name="connsiteY5" fmla="*/ 88207 h 113147"/>
                <a:gd name="connsiteX6" fmla="*/ -2010 w 29417"/>
                <a:gd name="connsiteY6" fmla="*/ 65316 h 113147"/>
                <a:gd name="connsiteX7" fmla="*/ 2566 w 29417"/>
                <a:gd name="connsiteY7" fmla="*/ 42207 h 113147"/>
                <a:gd name="connsiteX8" fmla="*/ 9975 w 29417"/>
                <a:gd name="connsiteY8" fmla="*/ 34359 h 113147"/>
                <a:gd name="connsiteX9" fmla="*/ 9975 w 29417"/>
                <a:gd name="connsiteY9" fmla="*/ 23676 h 113147"/>
                <a:gd name="connsiteX10" fmla="*/ 10193 w 29417"/>
                <a:gd name="connsiteY10" fmla="*/ 8634 h 113147"/>
                <a:gd name="connsiteX11" fmla="*/ 18909 w 29417"/>
                <a:gd name="connsiteY11" fmla="*/ 786 h 113147"/>
                <a:gd name="connsiteX12" fmla="*/ 21742 w 29417"/>
                <a:gd name="connsiteY12" fmla="*/ 8198 h 113147"/>
                <a:gd name="connsiteX13" fmla="*/ 18255 w 29417"/>
                <a:gd name="connsiteY13" fmla="*/ 15392 h 113147"/>
                <a:gd name="connsiteX14" fmla="*/ 21960 w 29417"/>
                <a:gd name="connsiteY14" fmla="*/ 25202 h 113147"/>
                <a:gd name="connsiteX15" fmla="*/ 26972 w 29417"/>
                <a:gd name="connsiteY15" fmla="*/ 29127 h 113147"/>
                <a:gd name="connsiteX16" fmla="*/ 17820 w 29417"/>
                <a:gd name="connsiteY16" fmla="*/ 37411 h 113147"/>
                <a:gd name="connsiteX17" fmla="*/ 19127 w 29417"/>
                <a:gd name="connsiteY17" fmla="*/ 49837 h 113147"/>
                <a:gd name="connsiteX18" fmla="*/ 22614 w 29417"/>
                <a:gd name="connsiteY18" fmla="*/ 55287 h 113147"/>
                <a:gd name="connsiteX19" fmla="*/ 19345 w 29417"/>
                <a:gd name="connsiteY19" fmla="*/ 61610 h 113147"/>
                <a:gd name="connsiteX20" fmla="*/ 16076 w 29417"/>
                <a:gd name="connsiteY20" fmla="*/ 69240 h 113147"/>
                <a:gd name="connsiteX21" fmla="*/ 18909 w 29417"/>
                <a:gd name="connsiteY21" fmla="*/ 75780 h 113147"/>
                <a:gd name="connsiteX22" fmla="*/ 21960 w 29417"/>
                <a:gd name="connsiteY22" fmla="*/ 77524 h 113147"/>
                <a:gd name="connsiteX23" fmla="*/ 20652 w 29417"/>
                <a:gd name="connsiteY23" fmla="*/ 87553 h 113147"/>
                <a:gd name="connsiteX24" fmla="*/ 16512 w 29417"/>
                <a:gd name="connsiteY24" fmla="*/ 113931 h 113147"/>
                <a:gd name="connsiteX25" fmla="*/ 9103 w 29417"/>
                <a:gd name="connsiteY25" fmla="*/ 111533 h 113147"/>
                <a:gd name="connsiteX26" fmla="*/ 8450 w 29417"/>
                <a:gd name="connsiteY26" fmla="*/ 61828 h 113147"/>
                <a:gd name="connsiteX27" fmla="*/ 6053 w 29417"/>
                <a:gd name="connsiteY27" fmla="*/ 59648 h 113147"/>
                <a:gd name="connsiteX28" fmla="*/ 5181 w 29417"/>
                <a:gd name="connsiteY28" fmla="*/ 61828 h 113147"/>
                <a:gd name="connsiteX29" fmla="*/ 7578 w 29417"/>
                <a:gd name="connsiteY29" fmla="*/ 64008 h 113147"/>
                <a:gd name="connsiteX30" fmla="*/ 8450 w 29417"/>
                <a:gd name="connsiteY30" fmla="*/ 61828 h 11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9417" h="113147">
                  <a:moveTo>
                    <a:pt x="9103" y="111533"/>
                  </a:moveTo>
                  <a:cubicBezTo>
                    <a:pt x="5181" y="109571"/>
                    <a:pt x="4745" y="108481"/>
                    <a:pt x="6706" y="103031"/>
                  </a:cubicBezTo>
                  <a:cubicBezTo>
                    <a:pt x="7796" y="99543"/>
                    <a:pt x="9757" y="96709"/>
                    <a:pt x="10847" y="96709"/>
                  </a:cubicBezTo>
                  <a:cubicBezTo>
                    <a:pt x="11936" y="96709"/>
                    <a:pt x="12808" y="94093"/>
                    <a:pt x="12808" y="91041"/>
                  </a:cubicBezTo>
                  <a:cubicBezTo>
                    <a:pt x="12808" y="85590"/>
                    <a:pt x="12372" y="85372"/>
                    <a:pt x="5181" y="86681"/>
                  </a:cubicBezTo>
                  <a:lnTo>
                    <a:pt x="-2446" y="88207"/>
                  </a:lnTo>
                  <a:lnTo>
                    <a:pt x="-2010" y="65316"/>
                  </a:lnTo>
                  <a:cubicBezTo>
                    <a:pt x="-1356" y="44823"/>
                    <a:pt x="-920" y="42207"/>
                    <a:pt x="2566" y="42207"/>
                  </a:cubicBezTo>
                  <a:cubicBezTo>
                    <a:pt x="4745" y="42207"/>
                    <a:pt x="7796" y="38937"/>
                    <a:pt x="9975" y="34359"/>
                  </a:cubicBezTo>
                  <a:cubicBezTo>
                    <a:pt x="13679" y="26946"/>
                    <a:pt x="13679" y="26292"/>
                    <a:pt x="9975" y="23676"/>
                  </a:cubicBezTo>
                  <a:cubicBezTo>
                    <a:pt x="5399" y="20406"/>
                    <a:pt x="5399" y="18226"/>
                    <a:pt x="10193" y="8634"/>
                  </a:cubicBezTo>
                  <a:cubicBezTo>
                    <a:pt x="12808" y="3184"/>
                    <a:pt x="15423" y="786"/>
                    <a:pt x="18909" y="786"/>
                  </a:cubicBezTo>
                  <a:cubicBezTo>
                    <a:pt x="23703" y="786"/>
                    <a:pt x="25664" y="5800"/>
                    <a:pt x="21742" y="8198"/>
                  </a:cubicBezTo>
                  <a:cubicBezTo>
                    <a:pt x="20652" y="8852"/>
                    <a:pt x="19127" y="12122"/>
                    <a:pt x="18255" y="15392"/>
                  </a:cubicBezTo>
                  <a:cubicBezTo>
                    <a:pt x="17166" y="19970"/>
                    <a:pt x="18038" y="22150"/>
                    <a:pt x="21960" y="25202"/>
                  </a:cubicBezTo>
                  <a:lnTo>
                    <a:pt x="26972" y="29127"/>
                  </a:lnTo>
                  <a:lnTo>
                    <a:pt x="17820" y="37411"/>
                  </a:lnTo>
                  <a:cubicBezTo>
                    <a:pt x="7360" y="47003"/>
                    <a:pt x="7796" y="52453"/>
                    <a:pt x="19127" y="49837"/>
                  </a:cubicBezTo>
                  <a:cubicBezTo>
                    <a:pt x="26318" y="48311"/>
                    <a:pt x="28061" y="50709"/>
                    <a:pt x="22614" y="55287"/>
                  </a:cubicBezTo>
                  <a:cubicBezTo>
                    <a:pt x="20870" y="56813"/>
                    <a:pt x="19345" y="59648"/>
                    <a:pt x="19345" y="61610"/>
                  </a:cubicBezTo>
                  <a:cubicBezTo>
                    <a:pt x="19345" y="63572"/>
                    <a:pt x="17820" y="67060"/>
                    <a:pt x="16076" y="69240"/>
                  </a:cubicBezTo>
                  <a:cubicBezTo>
                    <a:pt x="11282" y="75562"/>
                    <a:pt x="12154" y="77306"/>
                    <a:pt x="18909" y="75780"/>
                  </a:cubicBezTo>
                  <a:cubicBezTo>
                    <a:pt x="23921" y="74472"/>
                    <a:pt x="24357" y="74690"/>
                    <a:pt x="21960" y="77524"/>
                  </a:cubicBezTo>
                  <a:cubicBezTo>
                    <a:pt x="20435" y="79486"/>
                    <a:pt x="19781" y="83410"/>
                    <a:pt x="20652" y="87553"/>
                  </a:cubicBezTo>
                  <a:cubicBezTo>
                    <a:pt x="22614" y="96709"/>
                    <a:pt x="19781" y="114149"/>
                    <a:pt x="16512" y="113931"/>
                  </a:cubicBezTo>
                  <a:cubicBezTo>
                    <a:pt x="14987" y="113931"/>
                    <a:pt x="11718" y="112841"/>
                    <a:pt x="9103" y="111533"/>
                  </a:cubicBezTo>
                  <a:close/>
                  <a:moveTo>
                    <a:pt x="8450" y="61828"/>
                  </a:moveTo>
                  <a:cubicBezTo>
                    <a:pt x="8450" y="60738"/>
                    <a:pt x="7360" y="59648"/>
                    <a:pt x="6053" y="59648"/>
                  </a:cubicBezTo>
                  <a:cubicBezTo>
                    <a:pt x="4963" y="59648"/>
                    <a:pt x="4527" y="60738"/>
                    <a:pt x="5181" y="61828"/>
                  </a:cubicBezTo>
                  <a:cubicBezTo>
                    <a:pt x="5835" y="63136"/>
                    <a:pt x="6924" y="64008"/>
                    <a:pt x="7578" y="64008"/>
                  </a:cubicBezTo>
                  <a:cubicBezTo>
                    <a:pt x="8014" y="64008"/>
                    <a:pt x="8450" y="63136"/>
                    <a:pt x="8450" y="61828"/>
                  </a:cubicBezTo>
                  <a:close/>
                </a:path>
              </a:pathLst>
            </a:custGeom>
            <a:grpFill/>
            <a:ln w="218" cap="flat">
              <a:noFill/>
              <a:prstDash val="solid"/>
              <a:miter/>
            </a:ln>
          </p:spPr>
          <p:txBody>
            <a:bodyPr rtlCol="0" anchor="ctr"/>
            <a:lstStyle/>
            <a:p>
              <a:endParaRPr lang="en-GB" dirty="0"/>
            </a:p>
          </p:txBody>
        </p:sp>
        <p:sp>
          <p:nvSpPr>
            <p:cNvPr id="246" name="Freihandform: Form 245">
              <a:extLst>
                <a:ext uri="{FF2B5EF4-FFF2-40B4-BE49-F238E27FC236}">
                  <a16:creationId xmlns:a16="http://schemas.microsoft.com/office/drawing/2014/main" xmlns="" id="{1ABDD9B9-AAB0-4BE9-98B7-E134F80079B5}"/>
                </a:ext>
              </a:extLst>
            </p:cNvPr>
            <p:cNvSpPr/>
            <p:nvPr/>
          </p:nvSpPr>
          <p:spPr>
            <a:xfrm flipV="1">
              <a:off x="5117250" y="5402274"/>
              <a:ext cx="11991" cy="12916"/>
            </a:xfrm>
            <a:custGeom>
              <a:avLst/>
              <a:gdLst>
                <a:gd name="connsiteX0" fmla="*/ -3588 w 11991"/>
                <a:gd name="connsiteY0" fmla="*/ 10354 h 12916"/>
                <a:gd name="connsiteX1" fmla="*/ -755 w 11991"/>
                <a:gd name="connsiteY1" fmla="*/ 543 h 12916"/>
                <a:gd name="connsiteX2" fmla="*/ 5128 w 11991"/>
                <a:gd name="connsiteY2" fmla="*/ 3814 h 12916"/>
                <a:gd name="connsiteX3" fmla="*/ 5128 w 11991"/>
                <a:gd name="connsiteY3" fmla="*/ 10354 h 12916"/>
                <a:gd name="connsiteX4" fmla="*/ -3588 w 11991"/>
                <a:gd name="connsiteY4" fmla="*/ 10354 h 129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91" h="12916">
                  <a:moveTo>
                    <a:pt x="-3588" y="10354"/>
                  </a:moveTo>
                  <a:cubicBezTo>
                    <a:pt x="-6857" y="6430"/>
                    <a:pt x="-4895" y="543"/>
                    <a:pt x="-755" y="543"/>
                  </a:cubicBezTo>
                  <a:cubicBezTo>
                    <a:pt x="988" y="543"/>
                    <a:pt x="3603" y="2069"/>
                    <a:pt x="5128" y="3814"/>
                  </a:cubicBezTo>
                  <a:cubicBezTo>
                    <a:pt x="7307" y="6430"/>
                    <a:pt x="7307" y="7738"/>
                    <a:pt x="5128" y="10354"/>
                  </a:cubicBezTo>
                  <a:cubicBezTo>
                    <a:pt x="1642" y="14496"/>
                    <a:pt x="-102" y="14496"/>
                    <a:pt x="-3588" y="10354"/>
                  </a:cubicBezTo>
                  <a:close/>
                </a:path>
              </a:pathLst>
            </a:custGeom>
            <a:grpFill/>
            <a:ln w="218" cap="flat">
              <a:noFill/>
              <a:prstDash val="solid"/>
              <a:miter/>
            </a:ln>
          </p:spPr>
          <p:txBody>
            <a:bodyPr rtlCol="0" anchor="ctr"/>
            <a:lstStyle/>
            <a:p>
              <a:endParaRPr lang="en-GB" dirty="0"/>
            </a:p>
          </p:txBody>
        </p:sp>
        <p:sp>
          <p:nvSpPr>
            <p:cNvPr id="247" name="Freihandform: Form 246">
              <a:extLst>
                <a:ext uri="{FF2B5EF4-FFF2-40B4-BE49-F238E27FC236}">
                  <a16:creationId xmlns:a16="http://schemas.microsoft.com/office/drawing/2014/main" xmlns="" id="{C2E97170-D51C-4EAD-80CF-06357D9C6C97}"/>
                </a:ext>
              </a:extLst>
            </p:cNvPr>
            <p:cNvSpPr/>
            <p:nvPr/>
          </p:nvSpPr>
          <p:spPr>
            <a:xfrm flipV="1">
              <a:off x="5164652" y="5404290"/>
              <a:ext cx="8716" cy="6540"/>
            </a:xfrm>
            <a:custGeom>
              <a:avLst/>
              <a:gdLst>
                <a:gd name="connsiteX0" fmla="*/ -5418 w 8716"/>
                <a:gd name="connsiteY0" fmla="*/ 3808 h 6540"/>
                <a:gd name="connsiteX1" fmla="*/ -1060 w 8716"/>
                <a:gd name="connsiteY1" fmla="*/ 538 h 6540"/>
                <a:gd name="connsiteX2" fmla="*/ 3298 w 8716"/>
                <a:gd name="connsiteY2" fmla="*/ 3808 h 6540"/>
                <a:gd name="connsiteX3" fmla="*/ -1060 w 8716"/>
                <a:gd name="connsiteY3" fmla="*/ 7078 h 6540"/>
                <a:gd name="connsiteX4" fmla="*/ -5418 w 8716"/>
                <a:gd name="connsiteY4" fmla="*/ 3808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6" h="6540">
                  <a:moveTo>
                    <a:pt x="-5418" y="3808"/>
                  </a:moveTo>
                  <a:cubicBezTo>
                    <a:pt x="-5418" y="2064"/>
                    <a:pt x="-3457" y="538"/>
                    <a:pt x="-1060" y="538"/>
                  </a:cubicBezTo>
                  <a:cubicBezTo>
                    <a:pt x="1337" y="538"/>
                    <a:pt x="3298" y="2064"/>
                    <a:pt x="3298" y="3808"/>
                  </a:cubicBezTo>
                  <a:cubicBezTo>
                    <a:pt x="3298" y="5552"/>
                    <a:pt x="1337" y="7078"/>
                    <a:pt x="-1060" y="7078"/>
                  </a:cubicBezTo>
                  <a:cubicBezTo>
                    <a:pt x="-3457" y="7078"/>
                    <a:pt x="-5418" y="5552"/>
                    <a:pt x="-5418" y="3808"/>
                  </a:cubicBezTo>
                  <a:close/>
                </a:path>
              </a:pathLst>
            </a:custGeom>
            <a:grpFill/>
            <a:ln w="218" cap="flat">
              <a:noFill/>
              <a:prstDash val="solid"/>
              <a:miter/>
            </a:ln>
          </p:spPr>
          <p:txBody>
            <a:bodyPr rtlCol="0" anchor="ctr"/>
            <a:lstStyle/>
            <a:p>
              <a:endParaRPr lang="en-GB" dirty="0"/>
            </a:p>
          </p:txBody>
        </p:sp>
        <p:sp>
          <p:nvSpPr>
            <p:cNvPr id="248" name="Freihandform: Form 247">
              <a:extLst>
                <a:ext uri="{FF2B5EF4-FFF2-40B4-BE49-F238E27FC236}">
                  <a16:creationId xmlns:a16="http://schemas.microsoft.com/office/drawing/2014/main" xmlns="" id="{9BF45486-5E14-4E9E-91B2-29E7A16BB370}"/>
                </a:ext>
              </a:extLst>
            </p:cNvPr>
            <p:cNvSpPr/>
            <p:nvPr/>
          </p:nvSpPr>
          <p:spPr>
            <a:xfrm flipV="1">
              <a:off x="5179905" y="5408650"/>
              <a:ext cx="4358" cy="6540"/>
            </a:xfrm>
            <a:custGeom>
              <a:avLst/>
              <a:gdLst>
                <a:gd name="connsiteX0" fmla="*/ -5472 w 4358"/>
                <a:gd name="connsiteY0" fmla="*/ 3830 h 6540"/>
                <a:gd name="connsiteX1" fmla="*/ -3293 w 4358"/>
                <a:gd name="connsiteY1" fmla="*/ 560 h 6540"/>
                <a:gd name="connsiteX2" fmla="*/ -1114 w 4358"/>
                <a:gd name="connsiteY2" fmla="*/ 3830 h 6540"/>
                <a:gd name="connsiteX3" fmla="*/ -3293 w 4358"/>
                <a:gd name="connsiteY3" fmla="*/ 7100 h 6540"/>
                <a:gd name="connsiteX4" fmla="*/ -5472 w 4358"/>
                <a:gd name="connsiteY4" fmla="*/ 3830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6540">
                  <a:moveTo>
                    <a:pt x="-5472" y="3830"/>
                  </a:moveTo>
                  <a:cubicBezTo>
                    <a:pt x="-5472" y="2086"/>
                    <a:pt x="-4382" y="560"/>
                    <a:pt x="-3293" y="560"/>
                  </a:cubicBezTo>
                  <a:cubicBezTo>
                    <a:pt x="-1985" y="560"/>
                    <a:pt x="-1114" y="2086"/>
                    <a:pt x="-1114" y="3830"/>
                  </a:cubicBezTo>
                  <a:cubicBezTo>
                    <a:pt x="-1114" y="5574"/>
                    <a:pt x="-1985" y="7100"/>
                    <a:pt x="-3293" y="7100"/>
                  </a:cubicBezTo>
                  <a:cubicBezTo>
                    <a:pt x="-4382" y="7100"/>
                    <a:pt x="-5472" y="5574"/>
                    <a:pt x="-5472" y="3830"/>
                  </a:cubicBezTo>
                  <a:close/>
                </a:path>
              </a:pathLst>
            </a:custGeom>
            <a:grpFill/>
            <a:ln w="218" cap="flat">
              <a:noFill/>
              <a:prstDash val="solid"/>
              <a:miter/>
            </a:ln>
          </p:spPr>
          <p:txBody>
            <a:bodyPr rtlCol="0" anchor="ctr"/>
            <a:lstStyle/>
            <a:p>
              <a:endParaRPr lang="en-GB" dirty="0"/>
            </a:p>
          </p:txBody>
        </p:sp>
        <p:sp>
          <p:nvSpPr>
            <p:cNvPr id="249" name="Freihandform: Form 248">
              <a:extLst>
                <a:ext uri="{FF2B5EF4-FFF2-40B4-BE49-F238E27FC236}">
                  <a16:creationId xmlns:a16="http://schemas.microsoft.com/office/drawing/2014/main" xmlns="" id="{16C19F7A-CD92-4FDC-856D-98AE4C89D060}"/>
                </a:ext>
              </a:extLst>
            </p:cNvPr>
            <p:cNvSpPr/>
            <p:nvPr/>
          </p:nvSpPr>
          <p:spPr>
            <a:xfrm flipV="1">
              <a:off x="4833433" y="5410831"/>
              <a:ext cx="3575" cy="4360"/>
            </a:xfrm>
            <a:custGeom>
              <a:avLst/>
              <a:gdLst>
                <a:gd name="connsiteX0" fmla="*/ -4039 w 3575"/>
                <a:gd name="connsiteY0" fmla="*/ 2745 h 4360"/>
                <a:gd name="connsiteX1" fmla="*/ -1642 w 3575"/>
                <a:gd name="connsiteY1" fmla="*/ 565 h 4360"/>
                <a:gd name="connsiteX2" fmla="*/ -771 w 3575"/>
                <a:gd name="connsiteY2" fmla="*/ 2745 h 4360"/>
                <a:gd name="connsiteX3" fmla="*/ -3168 w 3575"/>
                <a:gd name="connsiteY3" fmla="*/ 4925 h 4360"/>
                <a:gd name="connsiteX4" fmla="*/ -4039 w 3575"/>
                <a:gd name="connsiteY4" fmla="*/ 2745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4039" y="2745"/>
                  </a:moveTo>
                  <a:cubicBezTo>
                    <a:pt x="-4039" y="1655"/>
                    <a:pt x="-2950" y="565"/>
                    <a:pt x="-1642" y="565"/>
                  </a:cubicBezTo>
                  <a:cubicBezTo>
                    <a:pt x="-553" y="565"/>
                    <a:pt x="-117" y="1655"/>
                    <a:pt x="-771" y="2745"/>
                  </a:cubicBezTo>
                  <a:cubicBezTo>
                    <a:pt x="-1424" y="4053"/>
                    <a:pt x="-2514" y="4925"/>
                    <a:pt x="-3168" y="4925"/>
                  </a:cubicBezTo>
                  <a:cubicBezTo>
                    <a:pt x="-3604" y="4925"/>
                    <a:pt x="-4039" y="4053"/>
                    <a:pt x="-4039" y="2745"/>
                  </a:cubicBezTo>
                  <a:close/>
                </a:path>
              </a:pathLst>
            </a:custGeom>
            <a:grpFill/>
            <a:ln w="218" cap="flat">
              <a:noFill/>
              <a:prstDash val="solid"/>
              <a:miter/>
            </a:ln>
          </p:spPr>
          <p:txBody>
            <a:bodyPr rtlCol="0" anchor="ctr"/>
            <a:lstStyle/>
            <a:p>
              <a:endParaRPr lang="en-GB" dirty="0"/>
            </a:p>
          </p:txBody>
        </p:sp>
        <p:sp>
          <p:nvSpPr>
            <p:cNvPr id="250" name="Freihandform: Form 249">
              <a:extLst>
                <a:ext uri="{FF2B5EF4-FFF2-40B4-BE49-F238E27FC236}">
                  <a16:creationId xmlns:a16="http://schemas.microsoft.com/office/drawing/2014/main" xmlns="" id="{73C5456B-1E19-46DB-8841-CE0B663C42E0}"/>
                </a:ext>
              </a:extLst>
            </p:cNvPr>
            <p:cNvSpPr/>
            <p:nvPr/>
          </p:nvSpPr>
          <p:spPr>
            <a:xfrm flipV="1">
              <a:off x="4840842" y="5415191"/>
              <a:ext cx="5664" cy="4360"/>
            </a:xfrm>
            <a:custGeom>
              <a:avLst/>
              <a:gdLst>
                <a:gd name="connsiteX0" fmla="*/ -3857 w 5664"/>
                <a:gd name="connsiteY0" fmla="*/ 2767 h 4360"/>
                <a:gd name="connsiteX1" fmla="*/ -371 w 5664"/>
                <a:gd name="connsiteY1" fmla="*/ 587 h 4360"/>
                <a:gd name="connsiteX2" fmla="*/ 1590 w 5664"/>
                <a:gd name="connsiteY2" fmla="*/ 2767 h 4360"/>
                <a:gd name="connsiteX3" fmla="*/ -1896 w 5664"/>
                <a:gd name="connsiteY3" fmla="*/ 4947 h 4360"/>
                <a:gd name="connsiteX4" fmla="*/ -3857 w 5664"/>
                <a:gd name="connsiteY4" fmla="*/ 2767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 h="4360">
                  <a:moveTo>
                    <a:pt x="-3857" y="2767"/>
                  </a:moveTo>
                  <a:cubicBezTo>
                    <a:pt x="-3204" y="1677"/>
                    <a:pt x="-1678" y="587"/>
                    <a:pt x="-371" y="587"/>
                  </a:cubicBezTo>
                  <a:cubicBezTo>
                    <a:pt x="719" y="587"/>
                    <a:pt x="1590" y="1677"/>
                    <a:pt x="1590" y="2767"/>
                  </a:cubicBezTo>
                  <a:cubicBezTo>
                    <a:pt x="1590" y="4075"/>
                    <a:pt x="65" y="4947"/>
                    <a:pt x="-1896" y="4947"/>
                  </a:cubicBezTo>
                  <a:cubicBezTo>
                    <a:pt x="-3639" y="4947"/>
                    <a:pt x="-4511" y="4075"/>
                    <a:pt x="-3857" y="2767"/>
                  </a:cubicBezTo>
                  <a:close/>
                </a:path>
              </a:pathLst>
            </a:custGeom>
            <a:grpFill/>
            <a:ln w="218" cap="flat">
              <a:noFill/>
              <a:prstDash val="solid"/>
              <a:miter/>
            </a:ln>
          </p:spPr>
          <p:txBody>
            <a:bodyPr rtlCol="0" anchor="ctr"/>
            <a:lstStyle/>
            <a:p>
              <a:endParaRPr lang="en-GB" dirty="0"/>
            </a:p>
          </p:txBody>
        </p:sp>
        <p:sp>
          <p:nvSpPr>
            <p:cNvPr id="251" name="Freihandform: Form 250">
              <a:extLst>
                <a:ext uri="{FF2B5EF4-FFF2-40B4-BE49-F238E27FC236}">
                  <a16:creationId xmlns:a16="http://schemas.microsoft.com/office/drawing/2014/main" xmlns="" id="{48AD06F8-6CFA-4CA6-AB97-D9DD85C8F24D}"/>
                </a:ext>
              </a:extLst>
            </p:cNvPr>
            <p:cNvSpPr/>
            <p:nvPr/>
          </p:nvSpPr>
          <p:spPr>
            <a:xfrm flipV="1">
              <a:off x="4801619" y="5417371"/>
              <a:ext cx="5619" cy="3570"/>
            </a:xfrm>
            <a:custGeom>
              <a:avLst/>
              <a:gdLst>
                <a:gd name="connsiteX0" fmla="*/ -3695 w 5619"/>
                <a:gd name="connsiteY0" fmla="*/ 1987 h 3570"/>
                <a:gd name="connsiteX1" fmla="*/ -209 w 5619"/>
                <a:gd name="connsiteY1" fmla="*/ 896 h 3570"/>
                <a:gd name="connsiteX2" fmla="*/ -1734 w 5619"/>
                <a:gd name="connsiteY2" fmla="*/ 4167 h 3570"/>
                <a:gd name="connsiteX3" fmla="*/ -3695 w 5619"/>
                <a:gd name="connsiteY3" fmla="*/ 1987 h 3570"/>
              </a:gdLst>
              <a:ahLst/>
              <a:cxnLst>
                <a:cxn ang="0">
                  <a:pos x="connsiteX0" y="connsiteY0"/>
                </a:cxn>
                <a:cxn ang="0">
                  <a:pos x="connsiteX1" y="connsiteY1"/>
                </a:cxn>
                <a:cxn ang="0">
                  <a:pos x="connsiteX2" y="connsiteY2"/>
                </a:cxn>
                <a:cxn ang="0">
                  <a:pos x="connsiteX3" y="connsiteY3"/>
                </a:cxn>
              </a:cxnLst>
              <a:rect l="l" t="t" r="r" b="b"/>
              <a:pathLst>
                <a:path w="5619" h="3570">
                  <a:moveTo>
                    <a:pt x="-3695" y="1987"/>
                  </a:moveTo>
                  <a:cubicBezTo>
                    <a:pt x="-2824" y="678"/>
                    <a:pt x="-1298" y="242"/>
                    <a:pt x="-209" y="896"/>
                  </a:cubicBezTo>
                  <a:cubicBezTo>
                    <a:pt x="2842" y="2859"/>
                    <a:pt x="2188" y="4167"/>
                    <a:pt x="-1734" y="4167"/>
                  </a:cubicBezTo>
                  <a:cubicBezTo>
                    <a:pt x="-3477" y="4167"/>
                    <a:pt x="-4349" y="3077"/>
                    <a:pt x="-3695" y="1987"/>
                  </a:cubicBezTo>
                  <a:close/>
                </a:path>
              </a:pathLst>
            </a:custGeom>
            <a:grpFill/>
            <a:ln w="218" cap="flat">
              <a:noFill/>
              <a:prstDash val="solid"/>
              <a:miter/>
            </a:ln>
          </p:spPr>
          <p:txBody>
            <a:bodyPr rtlCol="0" anchor="ctr"/>
            <a:lstStyle/>
            <a:p>
              <a:endParaRPr lang="en-GB" dirty="0"/>
            </a:p>
          </p:txBody>
        </p:sp>
        <p:sp>
          <p:nvSpPr>
            <p:cNvPr id="252" name="Freihandform: Form 251">
              <a:extLst>
                <a:ext uri="{FF2B5EF4-FFF2-40B4-BE49-F238E27FC236}">
                  <a16:creationId xmlns:a16="http://schemas.microsoft.com/office/drawing/2014/main" xmlns="" id="{822E1ED3-8065-439D-B3E2-4C3BD73F51F2}"/>
                </a:ext>
              </a:extLst>
            </p:cNvPr>
            <p:cNvSpPr/>
            <p:nvPr/>
          </p:nvSpPr>
          <p:spPr>
            <a:xfrm flipV="1">
              <a:off x="4199322" y="5424636"/>
              <a:ext cx="58592" cy="106098"/>
            </a:xfrm>
            <a:custGeom>
              <a:avLst/>
              <a:gdLst>
                <a:gd name="connsiteX0" fmla="*/ 23090 w 58592"/>
                <a:gd name="connsiteY0" fmla="*/ 104881 h 106098"/>
                <a:gd name="connsiteX1" fmla="*/ 17206 w 58592"/>
                <a:gd name="connsiteY1" fmla="*/ 96379 h 106098"/>
                <a:gd name="connsiteX2" fmla="*/ 12412 w 58592"/>
                <a:gd name="connsiteY2" fmla="*/ 90710 h 106098"/>
                <a:gd name="connsiteX3" fmla="*/ 7836 w 58592"/>
                <a:gd name="connsiteY3" fmla="*/ 88748 h 106098"/>
                <a:gd name="connsiteX4" fmla="*/ 8708 w 58592"/>
                <a:gd name="connsiteY4" fmla="*/ 85914 h 106098"/>
                <a:gd name="connsiteX5" fmla="*/ 13502 w 58592"/>
                <a:gd name="connsiteY5" fmla="*/ 83952 h 106098"/>
                <a:gd name="connsiteX6" fmla="*/ 13937 w 58592"/>
                <a:gd name="connsiteY6" fmla="*/ 78502 h 106098"/>
                <a:gd name="connsiteX7" fmla="*/ 13937 w 58592"/>
                <a:gd name="connsiteY7" fmla="*/ 71526 h 106098"/>
                <a:gd name="connsiteX8" fmla="*/ 4567 w 58592"/>
                <a:gd name="connsiteY8" fmla="*/ 64986 h 106098"/>
                <a:gd name="connsiteX9" fmla="*/ -1534 w 58592"/>
                <a:gd name="connsiteY9" fmla="*/ 63023 h 106098"/>
                <a:gd name="connsiteX10" fmla="*/ 7836 w 58592"/>
                <a:gd name="connsiteY10" fmla="*/ 52995 h 106098"/>
                <a:gd name="connsiteX11" fmla="*/ 24615 w 58592"/>
                <a:gd name="connsiteY11" fmla="*/ 39479 h 106098"/>
                <a:gd name="connsiteX12" fmla="*/ 19167 w 58592"/>
                <a:gd name="connsiteY12" fmla="*/ 31412 h 106098"/>
                <a:gd name="connsiteX13" fmla="*/ 13720 w 58592"/>
                <a:gd name="connsiteY13" fmla="*/ 25962 h 106098"/>
                <a:gd name="connsiteX14" fmla="*/ 18731 w 58592"/>
                <a:gd name="connsiteY14" fmla="*/ 25526 h 106098"/>
                <a:gd name="connsiteX15" fmla="*/ 28973 w 58592"/>
                <a:gd name="connsiteY15" fmla="*/ 5251 h 106098"/>
                <a:gd name="connsiteX16" fmla="*/ 31370 w 58592"/>
                <a:gd name="connsiteY16" fmla="*/ 891 h 106098"/>
                <a:gd name="connsiteX17" fmla="*/ 32677 w 58592"/>
                <a:gd name="connsiteY17" fmla="*/ 5687 h 106098"/>
                <a:gd name="connsiteX18" fmla="*/ 35510 w 58592"/>
                <a:gd name="connsiteY18" fmla="*/ 15716 h 106098"/>
                <a:gd name="connsiteX19" fmla="*/ 37036 w 58592"/>
                <a:gd name="connsiteY19" fmla="*/ 25744 h 106098"/>
                <a:gd name="connsiteX20" fmla="*/ 34421 w 58592"/>
                <a:gd name="connsiteY20" fmla="*/ 38825 h 106098"/>
                <a:gd name="connsiteX21" fmla="*/ 27230 w 58592"/>
                <a:gd name="connsiteY21" fmla="*/ 52995 h 106098"/>
                <a:gd name="connsiteX22" fmla="*/ 22218 w 58592"/>
                <a:gd name="connsiteY22" fmla="*/ 66294 h 106098"/>
                <a:gd name="connsiteX23" fmla="*/ 31152 w 58592"/>
                <a:gd name="connsiteY23" fmla="*/ 57573 h 106098"/>
                <a:gd name="connsiteX24" fmla="*/ 35510 w 58592"/>
                <a:gd name="connsiteY24" fmla="*/ 53213 h 106098"/>
                <a:gd name="connsiteX25" fmla="*/ 48585 w 58592"/>
                <a:gd name="connsiteY25" fmla="*/ 59099 h 106098"/>
                <a:gd name="connsiteX26" fmla="*/ 52071 w 58592"/>
                <a:gd name="connsiteY26" fmla="*/ 72834 h 106098"/>
                <a:gd name="connsiteX27" fmla="*/ 45970 w 58592"/>
                <a:gd name="connsiteY27" fmla="*/ 82208 h 106098"/>
                <a:gd name="connsiteX28" fmla="*/ 41176 w 58592"/>
                <a:gd name="connsiteY28" fmla="*/ 91364 h 106098"/>
                <a:gd name="connsiteX29" fmla="*/ 36382 w 58592"/>
                <a:gd name="connsiteY29" fmla="*/ 83080 h 106098"/>
                <a:gd name="connsiteX30" fmla="*/ 40304 w 58592"/>
                <a:gd name="connsiteY30" fmla="*/ 73052 h 106098"/>
                <a:gd name="connsiteX31" fmla="*/ 45534 w 58592"/>
                <a:gd name="connsiteY31" fmla="*/ 65640 h 106098"/>
                <a:gd name="connsiteX32" fmla="*/ 46188 w 58592"/>
                <a:gd name="connsiteY32" fmla="*/ 59971 h 106098"/>
                <a:gd name="connsiteX33" fmla="*/ 38561 w 58592"/>
                <a:gd name="connsiteY33" fmla="*/ 63459 h 106098"/>
                <a:gd name="connsiteX34" fmla="*/ 31152 w 58592"/>
                <a:gd name="connsiteY34" fmla="*/ 69564 h 106098"/>
                <a:gd name="connsiteX35" fmla="*/ 26794 w 58592"/>
                <a:gd name="connsiteY35" fmla="*/ 76104 h 106098"/>
                <a:gd name="connsiteX36" fmla="*/ 28537 w 58592"/>
                <a:gd name="connsiteY36" fmla="*/ 90710 h 106098"/>
                <a:gd name="connsiteX37" fmla="*/ 34421 w 58592"/>
                <a:gd name="connsiteY37" fmla="*/ 100085 h 106098"/>
                <a:gd name="connsiteX38" fmla="*/ 23090 w 58592"/>
                <a:gd name="connsiteY38" fmla="*/ 104881 h 106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8592" h="106098">
                  <a:moveTo>
                    <a:pt x="23090" y="104881"/>
                  </a:moveTo>
                  <a:cubicBezTo>
                    <a:pt x="20475" y="103573"/>
                    <a:pt x="17860" y="99649"/>
                    <a:pt x="17206" y="96379"/>
                  </a:cubicBezTo>
                  <a:cubicBezTo>
                    <a:pt x="16334" y="92018"/>
                    <a:pt x="14809" y="90274"/>
                    <a:pt x="12412" y="90710"/>
                  </a:cubicBezTo>
                  <a:cubicBezTo>
                    <a:pt x="10451" y="91146"/>
                    <a:pt x="8272" y="90056"/>
                    <a:pt x="7836" y="88748"/>
                  </a:cubicBezTo>
                  <a:cubicBezTo>
                    <a:pt x="7182" y="87222"/>
                    <a:pt x="7618" y="85914"/>
                    <a:pt x="8708" y="85914"/>
                  </a:cubicBezTo>
                  <a:cubicBezTo>
                    <a:pt x="9579" y="85914"/>
                    <a:pt x="11758" y="85042"/>
                    <a:pt x="13502" y="83952"/>
                  </a:cubicBezTo>
                  <a:cubicBezTo>
                    <a:pt x="16117" y="82208"/>
                    <a:pt x="16117" y="81336"/>
                    <a:pt x="13937" y="78502"/>
                  </a:cubicBezTo>
                  <a:cubicBezTo>
                    <a:pt x="11540" y="75668"/>
                    <a:pt x="11540" y="74360"/>
                    <a:pt x="13937" y="71526"/>
                  </a:cubicBezTo>
                  <a:cubicBezTo>
                    <a:pt x="17642" y="66948"/>
                    <a:pt x="12848" y="63677"/>
                    <a:pt x="4567" y="64986"/>
                  </a:cubicBezTo>
                  <a:cubicBezTo>
                    <a:pt x="209" y="65858"/>
                    <a:pt x="-1534" y="65204"/>
                    <a:pt x="-1534" y="63023"/>
                  </a:cubicBezTo>
                  <a:cubicBezTo>
                    <a:pt x="-1534" y="59535"/>
                    <a:pt x="4350" y="53213"/>
                    <a:pt x="7836" y="52995"/>
                  </a:cubicBezTo>
                  <a:cubicBezTo>
                    <a:pt x="22000" y="52123"/>
                    <a:pt x="24615" y="49943"/>
                    <a:pt x="24615" y="39479"/>
                  </a:cubicBezTo>
                  <a:cubicBezTo>
                    <a:pt x="24615" y="35119"/>
                    <a:pt x="23090" y="32938"/>
                    <a:pt x="19167" y="31412"/>
                  </a:cubicBezTo>
                  <a:cubicBezTo>
                    <a:pt x="16117" y="30322"/>
                    <a:pt x="13720" y="27924"/>
                    <a:pt x="13720" y="25962"/>
                  </a:cubicBezTo>
                  <a:cubicBezTo>
                    <a:pt x="13720" y="22038"/>
                    <a:pt x="17424" y="21602"/>
                    <a:pt x="18731" y="25526"/>
                  </a:cubicBezTo>
                  <a:cubicBezTo>
                    <a:pt x="19821" y="29014"/>
                    <a:pt x="28973" y="11138"/>
                    <a:pt x="28973" y="5251"/>
                  </a:cubicBezTo>
                  <a:cubicBezTo>
                    <a:pt x="28973" y="2853"/>
                    <a:pt x="30063" y="891"/>
                    <a:pt x="31370" y="891"/>
                  </a:cubicBezTo>
                  <a:cubicBezTo>
                    <a:pt x="32895" y="891"/>
                    <a:pt x="33331" y="2853"/>
                    <a:pt x="32677" y="5687"/>
                  </a:cubicBezTo>
                  <a:cubicBezTo>
                    <a:pt x="31806" y="8522"/>
                    <a:pt x="32895" y="12446"/>
                    <a:pt x="35510" y="15716"/>
                  </a:cubicBezTo>
                  <a:cubicBezTo>
                    <a:pt x="38997" y="20076"/>
                    <a:pt x="39433" y="21820"/>
                    <a:pt x="37036" y="25744"/>
                  </a:cubicBezTo>
                  <a:cubicBezTo>
                    <a:pt x="35728" y="28142"/>
                    <a:pt x="34421" y="34028"/>
                    <a:pt x="34421" y="38825"/>
                  </a:cubicBezTo>
                  <a:cubicBezTo>
                    <a:pt x="34203" y="45583"/>
                    <a:pt x="32677" y="48417"/>
                    <a:pt x="27230" y="52995"/>
                  </a:cubicBezTo>
                  <a:cubicBezTo>
                    <a:pt x="20693" y="58227"/>
                    <a:pt x="17642" y="66294"/>
                    <a:pt x="22218" y="66294"/>
                  </a:cubicBezTo>
                  <a:cubicBezTo>
                    <a:pt x="24833" y="66294"/>
                    <a:pt x="31152" y="59971"/>
                    <a:pt x="31152" y="57573"/>
                  </a:cubicBezTo>
                  <a:cubicBezTo>
                    <a:pt x="31152" y="56483"/>
                    <a:pt x="33113" y="54521"/>
                    <a:pt x="35510" y="53213"/>
                  </a:cubicBezTo>
                  <a:cubicBezTo>
                    <a:pt x="38997" y="51251"/>
                    <a:pt x="41176" y="52341"/>
                    <a:pt x="48585" y="59099"/>
                  </a:cubicBezTo>
                  <a:cubicBezTo>
                    <a:pt x="58608" y="68474"/>
                    <a:pt x="59698" y="72834"/>
                    <a:pt x="52071" y="72834"/>
                  </a:cubicBezTo>
                  <a:cubicBezTo>
                    <a:pt x="47277" y="72834"/>
                    <a:pt x="46624" y="73924"/>
                    <a:pt x="45970" y="82208"/>
                  </a:cubicBezTo>
                  <a:cubicBezTo>
                    <a:pt x="45534" y="89402"/>
                    <a:pt x="44444" y="91364"/>
                    <a:pt x="41176" y="91364"/>
                  </a:cubicBezTo>
                  <a:cubicBezTo>
                    <a:pt x="38125" y="91364"/>
                    <a:pt x="37036" y="89402"/>
                    <a:pt x="36382" y="83080"/>
                  </a:cubicBezTo>
                  <a:cubicBezTo>
                    <a:pt x="35728" y="76322"/>
                    <a:pt x="36600" y="74578"/>
                    <a:pt x="40304" y="73052"/>
                  </a:cubicBezTo>
                  <a:cubicBezTo>
                    <a:pt x="43137" y="72180"/>
                    <a:pt x="45098" y="69128"/>
                    <a:pt x="45534" y="65640"/>
                  </a:cubicBezTo>
                  <a:lnTo>
                    <a:pt x="46188" y="59971"/>
                  </a:lnTo>
                  <a:lnTo>
                    <a:pt x="38561" y="63459"/>
                  </a:lnTo>
                  <a:cubicBezTo>
                    <a:pt x="34421" y="65422"/>
                    <a:pt x="31152" y="68256"/>
                    <a:pt x="31152" y="69564"/>
                  </a:cubicBezTo>
                  <a:cubicBezTo>
                    <a:pt x="31152" y="71090"/>
                    <a:pt x="29191" y="73924"/>
                    <a:pt x="26794" y="76104"/>
                  </a:cubicBezTo>
                  <a:cubicBezTo>
                    <a:pt x="20693" y="81554"/>
                    <a:pt x="21346" y="87440"/>
                    <a:pt x="28537" y="90710"/>
                  </a:cubicBezTo>
                  <a:cubicBezTo>
                    <a:pt x="32895" y="92890"/>
                    <a:pt x="34421" y="95071"/>
                    <a:pt x="34421" y="100085"/>
                  </a:cubicBezTo>
                  <a:cubicBezTo>
                    <a:pt x="34421" y="107279"/>
                    <a:pt x="30934" y="108805"/>
                    <a:pt x="23090" y="104881"/>
                  </a:cubicBezTo>
                  <a:close/>
                </a:path>
              </a:pathLst>
            </a:custGeom>
            <a:grpFill/>
            <a:ln w="218" cap="flat">
              <a:noFill/>
              <a:prstDash val="solid"/>
              <a:miter/>
            </a:ln>
          </p:spPr>
          <p:txBody>
            <a:bodyPr rtlCol="0" anchor="ctr"/>
            <a:lstStyle/>
            <a:p>
              <a:endParaRPr lang="en-GB" dirty="0"/>
            </a:p>
          </p:txBody>
        </p:sp>
        <p:sp>
          <p:nvSpPr>
            <p:cNvPr id="253" name="Freihandform: Form 252">
              <a:extLst>
                <a:ext uri="{FF2B5EF4-FFF2-40B4-BE49-F238E27FC236}">
                  <a16:creationId xmlns:a16="http://schemas.microsoft.com/office/drawing/2014/main" xmlns="" id="{5BACB112-8901-42C3-8D1D-2D988B2CDDCD}"/>
                </a:ext>
              </a:extLst>
            </p:cNvPr>
            <p:cNvSpPr/>
            <p:nvPr/>
          </p:nvSpPr>
          <p:spPr>
            <a:xfrm flipV="1">
              <a:off x="4309148" y="5423911"/>
              <a:ext cx="5664" cy="4360"/>
            </a:xfrm>
            <a:custGeom>
              <a:avLst/>
              <a:gdLst>
                <a:gd name="connsiteX0" fmla="*/ -1661 w 5664"/>
                <a:gd name="connsiteY0" fmla="*/ 2811 h 4360"/>
                <a:gd name="connsiteX1" fmla="*/ 1825 w 5664"/>
                <a:gd name="connsiteY1" fmla="*/ 631 h 4360"/>
                <a:gd name="connsiteX2" fmla="*/ 3786 w 5664"/>
                <a:gd name="connsiteY2" fmla="*/ 2811 h 4360"/>
                <a:gd name="connsiteX3" fmla="*/ 300 w 5664"/>
                <a:gd name="connsiteY3" fmla="*/ 4991 h 4360"/>
                <a:gd name="connsiteX4" fmla="*/ -1661 w 5664"/>
                <a:gd name="connsiteY4" fmla="*/ 2811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 h="4360">
                  <a:moveTo>
                    <a:pt x="-1661" y="2811"/>
                  </a:moveTo>
                  <a:cubicBezTo>
                    <a:pt x="-1008" y="1721"/>
                    <a:pt x="518" y="631"/>
                    <a:pt x="1825" y="631"/>
                  </a:cubicBezTo>
                  <a:cubicBezTo>
                    <a:pt x="2915" y="631"/>
                    <a:pt x="3786" y="1721"/>
                    <a:pt x="3786" y="2811"/>
                  </a:cubicBezTo>
                  <a:cubicBezTo>
                    <a:pt x="3786" y="4119"/>
                    <a:pt x="2261" y="4991"/>
                    <a:pt x="300" y="4991"/>
                  </a:cubicBezTo>
                  <a:cubicBezTo>
                    <a:pt x="-1443" y="4991"/>
                    <a:pt x="-2315" y="4119"/>
                    <a:pt x="-1661" y="2811"/>
                  </a:cubicBezTo>
                  <a:close/>
                </a:path>
              </a:pathLst>
            </a:custGeom>
            <a:grpFill/>
            <a:ln w="218" cap="flat">
              <a:noFill/>
              <a:prstDash val="solid"/>
              <a:miter/>
            </a:ln>
          </p:spPr>
          <p:txBody>
            <a:bodyPr rtlCol="0" anchor="ctr"/>
            <a:lstStyle/>
            <a:p>
              <a:endParaRPr lang="en-GB" dirty="0"/>
            </a:p>
          </p:txBody>
        </p:sp>
        <p:sp>
          <p:nvSpPr>
            <p:cNvPr id="254" name="Freihandform: Form 253">
              <a:extLst>
                <a:ext uri="{FF2B5EF4-FFF2-40B4-BE49-F238E27FC236}">
                  <a16:creationId xmlns:a16="http://schemas.microsoft.com/office/drawing/2014/main" xmlns="" id="{F6FAE1D5-C4A0-47CB-8FCE-28CD2CEDA8F4}"/>
                </a:ext>
              </a:extLst>
            </p:cNvPr>
            <p:cNvSpPr/>
            <p:nvPr/>
          </p:nvSpPr>
          <p:spPr>
            <a:xfrm flipV="1">
              <a:off x="4460811" y="5423911"/>
              <a:ext cx="4358" cy="5667"/>
            </a:xfrm>
            <a:custGeom>
              <a:avLst/>
              <a:gdLst>
                <a:gd name="connsiteX0" fmla="*/ -2502 w 4358"/>
                <a:gd name="connsiteY0" fmla="*/ 4340 h 5667"/>
                <a:gd name="connsiteX1" fmla="*/ -323 w 4358"/>
                <a:gd name="connsiteY1" fmla="*/ 851 h 5667"/>
                <a:gd name="connsiteX2" fmla="*/ 1856 w 4358"/>
                <a:gd name="connsiteY2" fmla="*/ 2814 h 5667"/>
                <a:gd name="connsiteX3" fmla="*/ -323 w 4358"/>
                <a:gd name="connsiteY3" fmla="*/ 6302 h 5667"/>
                <a:gd name="connsiteX4" fmla="*/ -2502 w 4358"/>
                <a:gd name="connsiteY4" fmla="*/ 4340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2502" y="4340"/>
                  </a:moveTo>
                  <a:cubicBezTo>
                    <a:pt x="-2502" y="3032"/>
                    <a:pt x="-1412" y="1505"/>
                    <a:pt x="-323" y="851"/>
                  </a:cubicBezTo>
                  <a:cubicBezTo>
                    <a:pt x="985" y="197"/>
                    <a:pt x="1856" y="1069"/>
                    <a:pt x="1856" y="2814"/>
                  </a:cubicBezTo>
                  <a:cubicBezTo>
                    <a:pt x="1856" y="4776"/>
                    <a:pt x="985" y="6302"/>
                    <a:pt x="-323" y="6302"/>
                  </a:cubicBezTo>
                  <a:cubicBezTo>
                    <a:pt x="-1412" y="6302"/>
                    <a:pt x="-2502" y="5430"/>
                    <a:pt x="-2502" y="4340"/>
                  </a:cubicBezTo>
                  <a:close/>
                </a:path>
              </a:pathLst>
            </a:custGeom>
            <a:grpFill/>
            <a:ln w="218" cap="flat">
              <a:noFill/>
              <a:prstDash val="solid"/>
              <a:miter/>
            </a:ln>
          </p:spPr>
          <p:txBody>
            <a:bodyPr rtlCol="0" anchor="ctr"/>
            <a:lstStyle/>
            <a:p>
              <a:endParaRPr lang="en-GB" dirty="0"/>
            </a:p>
          </p:txBody>
        </p:sp>
        <p:sp>
          <p:nvSpPr>
            <p:cNvPr id="255" name="Freihandform: Form 254">
              <a:extLst>
                <a:ext uri="{FF2B5EF4-FFF2-40B4-BE49-F238E27FC236}">
                  <a16:creationId xmlns:a16="http://schemas.microsoft.com/office/drawing/2014/main" xmlns="" id="{3E9FCEDC-40C1-4463-89D0-97541F98C4BA}"/>
                </a:ext>
              </a:extLst>
            </p:cNvPr>
            <p:cNvSpPr/>
            <p:nvPr/>
          </p:nvSpPr>
          <p:spPr>
            <a:xfrm flipV="1">
              <a:off x="4255484" y="5428347"/>
              <a:ext cx="17926" cy="26100"/>
            </a:xfrm>
            <a:custGeom>
              <a:avLst/>
              <a:gdLst>
                <a:gd name="connsiteX0" fmla="*/ -752 w 17926"/>
                <a:gd name="connsiteY0" fmla="*/ 24051 h 26100"/>
                <a:gd name="connsiteX1" fmla="*/ 6221 w 17926"/>
                <a:gd name="connsiteY1" fmla="*/ 1814 h 26100"/>
                <a:gd name="connsiteX2" fmla="*/ 12105 w 17926"/>
                <a:gd name="connsiteY2" fmla="*/ 10970 h 26100"/>
                <a:gd name="connsiteX3" fmla="*/ 12758 w 17926"/>
                <a:gd name="connsiteY3" fmla="*/ 19473 h 26100"/>
                <a:gd name="connsiteX4" fmla="*/ 16245 w 17926"/>
                <a:gd name="connsiteY4" fmla="*/ 24487 h 26100"/>
                <a:gd name="connsiteX5" fmla="*/ -752 w 17926"/>
                <a:gd name="connsiteY5" fmla="*/ 24051 h 2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26" h="26100">
                  <a:moveTo>
                    <a:pt x="-752" y="24051"/>
                  </a:moveTo>
                  <a:cubicBezTo>
                    <a:pt x="-3803" y="20563"/>
                    <a:pt x="1209" y="5084"/>
                    <a:pt x="6221" y="1814"/>
                  </a:cubicBezTo>
                  <a:cubicBezTo>
                    <a:pt x="11887" y="-1674"/>
                    <a:pt x="15373" y="3558"/>
                    <a:pt x="12105" y="10970"/>
                  </a:cubicBezTo>
                  <a:cubicBezTo>
                    <a:pt x="9708" y="15984"/>
                    <a:pt x="9925" y="17292"/>
                    <a:pt x="12758" y="19473"/>
                  </a:cubicBezTo>
                  <a:cubicBezTo>
                    <a:pt x="14719" y="20781"/>
                    <a:pt x="16245" y="22961"/>
                    <a:pt x="16245" y="24487"/>
                  </a:cubicBezTo>
                  <a:cubicBezTo>
                    <a:pt x="16245" y="27757"/>
                    <a:pt x="2081" y="27539"/>
                    <a:pt x="-752" y="24051"/>
                  </a:cubicBezTo>
                  <a:close/>
                </a:path>
              </a:pathLst>
            </a:custGeom>
            <a:grpFill/>
            <a:ln w="218" cap="flat">
              <a:noFill/>
              <a:prstDash val="solid"/>
              <a:miter/>
            </a:ln>
          </p:spPr>
          <p:txBody>
            <a:bodyPr rtlCol="0" anchor="ctr"/>
            <a:lstStyle/>
            <a:p>
              <a:endParaRPr lang="en-GB" dirty="0"/>
            </a:p>
          </p:txBody>
        </p:sp>
        <p:sp>
          <p:nvSpPr>
            <p:cNvPr id="256" name="Freihandform: Form 255">
              <a:extLst>
                <a:ext uri="{FF2B5EF4-FFF2-40B4-BE49-F238E27FC236}">
                  <a16:creationId xmlns:a16="http://schemas.microsoft.com/office/drawing/2014/main" xmlns="" id="{92DF0D51-63A0-4C52-B709-89102696D667}"/>
                </a:ext>
              </a:extLst>
            </p:cNvPr>
            <p:cNvSpPr/>
            <p:nvPr/>
          </p:nvSpPr>
          <p:spPr>
            <a:xfrm flipV="1">
              <a:off x="5094922" y="5430451"/>
              <a:ext cx="4358" cy="4360"/>
            </a:xfrm>
            <a:custGeom>
              <a:avLst/>
              <a:gdLst>
                <a:gd name="connsiteX0" fmla="*/ -5121 w 4358"/>
                <a:gd name="connsiteY0" fmla="*/ 2844 h 4360"/>
                <a:gd name="connsiteX1" fmla="*/ -2942 w 4358"/>
                <a:gd name="connsiteY1" fmla="*/ 664 h 4360"/>
                <a:gd name="connsiteX2" fmla="*/ -763 w 4358"/>
                <a:gd name="connsiteY2" fmla="*/ 2844 h 4360"/>
                <a:gd name="connsiteX3" fmla="*/ -2942 w 4358"/>
                <a:gd name="connsiteY3" fmla="*/ 5024 h 4360"/>
                <a:gd name="connsiteX4" fmla="*/ -5121 w 4358"/>
                <a:gd name="connsiteY4" fmla="*/ 2844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5121" y="2844"/>
                  </a:moveTo>
                  <a:cubicBezTo>
                    <a:pt x="-5121" y="1754"/>
                    <a:pt x="-4031" y="664"/>
                    <a:pt x="-2942" y="664"/>
                  </a:cubicBezTo>
                  <a:cubicBezTo>
                    <a:pt x="-1634" y="664"/>
                    <a:pt x="-763" y="1754"/>
                    <a:pt x="-763" y="2844"/>
                  </a:cubicBezTo>
                  <a:cubicBezTo>
                    <a:pt x="-763" y="4152"/>
                    <a:pt x="-1634" y="5024"/>
                    <a:pt x="-2942" y="5024"/>
                  </a:cubicBezTo>
                  <a:cubicBezTo>
                    <a:pt x="-4031" y="5024"/>
                    <a:pt x="-5121" y="4152"/>
                    <a:pt x="-5121" y="2844"/>
                  </a:cubicBezTo>
                  <a:close/>
                </a:path>
              </a:pathLst>
            </a:custGeom>
            <a:grpFill/>
            <a:ln w="218" cap="flat">
              <a:noFill/>
              <a:prstDash val="solid"/>
              <a:miter/>
            </a:ln>
          </p:spPr>
          <p:txBody>
            <a:bodyPr rtlCol="0" anchor="ctr"/>
            <a:lstStyle/>
            <a:p>
              <a:endParaRPr lang="en-GB" dirty="0"/>
            </a:p>
          </p:txBody>
        </p:sp>
        <p:sp>
          <p:nvSpPr>
            <p:cNvPr id="257" name="Freihandform: Form 256">
              <a:extLst>
                <a:ext uri="{FF2B5EF4-FFF2-40B4-BE49-F238E27FC236}">
                  <a16:creationId xmlns:a16="http://schemas.microsoft.com/office/drawing/2014/main" xmlns="" id="{EBB35284-7ACD-4C74-B579-9791A8DFE03C}"/>
                </a:ext>
              </a:extLst>
            </p:cNvPr>
            <p:cNvSpPr/>
            <p:nvPr/>
          </p:nvSpPr>
          <p:spPr>
            <a:xfrm flipV="1">
              <a:off x="4300107" y="5434811"/>
              <a:ext cx="38189" cy="39387"/>
            </a:xfrm>
            <a:custGeom>
              <a:avLst/>
              <a:gdLst>
                <a:gd name="connsiteX0" fmla="*/ 29141 w 38189"/>
                <a:gd name="connsiteY0" fmla="*/ 36892 h 39387"/>
                <a:gd name="connsiteX1" fmla="*/ 26962 w 38189"/>
                <a:gd name="connsiteY1" fmla="*/ 30352 h 39387"/>
                <a:gd name="connsiteX2" fmla="*/ 21732 w 38189"/>
                <a:gd name="connsiteY2" fmla="*/ 29262 h 39387"/>
                <a:gd name="connsiteX3" fmla="*/ 16503 w 38189"/>
                <a:gd name="connsiteY3" fmla="*/ 26646 h 39387"/>
                <a:gd name="connsiteX4" fmla="*/ 14977 w 38189"/>
                <a:gd name="connsiteY4" fmla="*/ 25556 h 39387"/>
                <a:gd name="connsiteX5" fmla="*/ 7568 w 38189"/>
                <a:gd name="connsiteY5" fmla="*/ 21413 h 39387"/>
                <a:gd name="connsiteX6" fmla="*/ 2774 w 38189"/>
                <a:gd name="connsiteY6" fmla="*/ 14873 h 39387"/>
                <a:gd name="connsiteX7" fmla="*/ -276 w 38189"/>
                <a:gd name="connsiteY7" fmla="*/ 6371 h 39387"/>
                <a:gd name="connsiteX8" fmla="*/ 8658 w 38189"/>
                <a:gd name="connsiteY8" fmla="*/ 10077 h 39387"/>
                <a:gd name="connsiteX9" fmla="*/ 16721 w 38189"/>
                <a:gd name="connsiteY9" fmla="*/ 14437 h 39387"/>
                <a:gd name="connsiteX10" fmla="*/ 17592 w 38189"/>
                <a:gd name="connsiteY10" fmla="*/ 6153 h 39387"/>
                <a:gd name="connsiteX11" fmla="*/ 26744 w 38189"/>
                <a:gd name="connsiteY11" fmla="*/ 2229 h 39387"/>
                <a:gd name="connsiteX12" fmla="*/ 28923 w 38189"/>
                <a:gd name="connsiteY12" fmla="*/ 12911 h 39387"/>
                <a:gd name="connsiteX13" fmla="*/ 30013 w 38189"/>
                <a:gd name="connsiteY13" fmla="*/ 23593 h 39387"/>
                <a:gd name="connsiteX14" fmla="*/ 32410 w 38189"/>
                <a:gd name="connsiteY14" fmla="*/ 29262 h 39387"/>
                <a:gd name="connsiteX15" fmla="*/ 35025 w 38189"/>
                <a:gd name="connsiteY15" fmla="*/ 34058 h 39387"/>
                <a:gd name="connsiteX16" fmla="*/ 32192 w 38189"/>
                <a:gd name="connsiteY16" fmla="*/ 40162 h 39387"/>
                <a:gd name="connsiteX17" fmla="*/ 29141 w 38189"/>
                <a:gd name="connsiteY17" fmla="*/ 36892 h 39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89" h="39387">
                  <a:moveTo>
                    <a:pt x="29141" y="36892"/>
                  </a:moveTo>
                  <a:cubicBezTo>
                    <a:pt x="28488" y="35148"/>
                    <a:pt x="27616" y="32096"/>
                    <a:pt x="26962" y="30352"/>
                  </a:cubicBezTo>
                  <a:cubicBezTo>
                    <a:pt x="26091" y="27736"/>
                    <a:pt x="25001" y="27300"/>
                    <a:pt x="21732" y="29262"/>
                  </a:cubicBezTo>
                  <a:cubicBezTo>
                    <a:pt x="15849" y="32314"/>
                    <a:pt x="15195" y="32096"/>
                    <a:pt x="16503" y="26646"/>
                  </a:cubicBezTo>
                  <a:cubicBezTo>
                    <a:pt x="17374" y="22285"/>
                    <a:pt x="17156" y="22067"/>
                    <a:pt x="14977" y="25556"/>
                  </a:cubicBezTo>
                  <a:cubicBezTo>
                    <a:pt x="11273" y="31224"/>
                    <a:pt x="9094" y="30134"/>
                    <a:pt x="7568" y="21413"/>
                  </a:cubicBezTo>
                  <a:cubicBezTo>
                    <a:pt x="6479" y="15745"/>
                    <a:pt x="5171" y="14001"/>
                    <a:pt x="2774" y="14873"/>
                  </a:cubicBezTo>
                  <a:cubicBezTo>
                    <a:pt x="-1584" y="16617"/>
                    <a:pt x="-3545" y="10513"/>
                    <a:pt x="-276" y="6371"/>
                  </a:cubicBezTo>
                  <a:cubicBezTo>
                    <a:pt x="2121" y="3319"/>
                    <a:pt x="3428" y="3973"/>
                    <a:pt x="8658" y="10077"/>
                  </a:cubicBezTo>
                  <a:cubicBezTo>
                    <a:pt x="13452" y="15527"/>
                    <a:pt x="15413" y="16617"/>
                    <a:pt x="16721" y="14437"/>
                  </a:cubicBezTo>
                  <a:cubicBezTo>
                    <a:pt x="17810" y="12911"/>
                    <a:pt x="18246" y="9205"/>
                    <a:pt x="17592" y="6153"/>
                  </a:cubicBezTo>
                  <a:cubicBezTo>
                    <a:pt x="16721" y="703"/>
                    <a:pt x="19553" y="-605"/>
                    <a:pt x="26744" y="2229"/>
                  </a:cubicBezTo>
                  <a:cubicBezTo>
                    <a:pt x="29359" y="3319"/>
                    <a:pt x="29795" y="5499"/>
                    <a:pt x="28923" y="12911"/>
                  </a:cubicBezTo>
                  <a:cubicBezTo>
                    <a:pt x="28052" y="18579"/>
                    <a:pt x="28488" y="22721"/>
                    <a:pt x="30013" y="23593"/>
                  </a:cubicBezTo>
                  <a:cubicBezTo>
                    <a:pt x="31320" y="24465"/>
                    <a:pt x="32410" y="27082"/>
                    <a:pt x="32410" y="29262"/>
                  </a:cubicBezTo>
                  <a:cubicBezTo>
                    <a:pt x="32410" y="31442"/>
                    <a:pt x="33499" y="33622"/>
                    <a:pt x="35025" y="34058"/>
                  </a:cubicBezTo>
                  <a:cubicBezTo>
                    <a:pt x="37858" y="35148"/>
                    <a:pt x="35461" y="40162"/>
                    <a:pt x="32192" y="40162"/>
                  </a:cubicBezTo>
                  <a:cubicBezTo>
                    <a:pt x="31102" y="40162"/>
                    <a:pt x="29577" y="38636"/>
                    <a:pt x="29141" y="36892"/>
                  </a:cubicBezTo>
                  <a:close/>
                </a:path>
              </a:pathLst>
            </a:custGeom>
            <a:grpFill/>
            <a:ln w="218" cap="flat">
              <a:noFill/>
              <a:prstDash val="solid"/>
              <a:miter/>
            </a:ln>
          </p:spPr>
          <p:txBody>
            <a:bodyPr rtlCol="0" anchor="ctr"/>
            <a:lstStyle/>
            <a:p>
              <a:endParaRPr lang="en-GB" dirty="0"/>
            </a:p>
          </p:txBody>
        </p:sp>
        <p:sp>
          <p:nvSpPr>
            <p:cNvPr id="258" name="Freihandform: Form 257">
              <a:extLst>
                <a:ext uri="{FF2B5EF4-FFF2-40B4-BE49-F238E27FC236}">
                  <a16:creationId xmlns:a16="http://schemas.microsoft.com/office/drawing/2014/main" xmlns="" id="{5C8A9992-C6B1-4D27-A4E9-FED3AF530C7C}"/>
                </a:ext>
              </a:extLst>
            </p:cNvPr>
            <p:cNvSpPr/>
            <p:nvPr/>
          </p:nvSpPr>
          <p:spPr>
            <a:xfrm flipV="1">
              <a:off x="4935849" y="5441352"/>
              <a:ext cx="4358" cy="4360"/>
            </a:xfrm>
            <a:custGeom>
              <a:avLst/>
              <a:gdLst>
                <a:gd name="connsiteX0" fmla="*/ -4464 w 4358"/>
                <a:gd name="connsiteY0" fmla="*/ 2899 h 4360"/>
                <a:gd name="connsiteX1" fmla="*/ -2285 w 4358"/>
                <a:gd name="connsiteY1" fmla="*/ 719 h 4360"/>
                <a:gd name="connsiteX2" fmla="*/ -106 w 4358"/>
                <a:gd name="connsiteY2" fmla="*/ 2899 h 4360"/>
                <a:gd name="connsiteX3" fmla="*/ -2285 w 4358"/>
                <a:gd name="connsiteY3" fmla="*/ 5079 h 4360"/>
                <a:gd name="connsiteX4" fmla="*/ -4464 w 4358"/>
                <a:gd name="connsiteY4" fmla="*/ 2899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4464" y="2899"/>
                  </a:moveTo>
                  <a:cubicBezTo>
                    <a:pt x="-4464" y="1809"/>
                    <a:pt x="-3374" y="719"/>
                    <a:pt x="-2285" y="719"/>
                  </a:cubicBezTo>
                  <a:cubicBezTo>
                    <a:pt x="-977" y="719"/>
                    <a:pt x="-106" y="1809"/>
                    <a:pt x="-106" y="2899"/>
                  </a:cubicBezTo>
                  <a:cubicBezTo>
                    <a:pt x="-106" y="4207"/>
                    <a:pt x="-977" y="5079"/>
                    <a:pt x="-2285" y="5079"/>
                  </a:cubicBezTo>
                  <a:cubicBezTo>
                    <a:pt x="-3374" y="5079"/>
                    <a:pt x="-4464" y="4207"/>
                    <a:pt x="-4464" y="2899"/>
                  </a:cubicBezTo>
                  <a:close/>
                </a:path>
              </a:pathLst>
            </a:custGeom>
            <a:grpFill/>
            <a:ln w="218" cap="flat">
              <a:noFill/>
              <a:prstDash val="solid"/>
              <a:miter/>
            </a:ln>
          </p:spPr>
          <p:txBody>
            <a:bodyPr rtlCol="0" anchor="ctr"/>
            <a:lstStyle/>
            <a:p>
              <a:endParaRPr lang="en-GB" dirty="0"/>
            </a:p>
          </p:txBody>
        </p:sp>
        <p:sp>
          <p:nvSpPr>
            <p:cNvPr id="259" name="Freihandform: Form 258">
              <a:extLst>
                <a:ext uri="{FF2B5EF4-FFF2-40B4-BE49-F238E27FC236}">
                  <a16:creationId xmlns:a16="http://schemas.microsoft.com/office/drawing/2014/main" xmlns="" id="{A8DBAEFB-F0DE-4788-9DC9-8CB55126EFBB}"/>
                </a:ext>
              </a:extLst>
            </p:cNvPr>
            <p:cNvSpPr/>
            <p:nvPr/>
          </p:nvSpPr>
          <p:spPr>
            <a:xfrm flipV="1">
              <a:off x="4940996" y="5452297"/>
              <a:ext cx="3568" cy="5621"/>
            </a:xfrm>
            <a:custGeom>
              <a:avLst/>
              <a:gdLst>
                <a:gd name="connsiteX0" fmla="*/ -4183 w 3568"/>
                <a:gd name="connsiteY0" fmla="*/ 4483 h 5621"/>
                <a:gd name="connsiteX1" fmla="*/ -3094 w 3568"/>
                <a:gd name="connsiteY1" fmla="*/ 995 h 5621"/>
                <a:gd name="connsiteX2" fmla="*/ -915 w 3568"/>
                <a:gd name="connsiteY2" fmla="*/ 2957 h 5621"/>
                <a:gd name="connsiteX3" fmla="*/ -4183 w 3568"/>
                <a:gd name="connsiteY3" fmla="*/ 4483 h 5621"/>
              </a:gdLst>
              <a:ahLst/>
              <a:cxnLst>
                <a:cxn ang="0">
                  <a:pos x="connsiteX0" y="connsiteY0"/>
                </a:cxn>
                <a:cxn ang="0">
                  <a:pos x="connsiteX1" y="connsiteY1"/>
                </a:cxn>
                <a:cxn ang="0">
                  <a:pos x="connsiteX2" y="connsiteY2"/>
                </a:cxn>
                <a:cxn ang="0">
                  <a:pos x="connsiteX3" y="connsiteY3"/>
                </a:cxn>
              </a:cxnLst>
              <a:rect l="l" t="t" r="r" b="b"/>
              <a:pathLst>
                <a:path w="3568" h="5621">
                  <a:moveTo>
                    <a:pt x="-4183" y="4483"/>
                  </a:moveTo>
                  <a:cubicBezTo>
                    <a:pt x="-4837" y="3393"/>
                    <a:pt x="-4401" y="1867"/>
                    <a:pt x="-3094" y="995"/>
                  </a:cubicBezTo>
                  <a:cubicBezTo>
                    <a:pt x="-2004" y="341"/>
                    <a:pt x="-915" y="1213"/>
                    <a:pt x="-915" y="2957"/>
                  </a:cubicBezTo>
                  <a:cubicBezTo>
                    <a:pt x="-915" y="6881"/>
                    <a:pt x="-2222" y="7535"/>
                    <a:pt x="-4183" y="4483"/>
                  </a:cubicBezTo>
                  <a:close/>
                </a:path>
              </a:pathLst>
            </a:custGeom>
            <a:grpFill/>
            <a:ln w="218" cap="flat">
              <a:noFill/>
              <a:prstDash val="solid"/>
              <a:miter/>
            </a:ln>
          </p:spPr>
          <p:txBody>
            <a:bodyPr rtlCol="0" anchor="ctr"/>
            <a:lstStyle/>
            <a:p>
              <a:endParaRPr lang="en-GB" dirty="0"/>
            </a:p>
          </p:txBody>
        </p:sp>
        <p:sp>
          <p:nvSpPr>
            <p:cNvPr id="260" name="Freihandform: Form 259">
              <a:extLst>
                <a:ext uri="{FF2B5EF4-FFF2-40B4-BE49-F238E27FC236}">
                  <a16:creationId xmlns:a16="http://schemas.microsoft.com/office/drawing/2014/main" xmlns="" id="{02B37BAB-6100-44E6-A65B-AC02FA508153}"/>
                </a:ext>
              </a:extLst>
            </p:cNvPr>
            <p:cNvSpPr/>
            <p:nvPr/>
          </p:nvSpPr>
          <p:spPr>
            <a:xfrm flipV="1">
              <a:off x="4334780" y="5463768"/>
              <a:ext cx="112956" cy="74692"/>
            </a:xfrm>
            <a:custGeom>
              <a:avLst/>
              <a:gdLst>
                <a:gd name="connsiteX0" fmla="*/ 15961 w 112956"/>
                <a:gd name="connsiteY0" fmla="*/ 74137 h 74692"/>
                <a:gd name="connsiteX1" fmla="*/ 9642 w 112956"/>
                <a:gd name="connsiteY1" fmla="*/ 72829 h 74692"/>
                <a:gd name="connsiteX2" fmla="*/ 489 w 112956"/>
                <a:gd name="connsiteY2" fmla="*/ 70867 h 74692"/>
                <a:gd name="connsiteX3" fmla="*/ 2886 w 112956"/>
                <a:gd name="connsiteY3" fmla="*/ 62365 h 74692"/>
                <a:gd name="connsiteX4" fmla="*/ 6155 w 112956"/>
                <a:gd name="connsiteY4" fmla="*/ 51247 h 74692"/>
                <a:gd name="connsiteX5" fmla="*/ 6155 w 112956"/>
                <a:gd name="connsiteY5" fmla="*/ 43616 h 74692"/>
                <a:gd name="connsiteX6" fmla="*/ 14000 w 112956"/>
                <a:gd name="connsiteY6" fmla="*/ 41436 h 74692"/>
                <a:gd name="connsiteX7" fmla="*/ 20973 w 112956"/>
                <a:gd name="connsiteY7" fmla="*/ 38820 h 74692"/>
                <a:gd name="connsiteX8" fmla="*/ 27292 w 112956"/>
                <a:gd name="connsiteY8" fmla="*/ 39692 h 74692"/>
                <a:gd name="connsiteX9" fmla="*/ 19012 w 112956"/>
                <a:gd name="connsiteY9" fmla="*/ 50157 h 74692"/>
                <a:gd name="connsiteX10" fmla="*/ 12692 w 112956"/>
                <a:gd name="connsiteY10" fmla="*/ 52337 h 74692"/>
                <a:gd name="connsiteX11" fmla="*/ 16833 w 112956"/>
                <a:gd name="connsiteY11" fmla="*/ 54517 h 74692"/>
                <a:gd name="connsiteX12" fmla="*/ 24459 w 112956"/>
                <a:gd name="connsiteY12" fmla="*/ 59095 h 74692"/>
                <a:gd name="connsiteX13" fmla="*/ 32304 w 112956"/>
                <a:gd name="connsiteY13" fmla="*/ 56261 h 74692"/>
                <a:gd name="connsiteX14" fmla="*/ 36662 w 112956"/>
                <a:gd name="connsiteY14" fmla="*/ 50811 h 74692"/>
                <a:gd name="connsiteX15" fmla="*/ 38841 w 112956"/>
                <a:gd name="connsiteY15" fmla="*/ 40346 h 74692"/>
                <a:gd name="connsiteX16" fmla="*/ 33176 w 112956"/>
                <a:gd name="connsiteY16" fmla="*/ 30536 h 74692"/>
                <a:gd name="connsiteX17" fmla="*/ 25549 w 112956"/>
                <a:gd name="connsiteY17" fmla="*/ 23342 h 74692"/>
                <a:gd name="connsiteX18" fmla="*/ 21409 w 112956"/>
                <a:gd name="connsiteY18" fmla="*/ 20944 h 74692"/>
                <a:gd name="connsiteX19" fmla="*/ 18140 w 112956"/>
                <a:gd name="connsiteY19" fmla="*/ 17456 h 74692"/>
                <a:gd name="connsiteX20" fmla="*/ 14871 w 112956"/>
                <a:gd name="connsiteY20" fmla="*/ 12659 h 74692"/>
                <a:gd name="connsiteX21" fmla="*/ 16179 w 112956"/>
                <a:gd name="connsiteY21" fmla="*/ 9389 h 74692"/>
                <a:gd name="connsiteX22" fmla="*/ 24459 w 112956"/>
                <a:gd name="connsiteY22" fmla="*/ 6773 h 74692"/>
                <a:gd name="connsiteX23" fmla="*/ 35355 w 112956"/>
                <a:gd name="connsiteY23" fmla="*/ 5683 h 74692"/>
                <a:gd name="connsiteX24" fmla="*/ 31432 w 112956"/>
                <a:gd name="connsiteY24" fmla="*/ 12223 h 74692"/>
                <a:gd name="connsiteX25" fmla="*/ 27946 w 112956"/>
                <a:gd name="connsiteY25" fmla="*/ 19418 h 74692"/>
                <a:gd name="connsiteX26" fmla="*/ 41238 w 112956"/>
                <a:gd name="connsiteY26" fmla="*/ 21380 h 74692"/>
                <a:gd name="connsiteX27" fmla="*/ 46904 w 112956"/>
                <a:gd name="connsiteY27" fmla="*/ 13749 h 74692"/>
                <a:gd name="connsiteX28" fmla="*/ 58453 w 112956"/>
                <a:gd name="connsiteY28" fmla="*/ 12441 h 74692"/>
                <a:gd name="connsiteX29" fmla="*/ 66515 w 112956"/>
                <a:gd name="connsiteY29" fmla="*/ 13749 h 74692"/>
                <a:gd name="connsiteX30" fmla="*/ 78065 w 112956"/>
                <a:gd name="connsiteY30" fmla="*/ 1105 h 74692"/>
                <a:gd name="connsiteX31" fmla="*/ 78718 w 112956"/>
                <a:gd name="connsiteY31" fmla="*/ 8953 h 74692"/>
                <a:gd name="connsiteX32" fmla="*/ 77411 w 112956"/>
                <a:gd name="connsiteY32" fmla="*/ 15493 h 74692"/>
                <a:gd name="connsiteX33" fmla="*/ 85909 w 112956"/>
                <a:gd name="connsiteY33" fmla="*/ 14185 h 74692"/>
                <a:gd name="connsiteX34" fmla="*/ 98112 w 112956"/>
                <a:gd name="connsiteY34" fmla="*/ 11787 h 74692"/>
                <a:gd name="connsiteX35" fmla="*/ 110751 w 112956"/>
                <a:gd name="connsiteY35" fmla="*/ 22034 h 74692"/>
                <a:gd name="connsiteX36" fmla="*/ 92446 w 112956"/>
                <a:gd name="connsiteY36" fmla="*/ 39256 h 74692"/>
                <a:gd name="connsiteX37" fmla="*/ 94408 w 112956"/>
                <a:gd name="connsiteY37" fmla="*/ 30536 h 74692"/>
                <a:gd name="connsiteX38" fmla="*/ 97022 w 112956"/>
                <a:gd name="connsiteY38" fmla="*/ 24432 h 74692"/>
                <a:gd name="connsiteX39" fmla="*/ 89178 w 112956"/>
                <a:gd name="connsiteY39" fmla="*/ 24214 h 74692"/>
                <a:gd name="connsiteX40" fmla="*/ 77193 w 112956"/>
                <a:gd name="connsiteY40" fmla="*/ 23124 h 74692"/>
                <a:gd name="connsiteX41" fmla="*/ 65426 w 112956"/>
                <a:gd name="connsiteY41" fmla="*/ 23560 h 74692"/>
                <a:gd name="connsiteX42" fmla="*/ 62157 w 112956"/>
                <a:gd name="connsiteY42" fmla="*/ 32716 h 74692"/>
                <a:gd name="connsiteX43" fmla="*/ 58235 w 112956"/>
                <a:gd name="connsiteY43" fmla="*/ 36640 h 74692"/>
                <a:gd name="connsiteX44" fmla="*/ 52351 w 112956"/>
                <a:gd name="connsiteY44" fmla="*/ 29010 h 74692"/>
                <a:gd name="connsiteX45" fmla="*/ 45814 w 112956"/>
                <a:gd name="connsiteY45" fmla="*/ 24432 h 74692"/>
                <a:gd name="connsiteX46" fmla="*/ 46032 w 112956"/>
                <a:gd name="connsiteY46" fmla="*/ 35986 h 74692"/>
                <a:gd name="connsiteX47" fmla="*/ 54966 w 112956"/>
                <a:gd name="connsiteY47" fmla="*/ 40564 h 74692"/>
                <a:gd name="connsiteX48" fmla="*/ 57581 w 112956"/>
                <a:gd name="connsiteY48" fmla="*/ 49285 h 74692"/>
                <a:gd name="connsiteX49" fmla="*/ 47340 w 112956"/>
                <a:gd name="connsiteY49" fmla="*/ 50811 h 74692"/>
                <a:gd name="connsiteX50" fmla="*/ 41020 w 112956"/>
                <a:gd name="connsiteY50" fmla="*/ 51901 h 74692"/>
                <a:gd name="connsiteX51" fmla="*/ 25549 w 112956"/>
                <a:gd name="connsiteY51" fmla="*/ 74137 h 74692"/>
                <a:gd name="connsiteX52" fmla="*/ 20755 w 112956"/>
                <a:gd name="connsiteY52" fmla="*/ 75446 h 74692"/>
                <a:gd name="connsiteX53" fmla="*/ 15961 w 112956"/>
                <a:gd name="connsiteY53" fmla="*/ 74137 h 74692"/>
                <a:gd name="connsiteX54" fmla="*/ 16615 w 112956"/>
                <a:gd name="connsiteY54" fmla="*/ 65853 h 74692"/>
                <a:gd name="connsiteX55" fmla="*/ 14000 w 112956"/>
                <a:gd name="connsiteY55" fmla="*/ 63237 h 74692"/>
                <a:gd name="connsiteX56" fmla="*/ 10513 w 112956"/>
                <a:gd name="connsiteY56" fmla="*/ 66725 h 74692"/>
                <a:gd name="connsiteX57" fmla="*/ 16615 w 112956"/>
                <a:gd name="connsiteY57" fmla="*/ 65853 h 74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12956" h="74692">
                  <a:moveTo>
                    <a:pt x="15961" y="74137"/>
                  </a:moveTo>
                  <a:cubicBezTo>
                    <a:pt x="15089" y="72829"/>
                    <a:pt x="12256" y="72175"/>
                    <a:pt x="9642" y="72829"/>
                  </a:cubicBezTo>
                  <a:cubicBezTo>
                    <a:pt x="6809" y="73483"/>
                    <a:pt x="2886" y="72611"/>
                    <a:pt x="489" y="70867"/>
                  </a:cubicBezTo>
                  <a:cubicBezTo>
                    <a:pt x="-3433" y="67815"/>
                    <a:pt x="-3433" y="67597"/>
                    <a:pt x="2886" y="62365"/>
                  </a:cubicBezTo>
                  <a:cubicBezTo>
                    <a:pt x="8988" y="57569"/>
                    <a:pt x="9206" y="56915"/>
                    <a:pt x="6155" y="51247"/>
                  </a:cubicBezTo>
                  <a:cubicBezTo>
                    <a:pt x="3540" y="46233"/>
                    <a:pt x="3540" y="45360"/>
                    <a:pt x="6155" y="43616"/>
                  </a:cubicBezTo>
                  <a:cubicBezTo>
                    <a:pt x="7898" y="42308"/>
                    <a:pt x="11385" y="41436"/>
                    <a:pt x="14000" y="41436"/>
                  </a:cubicBezTo>
                  <a:cubicBezTo>
                    <a:pt x="16397" y="41436"/>
                    <a:pt x="19447" y="40346"/>
                    <a:pt x="20973" y="38820"/>
                  </a:cubicBezTo>
                  <a:cubicBezTo>
                    <a:pt x="23152" y="36858"/>
                    <a:pt x="24459" y="36858"/>
                    <a:pt x="27292" y="39692"/>
                  </a:cubicBezTo>
                  <a:cubicBezTo>
                    <a:pt x="32086" y="44706"/>
                    <a:pt x="27728" y="50157"/>
                    <a:pt x="19012" y="50157"/>
                  </a:cubicBezTo>
                  <a:cubicBezTo>
                    <a:pt x="15525" y="50157"/>
                    <a:pt x="12692" y="51247"/>
                    <a:pt x="12692" y="52337"/>
                  </a:cubicBezTo>
                  <a:cubicBezTo>
                    <a:pt x="12692" y="53645"/>
                    <a:pt x="14653" y="54517"/>
                    <a:pt x="16833" y="54517"/>
                  </a:cubicBezTo>
                  <a:cubicBezTo>
                    <a:pt x="19230" y="54517"/>
                    <a:pt x="22716" y="56479"/>
                    <a:pt x="24459" y="59095"/>
                  </a:cubicBezTo>
                  <a:cubicBezTo>
                    <a:pt x="28164" y="64327"/>
                    <a:pt x="32304" y="62801"/>
                    <a:pt x="32304" y="56261"/>
                  </a:cubicBezTo>
                  <a:cubicBezTo>
                    <a:pt x="32304" y="53863"/>
                    <a:pt x="34047" y="51465"/>
                    <a:pt x="36662" y="50811"/>
                  </a:cubicBezTo>
                  <a:cubicBezTo>
                    <a:pt x="41238" y="49503"/>
                    <a:pt x="42546" y="42744"/>
                    <a:pt x="38841" y="40346"/>
                  </a:cubicBezTo>
                  <a:cubicBezTo>
                    <a:pt x="37534" y="39474"/>
                    <a:pt x="34919" y="35114"/>
                    <a:pt x="33176" y="30536"/>
                  </a:cubicBezTo>
                  <a:cubicBezTo>
                    <a:pt x="30561" y="24214"/>
                    <a:pt x="28817" y="22470"/>
                    <a:pt x="25549" y="23342"/>
                  </a:cubicBezTo>
                  <a:cubicBezTo>
                    <a:pt x="22716" y="24214"/>
                    <a:pt x="21409" y="23342"/>
                    <a:pt x="21409" y="20944"/>
                  </a:cubicBezTo>
                  <a:cubicBezTo>
                    <a:pt x="21409" y="18982"/>
                    <a:pt x="19883" y="17456"/>
                    <a:pt x="18140" y="17456"/>
                  </a:cubicBezTo>
                  <a:cubicBezTo>
                    <a:pt x="16179" y="17456"/>
                    <a:pt x="14871" y="15493"/>
                    <a:pt x="14871" y="12659"/>
                  </a:cubicBezTo>
                  <a:cubicBezTo>
                    <a:pt x="14871" y="10043"/>
                    <a:pt x="15525" y="8517"/>
                    <a:pt x="16179" y="9389"/>
                  </a:cubicBezTo>
                  <a:cubicBezTo>
                    <a:pt x="16833" y="10043"/>
                    <a:pt x="20537" y="8735"/>
                    <a:pt x="24459" y="6773"/>
                  </a:cubicBezTo>
                  <a:cubicBezTo>
                    <a:pt x="30343" y="3285"/>
                    <a:pt x="32086" y="3285"/>
                    <a:pt x="35355" y="5683"/>
                  </a:cubicBezTo>
                  <a:cubicBezTo>
                    <a:pt x="40367" y="9171"/>
                    <a:pt x="37752" y="13749"/>
                    <a:pt x="31432" y="12223"/>
                  </a:cubicBezTo>
                  <a:cubicBezTo>
                    <a:pt x="22716" y="10043"/>
                    <a:pt x="20755" y="13967"/>
                    <a:pt x="27946" y="19418"/>
                  </a:cubicBezTo>
                  <a:cubicBezTo>
                    <a:pt x="34047" y="23778"/>
                    <a:pt x="35355" y="23996"/>
                    <a:pt x="41238" y="21380"/>
                  </a:cubicBezTo>
                  <a:cubicBezTo>
                    <a:pt x="46250" y="19200"/>
                    <a:pt x="47557" y="17456"/>
                    <a:pt x="46904" y="13749"/>
                  </a:cubicBezTo>
                  <a:cubicBezTo>
                    <a:pt x="45814" y="7645"/>
                    <a:pt x="49083" y="7427"/>
                    <a:pt x="58453" y="12441"/>
                  </a:cubicBezTo>
                  <a:cubicBezTo>
                    <a:pt x="63683" y="15275"/>
                    <a:pt x="65862" y="15711"/>
                    <a:pt x="66515" y="13749"/>
                  </a:cubicBezTo>
                  <a:cubicBezTo>
                    <a:pt x="68477" y="8517"/>
                    <a:pt x="76321" y="15"/>
                    <a:pt x="78065" y="1105"/>
                  </a:cubicBezTo>
                  <a:cubicBezTo>
                    <a:pt x="79154" y="1759"/>
                    <a:pt x="79590" y="5247"/>
                    <a:pt x="78718" y="8953"/>
                  </a:cubicBezTo>
                  <a:lnTo>
                    <a:pt x="77411" y="15493"/>
                  </a:lnTo>
                  <a:lnTo>
                    <a:pt x="85909" y="14185"/>
                  </a:lnTo>
                  <a:cubicBezTo>
                    <a:pt x="90485" y="13313"/>
                    <a:pt x="96151" y="12223"/>
                    <a:pt x="98112" y="11787"/>
                  </a:cubicBezTo>
                  <a:cubicBezTo>
                    <a:pt x="102034" y="10697"/>
                    <a:pt x="110751" y="17892"/>
                    <a:pt x="110751" y="22034"/>
                  </a:cubicBezTo>
                  <a:cubicBezTo>
                    <a:pt x="110751" y="25740"/>
                    <a:pt x="96369" y="39256"/>
                    <a:pt x="92446" y="39256"/>
                  </a:cubicBezTo>
                  <a:cubicBezTo>
                    <a:pt x="86999" y="39256"/>
                    <a:pt x="88306" y="33806"/>
                    <a:pt x="94408" y="30536"/>
                  </a:cubicBezTo>
                  <a:cubicBezTo>
                    <a:pt x="99202" y="27920"/>
                    <a:pt x="99637" y="27048"/>
                    <a:pt x="97022" y="24432"/>
                  </a:cubicBezTo>
                  <a:cubicBezTo>
                    <a:pt x="94408" y="22034"/>
                    <a:pt x="93100" y="21816"/>
                    <a:pt x="89178" y="24214"/>
                  </a:cubicBezTo>
                  <a:cubicBezTo>
                    <a:pt x="85255" y="26830"/>
                    <a:pt x="83512" y="26612"/>
                    <a:pt x="77193" y="23124"/>
                  </a:cubicBezTo>
                  <a:cubicBezTo>
                    <a:pt x="70002" y="19200"/>
                    <a:pt x="69784" y="19200"/>
                    <a:pt x="65426" y="23560"/>
                  </a:cubicBezTo>
                  <a:cubicBezTo>
                    <a:pt x="62593" y="26394"/>
                    <a:pt x="61286" y="29664"/>
                    <a:pt x="62157" y="32716"/>
                  </a:cubicBezTo>
                  <a:cubicBezTo>
                    <a:pt x="63247" y="36640"/>
                    <a:pt x="62593" y="37294"/>
                    <a:pt x="58235" y="36640"/>
                  </a:cubicBezTo>
                  <a:cubicBezTo>
                    <a:pt x="54095" y="36204"/>
                    <a:pt x="52787" y="34460"/>
                    <a:pt x="52351" y="29010"/>
                  </a:cubicBezTo>
                  <a:cubicBezTo>
                    <a:pt x="51698" y="21380"/>
                    <a:pt x="49954" y="20290"/>
                    <a:pt x="45814" y="24432"/>
                  </a:cubicBezTo>
                  <a:cubicBezTo>
                    <a:pt x="42328" y="27920"/>
                    <a:pt x="42328" y="37294"/>
                    <a:pt x="46032" y="35986"/>
                  </a:cubicBezTo>
                  <a:cubicBezTo>
                    <a:pt x="47340" y="35550"/>
                    <a:pt x="51480" y="37512"/>
                    <a:pt x="54966" y="40564"/>
                  </a:cubicBezTo>
                  <a:cubicBezTo>
                    <a:pt x="61068" y="46014"/>
                    <a:pt x="61286" y="46451"/>
                    <a:pt x="57581" y="49285"/>
                  </a:cubicBezTo>
                  <a:cubicBezTo>
                    <a:pt x="55184" y="51029"/>
                    <a:pt x="51044" y="51683"/>
                    <a:pt x="47340" y="50811"/>
                  </a:cubicBezTo>
                  <a:cubicBezTo>
                    <a:pt x="43417" y="50157"/>
                    <a:pt x="41020" y="50593"/>
                    <a:pt x="41020" y="51901"/>
                  </a:cubicBezTo>
                  <a:cubicBezTo>
                    <a:pt x="41020" y="54953"/>
                    <a:pt x="27728" y="74137"/>
                    <a:pt x="25549" y="74137"/>
                  </a:cubicBezTo>
                  <a:cubicBezTo>
                    <a:pt x="24677" y="74137"/>
                    <a:pt x="22498" y="74791"/>
                    <a:pt x="20755" y="75446"/>
                  </a:cubicBezTo>
                  <a:cubicBezTo>
                    <a:pt x="19012" y="76100"/>
                    <a:pt x="16833" y="75446"/>
                    <a:pt x="15961" y="74137"/>
                  </a:cubicBezTo>
                  <a:close/>
                  <a:moveTo>
                    <a:pt x="16615" y="65853"/>
                  </a:moveTo>
                  <a:cubicBezTo>
                    <a:pt x="17050" y="64327"/>
                    <a:pt x="15961" y="63237"/>
                    <a:pt x="14000" y="63237"/>
                  </a:cubicBezTo>
                  <a:cubicBezTo>
                    <a:pt x="12039" y="63237"/>
                    <a:pt x="10513" y="64763"/>
                    <a:pt x="10513" y="66725"/>
                  </a:cubicBezTo>
                  <a:cubicBezTo>
                    <a:pt x="10513" y="70431"/>
                    <a:pt x="15307" y="69777"/>
                    <a:pt x="16615" y="65853"/>
                  </a:cubicBezTo>
                  <a:close/>
                </a:path>
              </a:pathLst>
            </a:custGeom>
            <a:grpFill/>
            <a:ln w="218" cap="flat">
              <a:noFill/>
              <a:prstDash val="solid"/>
              <a:miter/>
            </a:ln>
          </p:spPr>
          <p:txBody>
            <a:bodyPr rtlCol="0" anchor="ctr"/>
            <a:lstStyle/>
            <a:p>
              <a:endParaRPr lang="en-GB" dirty="0"/>
            </a:p>
          </p:txBody>
        </p:sp>
        <p:sp>
          <p:nvSpPr>
            <p:cNvPr id="261" name="Freihandform: Form 260">
              <a:extLst>
                <a:ext uri="{FF2B5EF4-FFF2-40B4-BE49-F238E27FC236}">
                  <a16:creationId xmlns:a16="http://schemas.microsoft.com/office/drawing/2014/main" xmlns="" id="{D203E19F-B61C-444D-A826-9A618691E950}"/>
                </a:ext>
              </a:extLst>
            </p:cNvPr>
            <p:cNvSpPr/>
            <p:nvPr/>
          </p:nvSpPr>
          <p:spPr>
            <a:xfrm flipV="1">
              <a:off x="4920596" y="5463456"/>
              <a:ext cx="30326" cy="35006"/>
            </a:xfrm>
            <a:custGeom>
              <a:avLst/>
              <a:gdLst>
                <a:gd name="connsiteX0" fmla="*/ -532 w 30326"/>
                <a:gd name="connsiteY0" fmla="*/ 32731 h 35006"/>
                <a:gd name="connsiteX1" fmla="*/ 4262 w 30326"/>
                <a:gd name="connsiteY1" fmla="*/ 25318 h 35006"/>
                <a:gd name="connsiteX2" fmla="*/ 6441 w 30326"/>
                <a:gd name="connsiteY2" fmla="*/ 19868 h 35006"/>
                <a:gd name="connsiteX3" fmla="*/ 2083 w 30326"/>
                <a:gd name="connsiteY3" fmla="*/ 9840 h 35006"/>
                <a:gd name="connsiteX4" fmla="*/ -4455 w 30326"/>
                <a:gd name="connsiteY4" fmla="*/ 4172 h 35006"/>
                <a:gd name="connsiteX5" fmla="*/ -968 w 30326"/>
                <a:gd name="connsiteY5" fmla="*/ 2210 h 35006"/>
                <a:gd name="connsiteX6" fmla="*/ 6223 w 30326"/>
                <a:gd name="connsiteY6" fmla="*/ 1338 h 35006"/>
                <a:gd name="connsiteX7" fmla="*/ 19515 w 30326"/>
                <a:gd name="connsiteY7" fmla="*/ 11366 h 35006"/>
                <a:gd name="connsiteX8" fmla="*/ 22784 w 30326"/>
                <a:gd name="connsiteY8" fmla="*/ 15726 h 35006"/>
                <a:gd name="connsiteX9" fmla="*/ 8402 w 30326"/>
                <a:gd name="connsiteY9" fmla="*/ 33821 h 35006"/>
                <a:gd name="connsiteX10" fmla="*/ -532 w 30326"/>
                <a:gd name="connsiteY10" fmla="*/ 32731 h 3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326" h="35006">
                  <a:moveTo>
                    <a:pt x="-532" y="32731"/>
                  </a:moveTo>
                  <a:cubicBezTo>
                    <a:pt x="2083" y="30987"/>
                    <a:pt x="4262" y="27499"/>
                    <a:pt x="4262" y="25318"/>
                  </a:cubicBezTo>
                  <a:cubicBezTo>
                    <a:pt x="4262" y="23138"/>
                    <a:pt x="5351" y="20522"/>
                    <a:pt x="6441" y="19868"/>
                  </a:cubicBezTo>
                  <a:cubicBezTo>
                    <a:pt x="10799" y="17252"/>
                    <a:pt x="8402" y="12020"/>
                    <a:pt x="2083" y="9840"/>
                  </a:cubicBezTo>
                  <a:cubicBezTo>
                    <a:pt x="-1404" y="8532"/>
                    <a:pt x="-4455" y="5916"/>
                    <a:pt x="-4455" y="4172"/>
                  </a:cubicBezTo>
                  <a:cubicBezTo>
                    <a:pt x="-4455" y="1992"/>
                    <a:pt x="-3147" y="1338"/>
                    <a:pt x="-968" y="2210"/>
                  </a:cubicBezTo>
                  <a:cubicBezTo>
                    <a:pt x="775" y="2864"/>
                    <a:pt x="4044" y="2646"/>
                    <a:pt x="6223" y="1338"/>
                  </a:cubicBezTo>
                  <a:cubicBezTo>
                    <a:pt x="10799" y="-842"/>
                    <a:pt x="19515" y="5698"/>
                    <a:pt x="19515" y="11366"/>
                  </a:cubicBezTo>
                  <a:cubicBezTo>
                    <a:pt x="19515" y="13110"/>
                    <a:pt x="21041" y="15072"/>
                    <a:pt x="22784" y="15726"/>
                  </a:cubicBezTo>
                  <a:cubicBezTo>
                    <a:pt x="31064" y="18996"/>
                    <a:pt x="21476" y="30769"/>
                    <a:pt x="8402" y="33821"/>
                  </a:cubicBezTo>
                  <a:cubicBezTo>
                    <a:pt x="-4673" y="36873"/>
                    <a:pt x="-6198" y="36655"/>
                    <a:pt x="-532" y="32731"/>
                  </a:cubicBezTo>
                  <a:close/>
                </a:path>
              </a:pathLst>
            </a:custGeom>
            <a:grpFill/>
            <a:ln w="218" cap="flat">
              <a:noFill/>
              <a:prstDash val="solid"/>
              <a:miter/>
            </a:ln>
          </p:spPr>
          <p:txBody>
            <a:bodyPr rtlCol="0" anchor="ctr"/>
            <a:lstStyle/>
            <a:p>
              <a:endParaRPr lang="en-GB" dirty="0"/>
            </a:p>
          </p:txBody>
        </p:sp>
        <p:sp>
          <p:nvSpPr>
            <p:cNvPr id="262" name="Freihandform: Form 261">
              <a:extLst>
                <a:ext uri="{FF2B5EF4-FFF2-40B4-BE49-F238E27FC236}">
                  <a16:creationId xmlns:a16="http://schemas.microsoft.com/office/drawing/2014/main" xmlns="" id="{83FEF7EF-3528-4DF6-AD28-8882499F0108}"/>
                </a:ext>
              </a:extLst>
            </p:cNvPr>
            <p:cNvSpPr/>
            <p:nvPr/>
          </p:nvSpPr>
          <p:spPr>
            <a:xfrm flipV="1">
              <a:off x="4727440" y="5465332"/>
              <a:ext cx="3575" cy="4360"/>
            </a:xfrm>
            <a:custGeom>
              <a:avLst/>
              <a:gdLst>
                <a:gd name="connsiteX0" fmla="*/ -3294 w 3575"/>
                <a:gd name="connsiteY0" fmla="*/ 3020 h 4360"/>
                <a:gd name="connsiteX1" fmla="*/ -897 w 3575"/>
                <a:gd name="connsiteY1" fmla="*/ 840 h 4360"/>
                <a:gd name="connsiteX2" fmla="*/ -26 w 3575"/>
                <a:gd name="connsiteY2" fmla="*/ 3020 h 4360"/>
                <a:gd name="connsiteX3" fmla="*/ -2423 w 3575"/>
                <a:gd name="connsiteY3" fmla="*/ 5200 h 4360"/>
                <a:gd name="connsiteX4" fmla="*/ -3294 w 3575"/>
                <a:gd name="connsiteY4" fmla="*/ 3020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3294" y="3020"/>
                  </a:moveTo>
                  <a:cubicBezTo>
                    <a:pt x="-2641" y="1930"/>
                    <a:pt x="-1551" y="840"/>
                    <a:pt x="-897" y="840"/>
                  </a:cubicBezTo>
                  <a:cubicBezTo>
                    <a:pt x="-462" y="840"/>
                    <a:pt x="-26" y="1930"/>
                    <a:pt x="-26" y="3020"/>
                  </a:cubicBezTo>
                  <a:cubicBezTo>
                    <a:pt x="-26" y="4328"/>
                    <a:pt x="-1115" y="5200"/>
                    <a:pt x="-2423" y="5200"/>
                  </a:cubicBezTo>
                  <a:cubicBezTo>
                    <a:pt x="-3512" y="5200"/>
                    <a:pt x="-3948" y="4328"/>
                    <a:pt x="-3294" y="3020"/>
                  </a:cubicBezTo>
                  <a:close/>
                </a:path>
              </a:pathLst>
            </a:custGeom>
            <a:grpFill/>
            <a:ln w="218" cap="flat">
              <a:noFill/>
              <a:prstDash val="solid"/>
              <a:miter/>
            </a:ln>
          </p:spPr>
          <p:txBody>
            <a:bodyPr rtlCol="0" anchor="ctr"/>
            <a:lstStyle/>
            <a:p>
              <a:endParaRPr lang="en-GB" dirty="0"/>
            </a:p>
          </p:txBody>
        </p:sp>
        <p:sp>
          <p:nvSpPr>
            <p:cNvPr id="263" name="Freihandform: Form 262">
              <a:extLst>
                <a:ext uri="{FF2B5EF4-FFF2-40B4-BE49-F238E27FC236}">
                  <a16:creationId xmlns:a16="http://schemas.microsoft.com/office/drawing/2014/main" xmlns="" id="{1CAC800B-1E75-4DB2-B2C6-0DFF7FBE3B79}"/>
                </a:ext>
              </a:extLst>
            </p:cNvPr>
            <p:cNvSpPr/>
            <p:nvPr/>
          </p:nvSpPr>
          <p:spPr>
            <a:xfrm flipV="1">
              <a:off x="4759927" y="5465330"/>
              <a:ext cx="12491" cy="7161"/>
            </a:xfrm>
            <a:custGeom>
              <a:avLst/>
              <a:gdLst>
                <a:gd name="connsiteX0" fmla="*/ -3466 w 12491"/>
                <a:gd name="connsiteY0" fmla="*/ 5607 h 7161"/>
                <a:gd name="connsiteX1" fmla="*/ -1940 w 12491"/>
                <a:gd name="connsiteY1" fmla="*/ 1465 h 7161"/>
                <a:gd name="connsiteX2" fmla="*/ 8737 w 12491"/>
                <a:gd name="connsiteY2" fmla="*/ 5825 h 7161"/>
                <a:gd name="connsiteX3" fmla="*/ -3466 w 12491"/>
                <a:gd name="connsiteY3" fmla="*/ 5607 h 7161"/>
              </a:gdLst>
              <a:ahLst/>
              <a:cxnLst>
                <a:cxn ang="0">
                  <a:pos x="connsiteX0" y="connsiteY0"/>
                </a:cxn>
                <a:cxn ang="0">
                  <a:pos x="connsiteX1" y="connsiteY1"/>
                </a:cxn>
                <a:cxn ang="0">
                  <a:pos x="connsiteX2" y="connsiteY2"/>
                </a:cxn>
                <a:cxn ang="0">
                  <a:pos x="connsiteX3" y="connsiteY3"/>
                </a:cxn>
              </a:cxnLst>
              <a:rect l="l" t="t" r="r" b="b"/>
              <a:pathLst>
                <a:path w="12491" h="7161">
                  <a:moveTo>
                    <a:pt x="-3466" y="5607"/>
                  </a:moveTo>
                  <a:cubicBezTo>
                    <a:pt x="-4119" y="4299"/>
                    <a:pt x="-3684" y="2337"/>
                    <a:pt x="-1940" y="1465"/>
                  </a:cubicBezTo>
                  <a:cubicBezTo>
                    <a:pt x="1110" y="-497"/>
                    <a:pt x="8737" y="2555"/>
                    <a:pt x="8737" y="5825"/>
                  </a:cubicBezTo>
                  <a:cubicBezTo>
                    <a:pt x="8737" y="8877"/>
                    <a:pt x="-1504" y="8659"/>
                    <a:pt x="-3466" y="5607"/>
                  </a:cubicBezTo>
                  <a:close/>
                </a:path>
              </a:pathLst>
            </a:custGeom>
            <a:grpFill/>
            <a:ln w="218" cap="flat">
              <a:noFill/>
              <a:prstDash val="solid"/>
              <a:miter/>
            </a:ln>
          </p:spPr>
          <p:txBody>
            <a:bodyPr rtlCol="0" anchor="ctr"/>
            <a:lstStyle/>
            <a:p>
              <a:endParaRPr lang="en-GB" dirty="0"/>
            </a:p>
          </p:txBody>
        </p:sp>
        <p:sp>
          <p:nvSpPr>
            <p:cNvPr id="264" name="Freihandform: Form 263">
              <a:extLst>
                <a:ext uri="{FF2B5EF4-FFF2-40B4-BE49-F238E27FC236}">
                  <a16:creationId xmlns:a16="http://schemas.microsoft.com/office/drawing/2014/main" xmlns="" id="{BE3625E5-7E19-46A7-A139-977A9E4F05EE}"/>
                </a:ext>
              </a:extLst>
            </p:cNvPr>
            <p:cNvSpPr/>
            <p:nvPr/>
          </p:nvSpPr>
          <p:spPr>
            <a:xfrm flipV="1">
              <a:off x="4949706" y="5465332"/>
              <a:ext cx="3575" cy="4360"/>
            </a:xfrm>
            <a:custGeom>
              <a:avLst/>
              <a:gdLst>
                <a:gd name="connsiteX0" fmla="*/ -4212 w 3575"/>
                <a:gd name="connsiteY0" fmla="*/ 3020 h 4360"/>
                <a:gd name="connsiteX1" fmla="*/ -3341 w 3575"/>
                <a:gd name="connsiteY1" fmla="*/ 840 h 4360"/>
                <a:gd name="connsiteX2" fmla="*/ -944 w 3575"/>
                <a:gd name="connsiteY2" fmla="*/ 3020 h 4360"/>
                <a:gd name="connsiteX3" fmla="*/ -1815 w 3575"/>
                <a:gd name="connsiteY3" fmla="*/ 5200 h 4360"/>
                <a:gd name="connsiteX4" fmla="*/ -4212 w 3575"/>
                <a:gd name="connsiteY4" fmla="*/ 3020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4212" y="3020"/>
                  </a:moveTo>
                  <a:cubicBezTo>
                    <a:pt x="-4866" y="1930"/>
                    <a:pt x="-4430" y="840"/>
                    <a:pt x="-3341" y="840"/>
                  </a:cubicBezTo>
                  <a:cubicBezTo>
                    <a:pt x="-2033" y="840"/>
                    <a:pt x="-944" y="1930"/>
                    <a:pt x="-944" y="3020"/>
                  </a:cubicBezTo>
                  <a:cubicBezTo>
                    <a:pt x="-944" y="4328"/>
                    <a:pt x="-1380" y="5200"/>
                    <a:pt x="-1815" y="5200"/>
                  </a:cubicBezTo>
                  <a:cubicBezTo>
                    <a:pt x="-2469" y="5200"/>
                    <a:pt x="-3559" y="4328"/>
                    <a:pt x="-4212" y="3020"/>
                  </a:cubicBezTo>
                  <a:close/>
                </a:path>
              </a:pathLst>
            </a:custGeom>
            <a:grpFill/>
            <a:ln w="218" cap="flat">
              <a:noFill/>
              <a:prstDash val="solid"/>
              <a:miter/>
            </a:ln>
          </p:spPr>
          <p:txBody>
            <a:bodyPr rtlCol="0" anchor="ctr"/>
            <a:lstStyle/>
            <a:p>
              <a:endParaRPr lang="en-GB" dirty="0"/>
            </a:p>
          </p:txBody>
        </p:sp>
        <p:sp>
          <p:nvSpPr>
            <p:cNvPr id="265" name="Freihandform: Form 264">
              <a:extLst>
                <a:ext uri="{FF2B5EF4-FFF2-40B4-BE49-F238E27FC236}">
                  <a16:creationId xmlns:a16="http://schemas.microsoft.com/office/drawing/2014/main" xmlns="" id="{138C69F7-292C-4165-8167-AD23734C0803}"/>
                </a:ext>
              </a:extLst>
            </p:cNvPr>
            <p:cNvSpPr/>
            <p:nvPr/>
          </p:nvSpPr>
          <p:spPr>
            <a:xfrm flipV="1">
              <a:off x="4552563" y="5467513"/>
              <a:ext cx="76040" cy="41080"/>
            </a:xfrm>
            <a:custGeom>
              <a:avLst/>
              <a:gdLst>
                <a:gd name="connsiteX0" fmla="*/ 19185 w 76040"/>
                <a:gd name="connsiteY0" fmla="*/ 34394 h 41080"/>
                <a:gd name="connsiteX1" fmla="*/ 8290 w 76040"/>
                <a:gd name="connsiteY1" fmla="*/ 30034 h 41080"/>
                <a:gd name="connsiteX2" fmla="*/ -645 w 76040"/>
                <a:gd name="connsiteY2" fmla="*/ 33304 h 41080"/>
                <a:gd name="connsiteX3" fmla="*/ 3060 w 76040"/>
                <a:gd name="connsiteY3" fmla="*/ 26764 h 41080"/>
                <a:gd name="connsiteX4" fmla="*/ 3932 w 76040"/>
                <a:gd name="connsiteY4" fmla="*/ 19134 h 41080"/>
                <a:gd name="connsiteX5" fmla="*/ 2188 w 76040"/>
                <a:gd name="connsiteY5" fmla="*/ 12812 h 41080"/>
                <a:gd name="connsiteX6" fmla="*/ 5457 w 76040"/>
                <a:gd name="connsiteY6" fmla="*/ 6053 h 41080"/>
                <a:gd name="connsiteX7" fmla="*/ 13084 w 76040"/>
                <a:gd name="connsiteY7" fmla="*/ 4091 h 41080"/>
                <a:gd name="connsiteX8" fmla="*/ 20710 w 76040"/>
                <a:gd name="connsiteY8" fmla="*/ 6053 h 41080"/>
                <a:gd name="connsiteX9" fmla="*/ 26158 w 76040"/>
                <a:gd name="connsiteY9" fmla="*/ 7143 h 41080"/>
                <a:gd name="connsiteX10" fmla="*/ 26812 w 76040"/>
                <a:gd name="connsiteY10" fmla="*/ 13684 h 41080"/>
                <a:gd name="connsiteX11" fmla="*/ 21800 w 76040"/>
                <a:gd name="connsiteY11" fmla="*/ 16518 h 41080"/>
                <a:gd name="connsiteX12" fmla="*/ 17660 w 76040"/>
                <a:gd name="connsiteY12" fmla="*/ 19352 h 41080"/>
                <a:gd name="connsiteX13" fmla="*/ 22889 w 76040"/>
                <a:gd name="connsiteY13" fmla="*/ 21314 h 41080"/>
                <a:gd name="connsiteX14" fmla="*/ 30516 w 76040"/>
                <a:gd name="connsiteY14" fmla="*/ 20224 h 41080"/>
                <a:gd name="connsiteX15" fmla="*/ 36400 w 76040"/>
                <a:gd name="connsiteY15" fmla="*/ 20660 h 41080"/>
                <a:gd name="connsiteX16" fmla="*/ 44680 w 76040"/>
                <a:gd name="connsiteY16" fmla="*/ 18044 h 41080"/>
                <a:gd name="connsiteX17" fmla="*/ 55793 w 76040"/>
                <a:gd name="connsiteY17" fmla="*/ 11286 h 41080"/>
                <a:gd name="connsiteX18" fmla="*/ 67125 w 76040"/>
                <a:gd name="connsiteY18" fmla="*/ 5835 h 41080"/>
                <a:gd name="connsiteX19" fmla="*/ 62984 w 76040"/>
                <a:gd name="connsiteY19" fmla="*/ 20224 h 41080"/>
                <a:gd name="connsiteX20" fmla="*/ 53396 w 76040"/>
                <a:gd name="connsiteY20" fmla="*/ 26764 h 41080"/>
                <a:gd name="connsiteX21" fmla="*/ 38143 w 76040"/>
                <a:gd name="connsiteY21" fmla="*/ 31996 h 41080"/>
                <a:gd name="connsiteX22" fmla="*/ 27248 w 76040"/>
                <a:gd name="connsiteY22" fmla="*/ 36574 h 41080"/>
                <a:gd name="connsiteX23" fmla="*/ 26812 w 76040"/>
                <a:gd name="connsiteY23" fmla="*/ 42025 h 41080"/>
                <a:gd name="connsiteX24" fmla="*/ 19185 w 76040"/>
                <a:gd name="connsiteY24" fmla="*/ 34394 h 41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6040" h="41080">
                  <a:moveTo>
                    <a:pt x="19185" y="34394"/>
                  </a:moveTo>
                  <a:cubicBezTo>
                    <a:pt x="14391" y="27200"/>
                    <a:pt x="14173" y="26982"/>
                    <a:pt x="8290" y="30034"/>
                  </a:cubicBezTo>
                  <a:cubicBezTo>
                    <a:pt x="4803" y="31778"/>
                    <a:pt x="881" y="33304"/>
                    <a:pt x="-645" y="33304"/>
                  </a:cubicBezTo>
                  <a:cubicBezTo>
                    <a:pt x="-5439" y="33304"/>
                    <a:pt x="-2388" y="28072"/>
                    <a:pt x="3060" y="26764"/>
                  </a:cubicBezTo>
                  <a:cubicBezTo>
                    <a:pt x="9597" y="25238"/>
                    <a:pt x="9815" y="21750"/>
                    <a:pt x="3932" y="19134"/>
                  </a:cubicBezTo>
                  <a:cubicBezTo>
                    <a:pt x="-1952" y="16736"/>
                    <a:pt x="-2388" y="14556"/>
                    <a:pt x="2188" y="12812"/>
                  </a:cubicBezTo>
                  <a:cubicBezTo>
                    <a:pt x="3932" y="12158"/>
                    <a:pt x="5457" y="9105"/>
                    <a:pt x="5457" y="6053"/>
                  </a:cubicBezTo>
                  <a:cubicBezTo>
                    <a:pt x="5457" y="-269"/>
                    <a:pt x="6111" y="-487"/>
                    <a:pt x="13084" y="4091"/>
                  </a:cubicBezTo>
                  <a:cubicBezTo>
                    <a:pt x="15916" y="6053"/>
                    <a:pt x="19403" y="6925"/>
                    <a:pt x="20710" y="6053"/>
                  </a:cubicBezTo>
                  <a:cubicBezTo>
                    <a:pt x="22018" y="5181"/>
                    <a:pt x="24415" y="5835"/>
                    <a:pt x="26158" y="7143"/>
                  </a:cubicBezTo>
                  <a:cubicBezTo>
                    <a:pt x="28555" y="9105"/>
                    <a:pt x="28773" y="10632"/>
                    <a:pt x="26812" y="13684"/>
                  </a:cubicBezTo>
                  <a:cubicBezTo>
                    <a:pt x="25504" y="15864"/>
                    <a:pt x="23107" y="17172"/>
                    <a:pt x="21800" y="16518"/>
                  </a:cubicBezTo>
                  <a:cubicBezTo>
                    <a:pt x="20275" y="16082"/>
                    <a:pt x="18531" y="17390"/>
                    <a:pt x="17660" y="19352"/>
                  </a:cubicBezTo>
                  <a:cubicBezTo>
                    <a:pt x="15481" y="24802"/>
                    <a:pt x="17878" y="25892"/>
                    <a:pt x="22889" y="21314"/>
                  </a:cubicBezTo>
                  <a:cubicBezTo>
                    <a:pt x="26376" y="18044"/>
                    <a:pt x="27683" y="17826"/>
                    <a:pt x="30516" y="20224"/>
                  </a:cubicBezTo>
                  <a:cubicBezTo>
                    <a:pt x="33131" y="22404"/>
                    <a:pt x="34656" y="22404"/>
                    <a:pt x="36400" y="20660"/>
                  </a:cubicBezTo>
                  <a:cubicBezTo>
                    <a:pt x="37925" y="19134"/>
                    <a:pt x="41412" y="18044"/>
                    <a:pt x="44680" y="18044"/>
                  </a:cubicBezTo>
                  <a:cubicBezTo>
                    <a:pt x="48167" y="18044"/>
                    <a:pt x="52089" y="15646"/>
                    <a:pt x="55793" y="11286"/>
                  </a:cubicBezTo>
                  <a:cubicBezTo>
                    <a:pt x="60370" y="5617"/>
                    <a:pt x="62549" y="4527"/>
                    <a:pt x="67125" y="5835"/>
                  </a:cubicBezTo>
                  <a:cubicBezTo>
                    <a:pt x="77148" y="8233"/>
                    <a:pt x="73444" y="20224"/>
                    <a:pt x="62984" y="20224"/>
                  </a:cubicBezTo>
                  <a:cubicBezTo>
                    <a:pt x="59934" y="20224"/>
                    <a:pt x="56229" y="22840"/>
                    <a:pt x="53396" y="26764"/>
                  </a:cubicBezTo>
                  <a:cubicBezTo>
                    <a:pt x="49038" y="33086"/>
                    <a:pt x="47949" y="33304"/>
                    <a:pt x="38143" y="31996"/>
                  </a:cubicBezTo>
                  <a:cubicBezTo>
                    <a:pt x="28337" y="30688"/>
                    <a:pt x="22018" y="33304"/>
                    <a:pt x="27248" y="36574"/>
                  </a:cubicBezTo>
                  <a:cubicBezTo>
                    <a:pt x="30298" y="38536"/>
                    <a:pt x="30080" y="42025"/>
                    <a:pt x="26812" y="42025"/>
                  </a:cubicBezTo>
                  <a:cubicBezTo>
                    <a:pt x="25286" y="42025"/>
                    <a:pt x="21800" y="38536"/>
                    <a:pt x="19185" y="34394"/>
                  </a:cubicBezTo>
                  <a:close/>
                </a:path>
              </a:pathLst>
            </a:custGeom>
            <a:grpFill/>
            <a:ln w="218" cap="flat">
              <a:noFill/>
              <a:prstDash val="solid"/>
              <a:miter/>
            </a:ln>
          </p:spPr>
          <p:txBody>
            <a:bodyPr rtlCol="0" anchor="ctr"/>
            <a:lstStyle/>
            <a:p>
              <a:endParaRPr lang="en-GB" dirty="0"/>
            </a:p>
          </p:txBody>
        </p:sp>
        <p:sp>
          <p:nvSpPr>
            <p:cNvPr id="266" name="Freihandform: Form 265">
              <a:extLst>
                <a:ext uri="{FF2B5EF4-FFF2-40B4-BE49-F238E27FC236}">
                  <a16:creationId xmlns:a16="http://schemas.microsoft.com/office/drawing/2014/main" xmlns="" id="{B460199A-1F11-415F-966A-491F5F6A3A93}"/>
                </a:ext>
              </a:extLst>
            </p:cNvPr>
            <p:cNvSpPr/>
            <p:nvPr/>
          </p:nvSpPr>
          <p:spPr>
            <a:xfrm flipV="1">
              <a:off x="4718189" y="5472094"/>
              <a:ext cx="6507" cy="5198"/>
            </a:xfrm>
            <a:custGeom>
              <a:avLst/>
              <a:gdLst>
                <a:gd name="connsiteX0" fmla="*/ -3381 w 6507"/>
                <a:gd name="connsiteY0" fmla="*/ 3680 h 5198"/>
                <a:gd name="connsiteX1" fmla="*/ 2938 w 6507"/>
                <a:gd name="connsiteY1" fmla="*/ 3026 h 5198"/>
                <a:gd name="connsiteX2" fmla="*/ -766 w 6507"/>
                <a:gd name="connsiteY2" fmla="*/ 5860 h 5198"/>
                <a:gd name="connsiteX3" fmla="*/ -3381 w 6507"/>
                <a:gd name="connsiteY3" fmla="*/ 3680 h 5198"/>
              </a:gdLst>
              <a:ahLst/>
              <a:cxnLst>
                <a:cxn ang="0">
                  <a:pos x="connsiteX0" y="connsiteY0"/>
                </a:cxn>
                <a:cxn ang="0">
                  <a:pos x="connsiteX1" y="connsiteY1"/>
                </a:cxn>
                <a:cxn ang="0">
                  <a:pos x="connsiteX2" y="connsiteY2"/>
                </a:cxn>
                <a:cxn ang="0">
                  <a:pos x="connsiteX3" y="connsiteY3"/>
                </a:cxn>
              </a:cxnLst>
              <a:rect l="l" t="t" r="r" b="b"/>
              <a:pathLst>
                <a:path w="6507" h="5198">
                  <a:moveTo>
                    <a:pt x="-3381" y="3680"/>
                  </a:moveTo>
                  <a:cubicBezTo>
                    <a:pt x="-2292" y="410"/>
                    <a:pt x="2720" y="-244"/>
                    <a:pt x="2938" y="3026"/>
                  </a:cubicBezTo>
                  <a:cubicBezTo>
                    <a:pt x="2938" y="4334"/>
                    <a:pt x="1413" y="5642"/>
                    <a:pt x="-766" y="5860"/>
                  </a:cubicBezTo>
                  <a:cubicBezTo>
                    <a:pt x="-2945" y="6514"/>
                    <a:pt x="-4035" y="5642"/>
                    <a:pt x="-3381" y="3680"/>
                  </a:cubicBezTo>
                  <a:close/>
                </a:path>
              </a:pathLst>
            </a:custGeom>
            <a:grpFill/>
            <a:ln w="218" cap="flat">
              <a:noFill/>
              <a:prstDash val="solid"/>
              <a:miter/>
            </a:ln>
          </p:spPr>
          <p:txBody>
            <a:bodyPr rtlCol="0" anchor="ctr"/>
            <a:lstStyle/>
            <a:p>
              <a:endParaRPr lang="en-GB" dirty="0"/>
            </a:p>
          </p:txBody>
        </p:sp>
        <p:sp>
          <p:nvSpPr>
            <p:cNvPr id="267" name="Freihandform: Form 266">
              <a:extLst>
                <a:ext uri="{FF2B5EF4-FFF2-40B4-BE49-F238E27FC236}">
                  <a16:creationId xmlns:a16="http://schemas.microsoft.com/office/drawing/2014/main" xmlns="" id="{E5DFAE50-B805-4C07-B9A3-FDE34C8502D5}"/>
                </a:ext>
              </a:extLst>
            </p:cNvPr>
            <p:cNvSpPr/>
            <p:nvPr/>
          </p:nvSpPr>
          <p:spPr>
            <a:xfrm flipV="1">
              <a:off x="4728215" y="5474053"/>
              <a:ext cx="85356" cy="41199"/>
            </a:xfrm>
            <a:custGeom>
              <a:avLst/>
              <a:gdLst>
                <a:gd name="connsiteX0" fmla="*/ -2716 w 85356"/>
                <a:gd name="connsiteY0" fmla="*/ 35200 h 41199"/>
                <a:gd name="connsiteX1" fmla="*/ 6219 w 85356"/>
                <a:gd name="connsiteY1" fmla="*/ 16451 h 41199"/>
                <a:gd name="connsiteX2" fmla="*/ 12102 w 85356"/>
                <a:gd name="connsiteY2" fmla="*/ 8167 h 41199"/>
                <a:gd name="connsiteX3" fmla="*/ 26702 w 85356"/>
                <a:gd name="connsiteY3" fmla="*/ 6205 h 41199"/>
                <a:gd name="connsiteX4" fmla="*/ 30188 w 85356"/>
                <a:gd name="connsiteY4" fmla="*/ 13835 h 41199"/>
                <a:gd name="connsiteX5" fmla="*/ 33239 w 85356"/>
                <a:gd name="connsiteY5" fmla="*/ 18195 h 41199"/>
                <a:gd name="connsiteX6" fmla="*/ 39776 w 85356"/>
                <a:gd name="connsiteY6" fmla="*/ 15797 h 41199"/>
                <a:gd name="connsiteX7" fmla="*/ 62003 w 85356"/>
                <a:gd name="connsiteY7" fmla="*/ 25607 h 41199"/>
                <a:gd name="connsiteX8" fmla="*/ 67451 w 85356"/>
                <a:gd name="connsiteY8" fmla="*/ 30186 h 41199"/>
                <a:gd name="connsiteX9" fmla="*/ 63746 w 85356"/>
                <a:gd name="connsiteY9" fmla="*/ 24299 h 41199"/>
                <a:gd name="connsiteX10" fmla="*/ 63964 w 85356"/>
                <a:gd name="connsiteY10" fmla="*/ 2499 h 41199"/>
                <a:gd name="connsiteX11" fmla="*/ 73116 w 85356"/>
                <a:gd name="connsiteY11" fmla="*/ 8385 h 41199"/>
                <a:gd name="connsiteX12" fmla="*/ 77474 w 85356"/>
                <a:gd name="connsiteY12" fmla="*/ 12745 h 41199"/>
                <a:gd name="connsiteX13" fmla="*/ 76167 w 85356"/>
                <a:gd name="connsiteY13" fmla="*/ 21901 h 41199"/>
                <a:gd name="connsiteX14" fmla="*/ 72027 w 85356"/>
                <a:gd name="connsiteY14" fmla="*/ 31494 h 41199"/>
                <a:gd name="connsiteX15" fmla="*/ 63964 w 85356"/>
                <a:gd name="connsiteY15" fmla="*/ 42176 h 41199"/>
                <a:gd name="connsiteX16" fmla="*/ 62221 w 85356"/>
                <a:gd name="connsiteY16" fmla="*/ 38470 h 41199"/>
                <a:gd name="connsiteX17" fmla="*/ 57863 w 85356"/>
                <a:gd name="connsiteY17" fmla="*/ 29096 h 41199"/>
                <a:gd name="connsiteX18" fmla="*/ 51543 w 85356"/>
                <a:gd name="connsiteY18" fmla="*/ 26697 h 41199"/>
                <a:gd name="connsiteX19" fmla="*/ 50672 w 85356"/>
                <a:gd name="connsiteY19" fmla="*/ 33238 h 41199"/>
                <a:gd name="connsiteX20" fmla="*/ 38905 w 85356"/>
                <a:gd name="connsiteY20" fmla="*/ 40650 h 41199"/>
                <a:gd name="connsiteX21" fmla="*/ 31714 w 85356"/>
                <a:gd name="connsiteY21" fmla="*/ 35418 h 41199"/>
                <a:gd name="connsiteX22" fmla="*/ 36072 w 85356"/>
                <a:gd name="connsiteY22" fmla="*/ 31276 h 41199"/>
                <a:gd name="connsiteX23" fmla="*/ 40430 w 85356"/>
                <a:gd name="connsiteY23" fmla="*/ 27788 h 41199"/>
                <a:gd name="connsiteX24" fmla="*/ 33457 w 85356"/>
                <a:gd name="connsiteY24" fmla="*/ 25171 h 41199"/>
                <a:gd name="connsiteX25" fmla="*/ 26920 w 85356"/>
                <a:gd name="connsiteY25" fmla="*/ 19721 h 41199"/>
                <a:gd name="connsiteX26" fmla="*/ 23651 w 85356"/>
                <a:gd name="connsiteY26" fmla="*/ 14271 h 41199"/>
                <a:gd name="connsiteX27" fmla="*/ 19075 w 85356"/>
                <a:gd name="connsiteY27" fmla="*/ 22119 h 41199"/>
                <a:gd name="connsiteX28" fmla="*/ 13410 w 85356"/>
                <a:gd name="connsiteY28" fmla="*/ 27788 h 41199"/>
                <a:gd name="connsiteX29" fmla="*/ 4693 w 85356"/>
                <a:gd name="connsiteY29" fmla="*/ 34328 h 41199"/>
                <a:gd name="connsiteX30" fmla="*/ 553 w 85356"/>
                <a:gd name="connsiteY30" fmla="*/ 42176 h 41199"/>
                <a:gd name="connsiteX31" fmla="*/ -2716 w 85356"/>
                <a:gd name="connsiteY31" fmla="*/ 35200 h 41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5356" h="41199">
                  <a:moveTo>
                    <a:pt x="-2716" y="35200"/>
                  </a:moveTo>
                  <a:cubicBezTo>
                    <a:pt x="-5330" y="27788"/>
                    <a:pt x="-3369" y="23645"/>
                    <a:pt x="6219" y="16451"/>
                  </a:cubicBezTo>
                  <a:cubicBezTo>
                    <a:pt x="8398" y="14707"/>
                    <a:pt x="11013" y="11001"/>
                    <a:pt x="12102" y="8167"/>
                  </a:cubicBezTo>
                  <a:cubicBezTo>
                    <a:pt x="14499" y="2281"/>
                    <a:pt x="19947" y="1409"/>
                    <a:pt x="26702" y="6205"/>
                  </a:cubicBezTo>
                  <a:cubicBezTo>
                    <a:pt x="29753" y="8385"/>
                    <a:pt x="30842" y="11001"/>
                    <a:pt x="30188" y="13835"/>
                  </a:cubicBezTo>
                  <a:cubicBezTo>
                    <a:pt x="29317" y="17105"/>
                    <a:pt x="30188" y="18195"/>
                    <a:pt x="33239" y="18195"/>
                  </a:cubicBezTo>
                  <a:cubicBezTo>
                    <a:pt x="35418" y="18195"/>
                    <a:pt x="38469" y="17105"/>
                    <a:pt x="39776" y="15797"/>
                  </a:cubicBezTo>
                  <a:cubicBezTo>
                    <a:pt x="42391" y="13181"/>
                    <a:pt x="53287" y="17759"/>
                    <a:pt x="62003" y="25607"/>
                  </a:cubicBezTo>
                  <a:lnTo>
                    <a:pt x="67451" y="30186"/>
                  </a:lnTo>
                  <a:lnTo>
                    <a:pt x="63746" y="24299"/>
                  </a:lnTo>
                  <a:cubicBezTo>
                    <a:pt x="59824" y="18195"/>
                    <a:pt x="60042" y="6423"/>
                    <a:pt x="63964" y="2499"/>
                  </a:cubicBezTo>
                  <a:cubicBezTo>
                    <a:pt x="67668" y="-1207"/>
                    <a:pt x="73116" y="2281"/>
                    <a:pt x="73116" y="8385"/>
                  </a:cubicBezTo>
                  <a:cubicBezTo>
                    <a:pt x="73116" y="13181"/>
                    <a:pt x="73988" y="13835"/>
                    <a:pt x="77474" y="12745"/>
                  </a:cubicBezTo>
                  <a:cubicBezTo>
                    <a:pt x="83358" y="11001"/>
                    <a:pt x="82922" y="12963"/>
                    <a:pt x="76167" y="21901"/>
                  </a:cubicBezTo>
                  <a:cubicBezTo>
                    <a:pt x="73116" y="25825"/>
                    <a:pt x="71373" y="30186"/>
                    <a:pt x="72027" y="31494"/>
                  </a:cubicBezTo>
                  <a:cubicBezTo>
                    <a:pt x="73552" y="33892"/>
                    <a:pt x="67233" y="42176"/>
                    <a:pt x="63964" y="42176"/>
                  </a:cubicBezTo>
                  <a:cubicBezTo>
                    <a:pt x="63092" y="42176"/>
                    <a:pt x="62221" y="40432"/>
                    <a:pt x="62221" y="38470"/>
                  </a:cubicBezTo>
                  <a:cubicBezTo>
                    <a:pt x="62221" y="36290"/>
                    <a:pt x="60260" y="32148"/>
                    <a:pt x="57863" y="29096"/>
                  </a:cubicBezTo>
                  <a:cubicBezTo>
                    <a:pt x="54376" y="24735"/>
                    <a:pt x="53069" y="24299"/>
                    <a:pt x="51543" y="26697"/>
                  </a:cubicBezTo>
                  <a:cubicBezTo>
                    <a:pt x="50454" y="28224"/>
                    <a:pt x="50018" y="31276"/>
                    <a:pt x="50672" y="33238"/>
                  </a:cubicBezTo>
                  <a:cubicBezTo>
                    <a:pt x="51979" y="38688"/>
                    <a:pt x="46967" y="41740"/>
                    <a:pt x="38905" y="40650"/>
                  </a:cubicBezTo>
                  <a:cubicBezTo>
                    <a:pt x="33675" y="39778"/>
                    <a:pt x="31714" y="38252"/>
                    <a:pt x="31714" y="35418"/>
                  </a:cubicBezTo>
                  <a:cubicBezTo>
                    <a:pt x="31714" y="32802"/>
                    <a:pt x="33239" y="31276"/>
                    <a:pt x="36072" y="31276"/>
                  </a:cubicBezTo>
                  <a:cubicBezTo>
                    <a:pt x="38469" y="31276"/>
                    <a:pt x="40430" y="29750"/>
                    <a:pt x="40430" y="27788"/>
                  </a:cubicBezTo>
                  <a:cubicBezTo>
                    <a:pt x="40430" y="25389"/>
                    <a:pt x="38687" y="24735"/>
                    <a:pt x="33457" y="25171"/>
                  </a:cubicBezTo>
                  <a:cubicBezTo>
                    <a:pt x="26702" y="25825"/>
                    <a:pt x="26266" y="25389"/>
                    <a:pt x="26920" y="19721"/>
                  </a:cubicBezTo>
                  <a:cubicBezTo>
                    <a:pt x="27356" y="14707"/>
                    <a:pt x="26702" y="13617"/>
                    <a:pt x="23651" y="14271"/>
                  </a:cubicBezTo>
                  <a:cubicBezTo>
                    <a:pt x="21036" y="14707"/>
                    <a:pt x="19511" y="17323"/>
                    <a:pt x="19075" y="22119"/>
                  </a:cubicBezTo>
                  <a:cubicBezTo>
                    <a:pt x="18421" y="28224"/>
                    <a:pt x="17768" y="28878"/>
                    <a:pt x="13410" y="27788"/>
                  </a:cubicBezTo>
                  <a:cubicBezTo>
                    <a:pt x="9269" y="26916"/>
                    <a:pt x="7744" y="28006"/>
                    <a:pt x="4693" y="34328"/>
                  </a:cubicBezTo>
                  <a:cubicBezTo>
                    <a:pt x="2732" y="38688"/>
                    <a:pt x="771" y="42176"/>
                    <a:pt x="553" y="42176"/>
                  </a:cubicBezTo>
                  <a:cubicBezTo>
                    <a:pt x="117" y="42176"/>
                    <a:pt x="-1190" y="39124"/>
                    <a:pt x="-2716" y="35200"/>
                  </a:cubicBezTo>
                  <a:close/>
                </a:path>
              </a:pathLst>
            </a:custGeom>
            <a:grpFill/>
            <a:ln w="218" cap="flat">
              <a:noFill/>
              <a:prstDash val="solid"/>
              <a:miter/>
            </a:ln>
          </p:spPr>
          <p:txBody>
            <a:bodyPr rtlCol="0" anchor="ctr"/>
            <a:lstStyle/>
            <a:p>
              <a:endParaRPr lang="en-GB" dirty="0"/>
            </a:p>
          </p:txBody>
        </p:sp>
        <p:sp>
          <p:nvSpPr>
            <p:cNvPr id="268" name="Freihandform: Form 267">
              <a:extLst>
                <a:ext uri="{FF2B5EF4-FFF2-40B4-BE49-F238E27FC236}">
                  <a16:creationId xmlns:a16="http://schemas.microsoft.com/office/drawing/2014/main" xmlns="" id="{73C64952-C8CA-4CDC-8D11-162B6873DDEC}"/>
                </a:ext>
              </a:extLst>
            </p:cNvPr>
            <p:cNvSpPr/>
            <p:nvPr/>
          </p:nvSpPr>
          <p:spPr>
            <a:xfrm flipV="1">
              <a:off x="4430631" y="5477150"/>
              <a:ext cx="6210" cy="5302"/>
            </a:xfrm>
            <a:custGeom>
              <a:avLst/>
              <a:gdLst>
                <a:gd name="connsiteX0" fmla="*/ -2272 w 6210"/>
                <a:gd name="connsiteY0" fmla="*/ 4506 h 5302"/>
                <a:gd name="connsiteX1" fmla="*/ 3829 w 6210"/>
                <a:gd name="connsiteY1" fmla="*/ 2326 h 5302"/>
                <a:gd name="connsiteX2" fmla="*/ 343 w 6210"/>
                <a:gd name="connsiteY2" fmla="*/ 5814 h 5302"/>
                <a:gd name="connsiteX3" fmla="*/ -2272 w 6210"/>
                <a:gd name="connsiteY3" fmla="*/ 4506 h 5302"/>
              </a:gdLst>
              <a:ahLst/>
              <a:cxnLst>
                <a:cxn ang="0">
                  <a:pos x="connsiteX0" y="connsiteY0"/>
                </a:cxn>
                <a:cxn ang="0">
                  <a:pos x="connsiteX1" y="connsiteY1"/>
                </a:cxn>
                <a:cxn ang="0">
                  <a:pos x="connsiteX2" y="connsiteY2"/>
                </a:cxn>
                <a:cxn ang="0">
                  <a:pos x="connsiteX3" y="connsiteY3"/>
                </a:cxn>
              </a:cxnLst>
              <a:rect l="l" t="t" r="r" b="b"/>
              <a:pathLst>
                <a:path w="6210" h="5302">
                  <a:moveTo>
                    <a:pt x="-2272" y="4506"/>
                  </a:moveTo>
                  <a:cubicBezTo>
                    <a:pt x="-1183" y="1236"/>
                    <a:pt x="3829" y="-508"/>
                    <a:pt x="3829" y="2326"/>
                  </a:cubicBezTo>
                  <a:cubicBezTo>
                    <a:pt x="3829" y="3416"/>
                    <a:pt x="2304" y="5160"/>
                    <a:pt x="343" y="5814"/>
                  </a:cubicBezTo>
                  <a:cubicBezTo>
                    <a:pt x="-1836" y="6686"/>
                    <a:pt x="-2708" y="6032"/>
                    <a:pt x="-2272" y="4506"/>
                  </a:cubicBezTo>
                  <a:close/>
                </a:path>
              </a:pathLst>
            </a:custGeom>
            <a:grpFill/>
            <a:ln w="218" cap="flat">
              <a:noFill/>
              <a:prstDash val="solid"/>
              <a:miter/>
            </a:ln>
          </p:spPr>
          <p:txBody>
            <a:bodyPr rtlCol="0" anchor="ctr"/>
            <a:lstStyle/>
            <a:p>
              <a:endParaRPr lang="en-GB" dirty="0"/>
            </a:p>
          </p:txBody>
        </p:sp>
        <p:sp>
          <p:nvSpPr>
            <p:cNvPr id="269" name="Freihandform: Form 268">
              <a:extLst>
                <a:ext uri="{FF2B5EF4-FFF2-40B4-BE49-F238E27FC236}">
                  <a16:creationId xmlns:a16="http://schemas.microsoft.com/office/drawing/2014/main" xmlns="" id="{428493B9-29B6-4D14-8AB5-3E1057E80F71}"/>
                </a:ext>
              </a:extLst>
            </p:cNvPr>
            <p:cNvSpPr/>
            <p:nvPr/>
          </p:nvSpPr>
          <p:spPr>
            <a:xfrm flipV="1">
              <a:off x="4918533" y="5490614"/>
              <a:ext cx="34748" cy="37833"/>
            </a:xfrm>
            <a:custGeom>
              <a:avLst/>
              <a:gdLst>
                <a:gd name="connsiteX0" fmla="*/ 22667 w 34748"/>
                <a:gd name="connsiteY0" fmla="*/ 33428 h 37833"/>
                <a:gd name="connsiteX1" fmla="*/ 8503 w 34748"/>
                <a:gd name="connsiteY1" fmla="*/ 27760 h 37833"/>
                <a:gd name="connsiteX2" fmla="*/ -3264 w 34748"/>
                <a:gd name="connsiteY2" fmla="*/ 24272 h 37833"/>
                <a:gd name="connsiteX3" fmla="*/ 5 w 34748"/>
                <a:gd name="connsiteY3" fmla="*/ 14680 h 37833"/>
                <a:gd name="connsiteX4" fmla="*/ 12861 w 34748"/>
                <a:gd name="connsiteY4" fmla="*/ 4215 h 37833"/>
                <a:gd name="connsiteX5" fmla="*/ 20488 w 34748"/>
                <a:gd name="connsiteY5" fmla="*/ 4433 h 37833"/>
                <a:gd name="connsiteX6" fmla="*/ 18745 w 34748"/>
                <a:gd name="connsiteY6" fmla="*/ 14898 h 37833"/>
                <a:gd name="connsiteX7" fmla="*/ 15040 w 34748"/>
                <a:gd name="connsiteY7" fmla="*/ 16424 h 37833"/>
                <a:gd name="connsiteX8" fmla="*/ 20052 w 34748"/>
                <a:gd name="connsiteY8" fmla="*/ 18386 h 37833"/>
                <a:gd name="connsiteX9" fmla="*/ 30294 w 34748"/>
                <a:gd name="connsiteY9" fmla="*/ 30594 h 37833"/>
                <a:gd name="connsiteX10" fmla="*/ 22667 w 34748"/>
                <a:gd name="connsiteY10" fmla="*/ 33428 h 37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48" h="37833">
                  <a:moveTo>
                    <a:pt x="22667" y="33428"/>
                  </a:moveTo>
                  <a:cubicBezTo>
                    <a:pt x="19180" y="26888"/>
                    <a:pt x="18527" y="26670"/>
                    <a:pt x="8503" y="27760"/>
                  </a:cubicBezTo>
                  <a:cubicBezTo>
                    <a:pt x="-867" y="28850"/>
                    <a:pt x="-2174" y="28632"/>
                    <a:pt x="-3264" y="24272"/>
                  </a:cubicBezTo>
                  <a:cubicBezTo>
                    <a:pt x="-5443" y="15552"/>
                    <a:pt x="-4789" y="13371"/>
                    <a:pt x="5" y="14680"/>
                  </a:cubicBezTo>
                  <a:cubicBezTo>
                    <a:pt x="5016" y="15988"/>
                    <a:pt x="12861" y="9665"/>
                    <a:pt x="12861" y="4215"/>
                  </a:cubicBezTo>
                  <a:cubicBezTo>
                    <a:pt x="12861" y="-145"/>
                    <a:pt x="16130" y="73"/>
                    <a:pt x="20488" y="4433"/>
                  </a:cubicBezTo>
                  <a:cubicBezTo>
                    <a:pt x="24846" y="8793"/>
                    <a:pt x="23756" y="15116"/>
                    <a:pt x="18745" y="14898"/>
                  </a:cubicBezTo>
                  <a:cubicBezTo>
                    <a:pt x="16783" y="14680"/>
                    <a:pt x="15040" y="15334"/>
                    <a:pt x="15040" y="16424"/>
                  </a:cubicBezTo>
                  <a:cubicBezTo>
                    <a:pt x="15040" y="17514"/>
                    <a:pt x="17219" y="18386"/>
                    <a:pt x="20052" y="18386"/>
                  </a:cubicBezTo>
                  <a:cubicBezTo>
                    <a:pt x="27025" y="18386"/>
                    <a:pt x="30294" y="22310"/>
                    <a:pt x="30294" y="30594"/>
                  </a:cubicBezTo>
                  <a:cubicBezTo>
                    <a:pt x="30294" y="40404"/>
                    <a:pt x="26807" y="41712"/>
                    <a:pt x="22667" y="33428"/>
                  </a:cubicBezTo>
                  <a:close/>
                </a:path>
              </a:pathLst>
            </a:custGeom>
            <a:grpFill/>
            <a:ln w="218" cap="flat">
              <a:noFill/>
              <a:prstDash val="solid"/>
              <a:miter/>
            </a:ln>
          </p:spPr>
          <p:txBody>
            <a:bodyPr rtlCol="0" anchor="ctr"/>
            <a:lstStyle/>
            <a:p>
              <a:endParaRPr lang="en-GB" dirty="0"/>
            </a:p>
          </p:txBody>
        </p:sp>
        <p:sp>
          <p:nvSpPr>
            <p:cNvPr id="270" name="Freihandform: Form 269">
              <a:extLst>
                <a:ext uri="{FF2B5EF4-FFF2-40B4-BE49-F238E27FC236}">
                  <a16:creationId xmlns:a16="http://schemas.microsoft.com/office/drawing/2014/main" xmlns="" id="{D1EA59AC-7A07-4E5C-925C-AB2D0D967087}"/>
                </a:ext>
              </a:extLst>
            </p:cNvPr>
            <p:cNvSpPr/>
            <p:nvPr/>
          </p:nvSpPr>
          <p:spPr>
            <a:xfrm flipV="1">
              <a:off x="4434662" y="5491493"/>
              <a:ext cx="4358" cy="4360"/>
            </a:xfrm>
            <a:custGeom>
              <a:avLst/>
              <a:gdLst>
                <a:gd name="connsiteX0" fmla="*/ -2394 w 4358"/>
                <a:gd name="connsiteY0" fmla="*/ 3152 h 4360"/>
                <a:gd name="connsiteX1" fmla="*/ -215 w 4358"/>
                <a:gd name="connsiteY1" fmla="*/ 972 h 4360"/>
                <a:gd name="connsiteX2" fmla="*/ 1964 w 4358"/>
                <a:gd name="connsiteY2" fmla="*/ 3152 h 4360"/>
                <a:gd name="connsiteX3" fmla="*/ -215 w 4358"/>
                <a:gd name="connsiteY3" fmla="*/ 5332 h 4360"/>
                <a:gd name="connsiteX4" fmla="*/ -2394 w 4358"/>
                <a:gd name="connsiteY4" fmla="*/ 3152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4360">
                  <a:moveTo>
                    <a:pt x="-2394" y="3152"/>
                  </a:moveTo>
                  <a:cubicBezTo>
                    <a:pt x="-2394" y="2062"/>
                    <a:pt x="-1304" y="972"/>
                    <a:pt x="-215" y="972"/>
                  </a:cubicBezTo>
                  <a:cubicBezTo>
                    <a:pt x="1093" y="972"/>
                    <a:pt x="1964" y="2062"/>
                    <a:pt x="1964" y="3152"/>
                  </a:cubicBezTo>
                  <a:cubicBezTo>
                    <a:pt x="1964" y="4460"/>
                    <a:pt x="1093" y="5332"/>
                    <a:pt x="-215" y="5332"/>
                  </a:cubicBezTo>
                  <a:cubicBezTo>
                    <a:pt x="-1304" y="5332"/>
                    <a:pt x="-2394" y="4460"/>
                    <a:pt x="-2394" y="3152"/>
                  </a:cubicBezTo>
                  <a:close/>
                </a:path>
              </a:pathLst>
            </a:custGeom>
            <a:grpFill/>
            <a:ln w="218" cap="flat">
              <a:noFill/>
              <a:prstDash val="solid"/>
              <a:miter/>
            </a:ln>
          </p:spPr>
          <p:txBody>
            <a:bodyPr rtlCol="0" anchor="ctr"/>
            <a:lstStyle/>
            <a:p>
              <a:endParaRPr lang="en-GB" dirty="0"/>
            </a:p>
          </p:txBody>
        </p:sp>
        <p:sp>
          <p:nvSpPr>
            <p:cNvPr id="271" name="Freihandform: Form 270">
              <a:extLst>
                <a:ext uri="{FF2B5EF4-FFF2-40B4-BE49-F238E27FC236}">
                  <a16:creationId xmlns:a16="http://schemas.microsoft.com/office/drawing/2014/main" xmlns="" id="{706D4514-342C-41A7-9067-687BE8949A00}"/>
                </a:ext>
              </a:extLst>
            </p:cNvPr>
            <p:cNvSpPr/>
            <p:nvPr/>
          </p:nvSpPr>
          <p:spPr>
            <a:xfrm flipV="1">
              <a:off x="4402943" y="5495991"/>
              <a:ext cx="11103" cy="9182"/>
            </a:xfrm>
            <a:custGeom>
              <a:avLst/>
              <a:gdLst>
                <a:gd name="connsiteX0" fmla="*/ 25 w 11103"/>
                <a:gd name="connsiteY0" fmla="*/ 6839 h 9182"/>
                <a:gd name="connsiteX1" fmla="*/ -629 w 11103"/>
                <a:gd name="connsiteY1" fmla="*/ 1388 h 9182"/>
                <a:gd name="connsiteX2" fmla="*/ 8523 w 11103"/>
                <a:gd name="connsiteY2" fmla="*/ 8365 h 9182"/>
                <a:gd name="connsiteX3" fmla="*/ 25 w 11103"/>
                <a:gd name="connsiteY3" fmla="*/ 6839 h 9182"/>
              </a:gdLst>
              <a:ahLst/>
              <a:cxnLst>
                <a:cxn ang="0">
                  <a:pos x="connsiteX0" y="connsiteY0"/>
                </a:cxn>
                <a:cxn ang="0">
                  <a:pos x="connsiteX1" y="connsiteY1"/>
                </a:cxn>
                <a:cxn ang="0">
                  <a:pos x="connsiteX2" y="connsiteY2"/>
                </a:cxn>
                <a:cxn ang="0">
                  <a:pos x="connsiteX3" y="connsiteY3"/>
                </a:cxn>
              </a:cxnLst>
              <a:rect l="l" t="t" r="r" b="b"/>
              <a:pathLst>
                <a:path w="11103" h="9182">
                  <a:moveTo>
                    <a:pt x="25" y="6839"/>
                  </a:moveTo>
                  <a:cubicBezTo>
                    <a:pt x="-2808" y="3786"/>
                    <a:pt x="-3026" y="2696"/>
                    <a:pt x="-629" y="1388"/>
                  </a:cubicBezTo>
                  <a:cubicBezTo>
                    <a:pt x="2422" y="-574"/>
                    <a:pt x="10484" y="5531"/>
                    <a:pt x="8523" y="8365"/>
                  </a:cubicBezTo>
                  <a:cubicBezTo>
                    <a:pt x="6780" y="11199"/>
                    <a:pt x="3947" y="10763"/>
                    <a:pt x="25" y="6839"/>
                  </a:cubicBezTo>
                  <a:close/>
                </a:path>
              </a:pathLst>
            </a:custGeom>
            <a:grpFill/>
            <a:ln w="218" cap="flat">
              <a:noFill/>
              <a:prstDash val="solid"/>
              <a:miter/>
            </a:ln>
          </p:spPr>
          <p:txBody>
            <a:bodyPr rtlCol="0" anchor="ctr"/>
            <a:lstStyle/>
            <a:p>
              <a:endParaRPr lang="en-GB" dirty="0"/>
            </a:p>
          </p:txBody>
        </p:sp>
        <p:sp>
          <p:nvSpPr>
            <p:cNvPr id="272" name="Freihandform: Form 271">
              <a:extLst>
                <a:ext uri="{FF2B5EF4-FFF2-40B4-BE49-F238E27FC236}">
                  <a16:creationId xmlns:a16="http://schemas.microsoft.com/office/drawing/2014/main" xmlns="" id="{C992DBA3-FCCF-448A-8158-BEC45FF252C3}"/>
                </a:ext>
              </a:extLst>
            </p:cNvPr>
            <p:cNvSpPr/>
            <p:nvPr/>
          </p:nvSpPr>
          <p:spPr>
            <a:xfrm flipV="1">
              <a:off x="4593087" y="5498157"/>
              <a:ext cx="10542" cy="12956"/>
            </a:xfrm>
            <a:custGeom>
              <a:avLst/>
              <a:gdLst>
                <a:gd name="connsiteX0" fmla="*/ -2196 w 10542"/>
                <a:gd name="connsiteY0" fmla="*/ 10184 h 12956"/>
                <a:gd name="connsiteX1" fmla="*/ 3252 w 10542"/>
                <a:gd name="connsiteY1" fmla="*/ 1027 h 12956"/>
                <a:gd name="connsiteX2" fmla="*/ 6084 w 10542"/>
                <a:gd name="connsiteY2" fmla="*/ 11056 h 12956"/>
                <a:gd name="connsiteX3" fmla="*/ -2196 w 10542"/>
                <a:gd name="connsiteY3" fmla="*/ 10184 h 12956"/>
              </a:gdLst>
              <a:ahLst/>
              <a:cxnLst>
                <a:cxn ang="0">
                  <a:pos x="connsiteX0" y="connsiteY0"/>
                </a:cxn>
                <a:cxn ang="0">
                  <a:pos x="connsiteX1" y="connsiteY1"/>
                </a:cxn>
                <a:cxn ang="0">
                  <a:pos x="connsiteX2" y="connsiteY2"/>
                </a:cxn>
                <a:cxn ang="0">
                  <a:pos x="connsiteX3" y="connsiteY3"/>
                </a:cxn>
              </a:cxnLst>
              <a:rect l="l" t="t" r="r" b="b"/>
              <a:pathLst>
                <a:path w="10542" h="12956">
                  <a:moveTo>
                    <a:pt x="-2196" y="10184"/>
                  </a:moveTo>
                  <a:cubicBezTo>
                    <a:pt x="-4593" y="5823"/>
                    <a:pt x="-1760" y="1027"/>
                    <a:pt x="3252" y="1027"/>
                  </a:cubicBezTo>
                  <a:cubicBezTo>
                    <a:pt x="7174" y="1027"/>
                    <a:pt x="8917" y="7568"/>
                    <a:pt x="6084" y="11056"/>
                  </a:cubicBezTo>
                  <a:cubicBezTo>
                    <a:pt x="2598" y="15198"/>
                    <a:pt x="419" y="14980"/>
                    <a:pt x="-2196" y="10184"/>
                  </a:cubicBezTo>
                  <a:close/>
                </a:path>
              </a:pathLst>
            </a:custGeom>
            <a:grpFill/>
            <a:ln w="218" cap="flat">
              <a:noFill/>
              <a:prstDash val="solid"/>
              <a:miter/>
            </a:ln>
          </p:spPr>
          <p:txBody>
            <a:bodyPr rtlCol="0" anchor="ctr"/>
            <a:lstStyle/>
            <a:p>
              <a:endParaRPr lang="en-GB" dirty="0"/>
            </a:p>
          </p:txBody>
        </p:sp>
        <p:sp>
          <p:nvSpPr>
            <p:cNvPr id="273" name="Freihandform: Form 272">
              <a:extLst>
                <a:ext uri="{FF2B5EF4-FFF2-40B4-BE49-F238E27FC236}">
                  <a16:creationId xmlns:a16="http://schemas.microsoft.com/office/drawing/2014/main" xmlns="" id="{086ED8D5-BC31-4329-84BC-852225307A54}"/>
                </a:ext>
              </a:extLst>
            </p:cNvPr>
            <p:cNvSpPr/>
            <p:nvPr/>
          </p:nvSpPr>
          <p:spPr>
            <a:xfrm flipV="1">
              <a:off x="4644472" y="5498267"/>
              <a:ext cx="38197" cy="34382"/>
            </a:xfrm>
            <a:custGeom>
              <a:avLst/>
              <a:gdLst>
                <a:gd name="connsiteX0" fmla="*/ 8907 w 38197"/>
                <a:gd name="connsiteY0" fmla="*/ 32211 h 34382"/>
                <a:gd name="connsiteX1" fmla="*/ 12611 w 38197"/>
                <a:gd name="connsiteY1" fmla="*/ 23708 h 34382"/>
                <a:gd name="connsiteX2" fmla="*/ 10432 w 38197"/>
                <a:gd name="connsiteY2" fmla="*/ 18040 h 34382"/>
                <a:gd name="connsiteX3" fmla="*/ 4767 w 38197"/>
                <a:gd name="connsiteY3" fmla="*/ 24798 h 34382"/>
                <a:gd name="connsiteX4" fmla="*/ -3078 w 38197"/>
                <a:gd name="connsiteY4" fmla="*/ 26106 h 34382"/>
                <a:gd name="connsiteX5" fmla="*/ -1553 w 38197"/>
                <a:gd name="connsiteY5" fmla="*/ 17822 h 34382"/>
                <a:gd name="connsiteX6" fmla="*/ 844 w 38197"/>
                <a:gd name="connsiteY6" fmla="*/ 6704 h 34382"/>
                <a:gd name="connsiteX7" fmla="*/ 4113 w 38197"/>
                <a:gd name="connsiteY7" fmla="*/ 1254 h 34382"/>
                <a:gd name="connsiteX8" fmla="*/ 7599 w 38197"/>
                <a:gd name="connsiteY8" fmla="*/ 6922 h 34382"/>
                <a:gd name="connsiteX9" fmla="*/ 10214 w 38197"/>
                <a:gd name="connsiteY9" fmla="*/ 11718 h 34382"/>
                <a:gd name="connsiteX10" fmla="*/ 13483 w 38197"/>
                <a:gd name="connsiteY10" fmla="*/ 9538 h 34382"/>
                <a:gd name="connsiteX11" fmla="*/ 24596 w 38197"/>
                <a:gd name="connsiteY11" fmla="*/ 7358 h 34382"/>
                <a:gd name="connsiteX12" fmla="*/ 34838 w 38197"/>
                <a:gd name="connsiteY12" fmla="*/ 9102 h 34382"/>
                <a:gd name="connsiteX13" fmla="*/ 30916 w 38197"/>
                <a:gd name="connsiteY13" fmla="*/ 18912 h 34382"/>
                <a:gd name="connsiteX14" fmla="*/ 25468 w 38197"/>
                <a:gd name="connsiteY14" fmla="*/ 26978 h 34382"/>
                <a:gd name="connsiteX15" fmla="*/ 18931 w 38197"/>
                <a:gd name="connsiteY15" fmla="*/ 31339 h 34382"/>
                <a:gd name="connsiteX16" fmla="*/ 8907 w 38197"/>
                <a:gd name="connsiteY16" fmla="*/ 32211 h 34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197" h="34382">
                  <a:moveTo>
                    <a:pt x="8907" y="32211"/>
                  </a:moveTo>
                  <a:cubicBezTo>
                    <a:pt x="6510" y="29377"/>
                    <a:pt x="7164" y="28068"/>
                    <a:pt x="12611" y="23708"/>
                  </a:cubicBezTo>
                  <a:cubicBezTo>
                    <a:pt x="20020" y="17822"/>
                    <a:pt x="18931" y="14988"/>
                    <a:pt x="10432" y="18040"/>
                  </a:cubicBezTo>
                  <a:cubicBezTo>
                    <a:pt x="6946" y="19566"/>
                    <a:pt x="4767" y="21964"/>
                    <a:pt x="4767" y="24798"/>
                  </a:cubicBezTo>
                  <a:cubicBezTo>
                    <a:pt x="4767" y="29813"/>
                    <a:pt x="-1335" y="30903"/>
                    <a:pt x="-3078" y="26106"/>
                  </a:cubicBezTo>
                  <a:cubicBezTo>
                    <a:pt x="-3732" y="24362"/>
                    <a:pt x="-3078" y="20656"/>
                    <a:pt x="-1553" y="17822"/>
                  </a:cubicBezTo>
                  <a:cubicBezTo>
                    <a:pt x="-27" y="14988"/>
                    <a:pt x="1062" y="9974"/>
                    <a:pt x="844" y="6704"/>
                  </a:cubicBezTo>
                  <a:cubicBezTo>
                    <a:pt x="409" y="1690"/>
                    <a:pt x="1062" y="600"/>
                    <a:pt x="4113" y="1254"/>
                  </a:cubicBezTo>
                  <a:cubicBezTo>
                    <a:pt x="6728" y="1908"/>
                    <a:pt x="7817" y="3870"/>
                    <a:pt x="7599" y="6922"/>
                  </a:cubicBezTo>
                  <a:cubicBezTo>
                    <a:pt x="7164" y="9974"/>
                    <a:pt x="8253" y="11718"/>
                    <a:pt x="10214" y="11718"/>
                  </a:cubicBezTo>
                  <a:cubicBezTo>
                    <a:pt x="11958" y="11718"/>
                    <a:pt x="13483" y="10846"/>
                    <a:pt x="13483" y="9538"/>
                  </a:cubicBezTo>
                  <a:cubicBezTo>
                    <a:pt x="13483" y="8448"/>
                    <a:pt x="18495" y="7358"/>
                    <a:pt x="24596" y="7358"/>
                  </a:cubicBezTo>
                  <a:cubicBezTo>
                    <a:pt x="30698" y="7358"/>
                    <a:pt x="35274" y="8012"/>
                    <a:pt x="34838" y="9102"/>
                  </a:cubicBezTo>
                  <a:cubicBezTo>
                    <a:pt x="34402" y="9974"/>
                    <a:pt x="32659" y="14334"/>
                    <a:pt x="30916" y="18912"/>
                  </a:cubicBezTo>
                  <a:cubicBezTo>
                    <a:pt x="29172" y="23272"/>
                    <a:pt x="26775" y="26978"/>
                    <a:pt x="25468" y="26978"/>
                  </a:cubicBezTo>
                  <a:cubicBezTo>
                    <a:pt x="23943" y="26978"/>
                    <a:pt x="21110" y="28941"/>
                    <a:pt x="18931" y="31339"/>
                  </a:cubicBezTo>
                  <a:cubicBezTo>
                    <a:pt x="14137" y="36571"/>
                    <a:pt x="12611" y="36789"/>
                    <a:pt x="8907" y="32211"/>
                  </a:cubicBezTo>
                  <a:close/>
                </a:path>
              </a:pathLst>
            </a:custGeom>
            <a:grpFill/>
            <a:ln w="218" cap="flat">
              <a:noFill/>
              <a:prstDash val="solid"/>
              <a:miter/>
            </a:ln>
          </p:spPr>
          <p:txBody>
            <a:bodyPr rtlCol="0" anchor="ctr"/>
            <a:lstStyle/>
            <a:p>
              <a:endParaRPr lang="en-GB" dirty="0"/>
            </a:p>
          </p:txBody>
        </p:sp>
        <p:sp>
          <p:nvSpPr>
            <p:cNvPr id="274" name="Freihandform: Form 273">
              <a:extLst>
                <a:ext uri="{FF2B5EF4-FFF2-40B4-BE49-F238E27FC236}">
                  <a16:creationId xmlns:a16="http://schemas.microsoft.com/office/drawing/2014/main" xmlns="" id="{02DC789F-1CA2-49A9-81E6-BBDF87AC4B15}"/>
                </a:ext>
              </a:extLst>
            </p:cNvPr>
            <p:cNvSpPr/>
            <p:nvPr/>
          </p:nvSpPr>
          <p:spPr>
            <a:xfrm flipV="1">
              <a:off x="4759846" y="5500266"/>
              <a:ext cx="36542" cy="37008"/>
            </a:xfrm>
            <a:custGeom>
              <a:avLst/>
              <a:gdLst>
                <a:gd name="connsiteX0" fmla="*/ 19664 w 36542"/>
                <a:gd name="connsiteY0" fmla="*/ 35108 h 37008"/>
                <a:gd name="connsiteX1" fmla="*/ 2668 w 36542"/>
                <a:gd name="connsiteY1" fmla="*/ 23117 h 37008"/>
                <a:gd name="connsiteX2" fmla="*/ -3652 w 36542"/>
                <a:gd name="connsiteY2" fmla="*/ 19193 h 37008"/>
                <a:gd name="connsiteX3" fmla="*/ -383 w 36542"/>
                <a:gd name="connsiteY3" fmla="*/ 17885 h 37008"/>
                <a:gd name="connsiteX4" fmla="*/ 7244 w 36542"/>
                <a:gd name="connsiteY4" fmla="*/ 15487 h 37008"/>
                <a:gd name="connsiteX5" fmla="*/ 14217 w 36542"/>
                <a:gd name="connsiteY5" fmla="*/ 11999 h 37008"/>
                <a:gd name="connsiteX6" fmla="*/ 19664 w 36542"/>
                <a:gd name="connsiteY6" fmla="*/ 6549 h 37008"/>
                <a:gd name="connsiteX7" fmla="*/ 27291 w 36542"/>
                <a:gd name="connsiteY7" fmla="*/ 1099 h 37008"/>
                <a:gd name="connsiteX8" fmla="*/ 32739 w 36542"/>
                <a:gd name="connsiteY8" fmla="*/ 3279 h 37008"/>
                <a:gd name="connsiteX9" fmla="*/ 22061 w 36542"/>
                <a:gd name="connsiteY9" fmla="*/ 22463 h 37008"/>
                <a:gd name="connsiteX10" fmla="*/ 22715 w 36542"/>
                <a:gd name="connsiteY10" fmla="*/ 28350 h 37008"/>
                <a:gd name="connsiteX11" fmla="*/ 25548 w 36542"/>
                <a:gd name="connsiteY11" fmla="*/ 34890 h 37008"/>
                <a:gd name="connsiteX12" fmla="*/ 19664 w 36542"/>
                <a:gd name="connsiteY12" fmla="*/ 35108 h 37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542" h="37008">
                  <a:moveTo>
                    <a:pt x="19664" y="35108"/>
                  </a:moveTo>
                  <a:cubicBezTo>
                    <a:pt x="19664" y="31620"/>
                    <a:pt x="10512" y="25079"/>
                    <a:pt x="2668" y="23117"/>
                  </a:cubicBezTo>
                  <a:cubicBezTo>
                    <a:pt x="-383" y="22245"/>
                    <a:pt x="-3216" y="20501"/>
                    <a:pt x="-3652" y="19193"/>
                  </a:cubicBezTo>
                  <a:cubicBezTo>
                    <a:pt x="-4305" y="17667"/>
                    <a:pt x="-2780" y="17231"/>
                    <a:pt x="-383" y="17885"/>
                  </a:cubicBezTo>
                  <a:cubicBezTo>
                    <a:pt x="1796" y="18321"/>
                    <a:pt x="5282" y="17231"/>
                    <a:pt x="7244" y="15487"/>
                  </a:cubicBezTo>
                  <a:cubicBezTo>
                    <a:pt x="8987" y="13525"/>
                    <a:pt x="12256" y="11999"/>
                    <a:pt x="14217" y="11999"/>
                  </a:cubicBezTo>
                  <a:cubicBezTo>
                    <a:pt x="15960" y="11999"/>
                    <a:pt x="18575" y="9601"/>
                    <a:pt x="19664" y="6549"/>
                  </a:cubicBezTo>
                  <a:cubicBezTo>
                    <a:pt x="21190" y="2625"/>
                    <a:pt x="23369" y="1099"/>
                    <a:pt x="27291" y="1099"/>
                  </a:cubicBezTo>
                  <a:cubicBezTo>
                    <a:pt x="30342" y="1099"/>
                    <a:pt x="32739" y="2189"/>
                    <a:pt x="32739" y="3279"/>
                  </a:cubicBezTo>
                  <a:cubicBezTo>
                    <a:pt x="32739" y="7203"/>
                    <a:pt x="25766" y="19411"/>
                    <a:pt x="22061" y="22463"/>
                  </a:cubicBezTo>
                  <a:cubicBezTo>
                    <a:pt x="18793" y="24861"/>
                    <a:pt x="19011" y="25297"/>
                    <a:pt x="22715" y="28350"/>
                  </a:cubicBezTo>
                  <a:cubicBezTo>
                    <a:pt x="25112" y="30094"/>
                    <a:pt x="26202" y="32928"/>
                    <a:pt x="25548" y="34890"/>
                  </a:cubicBezTo>
                  <a:cubicBezTo>
                    <a:pt x="23805" y="39032"/>
                    <a:pt x="19664" y="39250"/>
                    <a:pt x="19664" y="35108"/>
                  </a:cubicBezTo>
                  <a:close/>
                </a:path>
              </a:pathLst>
            </a:custGeom>
            <a:grpFill/>
            <a:ln w="218" cap="flat">
              <a:noFill/>
              <a:prstDash val="solid"/>
              <a:miter/>
            </a:ln>
          </p:spPr>
          <p:txBody>
            <a:bodyPr rtlCol="0" anchor="ctr"/>
            <a:lstStyle/>
            <a:p>
              <a:endParaRPr lang="en-GB" dirty="0"/>
            </a:p>
          </p:txBody>
        </p:sp>
        <p:sp>
          <p:nvSpPr>
            <p:cNvPr id="275" name="Freihandform: Form 274">
              <a:extLst>
                <a:ext uri="{FF2B5EF4-FFF2-40B4-BE49-F238E27FC236}">
                  <a16:creationId xmlns:a16="http://schemas.microsoft.com/office/drawing/2014/main" xmlns="" id="{A89E47DE-2CAE-4A46-878B-1FE5A1EC96F4}"/>
                </a:ext>
              </a:extLst>
            </p:cNvPr>
            <p:cNvSpPr/>
            <p:nvPr/>
          </p:nvSpPr>
          <p:spPr>
            <a:xfrm flipV="1">
              <a:off x="4846529" y="5500035"/>
              <a:ext cx="10873" cy="12605"/>
            </a:xfrm>
            <a:custGeom>
              <a:avLst/>
              <a:gdLst>
                <a:gd name="connsiteX0" fmla="*/ -2605 w 10873"/>
                <a:gd name="connsiteY0" fmla="*/ 11937 h 12605"/>
                <a:gd name="connsiteX1" fmla="*/ -1951 w 10873"/>
                <a:gd name="connsiteY1" fmla="*/ 1472 h 12605"/>
                <a:gd name="connsiteX2" fmla="*/ 6765 w 10873"/>
                <a:gd name="connsiteY2" fmla="*/ 9321 h 12605"/>
                <a:gd name="connsiteX3" fmla="*/ -2605 w 10873"/>
                <a:gd name="connsiteY3" fmla="*/ 11937 h 12605"/>
              </a:gdLst>
              <a:ahLst/>
              <a:cxnLst>
                <a:cxn ang="0">
                  <a:pos x="connsiteX0" y="connsiteY0"/>
                </a:cxn>
                <a:cxn ang="0">
                  <a:pos x="connsiteX1" y="connsiteY1"/>
                </a:cxn>
                <a:cxn ang="0">
                  <a:pos x="connsiteX2" y="connsiteY2"/>
                </a:cxn>
                <a:cxn ang="0">
                  <a:pos x="connsiteX3" y="connsiteY3"/>
                </a:cxn>
              </a:cxnLst>
              <a:rect l="l" t="t" r="r" b="b"/>
              <a:pathLst>
                <a:path w="10873" h="12605">
                  <a:moveTo>
                    <a:pt x="-2605" y="11937"/>
                  </a:moveTo>
                  <a:cubicBezTo>
                    <a:pt x="-5002" y="9757"/>
                    <a:pt x="-4348" y="2998"/>
                    <a:pt x="-1951" y="1472"/>
                  </a:cubicBezTo>
                  <a:cubicBezTo>
                    <a:pt x="1318" y="-490"/>
                    <a:pt x="6765" y="4524"/>
                    <a:pt x="6765" y="9321"/>
                  </a:cubicBezTo>
                  <a:cubicBezTo>
                    <a:pt x="6765" y="13463"/>
                    <a:pt x="446" y="15207"/>
                    <a:pt x="-2605" y="11937"/>
                  </a:cubicBezTo>
                  <a:close/>
                </a:path>
              </a:pathLst>
            </a:custGeom>
            <a:grpFill/>
            <a:ln w="218" cap="flat">
              <a:noFill/>
              <a:prstDash val="solid"/>
              <a:miter/>
            </a:ln>
          </p:spPr>
          <p:txBody>
            <a:bodyPr rtlCol="0" anchor="ctr"/>
            <a:lstStyle/>
            <a:p>
              <a:endParaRPr lang="en-GB" dirty="0"/>
            </a:p>
          </p:txBody>
        </p:sp>
        <p:sp>
          <p:nvSpPr>
            <p:cNvPr id="276" name="Freihandform: Form 275">
              <a:extLst>
                <a:ext uri="{FF2B5EF4-FFF2-40B4-BE49-F238E27FC236}">
                  <a16:creationId xmlns:a16="http://schemas.microsoft.com/office/drawing/2014/main" xmlns="" id="{2FE8B78F-A5F4-4922-BC3E-F43CFE68B0BE}"/>
                </a:ext>
              </a:extLst>
            </p:cNvPr>
            <p:cNvSpPr/>
            <p:nvPr/>
          </p:nvSpPr>
          <p:spPr>
            <a:xfrm flipV="1">
              <a:off x="4957640" y="5502394"/>
              <a:ext cx="4358" cy="6540"/>
            </a:xfrm>
            <a:custGeom>
              <a:avLst/>
              <a:gdLst>
                <a:gd name="connsiteX0" fmla="*/ -4554 w 4358"/>
                <a:gd name="connsiteY0" fmla="*/ 4303 h 6540"/>
                <a:gd name="connsiteX1" fmla="*/ -2375 w 4358"/>
                <a:gd name="connsiteY1" fmla="*/ 1033 h 6540"/>
                <a:gd name="connsiteX2" fmla="*/ -196 w 4358"/>
                <a:gd name="connsiteY2" fmla="*/ 4303 h 6540"/>
                <a:gd name="connsiteX3" fmla="*/ -2375 w 4358"/>
                <a:gd name="connsiteY3" fmla="*/ 7573 h 6540"/>
                <a:gd name="connsiteX4" fmla="*/ -4554 w 4358"/>
                <a:gd name="connsiteY4" fmla="*/ 4303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6540">
                  <a:moveTo>
                    <a:pt x="-4554" y="4303"/>
                  </a:moveTo>
                  <a:cubicBezTo>
                    <a:pt x="-4554" y="2559"/>
                    <a:pt x="-3464" y="1033"/>
                    <a:pt x="-2375" y="1033"/>
                  </a:cubicBezTo>
                  <a:cubicBezTo>
                    <a:pt x="-1067" y="1033"/>
                    <a:pt x="-196" y="2559"/>
                    <a:pt x="-196" y="4303"/>
                  </a:cubicBezTo>
                  <a:cubicBezTo>
                    <a:pt x="-196" y="6047"/>
                    <a:pt x="-1067" y="7573"/>
                    <a:pt x="-2375" y="7573"/>
                  </a:cubicBezTo>
                  <a:cubicBezTo>
                    <a:pt x="-3464" y="7573"/>
                    <a:pt x="-4554" y="6047"/>
                    <a:pt x="-4554" y="4303"/>
                  </a:cubicBezTo>
                  <a:close/>
                </a:path>
              </a:pathLst>
            </a:custGeom>
            <a:grpFill/>
            <a:ln w="218" cap="flat">
              <a:noFill/>
              <a:prstDash val="solid"/>
              <a:miter/>
            </a:ln>
          </p:spPr>
          <p:txBody>
            <a:bodyPr rtlCol="0" anchor="ctr"/>
            <a:lstStyle/>
            <a:p>
              <a:endParaRPr lang="en-GB" dirty="0"/>
            </a:p>
          </p:txBody>
        </p:sp>
        <p:sp>
          <p:nvSpPr>
            <p:cNvPr id="277" name="Freihandform: Form 276">
              <a:extLst>
                <a:ext uri="{FF2B5EF4-FFF2-40B4-BE49-F238E27FC236}">
                  <a16:creationId xmlns:a16="http://schemas.microsoft.com/office/drawing/2014/main" xmlns="" id="{DB4CEE40-5116-4354-BBA2-27D1D336C00C}"/>
                </a:ext>
              </a:extLst>
            </p:cNvPr>
            <p:cNvSpPr/>
            <p:nvPr/>
          </p:nvSpPr>
          <p:spPr>
            <a:xfrm flipV="1">
              <a:off x="4622518" y="5504574"/>
              <a:ext cx="16732" cy="34690"/>
            </a:xfrm>
            <a:custGeom>
              <a:avLst/>
              <a:gdLst>
                <a:gd name="connsiteX0" fmla="*/ 707 w 16732"/>
                <a:gd name="connsiteY0" fmla="*/ 26213 h 34690"/>
                <a:gd name="connsiteX1" fmla="*/ -818 w 16732"/>
                <a:gd name="connsiteY1" fmla="*/ 12915 h 34690"/>
                <a:gd name="connsiteX2" fmla="*/ 2886 w 16732"/>
                <a:gd name="connsiteY2" fmla="*/ 5066 h 34690"/>
                <a:gd name="connsiteX3" fmla="*/ 10295 w 16732"/>
                <a:gd name="connsiteY3" fmla="*/ 4848 h 34690"/>
                <a:gd name="connsiteX4" fmla="*/ 9423 w 16732"/>
                <a:gd name="connsiteY4" fmla="*/ 12915 h 34690"/>
                <a:gd name="connsiteX5" fmla="*/ 5065 w 16732"/>
                <a:gd name="connsiteY5" fmla="*/ 16839 h 34690"/>
                <a:gd name="connsiteX6" fmla="*/ 9423 w 16732"/>
                <a:gd name="connsiteY6" fmla="*/ 24251 h 34690"/>
                <a:gd name="connsiteX7" fmla="*/ 9641 w 16732"/>
                <a:gd name="connsiteY7" fmla="*/ 35805 h 34690"/>
                <a:gd name="connsiteX8" fmla="*/ 707 w 16732"/>
                <a:gd name="connsiteY8" fmla="*/ 26213 h 3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732" h="34690">
                  <a:moveTo>
                    <a:pt x="707" y="26213"/>
                  </a:moveTo>
                  <a:cubicBezTo>
                    <a:pt x="-4087" y="17275"/>
                    <a:pt x="-4305" y="16403"/>
                    <a:pt x="-818" y="12915"/>
                  </a:cubicBezTo>
                  <a:cubicBezTo>
                    <a:pt x="1143" y="10953"/>
                    <a:pt x="2886" y="7464"/>
                    <a:pt x="2886" y="5066"/>
                  </a:cubicBezTo>
                  <a:cubicBezTo>
                    <a:pt x="2886" y="-166"/>
                    <a:pt x="5501" y="-166"/>
                    <a:pt x="10295" y="4848"/>
                  </a:cubicBezTo>
                  <a:cubicBezTo>
                    <a:pt x="13563" y="8772"/>
                    <a:pt x="13563" y="9208"/>
                    <a:pt x="9423" y="12915"/>
                  </a:cubicBezTo>
                  <a:lnTo>
                    <a:pt x="5065" y="16839"/>
                  </a:lnTo>
                  <a:lnTo>
                    <a:pt x="9423" y="24251"/>
                  </a:lnTo>
                  <a:cubicBezTo>
                    <a:pt x="14871" y="33407"/>
                    <a:pt x="14871" y="35805"/>
                    <a:pt x="9641" y="35805"/>
                  </a:cubicBezTo>
                  <a:cubicBezTo>
                    <a:pt x="7244" y="35805"/>
                    <a:pt x="3758" y="32317"/>
                    <a:pt x="707" y="26213"/>
                  </a:cubicBezTo>
                  <a:close/>
                </a:path>
              </a:pathLst>
            </a:custGeom>
            <a:grpFill/>
            <a:ln w="218" cap="flat">
              <a:noFill/>
              <a:prstDash val="solid"/>
              <a:miter/>
            </a:ln>
          </p:spPr>
          <p:txBody>
            <a:bodyPr rtlCol="0" anchor="ctr"/>
            <a:lstStyle/>
            <a:p>
              <a:endParaRPr lang="en-GB" dirty="0"/>
            </a:p>
          </p:txBody>
        </p:sp>
        <p:sp>
          <p:nvSpPr>
            <p:cNvPr id="278" name="Freihandform: Form 277">
              <a:extLst>
                <a:ext uri="{FF2B5EF4-FFF2-40B4-BE49-F238E27FC236}">
                  <a16:creationId xmlns:a16="http://schemas.microsoft.com/office/drawing/2014/main" xmlns="" id="{9CA49869-A5B7-4B34-BF54-BB52878A8BE9}"/>
                </a:ext>
              </a:extLst>
            </p:cNvPr>
            <p:cNvSpPr/>
            <p:nvPr/>
          </p:nvSpPr>
          <p:spPr>
            <a:xfrm flipV="1">
              <a:off x="4583506" y="5509160"/>
              <a:ext cx="32328" cy="23703"/>
            </a:xfrm>
            <a:custGeom>
              <a:avLst/>
              <a:gdLst>
                <a:gd name="connsiteX0" fmla="*/ -2426 w 32328"/>
                <a:gd name="connsiteY0" fmla="*/ 14794 h 23703"/>
                <a:gd name="connsiteX1" fmla="*/ -29 w 32328"/>
                <a:gd name="connsiteY1" fmla="*/ 2803 h 23703"/>
                <a:gd name="connsiteX2" fmla="*/ 9341 w 32328"/>
                <a:gd name="connsiteY2" fmla="*/ 3021 h 23703"/>
                <a:gd name="connsiteX3" fmla="*/ 19801 w 32328"/>
                <a:gd name="connsiteY3" fmla="*/ 6945 h 23703"/>
                <a:gd name="connsiteX4" fmla="*/ 29171 w 32328"/>
                <a:gd name="connsiteY4" fmla="*/ 12178 h 23703"/>
                <a:gd name="connsiteX5" fmla="*/ 27863 w 32328"/>
                <a:gd name="connsiteY5" fmla="*/ 18500 h 23703"/>
                <a:gd name="connsiteX6" fmla="*/ 24377 w 32328"/>
                <a:gd name="connsiteY6" fmla="*/ 20898 h 23703"/>
                <a:gd name="connsiteX7" fmla="*/ 3676 w 32328"/>
                <a:gd name="connsiteY7" fmla="*/ 20898 h 23703"/>
                <a:gd name="connsiteX8" fmla="*/ -2426 w 32328"/>
                <a:gd name="connsiteY8" fmla="*/ 14794 h 23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28" h="23703">
                  <a:moveTo>
                    <a:pt x="-2426" y="14794"/>
                  </a:moveTo>
                  <a:cubicBezTo>
                    <a:pt x="-1772" y="8907"/>
                    <a:pt x="-683" y="3675"/>
                    <a:pt x="-29" y="2803"/>
                  </a:cubicBezTo>
                  <a:cubicBezTo>
                    <a:pt x="1279" y="405"/>
                    <a:pt x="9341" y="623"/>
                    <a:pt x="9341" y="3021"/>
                  </a:cubicBezTo>
                  <a:cubicBezTo>
                    <a:pt x="9341" y="4111"/>
                    <a:pt x="13917" y="5855"/>
                    <a:pt x="19801" y="6945"/>
                  </a:cubicBezTo>
                  <a:cubicBezTo>
                    <a:pt x="26992" y="8253"/>
                    <a:pt x="29824" y="9779"/>
                    <a:pt x="29171" y="12178"/>
                  </a:cubicBezTo>
                  <a:cubicBezTo>
                    <a:pt x="28735" y="13704"/>
                    <a:pt x="28299" y="16756"/>
                    <a:pt x="27863" y="18500"/>
                  </a:cubicBezTo>
                  <a:cubicBezTo>
                    <a:pt x="27645" y="20244"/>
                    <a:pt x="25902" y="21334"/>
                    <a:pt x="24377" y="20898"/>
                  </a:cubicBezTo>
                  <a:cubicBezTo>
                    <a:pt x="9559" y="16974"/>
                    <a:pt x="7380" y="16974"/>
                    <a:pt x="3676" y="20898"/>
                  </a:cubicBezTo>
                  <a:cubicBezTo>
                    <a:pt x="-2426" y="27656"/>
                    <a:pt x="-4169" y="25694"/>
                    <a:pt x="-2426" y="14794"/>
                  </a:cubicBezTo>
                  <a:close/>
                </a:path>
              </a:pathLst>
            </a:custGeom>
            <a:grpFill/>
            <a:ln w="218" cap="flat">
              <a:noFill/>
              <a:prstDash val="solid"/>
              <a:miter/>
            </a:ln>
          </p:spPr>
          <p:txBody>
            <a:bodyPr rtlCol="0" anchor="ctr"/>
            <a:lstStyle/>
            <a:p>
              <a:endParaRPr lang="en-GB" dirty="0"/>
            </a:p>
          </p:txBody>
        </p:sp>
        <p:sp>
          <p:nvSpPr>
            <p:cNvPr id="279" name="Freihandform: Form 278">
              <a:extLst>
                <a:ext uri="{FF2B5EF4-FFF2-40B4-BE49-F238E27FC236}">
                  <a16:creationId xmlns:a16="http://schemas.microsoft.com/office/drawing/2014/main" xmlns="" id="{7DA5E02F-704D-4B49-9BCC-7C3F3B5E9431}"/>
                </a:ext>
              </a:extLst>
            </p:cNvPr>
            <p:cNvSpPr/>
            <p:nvPr/>
          </p:nvSpPr>
          <p:spPr>
            <a:xfrm flipV="1">
              <a:off x="4163060" y="5511114"/>
              <a:ext cx="3575" cy="4360"/>
            </a:xfrm>
            <a:custGeom>
              <a:avLst/>
              <a:gdLst>
                <a:gd name="connsiteX0" fmla="*/ -963 w 3575"/>
                <a:gd name="connsiteY0" fmla="*/ 3251 h 4360"/>
                <a:gd name="connsiteX1" fmla="*/ 1434 w 3575"/>
                <a:gd name="connsiteY1" fmla="*/ 1071 h 4360"/>
                <a:gd name="connsiteX2" fmla="*/ 2305 w 3575"/>
                <a:gd name="connsiteY2" fmla="*/ 3251 h 4360"/>
                <a:gd name="connsiteX3" fmla="*/ -92 w 3575"/>
                <a:gd name="connsiteY3" fmla="*/ 5431 h 4360"/>
                <a:gd name="connsiteX4" fmla="*/ -963 w 3575"/>
                <a:gd name="connsiteY4" fmla="*/ 3251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963" y="3251"/>
                  </a:moveTo>
                  <a:cubicBezTo>
                    <a:pt x="-310" y="2161"/>
                    <a:pt x="780" y="1071"/>
                    <a:pt x="1434" y="1071"/>
                  </a:cubicBezTo>
                  <a:cubicBezTo>
                    <a:pt x="1869" y="1071"/>
                    <a:pt x="2305" y="2161"/>
                    <a:pt x="2305" y="3251"/>
                  </a:cubicBezTo>
                  <a:cubicBezTo>
                    <a:pt x="2305" y="4559"/>
                    <a:pt x="1216" y="5431"/>
                    <a:pt x="-92" y="5431"/>
                  </a:cubicBezTo>
                  <a:cubicBezTo>
                    <a:pt x="-1181" y="5431"/>
                    <a:pt x="-1617" y="4559"/>
                    <a:pt x="-963" y="3251"/>
                  </a:cubicBezTo>
                  <a:close/>
                </a:path>
              </a:pathLst>
            </a:custGeom>
            <a:grpFill/>
            <a:ln w="218" cap="flat">
              <a:noFill/>
              <a:prstDash val="solid"/>
              <a:miter/>
            </a:ln>
          </p:spPr>
          <p:txBody>
            <a:bodyPr rtlCol="0" anchor="ctr"/>
            <a:lstStyle/>
            <a:p>
              <a:endParaRPr lang="en-GB" dirty="0"/>
            </a:p>
          </p:txBody>
        </p:sp>
        <p:sp>
          <p:nvSpPr>
            <p:cNvPr id="280" name="Freihandform: Form 279">
              <a:extLst>
                <a:ext uri="{FF2B5EF4-FFF2-40B4-BE49-F238E27FC236}">
                  <a16:creationId xmlns:a16="http://schemas.microsoft.com/office/drawing/2014/main" xmlns="" id="{FEF638BB-FD49-4FC2-962C-D21FFD42EB25}"/>
                </a:ext>
              </a:extLst>
            </p:cNvPr>
            <p:cNvSpPr/>
            <p:nvPr/>
          </p:nvSpPr>
          <p:spPr>
            <a:xfrm flipV="1">
              <a:off x="4519897" y="5514548"/>
              <a:ext cx="45374" cy="18232"/>
            </a:xfrm>
            <a:custGeom>
              <a:avLst/>
              <a:gdLst>
                <a:gd name="connsiteX0" fmla="*/ -684 w 45374"/>
                <a:gd name="connsiteY0" fmla="*/ 16903 h 18232"/>
                <a:gd name="connsiteX1" fmla="*/ 623 w 45374"/>
                <a:gd name="connsiteY1" fmla="*/ 9491 h 18232"/>
                <a:gd name="connsiteX2" fmla="*/ 8686 w 45374"/>
                <a:gd name="connsiteY2" fmla="*/ 7310 h 18232"/>
                <a:gd name="connsiteX3" fmla="*/ 14351 w 45374"/>
                <a:gd name="connsiteY3" fmla="*/ 5566 h 18232"/>
                <a:gd name="connsiteX4" fmla="*/ 27426 w 45374"/>
                <a:gd name="connsiteY4" fmla="*/ 4258 h 18232"/>
                <a:gd name="connsiteX5" fmla="*/ 33091 w 45374"/>
                <a:gd name="connsiteY5" fmla="*/ 6656 h 18232"/>
                <a:gd name="connsiteX6" fmla="*/ 39628 w 45374"/>
                <a:gd name="connsiteY6" fmla="*/ 9927 h 18232"/>
                <a:gd name="connsiteX7" fmla="*/ 39411 w 45374"/>
                <a:gd name="connsiteY7" fmla="*/ 16903 h 18232"/>
                <a:gd name="connsiteX8" fmla="*/ -684 w 45374"/>
                <a:gd name="connsiteY8" fmla="*/ 16903 h 18232"/>
                <a:gd name="connsiteX9" fmla="*/ 23068 w 45374"/>
                <a:gd name="connsiteY9" fmla="*/ 5348 h 18232"/>
                <a:gd name="connsiteX10" fmla="*/ 20888 w 45374"/>
                <a:gd name="connsiteY10" fmla="*/ 3168 h 18232"/>
                <a:gd name="connsiteX11" fmla="*/ 18709 w 45374"/>
                <a:gd name="connsiteY11" fmla="*/ 5348 h 18232"/>
                <a:gd name="connsiteX12" fmla="*/ 20888 w 45374"/>
                <a:gd name="connsiteY12" fmla="*/ 7528 h 18232"/>
                <a:gd name="connsiteX13" fmla="*/ 23068 w 45374"/>
                <a:gd name="connsiteY13" fmla="*/ 5348 h 1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374" h="18232">
                  <a:moveTo>
                    <a:pt x="-684" y="16903"/>
                  </a:moveTo>
                  <a:cubicBezTo>
                    <a:pt x="-3735" y="14505"/>
                    <a:pt x="-3735" y="13851"/>
                    <a:pt x="623" y="9491"/>
                  </a:cubicBezTo>
                  <a:cubicBezTo>
                    <a:pt x="4545" y="5566"/>
                    <a:pt x="6071" y="5130"/>
                    <a:pt x="8686" y="7310"/>
                  </a:cubicBezTo>
                  <a:cubicBezTo>
                    <a:pt x="11301" y="9491"/>
                    <a:pt x="12390" y="9273"/>
                    <a:pt x="14351" y="5566"/>
                  </a:cubicBezTo>
                  <a:cubicBezTo>
                    <a:pt x="17184" y="116"/>
                    <a:pt x="23503" y="-320"/>
                    <a:pt x="27426" y="4258"/>
                  </a:cubicBezTo>
                  <a:cubicBezTo>
                    <a:pt x="28951" y="6220"/>
                    <a:pt x="31566" y="7310"/>
                    <a:pt x="33091" y="6656"/>
                  </a:cubicBezTo>
                  <a:cubicBezTo>
                    <a:pt x="34617" y="6220"/>
                    <a:pt x="37449" y="7528"/>
                    <a:pt x="39628" y="9927"/>
                  </a:cubicBezTo>
                  <a:cubicBezTo>
                    <a:pt x="43551" y="14287"/>
                    <a:pt x="43551" y="14505"/>
                    <a:pt x="39411" y="16903"/>
                  </a:cubicBezTo>
                  <a:cubicBezTo>
                    <a:pt x="33527" y="20173"/>
                    <a:pt x="3674" y="20173"/>
                    <a:pt x="-684" y="16903"/>
                  </a:cubicBezTo>
                  <a:close/>
                  <a:moveTo>
                    <a:pt x="23068" y="5348"/>
                  </a:moveTo>
                  <a:cubicBezTo>
                    <a:pt x="23068" y="4258"/>
                    <a:pt x="22196" y="3168"/>
                    <a:pt x="20888" y="3168"/>
                  </a:cubicBezTo>
                  <a:cubicBezTo>
                    <a:pt x="19799" y="3168"/>
                    <a:pt x="18709" y="4258"/>
                    <a:pt x="18709" y="5348"/>
                  </a:cubicBezTo>
                  <a:cubicBezTo>
                    <a:pt x="18709" y="6656"/>
                    <a:pt x="19799" y="7528"/>
                    <a:pt x="20888" y="7528"/>
                  </a:cubicBezTo>
                  <a:cubicBezTo>
                    <a:pt x="22196" y="7528"/>
                    <a:pt x="23068" y="6656"/>
                    <a:pt x="23068" y="5348"/>
                  </a:cubicBezTo>
                  <a:close/>
                </a:path>
              </a:pathLst>
            </a:custGeom>
            <a:grpFill/>
            <a:ln w="218" cap="flat">
              <a:noFill/>
              <a:prstDash val="solid"/>
              <a:miter/>
            </a:ln>
          </p:spPr>
          <p:txBody>
            <a:bodyPr rtlCol="0" anchor="ctr"/>
            <a:lstStyle/>
            <a:p>
              <a:endParaRPr lang="en-GB" dirty="0"/>
            </a:p>
          </p:txBody>
        </p:sp>
        <p:sp>
          <p:nvSpPr>
            <p:cNvPr id="281" name="Freihandform: Form 280">
              <a:extLst>
                <a:ext uri="{FF2B5EF4-FFF2-40B4-BE49-F238E27FC236}">
                  <a16:creationId xmlns:a16="http://schemas.microsoft.com/office/drawing/2014/main" xmlns="" id="{147DD31D-249B-46CC-93E6-DFAEC7C94EA1}"/>
                </a:ext>
              </a:extLst>
            </p:cNvPr>
            <p:cNvSpPr/>
            <p:nvPr/>
          </p:nvSpPr>
          <p:spPr>
            <a:xfrm flipV="1">
              <a:off x="4568368" y="5515474"/>
              <a:ext cx="3575" cy="4360"/>
            </a:xfrm>
            <a:custGeom>
              <a:avLst/>
              <a:gdLst>
                <a:gd name="connsiteX0" fmla="*/ -2637 w 3575"/>
                <a:gd name="connsiteY0" fmla="*/ 3273 h 4360"/>
                <a:gd name="connsiteX1" fmla="*/ -240 w 3575"/>
                <a:gd name="connsiteY1" fmla="*/ 1093 h 4360"/>
                <a:gd name="connsiteX2" fmla="*/ 631 w 3575"/>
                <a:gd name="connsiteY2" fmla="*/ 3273 h 4360"/>
                <a:gd name="connsiteX3" fmla="*/ -1766 w 3575"/>
                <a:gd name="connsiteY3" fmla="*/ 5453 h 4360"/>
                <a:gd name="connsiteX4" fmla="*/ -2637 w 3575"/>
                <a:gd name="connsiteY4" fmla="*/ 3273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5" h="4360">
                  <a:moveTo>
                    <a:pt x="-2637" y="3273"/>
                  </a:moveTo>
                  <a:cubicBezTo>
                    <a:pt x="-1984" y="2183"/>
                    <a:pt x="-894" y="1093"/>
                    <a:pt x="-240" y="1093"/>
                  </a:cubicBezTo>
                  <a:cubicBezTo>
                    <a:pt x="195" y="1093"/>
                    <a:pt x="631" y="2183"/>
                    <a:pt x="631" y="3273"/>
                  </a:cubicBezTo>
                  <a:cubicBezTo>
                    <a:pt x="631" y="4581"/>
                    <a:pt x="-458" y="5453"/>
                    <a:pt x="-1766" y="5453"/>
                  </a:cubicBezTo>
                  <a:cubicBezTo>
                    <a:pt x="-2855" y="5453"/>
                    <a:pt x="-3291" y="4581"/>
                    <a:pt x="-2637" y="3273"/>
                  </a:cubicBezTo>
                  <a:close/>
                </a:path>
              </a:pathLst>
            </a:custGeom>
            <a:grpFill/>
            <a:ln w="218" cap="flat">
              <a:noFill/>
              <a:prstDash val="solid"/>
              <a:miter/>
            </a:ln>
          </p:spPr>
          <p:txBody>
            <a:bodyPr rtlCol="0" anchor="ctr"/>
            <a:lstStyle/>
            <a:p>
              <a:endParaRPr lang="en-GB" dirty="0"/>
            </a:p>
          </p:txBody>
        </p:sp>
        <p:sp>
          <p:nvSpPr>
            <p:cNvPr id="282" name="Freihandform: Form 281">
              <a:extLst>
                <a:ext uri="{FF2B5EF4-FFF2-40B4-BE49-F238E27FC236}">
                  <a16:creationId xmlns:a16="http://schemas.microsoft.com/office/drawing/2014/main" xmlns="" id="{65D17D34-56A6-4D70-87C2-9F65B9D0995D}"/>
                </a:ext>
              </a:extLst>
            </p:cNvPr>
            <p:cNvSpPr/>
            <p:nvPr/>
          </p:nvSpPr>
          <p:spPr>
            <a:xfrm flipV="1">
              <a:off x="4267175" y="5519834"/>
              <a:ext cx="10005" cy="13122"/>
            </a:xfrm>
            <a:custGeom>
              <a:avLst/>
              <a:gdLst>
                <a:gd name="connsiteX0" fmla="*/ -1579 w 10005"/>
                <a:gd name="connsiteY0" fmla="*/ 9681 h 13122"/>
                <a:gd name="connsiteX1" fmla="*/ 8008 w 10005"/>
                <a:gd name="connsiteY1" fmla="*/ 1833 h 13122"/>
                <a:gd name="connsiteX2" fmla="*/ -54 w 10005"/>
                <a:gd name="connsiteY2" fmla="*/ 14259 h 13122"/>
                <a:gd name="connsiteX3" fmla="*/ -1579 w 10005"/>
                <a:gd name="connsiteY3" fmla="*/ 9681 h 13122"/>
              </a:gdLst>
              <a:ahLst/>
              <a:cxnLst>
                <a:cxn ang="0">
                  <a:pos x="connsiteX0" y="connsiteY0"/>
                </a:cxn>
                <a:cxn ang="0">
                  <a:pos x="connsiteX1" y="connsiteY1"/>
                </a:cxn>
                <a:cxn ang="0">
                  <a:pos x="connsiteX2" y="connsiteY2"/>
                </a:cxn>
                <a:cxn ang="0">
                  <a:pos x="connsiteX3" y="connsiteY3"/>
                </a:cxn>
              </a:cxnLst>
              <a:rect l="l" t="t" r="r" b="b"/>
              <a:pathLst>
                <a:path w="10005" h="13122">
                  <a:moveTo>
                    <a:pt x="-1579" y="9681"/>
                  </a:moveTo>
                  <a:cubicBezTo>
                    <a:pt x="-926" y="4449"/>
                    <a:pt x="5611" y="-783"/>
                    <a:pt x="8008" y="1833"/>
                  </a:cubicBezTo>
                  <a:cubicBezTo>
                    <a:pt x="9752" y="3577"/>
                    <a:pt x="2997" y="14259"/>
                    <a:pt x="-54" y="14259"/>
                  </a:cubicBezTo>
                  <a:cubicBezTo>
                    <a:pt x="-1362" y="14259"/>
                    <a:pt x="-2015" y="12079"/>
                    <a:pt x="-1579" y="9681"/>
                  </a:cubicBezTo>
                  <a:close/>
                </a:path>
              </a:pathLst>
            </a:custGeom>
            <a:grpFill/>
            <a:ln w="218" cap="flat">
              <a:noFill/>
              <a:prstDash val="solid"/>
              <a:miter/>
            </a:ln>
          </p:spPr>
          <p:txBody>
            <a:bodyPr rtlCol="0" anchor="ctr"/>
            <a:lstStyle/>
            <a:p>
              <a:endParaRPr lang="en-GB" dirty="0"/>
            </a:p>
          </p:txBody>
        </p:sp>
        <p:sp>
          <p:nvSpPr>
            <p:cNvPr id="283" name="Freihandform: Form 282">
              <a:extLst>
                <a:ext uri="{FF2B5EF4-FFF2-40B4-BE49-F238E27FC236}">
                  <a16:creationId xmlns:a16="http://schemas.microsoft.com/office/drawing/2014/main" xmlns="" id="{F08C5B47-C42B-4E42-BAA6-F8E26EA9041E}"/>
                </a:ext>
              </a:extLst>
            </p:cNvPr>
            <p:cNvSpPr/>
            <p:nvPr/>
          </p:nvSpPr>
          <p:spPr>
            <a:xfrm flipV="1">
              <a:off x="4689898" y="5520149"/>
              <a:ext cx="14969" cy="17775"/>
            </a:xfrm>
            <a:custGeom>
              <a:avLst/>
              <a:gdLst>
                <a:gd name="connsiteX0" fmla="*/ -3319 w 14969"/>
                <a:gd name="connsiteY0" fmla="*/ 13573 h 17775"/>
                <a:gd name="connsiteX1" fmla="*/ 4526 w 14969"/>
                <a:gd name="connsiteY1" fmla="*/ 3544 h 17775"/>
                <a:gd name="connsiteX2" fmla="*/ 11499 w 14969"/>
                <a:gd name="connsiteY2" fmla="*/ 1582 h 17775"/>
                <a:gd name="connsiteX3" fmla="*/ 9756 w 14969"/>
                <a:gd name="connsiteY3" fmla="*/ 4416 h 17775"/>
                <a:gd name="connsiteX4" fmla="*/ 4744 w 14969"/>
                <a:gd name="connsiteY4" fmla="*/ 11393 h 17775"/>
                <a:gd name="connsiteX5" fmla="*/ -3319 w 14969"/>
                <a:gd name="connsiteY5" fmla="*/ 13573 h 1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69" h="17775">
                  <a:moveTo>
                    <a:pt x="-3319" y="13573"/>
                  </a:moveTo>
                  <a:cubicBezTo>
                    <a:pt x="-2883" y="9431"/>
                    <a:pt x="-486" y="6379"/>
                    <a:pt x="4526" y="3544"/>
                  </a:cubicBezTo>
                  <a:cubicBezTo>
                    <a:pt x="8230" y="1582"/>
                    <a:pt x="11499" y="492"/>
                    <a:pt x="11499" y="1582"/>
                  </a:cubicBezTo>
                  <a:cubicBezTo>
                    <a:pt x="11499" y="2672"/>
                    <a:pt x="10627" y="3980"/>
                    <a:pt x="9756" y="4416"/>
                  </a:cubicBezTo>
                  <a:cubicBezTo>
                    <a:pt x="8666" y="4852"/>
                    <a:pt x="6487" y="7905"/>
                    <a:pt x="4744" y="11393"/>
                  </a:cubicBezTo>
                  <a:cubicBezTo>
                    <a:pt x="604" y="20331"/>
                    <a:pt x="-4408" y="21639"/>
                    <a:pt x="-3319" y="13573"/>
                  </a:cubicBezTo>
                  <a:close/>
                </a:path>
              </a:pathLst>
            </a:custGeom>
            <a:grpFill/>
            <a:ln w="218" cap="flat">
              <a:noFill/>
              <a:prstDash val="solid"/>
              <a:miter/>
            </a:ln>
          </p:spPr>
          <p:txBody>
            <a:bodyPr rtlCol="0" anchor="ctr"/>
            <a:lstStyle/>
            <a:p>
              <a:endParaRPr lang="en-GB" dirty="0"/>
            </a:p>
          </p:txBody>
        </p:sp>
        <p:sp>
          <p:nvSpPr>
            <p:cNvPr id="284" name="Freihandform: Form 283">
              <a:extLst>
                <a:ext uri="{FF2B5EF4-FFF2-40B4-BE49-F238E27FC236}">
                  <a16:creationId xmlns:a16="http://schemas.microsoft.com/office/drawing/2014/main" xmlns="" id="{845D30F5-E397-4912-99C3-9DF084235F22}"/>
                </a:ext>
              </a:extLst>
            </p:cNvPr>
            <p:cNvSpPr/>
            <p:nvPr/>
          </p:nvSpPr>
          <p:spPr>
            <a:xfrm flipV="1">
              <a:off x="4716635" y="5522014"/>
              <a:ext cx="5664" cy="4360"/>
            </a:xfrm>
            <a:custGeom>
              <a:avLst/>
              <a:gdLst>
                <a:gd name="connsiteX0" fmla="*/ -3344 w 5664"/>
                <a:gd name="connsiteY0" fmla="*/ 3306 h 4360"/>
                <a:gd name="connsiteX1" fmla="*/ -1383 w 5664"/>
                <a:gd name="connsiteY1" fmla="*/ 1126 h 4360"/>
                <a:gd name="connsiteX2" fmla="*/ 2103 w 5664"/>
                <a:gd name="connsiteY2" fmla="*/ 3306 h 4360"/>
                <a:gd name="connsiteX3" fmla="*/ 142 w 5664"/>
                <a:gd name="connsiteY3" fmla="*/ 5486 h 4360"/>
                <a:gd name="connsiteX4" fmla="*/ -3344 w 5664"/>
                <a:gd name="connsiteY4" fmla="*/ 3306 h 4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4" h="4360">
                  <a:moveTo>
                    <a:pt x="-3344" y="3306"/>
                  </a:moveTo>
                  <a:cubicBezTo>
                    <a:pt x="-3998" y="2216"/>
                    <a:pt x="-3126" y="1126"/>
                    <a:pt x="-1383" y="1126"/>
                  </a:cubicBezTo>
                  <a:cubicBezTo>
                    <a:pt x="578" y="1126"/>
                    <a:pt x="2103" y="2216"/>
                    <a:pt x="2103" y="3306"/>
                  </a:cubicBezTo>
                  <a:cubicBezTo>
                    <a:pt x="2103" y="4614"/>
                    <a:pt x="1232" y="5486"/>
                    <a:pt x="142" y="5486"/>
                  </a:cubicBezTo>
                  <a:cubicBezTo>
                    <a:pt x="-1165" y="5486"/>
                    <a:pt x="-2691" y="4614"/>
                    <a:pt x="-3344" y="3306"/>
                  </a:cubicBezTo>
                  <a:close/>
                </a:path>
              </a:pathLst>
            </a:custGeom>
            <a:grpFill/>
            <a:ln w="218" cap="flat">
              <a:noFill/>
              <a:prstDash val="solid"/>
              <a:miter/>
            </a:ln>
          </p:spPr>
          <p:txBody>
            <a:bodyPr rtlCol="0" anchor="ctr"/>
            <a:lstStyle/>
            <a:p>
              <a:endParaRPr lang="en-GB" dirty="0"/>
            </a:p>
          </p:txBody>
        </p:sp>
        <p:sp>
          <p:nvSpPr>
            <p:cNvPr id="285" name="Freihandform: Form 284">
              <a:extLst>
                <a:ext uri="{FF2B5EF4-FFF2-40B4-BE49-F238E27FC236}">
                  <a16:creationId xmlns:a16="http://schemas.microsoft.com/office/drawing/2014/main" xmlns="" id="{B9916581-1407-4990-8651-28C648C85AE7}"/>
                </a:ext>
              </a:extLst>
            </p:cNvPr>
            <p:cNvSpPr/>
            <p:nvPr/>
          </p:nvSpPr>
          <p:spPr>
            <a:xfrm flipV="1">
              <a:off x="4973894" y="5522230"/>
              <a:ext cx="9022" cy="10684"/>
            </a:xfrm>
            <a:custGeom>
              <a:avLst/>
              <a:gdLst>
                <a:gd name="connsiteX0" fmla="*/ -4324 w 9022"/>
                <a:gd name="connsiteY0" fmla="*/ 8337 h 10684"/>
                <a:gd name="connsiteX1" fmla="*/ 1342 w 9022"/>
                <a:gd name="connsiteY1" fmla="*/ 1143 h 10684"/>
                <a:gd name="connsiteX2" fmla="*/ 3085 w 9022"/>
                <a:gd name="connsiteY2" fmla="*/ 8773 h 10684"/>
                <a:gd name="connsiteX3" fmla="*/ -4324 w 9022"/>
                <a:gd name="connsiteY3" fmla="*/ 8337 h 10684"/>
              </a:gdLst>
              <a:ahLst/>
              <a:cxnLst>
                <a:cxn ang="0">
                  <a:pos x="connsiteX0" y="connsiteY0"/>
                </a:cxn>
                <a:cxn ang="0">
                  <a:pos x="connsiteX1" y="connsiteY1"/>
                </a:cxn>
                <a:cxn ang="0">
                  <a:pos x="connsiteX2" y="connsiteY2"/>
                </a:cxn>
                <a:cxn ang="0">
                  <a:pos x="connsiteX3" y="connsiteY3"/>
                </a:cxn>
              </a:cxnLst>
              <a:rect l="l" t="t" r="r" b="b"/>
              <a:pathLst>
                <a:path w="9022" h="10684">
                  <a:moveTo>
                    <a:pt x="-4324" y="8337"/>
                  </a:moveTo>
                  <a:cubicBezTo>
                    <a:pt x="-5631" y="5067"/>
                    <a:pt x="-2580" y="1361"/>
                    <a:pt x="1342" y="1143"/>
                  </a:cubicBezTo>
                  <a:cubicBezTo>
                    <a:pt x="4393" y="1143"/>
                    <a:pt x="5482" y="5939"/>
                    <a:pt x="3085" y="8773"/>
                  </a:cubicBezTo>
                  <a:cubicBezTo>
                    <a:pt x="-401" y="12915"/>
                    <a:pt x="-2580" y="12915"/>
                    <a:pt x="-4324" y="8337"/>
                  </a:cubicBezTo>
                  <a:close/>
                </a:path>
              </a:pathLst>
            </a:custGeom>
            <a:grpFill/>
            <a:ln w="218" cap="flat">
              <a:noFill/>
              <a:prstDash val="solid"/>
              <a:miter/>
            </a:ln>
          </p:spPr>
          <p:txBody>
            <a:bodyPr rtlCol="0" anchor="ctr"/>
            <a:lstStyle/>
            <a:p>
              <a:endParaRPr lang="en-GB" dirty="0"/>
            </a:p>
          </p:txBody>
        </p:sp>
        <p:sp>
          <p:nvSpPr>
            <p:cNvPr id="286" name="Freihandform: Form 285">
              <a:extLst>
                <a:ext uri="{FF2B5EF4-FFF2-40B4-BE49-F238E27FC236}">
                  <a16:creationId xmlns:a16="http://schemas.microsoft.com/office/drawing/2014/main" xmlns="" id="{F4B62435-8DB7-40D2-A46F-C7DFE842909E}"/>
                </a:ext>
              </a:extLst>
            </p:cNvPr>
            <p:cNvSpPr/>
            <p:nvPr/>
          </p:nvSpPr>
          <p:spPr>
            <a:xfrm flipV="1">
              <a:off x="4806048" y="5524504"/>
              <a:ext cx="7503" cy="6194"/>
            </a:xfrm>
            <a:custGeom>
              <a:avLst/>
              <a:gdLst>
                <a:gd name="connsiteX0" fmla="*/ -3570 w 7503"/>
                <a:gd name="connsiteY0" fmla="*/ 4596 h 6194"/>
                <a:gd name="connsiteX1" fmla="*/ 3403 w 7503"/>
                <a:gd name="connsiteY1" fmla="*/ 3942 h 6194"/>
                <a:gd name="connsiteX2" fmla="*/ -1173 w 7503"/>
                <a:gd name="connsiteY2" fmla="*/ 7212 h 6194"/>
                <a:gd name="connsiteX3" fmla="*/ -3570 w 7503"/>
                <a:gd name="connsiteY3" fmla="*/ 4596 h 6194"/>
              </a:gdLst>
              <a:ahLst/>
              <a:cxnLst>
                <a:cxn ang="0">
                  <a:pos x="connsiteX0" y="connsiteY0"/>
                </a:cxn>
                <a:cxn ang="0">
                  <a:pos x="connsiteX1" y="connsiteY1"/>
                </a:cxn>
                <a:cxn ang="0">
                  <a:pos x="connsiteX2" y="connsiteY2"/>
                </a:cxn>
                <a:cxn ang="0">
                  <a:pos x="connsiteX3" y="connsiteY3"/>
                </a:cxn>
              </a:cxnLst>
              <a:rect l="l" t="t" r="r" b="b"/>
              <a:pathLst>
                <a:path w="7503" h="6194">
                  <a:moveTo>
                    <a:pt x="-3570" y="4596"/>
                  </a:moveTo>
                  <a:cubicBezTo>
                    <a:pt x="-2045" y="454"/>
                    <a:pt x="4710" y="-200"/>
                    <a:pt x="3403" y="3942"/>
                  </a:cubicBezTo>
                  <a:cubicBezTo>
                    <a:pt x="2749" y="5250"/>
                    <a:pt x="788" y="6776"/>
                    <a:pt x="-1173" y="7212"/>
                  </a:cubicBezTo>
                  <a:cubicBezTo>
                    <a:pt x="-3788" y="7648"/>
                    <a:pt x="-4442" y="6994"/>
                    <a:pt x="-3570" y="4596"/>
                  </a:cubicBezTo>
                  <a:close/>
                </a:path>
              </a:pathLst>
            </a:custGeom>
            <a:grpFill/>
            <a:ln w="218" cap="flat">
              <a:noFill/>
              <a:prstDash val="solid"/>
              <a:miter/>
            </a:ln>
          </p:spPr>
          <p:txBody>
            <a:bodyPr rtlCol="0" anchor="ctr"/>
            <a:lstStyle/>
            <a:p>
              <a:endParaRPr lang="en-GB" dirty="0"/>
            </a:p>
          </p:txBody>
        </p:sp>
        <p:sp>
          <p:nvSpPr>
            <p:cNvPr id="287" name="Freihandform: Form 286">
              <a:extLst>
                <a:ext uri="{FF2B5EF4-FFF2-40B4-BE49-F238E27FC236}">
                  <a16:creationId xmlns:a16="http://schemas.microsoft.com/office/drawing/2014/main" xmlns="" id="{9FB42FF3-0484-4340-991B-CDA54F3FB16B}"/>
                </a:ext>
              </a:extLst>
            </p:cNvPr>
            <p:cNvSpPr/>
            <p:nvPr/>
          </p:nvSpPr>
          <p:spPr>
            <a:xfrm flipV="1">
              <a:off x="4753102" y="5526420"/>
              <a:ext cx="14580" cy="10439"/>
            </a:xfrm>
            <a:custGeom>
              <a:avLst/>
              <a:gdLst>
                <a:gd name="connsiteX0" fmla="*/ -3372 w 14580"/>
                <a:gd name="connsiteY0" fmla="*/ 8160 h 10439"/>
                <a:gd name="connsiteX1" fmla="*/ 9266 w 14580"/>
                <a:gd name="connsiteY1" fmla="*/ 4236 h 10439"/>
                <a:gd name="connsiteX2" fmla="*/ 8831 w 14580"/>
                <a:gd name="connsiteY2" fmla="*/ 9686 h 10439"/>
                <a:gd name="connsiteX3" fmla="*/ -3372 w 14580"/>
                <a:gd name="connsiteY3" fmla="*/ 8160 h 10439"/>
              </a:gdLst>
              <a:ahLst/>
              <a:cxnLst>
                <a:cxn ang="0">
                  <a:pos x="connsiteX0" y="connsiteY0"/>
                </a:cxn>
                <a:cxn ang="0">
                  <a:pos x="connsiteX1" y="connsiteY1"/>
                </a:cxn>
                <a:cxn ang="0">
                  <a:pos x="connsiteX2" y="connsiteY2"/>
                </a:cxn>
                <a:cxn ang="0">
                  <a:pos x="connsiteX3" y="connsiteY3"/>
                </a:cxn>
              </a:cxnLst>
              <a:rect l="l" t="t" r="r" b="b"/>
              <a:pathLst>
                <a:path w="14580" h="10439">
                  <a:moveTo>
                    <a:pt x="-3372" y="8160"/>
                  </a:moveTo>
                  <a:cubicBezTo>
                    <a:pt x="-5769" y="1620"/>
                    <a:pt x="4473" y="-1651"/>
                    <a:pt x="9266" y="4236"/>
                  </a:cubicBezTo>
                  <a:cubicBezTo>
                    <a:pt x="11446" y="7070"/>
                    <a:pt x="11446" y="7942"/>
                    <a:pt x="8831" y="9686"/>
                  </a:cubicBezTo>
                  <a:cubicBezTo>
                    <a:pt x="4037" y="12738"/>
                    <a:pt x="-1847" y="12084"/>
                    <a:pt x="-3372" y="8160"/>
                  </a:cubicBezTo>
                  <a:close/>
                </a:path>
              </a:pathLst>
            </a:custGeom>
            <a:grpFill/>
            <a:ln w="218" cap="flat">
              <a:noFill/>
              <a:prstDash val="solid"/>
              <a:miter/>
            </a:ln>
          </p:spPr>
          <p:txBody>
            <a:bodyPr rtlCol="0" anchor="ctr"/>
            <a:lstStyle/>
            <a:p>
              <a:endParaRPr lang="en-GB" dirty="0"/>
            </a:p>
          </p:txBody>
        </p:sp>
        <p:sp>
          <p:nvSpPr>
            <p:cNvPr id="288" name="Freihandform: Form 287">
              <a:extLst>
                <a:ext uri="{FF2B5EF4-FFF2-40B4-BE49-F238E27FC236}">
                  <a16:creationId xmlns:a16="http://schemas.microsoft.com/office/drawing/2014/main" xmlns="" id="{C787C88F-19A4-4EBF-9B7A-48F62F8CC705}"/>
                </a:ext>
              </a:extLst>
            </p:cNvPr>
            <p:cNvSpPr/>
            <p:nvPr/>
          </p:nvSpPr>
          <p:spPr>
            <a:xfrm flipV="1">
              <a:off x="4929312" y="5528555"/>
              <a:ext cx="4358" cy="6540"/>
            </a:xfrm>
            <a:custGeom>
              <a:avLst/>
              <a:gdLst>
                <a:gd name="connsiteX0" fmla="*/ -4437 w 4358"/>
                <a:gd name="connsiteY0" fmla="*/ 4435 h 6540"/>
                <a:gd name="connsiteX1" fmla="*/ -2258 w 4358"/>
                <a:gd name="connsiteY1" fmla="*/ 1165 h 6540"/>
                <a:gd name="connsiteX2" fmla="*/ -79 w 4358"/>
                <a:gd name="connsiteY2" fmla="*/ 4435 h 6540"/>
                <a:gd name="connsiteX3" fmla="*/ -2258 w 4358"/>
                <a:gd name="connsiteY3" fmla="*/ 7705 h 6540"/>
                <a:gd name="connsiteX4" fmla="*/ -4437 w 4358"/>
                <a:gd name="connsiteY4" fmla="*/ 4435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6540">
                  <a:moveTo>
                    <a:pt x="-4437" y="4435"/>
                  </a:moveTo>
                  <a:cubicBezTo>
                    <a:pt x="-4437" y="2691"/>
                    <a:pt x="-3347" y="1165"/>
                    <a:pt x="-2258" y="1165"/>
                  </a:cubicBezTo>
                  <a:cubicBezTo>
                    <a:pt x="-950" y="1165"/>
                    <a:pt x="-79" y="2691"/>
                    <a:pt x="-79" y="4435"/>
                  </a:cubicBezTo>
                  <a:cubicBezTo>
                    <a:pt x="-79" y="6179"/>
                    <a:pt x="-950" y="7705"/>
                    <a:pt x="-2258" y="7705"/>
                  </a:cubicBezTo>
                  <a:cubicBezTo>
                    <a:pt x="-3347" y="7705"/>
                    <a:pt x="-4437" y="6179"/>
                    <a:pt x="-4437" y="4435"/>
                  </a:cubicBezTo>
                  <a:close/>
                </a:path>
              </a:pathLst>
            </a:custGeom>
            <a:grpFill/>
            <a:ln w="218" cap="flat">
              <a:noFill/>
              <a:prstDash val="solid"/>
              <a:miter/>
            </a:ln>
          </p:spPr>
          <p:txBody>
            <a:bodyPr rtlCol="0" anchor="ctr"/>
            <a:lstStyle/>
            <a:p>
              <a:endParaRPr lang="en-GB" dirty="0"/>
            </a:p>
          </p:txBody>
        </p:sp>
        <p:sp>
          <p:nvSpPr>
            <p:cNvPr id="289" name="Freihandform: Form 288">
              <a:extLst>
                <a:ext uri="{FF2B5EF4-FFF2-40B4-BE49-F238E27FC236}">
                  <a16:creationId xmlns:a16="http://schemas.microsoft.com/office/drawing/2014/main" xmlns="" id="{FAD3A188-C574-476D-B3D0-EC5746E6D05A}"/>
                </a:ext>
              </a:extLst>
            </p:cNvPr>
            <p:cNvSpPr/>
            <p:nvPr/>
          </p:nvSpPr>
          <p:spPr>
            <a:xfrm flipV="1">
              <a:off x="4556690" y="5532915"/>
              <a:ext cx="3357" cy="6540"/>
            </a:xfrm>
            <a:custGeom>
              <a:avLst/>
              <a:gdLst>
                <a:gd name="connsiteX0" fmla="*/ -2896 w 3357"/>
                <a:gd name="connsiteY0" fmla="*/ 4457 h 6540"/>
                <a:gd name="connsiteX1" fmla="*/ -2024 w 3357"/>
                <a:gd name="connsiteY1" fmla="*/ 1187 h 6540"/>
                <a:gd name="connsiteX2" fmla="*/ 155 w 3357"/>
                <a:gd name="connsiteY2" fmla="*/ 4457 h 6540"/>
                <a:gd name="connsiteX3" fmla="*/ -717 w 3357"/>
                <a:gd name="connsiteY3" fmla="*/ 7727 h 6540"/>
                <a:gd name="connsiteX4" fmla="*/ -2896 w 3357"/>
                <a:gd name="connsiteY4" fmla="*/ 4457 h 6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7" h="6540">
                  <a:moveTo>
                    <a:pt x="-2896" y="4457"/>
                  </a:moveTo>
                  <a:cubicBezTo>
                    <a:pt x="-2896" y="2713"/>
                    <a:pt x="-2460" y="1187"/>
                    <a:pt x="-2024" y="1187"/>
                  </a:cubicBezTo>
                  <a:cubicBezTo>
                    <a:pt x="-1588" y="1187"/>
                    <a:pt x="-717" y="2713"/>
                    <a:pt x="155" y="4457"/>
                  </a:cubicBezTo>
                  <a:cubicBezTo>
                    <a:pt x="808" y="6201"/>
                    <a:pt x="373" y="7727"/>
                    <a:pt x="-717" y="7727"/>
                  </a:cubicBezTo>
                  <a:cubicBezTo>
                    <a:pt x="-2024" y="7727"/>
                    <a:pt x="-2896" y="6201"/>
                    <a:pt x="-2896" y="4457"/>
                  </a:cubicBezTo>
                  <a:close/>
                </a:path>
              </a:pathLst>
            </a:custGeom>
            <a:grpFill/>
            <a:ln w="218" cap="flat">
              <a:noFill/>
              <a:prstDash val="solid"/>
              <a:miter/>
            </a:ln>
          </p:spPr>
          <p:txBody>
            <a:bodyPr rtlCol="0" anchor="ctr"/>
            <a:lstStyle/>
            <a:p>
              <a:endParaRPr lang="en-GB" dirty="0"/>
            </a:p>
          </p:txBody>
        </p:sp>
        <p:sp>
          <p:nvSpPr>
            <p:cNvPr id="290" name="Freihandform: Form 289">
              <a:extLst>
                <a:ext uri="{FF2B5EF4-FFF2-40B4-BE49-F238E27FC236}">
                  <a16:creationId xmlns:a16="http://schemas.microsoft.com/office/drawing/2014/main" xmlns="" id="{2F47A9F8-69A6-4D9D-B034-DABED1D5C72C}"/>
                </a:ext>
              </a:extLst>
            </p:cNvPr>
            <p:cNvSpPr/>
            <p:nvPr/>
          </p:nvSpPr>
          <p:spPr>
            <a:xfrm flipV="1">
              <a:off x="4890956" y="5532927"/>
              <a:ext cx="5670" cy="6527"/>
            </a:xfrm>
            <a:custGeom>
              <a:avLst/>
              <a:gdLst>
                <a:gd name="connsiteX0" fmla="*/ -3623 w 5670"/>
                <a:gd name="connsiteY0" fmla="*/ 6419 h 6527"/>
                <a:gd name="connsiteX1" fmla="*/ -572 w 5670"/>
                <a:gd name="connsiteY1" fmla="*/ 1187 h 6527"/>
                <a:gd name="connsiteX2" fmla="*/ 1389 w 5670"/>
                <a:gd name="connsiteY2" fmla="*/ 4457 h 6527"/>
                <a:gd name="connsiteX3" fmla="*/ -3623 w 5670"/>
                <a:gd name="connsiteY3" fmla="*/ 6419 h 6527"/>
              </a:gdLst>
              <a:ahLst/>
              <a:cxnLst>
                <a:cxn ang="0">
                  <a:pos x="connsiteX0" y="connsiteY0"/>
                </a:cxn>
                <a:cxn ang="0">
                  <a:pos x="connsiteX1" y="connsiteY1"/>
                </a:cxn>
                <a:cxn ang="0">
                  <a:pos x="connsiteX2" y="connsiteY2"/>
                </a:cxn>
                <a:cxn ang="0">
                  <a:pos x="connsiteX3" y="connsiteY3"/>
                </a:cxn>
              </a:cxnLst>
              <a:rect l="l" t="t" r="r" b="b"/>
              <a:pathLst>
                <a:path w="5670" h="6527">
                  <a:moveTo>
                    <a:pt x="-3623" y="6419"/>
                  </a:moveTo>
                  <a:cubicBezTo>
                    <a:pt x="-5366" y="4675"/>
                    <a:pt x="-3405" y="1187"/>
                    <a:pt x="-572" y="1187"/>
                  </a:cubicBezTo>
                  <a:cubicBezTo>
                    <a:pt x="517" y="1187"/>
                    <a:pt x="1389" y="2713"/>
                    <a:pt x="1389" y="4457"/>
                  </a:cubicBezTo>
                  <a:cubicBezTo>
                    <a:pt x="1389" y="7727"/>
                    <a:pt x="-1226" y="8817"/>
                    <a:pt x="-3623" y="6419"/>
                  </a:cubicBezTo>
                  <a:close/>
                </a:path>
              </a:pathLst>
            </a:custGeom>
            <a:grpFill/>
            <a:ln w="218" cap="flat">
              <a:noFill/>
              <a:prstDash val="solid"/>
              <a:miter/>
            </a:ln>
          </p:spPr>
          <p:txBody>
            <a:bodyPr rtlCol="0" anchor="ctr"/>
            <a:lstStyle/>
            <a:p>
              <a:endParaRPr lang="en-GB" dirty="0"/>
            </a:p>
          </p:txBody>
        </p:sp>
        <p:sp>
          <p:nvSpPr>
            <p:cNvPr id="291" name="Freihandform: Form 290">
              <a:extLst>
                <a:ext uri="{FF2B5EF4-FFF2-40B4-BE49-F238E27FC236}">
                  <a16:creationId xmlns:a16="http://schemas.microsoft.com/office/drawing/2014/main" xmlns="" id="{8D505114-040E-4093-B26F-10D30D2F5007}"/>
                </a:ext>
              </a:extLst>
            </p:cNvPr>
            <p:cNvSpPr/>
            <p:nvPr/>
          </p:nvSpPr>
          <p:spPr>
            <a:xfrm flipV="1">
              <a:off x="4388902" y="5249643"/>
              <a:ext cx="7961" cy="5311"/>
            </a:xfrm>
            <a:custGeom>
              <a:avLst/>
              <a:gdLst>
                <a:gd name="connsiteX0" fmla="*/ -34 w 7961"/>
                <a:gd name="connsiteY0" fmla="*/ 3023 h 5311"/>
                <a:gd name="connsiteX1" fmla="*/ -1995 w 7961"/>
                <a:gd name="connsiteY1" fmla="*/ -29 h 5311"/>
                <a:gd name="connsiteX2" fmla="*/ 3452 w 7961"/>
                <a:gd name="connsiteY2" fmla="*/ 1933 h 5311"/>
                <a:gd name="connsiteX3" fmla="*/ -34 w 7961"/>
                <a:gd name="connsiteY3" fmla="*/ 3023 h 5311"/>
              </a:gdLst>
              <a:ahLst/>
              <a:cxnLst>
                <a:cxn ang="0">
                  <a:pos x="connsiteX0" y="connsiteY0"/>
                </a:cxn>
                <a:cxn ang="0">
                  <a:pos x="connsiteX1" y="connsiteY1"/>
                </a:cxn>
                <a:cxn ang="0">
                  <a:pos x="connsiteX2" y="connsiteY2"/>
                </a:cxn>
                <a:cxn ang="0">
                  <a:pos x="connsiteX3" y="connsiteY3"/>
                </a:cxn>
              </a:cxnLst>
              <a:rect l="l" t="t" r="r" b="b"/>
              <a:pathLst>
                <a:path w="7961" h="5311">
                  <a:moveTo>
                    <a:pt x="-34" y="3023"/>
                  </a:moveTo>
                  <a:cubicBezTo>
                    <a:pt x="-1777" y="1933"/>
                    <a:pt x="-2649" y="625"/>
                    <a:pt x="-1995" y="-29"/>
                  </a:cubicBezTo>
                  <a:cubicBezTo>
                    <a:pt x="-1342" y="-683"/>
                    <a:pt x="1055" y="189"/>
                    <a:pt x="3452" y="1933"/>
                  </a:cubicBezTo>
                  <a:cubicBezTo>
                    <a:pt x="8028" y="5421"/>
                    <a:pt x="5196" y="6293"/>
                    <a:pt x="-34" y="3023"/>
                  </a:cubicBezTo>
                  <a:close/>
                </a:path>
              </a:pathLst>
            </a:custGeom>
            <a:grpFill/>
            <a:ln w="218" cap="flat">
              <a:noFill/>
              <a:prstDash val="solid"/>
              <a:miter/>
            </a:ln>
          </p:spPr>
          <p:txBody>
            <a:bodyPr rtlCol="0" anchor="ctr"/>
            <a:lstStyle/>
            <a:p>
              <a:endParaRPr lang="en-GB" dirty="0"/>
            </a:p>
          </p:txBody>
        </p:sp>
        <p:sp>
          <p:nvSpPr>
            <p:cNvPr id="292" name="Freihandform: Form 291">
              <a:extLst>
                <a:ext uri="{FF2B5EF4-FFF2-40B4-BE49-F238E27FC236}">
                  <a16:creationId xmlns:a16="http://schemas.microsoft.com/office/drawing/2014/main" xmlns="" id="{38B8EBE3-F531-4770-9F7C-BE5857835792}"/>
                </a:ext>
              </a:extLst>
            </p:cNvPr>
            <p:cNvSpPr/>
            <p:nvPr/>
          </p:nvSpPr>
          <p:spPr>
            <a:xfrm flipV="1">
              <a:off x="5308471" y="5262585"/>
              <a:ext cx="4358" cy="5667"/>
            </a:xfrm>
            <a:custGeom>
              <a:avLst/>
              <a:gdLst>
                <a:gd name="connsiteX0" fmla="*/ -6003 w 4358"/>
                <a:gd name="connsiteY0" fmla="*/ 3526 h 5667"/>
                <a:gd name="connsiteX1" fmla="*/ -3824 w 4358"/>
                <a:gd name="connsiteY1" fmla="*/ 37 h 5667"/>
                <a:gd name="connsiteX2" fmla="*/ -1645 w 4358"/>
                <a:gd name="connsiteY2" fmla="*/ 2000 h 5667"/>
                <a:gd name="connsiteX3" fmla="*/ -3824 w 4358"/>
                <a:gd name="connsiteY3" fmla="*/ 5488 h 5667"/>
                <a:gd name="connsiteX4" fmla="*/ -6003 w 4358"/>
                <a:gd name="connsiteY4" fmla="*/ 3526 h 5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 h="5667">
                  <a:moveTo>
                    <a:pt x="-6003" y="3526"/>
                  </a:moveTo>
                  <a:cubicBezTo>
                    <a:pt x="-6003" y="2218"/>
                    <a:pt x="-4913" y="691"/>
                    <a:pt x="-3824" y="37"/>
                  </a:cubicBezTo>
                  <a:cubicBezTo>
                    <a:pt x="-2516" y="-617"/>
                    <a:pt x="-1645" y="255"/>
                    <a:pt x="-1645" y="2000"/>
                  </a:cubicBezTo>
                  <a:cubicBezTo>
                    <a:pt x="-1645" y="3962"/>
                    <a:pt x="-2516" y="5488"/>
                    <a:pt x="-3824" y="5488"/>
                  </a:cubicBezTo>
                  <a:cubicBezTo>
                    <a:pt x="-4913" y="5488"/>
                    <a:pt x="-6003" y="4616"/>
                    <a:pt x="-6003" y="3526"/>
                  </a:cubicBezTo>
                  <a:close/>
                </a:path>
              </a:pathLst>
            </a:custGeom>
            <a:grpFill/>
            <a:ln w="218" cap="flat">
              <a:noFill/>
              <a:prstDash val="solid"/>
              <a:miter/>
            </a:ln>
          </p:spPr>
          <p:txBody>
            <a:bodyPr rtlCol="0" anchor="ctr"/>
            <a:lstStyle/>
            <a:p>
              <a:endParaRPr lang="en-GB" dirty="0"/>
            </a:p>
          </p:txBody>
        </p:sp>
        <p:sp>
          <p:nvSpPr>
            <p:cNvPr id="293" name="Freihandform: Form 292">
              <a:extLst>
                <a:ext uri="{FF2B5EF4-FFF2-40B4-BE49-F238E27FC236}">
                  <a16:creationId xmlns:a16="http://schemas.microsoft.com/office/drawing/2014/main" xmlns="" id="{5294DD18-702C-485A-8F74-A41B085ECDD7}"/>
                </a:ext>
              </a:extLst>
            </p:cNvPr>
            <p:cNvSpPr/>
            <p:nvPr/>
          </p:nvSpPr>
          <p:spPr>
            <a:xfrm flipV="1">
              <a:off x="4022817" y="5341113"/>
              <a:ext cx="3568" cy="5621"/>
            </a:xfrm>
            <a:custGeom>
              <a:avLst/>
              <a:gdLst>
                <a:gd name="connsiteX0" fmla="*/ -691 w 3568"/>
                <a:gd name="connsiteY0" fmla="*/ 2396 h 5621"/>
                <a:gd name="connsiteX1" fmla="*/ 1488 w 3568"/>
                <a:gd name="connsiteY1" fmla="*/ 434 h 5621"/>
                <a:gd name="connsiteX2" fmla="*/ 2577 w 3568"/>
                <a:gd name="connsiteY2" fmla="*/ 3922 h 5621"/>
                <a:gd name="connsiteX3" fmla="*/ -691 w 3568"/>
                <a:gd name="connsiteY3" fmla="*/ 2396 h 5621"/>
              </a:gdLst>
              <a:ahLst/>
              <a:cxnLst>
                <a:cxn ang="0">
                  <a:pos x="connsiteX0" y="connsiteY0"/>
                </a:cxn>
                <a:cxn ang="0">
                  <a:pos x="connsiteX1" y="connsiteY1"/>
                </a:cxn>
                <a:cxn ang="0">
                  <a:pos x="connsiteX2" y="connsiteY2"/>
                </a:cxn>
                <a:cxn ang="0">
                  <a:pos x="connsiteX3" y="connsiteY3"/>
                </a:cxn>
              </a:cxnLst>
              <a:rect l="l" t="t" r="r" b="b"/>
              <a:pathLst>
                <a:path w="3568" h="5621">
                  <a:moveTo>
                    <a:pt x="-691" y="2396"/>
                  </a:moveTo>
                  <a:cubicBezTo>
                    <a:pt x="-691" y="652"/>
                    <a:pt x="398" y="-220"/>
                    <a:pt x="1488" y="434"/>
                  </a:cubicBezTo>
                  <a:cubicBezTo>
                    <a:pt x="2795" y="1306"/>
                    <a:pt x="3231" y="2832"/>
                    <a:pt x="2577" y="3922"/>
                  </a:cubicBezTo>
                  <a:cubicBezTo>
                    <a:pt x="616" y="6974"/>
                    <a:pt x="-691" y="6320"/>
                    <a:pt x="-691" y="2396"/>
                  </a:cubicBezTo>
                  <a:close/>
                </a:path>
              </a:pathLst>
            </a:custGeom>
            <a:grpFill/>
            <a:ln w="218" cap="flat">
              <a:noFill/>
              <a:prstDash val="solid"/>
              <a:miter/>
            </a:ln>
          </p:spPr>
          <p:txBody>
            <a:bodyPr rtlCol="0" anchor="ctr"/>
            <a:lstStyle/>
            <a:p>
              <a:endParaRPr lang="en-GB" dirty="0"/>
            </a:p>
          </p:txBody>
        </p:sp>
        <p:sp>
          <p:nvSpPr>
            <p:cNvPr id="294" name="Freihandform: Form 293">
              <a:extLst>
                <a:ext uri="{FF2B5EF4-FFF2-40B4-BE49-F238E27FC236}">
                  <a16:creationId xmlns:a16="http://schemas.microsoft.com/office/drawing/2014/main" xmlns="" id="{179F7992-A645-4608-B1DB-1B71C5895D21}"/>
                </a:ext>
              </a:extLst>
            </p:cNvPr>
            <p:cNvSpPr/>
            <p:nvPr/>
          </p:nvSpPr>
          <p:spPr>
            <a:xfrm flipV="1">
              <a:off x="4273411" y="5323628"/>
              <a:ext cx="16594" cy="21800"/>
            </a:xfrm>
            <a:custGeom>
              <a:avLst/>
              <a:gdLst>
                <a:gd name="connsiteX0" fmla="*/ -1753 w 16594"/>
                <a:gd name="connsiteY0" fmla="*/ 16084 h 21800"/>
                <a:gd name="connsiteX1" fmla="*/ -10 w 16594"/>
                <a:gd name="connsiteY1" fmla="*/ 7581 h 21800"/>
                <a:gd name="connsiteX2" fmla="*/ 13500 w 16594"/>
                <a:gd name="connsiteY2" fmla="*/ 169 h 21800"/>
                <a:gd name="connsiteX3" fmla="*/ 6963 w 16594"/>
                <a:gd name="connsiteY3" fmla="*/ 9979 h 21800"/>
                <a:gd name="connsiteX4" fmla="*/ 2605 w 16594"/>
                <a:gd name="connsiteY4" fmla="*/ 16738 h 21800"/>
                <a:gd name="connsiteX5" fmla="*/ 426 w 16594"/>
                <a:gd name="connsiteY5" fmla="*/ 21970 h 21800"/>
                <a:gd name="connsiteX6" fmla="*/ -1753 w 16594"/>
                <a:gd name="connsiteY6" fmla="*/ 16084 h 2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94" h="21800">
                  <a:moveTo>
                    <a:pt x="-1753" y="16084"/>
                  </a:moveTo>
                  <a:cubicBezTo>
                    <a:pt x="-1753" y="12595"/>
                    <a:pt x="-882" y="8889"/>
                    <a:pt x="-10" y="7581"/>
                  </a:cubicBezTo>
                  <a:cubicBezTo>
                    <a:pt x="1733" y="4747"/>
                    <a:pt x="10014" y="169"/>
                    <a:pt x="13500" y="169"/>
                  </a:cubicBezTo>
                  <a:cubicBezTo>
                    <a:pt x="17423" y="169"/>
                    <a:pt x="11975" y="8453"/>
                    <a:pt x="6963" y="9979"/>
                  </a:cubicBezTo>
                  <a:cubicBezTo>
                    <a:pt x="4130" y="10851"/>
                    <a:pt x="2605" y="13249"/>
                    <a:pt x="2605" y="16738"/>
                  </a:cubicBezTo>
                  <a:cubicBezTo>
                    <a:pt x="2605" y="19572"/>
                    <a:pt x="1733" y="21970"/>
                    <a:pt x="426" y="21970"/>
                  </a:cubicBezTo>
                  <a:cubicBezTo>
                    <a:pt x="-664" y="21970"/>
                    <a:pt x="-1753" y="19354"/>
                    <a:pt x="-1753" y="16084"/>
                  </a:cubicBezTo>
                  <a:close/>
                </a:path>
              </a:pathLst>
            </a:custGeom>
            <a:grpFill/>
            <a:ln w="218" cap="flat">
              <a:noFill/>
              <a:prstDash val="solid"/>
              <a:miter/>
            </a:ln>
          </p:spPr>
          <p:txBody>
            <a:bodyPr rtlCol="0" anchor="ctr"/>
            <a:lstStyle/>
            <a:p>
              <a:endParaRPr lang="en-GB" dirty="0"/>
            </a:p>
          </p:txBody>
        </p:sp>
        <p:sp>
          <p:nvSpPr>
            <p:cNvPr id="295" name="Freihandform: Form 294">
              <a:extLst>
                <a:ext uri="{FF2B5EF4-FFF2-40B4-BE49-F238E27FC236}">
                  <a16:creationId xmlns:a16="http://schemas.microsoft.com/office/drawing/2014/main" xmlns="" id="{CEFE0AEB-D8A7-4817-9C8F-C42E68FA86F7}"/>
                </a:ext>
              </a:extLst>
            </p:cNvPr>
            <p:cNvSpPr/>
            <p:nvPr/>
          </p:nvSpPr>
          <p:spPr>
            <a:xfrm flipV="1">
              <a:off x="4510930" y="5401667"/>
              <a:ext cx="33609" cy="26604"/>
            </a:xfrm>
            <a:custGeom>
              <a:avLst/>
              <a:gdLst>
                <a:gd name="connsiteX0" fmla="*/ 17496 w 33609"/>
                <a:gd name="connsiteY0" fmla="*/ 25864 h 26604"/>
                <a:gd name="connsiteX1" fmla="*/ 12484 w 33609"/>
                <a:gd name="connsiteY1" fmla="*/ 20850 h 26604"/>
                <a:gd name="connsiteX2" fmla="*/ 1371 w 33609"/>
                <a:gd name="connsiteY2" fmla="*/ 12565 h 26604"/>
                <a:gd name="connsiteX3" fmla="*/ -2769 w 33609"/>
                <a:gd name="connsiteY3" fmla="*/ 10821 h 26604"/>
                <a:gd name="connsiteX4" fmla="*/ 14881 w 33609"/>
                <a:gd name="connsiteY4" fmla="*/ 8423 h 26604"/>
                <a:gd name="connsiteX5" fmla="*/ 23379 w 33609"/>
                <a:gd name="connsiteY5" fmla="*/ 3409 h 26604"/>
                <a:gd name="connsiteX6" fmla="*/ 26648 w 33609"/>
                <a:gd name="connsiteY6" fmla="*/ 575 h 26604"/>
                <a:gd name="connsiteX7" fmla="*/ 27738 w 33609"/>
                <a:gd name="connsiteY7" fmla="*/ 8205 h 26604"/>
                <a:gd name="connsiteX8" fmla="*/ 29045 w 33609"/>
                <a:gd name="connsiteY8" fmla="*/ 14745 h 26604"/>
                <a:gd name="connsiteX9" fmla="*/ 17496 w 33609"/>
                <a:gd name="connsiteY9" fmla="*/ 25864 h 26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609" h="26604">
                  <a:moveTo>
                    <a:pt x="17496" y="25864"/>
                  </a:moveTo>
                  <a:cubicBezTo>
                    <a:pt x="14663" y="24556"/>
                    <a:pt x="12484" y="22376"/>
                    <a:pt x="12484" y="20850"/>
                  </a:cubicBezTo>
                  <a:cubicBezTo>
                    <a:pt x="12484" y="16271"/>
                    <a:pt x="5729" y="11257"/>
                    <a:pt x="1371" y="12565"/>
                  </a:cubicBezTo>
                  <a:cubicBezTo>
                    <a:pt x="-1462" y="13437"/>
                    <a:pt x="-2769" y="13001"/>
                    <a:pt x="-2769" y="10821"/>
                  </a:cubicBezTo>
                  <a:cubicBezTo>
                    <a:pt x="-2769" y="6461"/>
                    <a:pt x="10523" y="4499"/>
                    <a:pt x="14881" y="8423"/>
                  </a:cubicBezTo>
                  <a:cubicBezTo>
                    <a:pt x="18586" y="11693"/>
                    <a:pt x="23379" y="8859"/>
                    <a:pt x="23379" y="3409"/>
                  </a:cubicBezTo>
                  <a:cubicBezTo>
                    <a:pt x="23379" y="1883"/>
                    <a:pt x="24905" y="575"/>
                    <a:pt x="26648" y="575"/>
                  </a:cubicBezTo>
                  <a:cubicBezTo>
                    <a:pt x="30353" y="575"/>
                    <a:pt x="31006" y="6025"/>
                    <a:pt x="27738" y="8205"/>
                  </a:cubicBezTo>
                  <a:cubicBezTo>
                    <a:pt x="26430" y="9077"/>
                    <a:pt x="26866" y="11475"/>
                    <a:pt x="29045" y="14745"/>
                  </a:cubicBezTo>
                  <a:cubicBezTo>
                    <a:pt x="34493" y="23030"/>
                    <a:pt x="26648" y="30224"/>
                    <a:pt x="17496" y="25864"/>
                  </a:cubicBezTo>
                  <a:close/>
                </a:path>
              </a:pathLst>
            </a:custGeom>
            <a:grpFill/>
            <a:ln w="218" cap="flat">
              <a:noFill/>
              <a:prstDash val="solid"/>
              <a:miter/>
            </a:ln>
          </p:spPr>
          <p:txBody>
            <a:bodyPr rtlCol="0" anchor="ctr"/>
            <a:lstStyle/>
            <a:p>
              <a:endParaRPr lang="en-GB" dirty="0"/>
            </a:p>
          </p:txBody>
        </p:sp>
        <p:sp>
          <p:nvSpPr>
            <p:cNvPr id="296" name="Freihandform: Form 295">
              <a:extLst>
                <a:ext uri="{FF2B5EF4-FFF2-40B4-BE49-F238E27FC236}">
                  <a16:creationId xmlns:a16="http://schemas.microsoft.com/office/drawing/2014/main" xmlns="" id="{5988E8F4-9BD9-4F51-9C3B-97D97BEBE9E6}"/>
                </a:ext>
              </a:extLst>
            </p:cNvPr>
            <p:cNvSpPr/>
            <p:nvPr/>
          </p:nvSpPr>
          <p:spPr>
            <a:xfrm flipV="1">
              <a:off x="5160306" y="5472740"/>
              <a:ext cx="6524" cy="5672"/>
            </a:xfrm>
            <a:custGeom>
              <a:avLst/>
              <a:gdLst>
                <a:gd name="connsiteX0" fmla="*/ -4101 w 6524"/>
                <a:gd name="connsiteY0" fmla="*/ 5895 h 5672"/>
                <a:gd name="connsiteX1" fmla="*/ -2139 w 6524"/>
                <a:gd name="connsiteY1" fmla="*/ 881 h 5672"/>
                <a:gd name="connsiteX2" fmla="*/ 1129 w 6524"/>
                <a:gd name="connsiteY2" fmla="*/ 2843 h 5672"/>
                <a:gd name="connsiteX3" fmla="*/ -4101 w 6524"/>
                <a:gd name="connsiteY3" fmla="*/ 5895 h 5672"/>
              </a:gdLst>
              <a:ahLst/>
              <a:cxnLst>
                <a:cxn ang="0">
                  <a:pos x="connsiteX0" y="connsiteY0"/>
                </a:cxn>
                <a:cxn ang="0">
                  <a:pos x="connsiteX1" y="connsiteY1"/>
                </a:cxn>
                <a:cxn ang="0">
                  <a:pos x="connsiteX2" y="connsiteY2"/>
                </a:cxn>
                <a:cxn ang="0">
                  <a:pos x="connsiteX3" y="connsiteY3"/>
                </a:cxn>
              </a:cxnLst>
              <a:rect l="l" t="t" r="r" b="b"/>
              <a:pathLst>
                <a:path w="6524" h="5672">
                  <a:moveTo>
                    <a:pt x="-4101" y="5895"/>
                  </a:moveTo>
                  <a:cubicBezTo>
                    <a:pt x="-6498" y="3497"/>
                    <a:pt x="-5408" y="881"/>
                    <a:pt x="-2139" y="881"/>
                  </a:cubicBezTo>
                  <a:cubicBezTo>
                    <a:pt x="-396" y="881"/>
                    <a:pt x="1129" y="1753"/>
                    <a:pt x="1129" y="2843"/>
                  </a:cubicBezTo>
                  <a:cubicBezTo>
                    <a:pt x="1129" y="5677"/>
                    <a:pt x="-2357" y="7639"/>
                    <a:pt x="-4101" y="5895"/>
                  </a:cubicBezTo>
                  <a:close/>
                </a:path>
              </a:pathLst>
            </a:custGeom>
            <a:grpFill/>
            <a:ln w="218" cap="flat">
              <a:noFill/>
              <a:prstDash val="solid"/>
              <a:miter/>
            </a:ln>
          </p:spPr>
          <p:txBody>
            <a:bodyPr rtlCol="0" anchor="ctr"/>
            <a:lstStyle/>
            <a:p>
              <a:endParaRPr lang="en-GB" dirty="0"/>
            </a:p>
          </p:txBody>
        </p:sp>
        <p:sp>
          <p:nvSpPr>
            <p:cNvPr id="297" name="Freihandform: Form 296">
              <a:extLst>
                <a:ext uri="{FF2B5EF4-FFF2-40B4-BE49-F238E27FC236}">
                  <a16:creationId xmlns:a16="http://schemas.microsoft.com/office/drawing/2014/main" xmlns="" id="{81AAE1BB-DCA6-434E-ADD5-2DFDB6CBCFE7}"/>
                </a:ext>
              </a:extLst>
            </p:cNvPr>
            <p:cNvSpPr/>
            <p:nvPr/>
          </p:nvSpPr>
          <p:spPr>
            <a:xfrm flipV="1">
              <a:off x="5222090" y="5498120"/>
              <a:ext cx="31811" cy="20955"/>
            </a:xfrm>
            <a:custGeom>
              <a:avLst/>
              <a:gdLst>
                <a:gd name="connsiteX0" fmla="*/ -5396 w 31811"/>
                <a:gd name="connsiteY0" fmla="*/ 19909 h 20955"/>
                <a:gd name="connsiteX1" fmla="*/ -4524 w 31811"/>
                <a:gd name="connsiteY1" fmla="*/ 17729 h 20955"/>
                <a:gd name="connsiteX2" fmla="*/ -2127 w 31811"/>
                <a:gd name="connsiteY2" fmla="*/ 10317 h 20955"/>
                <a:gd name="connsiteX3" fmla="*/ 6589 w 31811"/>
                <a:gd name="connsiteY3" fmla="*/ 3559 h 20955"/>
                <a:gd name="connsiteX4" fmla="*/ 14652 w 31811"/>
                <a:gd name="connsiteY4" fmla="*/ 5957 h 20955"/>
                <a:gd name="connsiteX5" fmla="*/ 23150 w 31811"/>
                <a:gd name="connsiteY5" fmla="*/ 7919 h 20955"/>
                <a:gd name="connsiteX6" fmla="*/ 21843 w 31811"/>
                <a:gd name="connsiteY6" fmla="*/ 15331 h 20955"/>
                <a:gd name="connsiteX7" fmla="*/ 13562 w 31811"/>
                <a:gd name="connsiteY7" fmla="*/ 17293 h 20955"/>
                <a:gd name="connsiteX8" fmla="*/ 7025 w 31811"/>
                <a:gd name="connsiteY8" fmla="*/ 18601 h 20955"/>
                <a:gd name="connsiteX9" fmla="*/ -5396 w 31811"/>
                <a:gd name="connsiteY9" fmla="*/ 19909 h 2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811" h="20955">
                  <a:moveTo>
                    <a:pt x="-5396" y="19909"/>
                  </a:moveTo>
                  <a:cubicBezTo>
                    <a:pt x="-6049" y="18819"/>
                    <a:pt x="-5614" y="17729"/>
                    <a:pt x="-4524" y="17729"/>
                  </a:cubicBezTo>
                  <a:cubicBezTo>
                    <a:pt x="-3217" y="17729"/>
                    <a:pt x="-2127" y="14459"/>
                    <a:pt x="-2127" y="10317"/>
                  </a:cubicBezTo>
                  <a:cubicBezTo>
                    <a:pt x="-2127" y="1161"/>
                    <a:pt x="1141" y="-1456"/>
                    <a:pt x="6589" y="3559"/>
                  </a:cubicBezTo>
                  <a:cubicBezTo>
                    <a:pt x="8986" y="5739"/>
                    <a:pt x="12255" y="6611"/>
                    <a:pt x="14652" y="5957"/>
                  </a:cubicBezTo>
                  <a:cubicBezTo>
                    <a:pt x="17049" y="5303"/>
                    <a:pt x="20753" y="6175"/>
                    <a:pt x="23150" y="7919"/>
                  </a:cubicBezTo>
                  <a:cubicBezTo>
                    <a:pt x="27290" y="10971"/>
                    <a:pt x="27290" y="11189"/>
                    <a:pt x="21843" y="15331"/>
                  </a:cubicBezTo>
                  <a:cubicBezTo>
                    <a:pt x="17920" y="18383"/>
                    <a:pt x="15741" y="19037"/>
                    <a:pt x="13562" y="17293"/>
                  </a:cubicBezTo>
                  <a:cubicBezTo>
                    <a:pt x="11601" y="15549"/>
                    <a:pt x="9858" y="15985"/>
                    <a:pt x="7025" y="18601"/>
                  </a:cubicBezTo>
                  <a:cubicBezTo>
                    <a:pt x="2449" y="22525"/>
                    <a:pt x="-3435" y="23179"/>
                    <a:pt x="-5396" y="19909"/>
                  </a:cubicBezTo>
                  <a:close/>
                </a:path>
              </a:pathLst>
            </a:custGeom>
            <a:grpFill/>
            <a:ln w="218" cap="flat">
              <a:noFill/>
              <a:prstDash val="solid"/>
              <a:miter/>
            </a:ln>
          </p:spPr>
          <p:txBody>
            <a:bodyPr rtlCol="0" anchor="ctr"/>
            <a:lstStyle/>
            <a:p>
              <a:endParaRPr lang="en-GB" dirty="0"/>
            </a:p>
          </p:txBody>
        </p:sp>
      </p:grpSp>
      <p:sp>
        <p:nvSpPr>
          <p:cNvPr id="300" name="Pfeil: gestreift nach rechts 299">
            <a:extLst>
              <a:ext uri="{FF2B5EF4-FFF2-40B4-BE49-F238E27FC236}">
                <a16:creationId xmlns:a16="http://schemas.microsoft.com/office/drawing/2014/main" xmlns="" id="{135C4295-8EAC-404E-B29B-6D4261F0A645}"/>
              </a:ext>
            </a:extLst>
          </p:cNvPr>
          <p:cNvSpPr/>
          <p:nvPr/>
        </p:nvSpPr>
        <p:spPr>
          <a:xfrm>
            <a:off x="6604281" y="4008334"/>
            <a:ext cx="1253968" cy="697353"/>
          </a:xfrm>
          <a:prstGeom prst="stripedRightArrow">
            <a:avLst>
              <a:gd name="adj1" fmla="val 53642"/>
              <a:gd name="adj2" fmla="val 50000"/>
            </a:avLst>
          </a:prstGeom>
          <a:solidFill>
            <a:srgbClr val="E94E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1" name="Textfeld 300">
            <a:extLst>
              <a:ext uri="{FF2B5EF4-FFF2-40B4-BE49-F238E27FC236}">
                <a16:creationId xmlns:a16="http://schemas.microsoft.com/office/drawing/2014/main" xmlns="" id="{DFD07A75-BF0A-4F3A-9C10-157BB1B291C1}"/>
              </a:ext>
            </a:extLst>
          </p:cNvPr>
          <p:cNvSpPr txBox="1"/>
          <p:nvPr/>
        </p:nvSpPr>
        <p:spPr>
          <a:xfrm>
            <a:off x="4437838" y="5649817"/>
            <a:ext cx="2249975" cy="923330"/>
          </a:xfrm>
          <a:prstGeom prst="rect">
            <a:avLst/>
          </a:prstGeom>
          <a:noFill/>
        </p:spPr>
        <p:txBody>
          <a:bodyPr wrap="none" rtlCol="0">
            <a:spAutoFit/>
          </a:bodyPr>
          <a:lstStyle/>
          <a:p>
            <a:r>
              <a:rPr lang="en-GB">
                <a:solidFill>
                  <a:srgbClr val="C00000"/>
                </a:solidFill>
              </a:rPr>
              <a:t>Estamos a salvo mientras</a:t>
            </a:r>
            <a:br>
              <a:rPr lang="en-GB">
                <a:solidFill>
                  <a:srgbClr val="C00000"/>
                </a:solidFill>
              </a:rPr>
            </a:br>
            <a:r>
              <a:rPr lang="en-GB">
                <a:solidFill>
                  <a:srgbClr val="C00000"/>
                </a:solidFill>
              </a:rPr>
              <a:t>tengamos lo menos posible </a:t>
            </a:r>
            <a:br>
              <a:rPr lang="en-GB">
                <a:solidFill>
                  <a:srgbClr val="C00000"/>
                </a:solidFill>
              </a:rPr>
            </a:br>
            <a:r>
              <a:rPr lang="en-GB">
                <a:solidFill>
                  <a:srgbClr val="C00000"/>
                </a:solidFill>
              </a:rPr>
              <a:t>posible de esto</a:t>
            </a:r>
            <a:endParaRPr lang="en-GB" dirty="0">
              <a:solidFill>
                <a:srgbClr val="C00000"/>
              </a:solidFill>
            </a:endParaRPr>
          </a:p>
        </p:txBody>
      </p:sp>
      <p:cxnSp>
        <p:nvCxnSpPr>
          <p:cNvPr id="303" name="Gerade Verbindung mit Pfeil 302">
            <a:extLst>
              <a:ext uri="{FF2B5EF4-FFF2-40B4-BE49-F238E27FC236}">
                <a16:creationId xmlns:a16="http://schemas.microsoft.com/office/drawing/2014/main" xmlns="" id="{CE759616-109C-4BBA-8C67-13EF14B67810}"/>
              </a:ext>
            </a:extLst>
          </p:cNvPr>
          <p:cNvCxnSpPr>
            <a:cxnSpLocks/>
          </p:cNvCxnSpPr>
          <p:nvPr/>
        </p:nvCxnSpPr>
        <p:spPr>
          <a:xfrm flipV="1">
            <a:off x="5227436" y="5360604"/>
            <a:ext cx="7291" cy="213868"/>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306" name="Textfeld 305">
            <a:extLst>
              <a:ext uri="{FF2B5EF4-FFF2-40B4-BE49-F238E27FC236}">
                <a16:creationId xmlns:a16="http://schemas.microsoft.com/office/drawing/2014/main" xmlns="" id="{2D7A01F5-A2B6-4801-884B-9896E5B8BB4C}"/>
              </a:ext>
            </a:extLst>
          </p:cNvPr>
          <p:cNvSpPr txBox="1"/>
          <p:nvPr/>
        </p:nvSpPr>
        <p:spPr>
          <a:xfrm>
            <a:off x="10106131" y="3719050"/>
            <a:ext cx="1843774" cy="1200329"/>
          </a:xfrm>
          <a:prstGeom prst="rect">
            <a:avLst/>
          </a:prstGeom>
          <a:noFill/>
        </p:spPr>
        <p:txBody>
          <a:bodyPr wrap="none" rtlCol="0">
            <a:spAutoFit/>
          </a:bodyPr>
          <a:lstStyle/>
          <a:p>
            <a:r>
              <a:rPr lang="en-GB">
                <a:solidFill>
                  <a:schemeClr val="accent6"/>
                </a:solidFill>
              </a:rPr>
              <a:t>Estamos a salvo mientras</a:t>
            </a:r>
            <a:br>
              <a:rPr lang="en-GB">
                <a:solidFill>
                  <a:schemeClr val="accent6"/>
                </a:solidFill>
              </a:rPr>
            </a:br>
            <a:r>
              <a:rPr lang="en-GB">
                <a:solidFill>
                  <a:schemeClr val="accent6"/>
                </a:solidFill>
              </a:rPr>
              <a:t>mientras tengamos </a:t>
            </a:r>
            <a:br>
              <a:rPr lang="en-GB">
                <a:solidFill>
                  <a:schemeClr val="accent6"/>
                </a:solidFill>
              </a:rPr>
            </a:br>
            <a:r>
              <a:rPr lang="en-GB">
                <a:solidFill>
                  <a:schemeClr val="accent6"/>
                </a:solidFill>
              </a:rPr>
              <a:t>tengamos la mayor cantidad</a:t>
            </a:r>
            <a:br>
              <a:rPr lang="en-GB">
                <a:solidFill>
                  <a:schemeClr val="accent6"/>
                </a:solidFill>
              </a:rPr>
            </a:br>
            <a:r>
              <a:rPr lang="en-GB">
                <a:solidFill>
                  <a:schemeClr val="accent6"/>
                </a:solidFill>
              </a:rPr>
              <a:t>como sea posible de esto</a:t>
            </a:r>
            <a:endParaRPr lang="en-GB" dirty="0">
              <a:solidFill>
                <a:schemeClr val="accent6"/>
              </a:solidFill>
            </a:endParaRPr>
          </a:p>
        </p:txBody>
      </p:sp>
      <p:cxnSp>
        <p:nvCxnSpPr>
          <p:cNvPr id="307" name="Gerade Verbindung mit Pfeil 306">
            <a:extLst>
              <a:ext uri="{FF2B5EF4-FFF2-40B4-BE49-F238E27FC236}">
                <a16:creationId xmlns:a16="http://schemas.microsoft.com/office/drawing/2014/main" xmlns="" id="{29CA4F02-D46F-41C4-95C8-48DA0B21EE04}"/>
              </a:ext>
            </a:extLst>
          </p:cNvPr>
          <p:cNvCxnSpPr>
            <a:cxnSpLocks/>
            <a:stCxn id="306" idx="1"/>
          </p:cNvCxnSpPr>
          <p:nvPr/>
        </p:nvCxnSpPr>
        <p:spPr>
          <a:xfrm flipH="1" flipV="1">
            <a:off x="9912233" y="4180715"/>
            <a:ext cx="193898" cy="13850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302" name="Textfeld 301">
            <a:extLst>
              <a:ext uri="{FF2B5EF4-FFF2-40B4-BE49-F238E27FC236}">
                <a16:creationId xmlns:a16="http://schemas.microsoft.com/office/drawing/2014/main" xmlns="" id="{0E060F7D-C638-4CFD-808E-4120765E4439}"/>
              </a:ext>
            </a:extLst>
          </p:cNvPr>
          <p:cNvSpPr txBox="1"/>
          <p:nvPr/>
        </p:nvSpPr>
        <p:spPr>
          <a:xfrm>
            <a:off x="4424865" y="1915110"/>
            <a:ext cx="1362874" cy="369332"/>
          </a:xfrm>
          <a:prstGeom prst="rect">
            <a:avLst/>
          </a:prstGeom>
          <a:noFill/>
        </p:spPr>
        <p:txBody>
          <a:bodyPr wrap="none" rtlCol="0">
            <a:spAutoFit/>
          </a:bodyPr>
          <a:lstStyle/>
          <a:p>
            <a:r>
              <a:rPr lang="en-GB" b="1">
                <a:solidFill>
                  <a:srgbClr val="C00000"/>
                </a:solidFill>
              </a:rPr>
              <a:t>La vieja mentalidad</a:t>
            </a:r>
            <a:endParaRPr lang="en-GB" b="1" dirty="0">
              <a:solidFill>
                <a:srgbClr val="C00000"/>
              </a:solidFill>
            </a:endParaRPr>
          </a:p>
        </p:txBody>
      </p:sp>
      <p:sp>
        <p:nvSpPr>
          <p:cNvPr id="304" name="Textfeld 303">
            <a:extLst>
              <a:ext uri="{FF2B5EF4-FFF2-40B4-BE49-F238E27FC236}">
                <a16:creationId xmlns:a16="http://schemas.microsoft.com/office/drawing/2014/main" xmlns="" id="{0BCF57E5-222C-44AE-803E-E8895CB75702}"/>
              </a:ext>
            </a:extLst>
          </p:cNvPr>
          <p:cNvSpPr txBox="1"/>
          <p:nvPr/>
        </p:nvSpPr>
        <p:spPr>
          <a:xfrm>
            <a:off x="8310244" y="1915110"/>
            <a:ext cx="1465914" cy="369332"/>
          </a:xfrm>
          <a:prstGeom prst="rect">
            <a:avLst/>
          </a:prstGeom>
          <a:noFill/>
        </p:spPr>
        <p:txBody>
          <a:bodyPr wrap="none" rtlCol="0">
            <a:spAutoFit/>
          </a:bodyPr>
          <a:lstStyle/>
          <a:p>
            <a:r>
              <a:rPr lang="en-GB" b="1">
                <a:solidFill>
                  <a:schemeClr val="accent6"/>
                </a:solidFill>
              </a:rPr>
              <a:t>Nueva mentalidad</a:t>
            </a:r>
            <a:endParaRPr lang="en-GB" b="1" dirty="0">
              <a:solidFill>
                <a:schemeClr val="accent6"/>
              </a:solidFill>
            </a:endParaRPr>
          </a:p>
        </p:txBody>
      </p:sp>
    </p:spTree>
    <p:extLst>
      <p:ext uri="{BB962C8B-B14F-4D97-AF65-F5344CB8AC3E}">
        <p14:creationId xmlns:p14="http://schemas.microsoft.com/office/powerpoint/2010/main" val="38184666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BD5919DC-C58D-48A1-A188-CD53E0218471}"/>
              </a:ext>
            </a:extLst>
          </p:cNvPr>
          <p:cNvSpPr>
            <a:spLocks noGrp="1"/>
          </p:cNvSpPr>
          <p:nvPr>
            <p:ph type="body" sz="quarter" idx="11"/>
          </p:nvPr>
        </p:nvSpPr>
        <p:spPr>
          <a:xfrm>
            <a:off x="363783" y="2723027"/>
            <a:ext cx="9821959" cy="1582271"/>
          </a:xfrm>
        </p:spPr>
        <p:txBody>
          <a:bodyPr/>
          <a:lstStyle/>
          <a:p>
            <a:r>
              <a:rPr lang="en-GB" dirty="0"/>
              <a:t>El ciclo de gestión de la continuidad de las actividades</a:t>
            </a:r>
          </a:p>
        </p:txBody>
      </p:sp>
    </p:spTree>
    <p:extLst>
      <p:ext uri="{BB962C8B-B14F-4D97-AF65-F5344CB8AC3E}">
        <p14:creationId xmlns:p14="http://schemas.microsoft.com/office/powerpoint/2010/main" val="19356167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extLst>
              <p:ext uri="{D42A27DB-BD31-4B8C-83A1-F6EECF244321}">
                <p14:modId xmlns:p14="http://schemas.microsoft.com/office/powerpoint/2010/main" val="4262171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321" name="Gleichschenkliges Dreieck 320">
            <a:extLst>
              <a:ext uri="{FF2B5EF4-FFF2-40B4-BE49-F238E27FC236}">
                <a16:creationId xmlns:a16="http://schemas.microsoft.com/office/drawing/2014/main" xmlns="" id="{D6762457-5FC6-4F7C-919D-748B19B57DBC}"/>
              </a:ext>
            </a:extLst>
          </p:cNvPr>
          <p:cNvSpPr/>
          <p:nvPr/>
        </p:nvSpPr>
        <p:spPr>
          <a:xfrm rot="6744925">
            <a:off x="8253750" y="3847393"/>
            <a:ext cx="547902" cy="160824"/>
          </a:xfrm>
          <a:prstGeom prst="triangle">
            <a:avLst/>
          </a:prstGeom>
          <a:solidFill>
            <a:srgbClr val="ED7D31"/>
          </a:solidFill>
          <a:ln>
            <a:solidFill>
              <a:srgbClr val="ED7D3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0" name="Gleichschenkliges Dreieck 319">
            <a:extLst>
              <a:ext uri="{FF2B5EF4-FFF2-40B4-BE49-F238E27FC236}">
                <a16:creationId xmlns:a16="http://schemas.microsoft.com/office/drawing/2014/main" xmlns="" id="{6022375E-ECD4-43C4-9AB0-FE8C50F6A9C3}"/>
              </a:ext>
            </a:extLst>
          </p:cNvPr>
          <p:cNvSpPr/>
          <p:nvPr/>
        </p:nvSpPr>
        <p:spPr>
          <a:xfrm rot="2277494">
            <a:off x="8523561" y="4800671"/>
            <a:ext cx="547902" cy="160824"/>
          </a:xfrm>
          <a:prstGeom prst="triangle">
            <a:avLst/>
          </a:prstGeom>
          <a:solidFill>
            <a:srgbClr val="4472C4"/>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9" name="Gleichschenkliges Dreieck 318">
            <a:extLst>
              <a:ext uri="{FF2B5EF4-FFF2-40B4-BE49-F238E27FC236}">
                <a16:creationId xmlns:a16="http://schemas.microsoft.com/office/drawing/2014/main" xmlns="" id="{7834DA7E-E721-4891-9C1D-BB8D841F1F38}"/>
              </a:ext>
            </a:extLst>
          </p:cNvPr>
          <p:cNvSpPr/>
          <p:nvPr/>
        </p:nvSpPr>
        <p:spPr>
          <a:xfrm rot="19361863">
            <a:off x="9497477" y="4821692"/>
            <a:ext cx="547902" cy="160824"/>
          </a:xfrm>
          <a:prstGeom prst="triangle">
            <a:avLst/>
          </a:prstGeom>
          <a:solidFill>
            <a:srgbClr val="5B9BD5"/>
          </a:solidFill>
          <a:ln>
            <a:solidFill>
              <a:srgbClr val="5B9B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8" name="Gleichschenkliges Dreieck 317">
            <a:extLst>
              <a:ext uri="{FF2B5EF4-FFF2-40B4-BE49-F238E27FC236}">
                <a16:creationId xmlns:a16="http://schemas.microsoft.com/office/drawing/2014/main" xmlns="" id="{B3566BA1-1276-463A-BF3E-EF4315C89BCD}"/>
              </a:ext>
            </a:extLst>
          </p:cNvPr>
          <p:cNvSpPr/>
          <p:nvPr/>
        </p:nvSpPr>
        <p:spPr>
          <a:xfrm rot="14949942">
            <a:off x="9788339" y="3877272"/>
            <a:ext cx="547902" cy="160824"/>
          </a:xfrm>
          <a:prstGeom prst="triangl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7" name="Gleichschenkliges Dreieck 316">
            <a:extLst>
              <a:ext uri="{FF2B5EF4-FFF2-40B4-BE49-F238E27FC236}">
                <a16:creationId xmlns:a16="http://schemas.microsoft.com/office/drawing/2014/main" xmlns="" id="{72B9FF83-D6A9-4B21-8BB3-E2EA293DCBE6}"/>
              </a:ext>
            </a:extLst>
          </p:cNvPr>
          <p:cNvSpPr/>
          <p:nvPr/>
        </p:nvSpPr>
        <p:spPr>
          <a:xfrm rot="10800000">
            <a:off x="9016641" y="3324773"/>
            <a:ext cx="547902" cy="160824"/>
          </a:xfrm>
          <a:prstGeom prst="triangle">
            <a:avLst/>
          </a:prstGeom>
          <a:solidFill>
            <a:srgbClr val="A5A5A5"/>
          </a:solidFill>
          <a:ln>
            <a:solidFill>
              <a:srgbClr val="A5A5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47706" y="551661"/>
            <a:ext cx="8852375" cy="697353"/>
          </a:xfrm>
        </p:spPr>
        <p:txBody>
          <a:bodyPr>
            <a:normAutofit/>
          </a:bodyPr>
          <a:lstStyle/>
          <a:p>
            <a:r>
              <a:rPr lang="en-GB" dirty="0"/>
              <a:t>El ciclo de gestión de la continuidad de las actividade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46442" y="1829010"/>
            <a:ext cx="4643065" cy="3883417"/>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latin typeface="+mj-lt"/>
              </a:rPr>
              <a:t>La </a:t>
            </a:r>
            <a:r>
              <a:rPr lang="en-GB" altLang="de-DE" sz="2200" b="1" dirty="0">
                <a:latin typeface="+mj-lt"/>
              </a:rPr>
              <a:t>planificación de la continuidad del negocio </a:t>
            </a:r>
            <a:r>
              <a:rPr lang="en-GB" altLang="de-DE" sz="2200" dirty="0">
                <a:latin typeface="+mj-lt"/>
              </a:rPr>
              <a:t>es el proceso de creación de sistemas de prevención y recuperación para hacer frente a las posibles amenazas a una empresa. Además de la prevención, el objetivo es permitir la continuidad de las operaciones antes y durante la ejecución de la recuperación de desastres. </a:t>
            </a:r>
            <a:endParaRPr lang="en-US" dirty="0"/>
          </a:p>
          <a:p>
            <a:pPr algn="l">
              <a:lnSpc>
                <a:spcPct val="100000"/>
              </a:lnSpc>
              <a:spcBef>
                <a:spcPts val="600"/>
              </a:spcBef>
            </a:pPr>
            <a:r>
              <a:rPr lang="en-GB" altLang="de-DE" sz="2200" dirty="0">
                <a:latin typeface="+mj-lt"/>
              </a:rPr>
              <a:t>Las catástrofes pueden ser acontecimientos externos (como la pandemia de Covid-19), fallos del sistema, errores humanos (por ejemplo, en la atención sanitaria) o una crisis empresarial importante</a:t>
            </a:r>
          </a:p>
        </p:txBody>
      </p:sp>
      <p:grpSp>
        <p:nvGrpSpPr>
          <p:cNvPr id="24" name="Gruppieren 23">
            <a:extLst>
              <a:ext uri="{FF2B5EF4-FFF2-40B4-BE49-F238E27FC236}">
                <a16:creationId xmlns:a16="http://schemas.microsoft.com/office/drawing/2014/main" xmlns="" id="{272239DA-1B06-425C-A5B2-EC9059DF8DDC}"/>
              </a:ext>
            </a:extLst>
          </p:cNvPr>
          <p:cNvGrpSpPr/>
          <p:nvPr/>
        </p:nvGrpSpPr>
        <p:grpSpPr>
          <a:xfrm>
            <a:off x="7203111" y="1895503"/>
            <a:ext cx="4175999" cy="4176000"/>
            <a:chOff x="5230592" y="1881035"/>
            <a:chExt cx="4175999" cy="4176000"/>
          </a:xfrm>
        </p:grpSpPr>
        <p:sp>
          <p:nvSpPr>
            <p:cNvPr id="305" name="Freeform 48">
              <a:extLst>
                <a:ext uri="{FF2B5EF4-FFF2-40B4-BE49-F238E27FC236}">
                  <a16:creationId xmlns:a16="http://schemas.microsoft.com/office/drawing/2014/main" xmlns="" id="{8E41C000-1DB8-4A00-8679-35E2EAD75C91}"/>
                </a:ext>
              </a:extLst>
            </p:cNvPr>
            <p:cNvSpPr/>
            <p:nvPr/>
          </p:nvSpPr>
          <p:spPr>
            <a:xfrm>
              <a:off x="6412947" y="1881035"/>
              <a:ext cx="1814615" cy="1603190"/>
            </a:xfrm>
            <a:custGeom>
              <a:avLst/>
              <a:gdLst>
                <a:gd name="connsiteX0" fmla="*/ 2167432 w 4342825"/>
                <a:gd name="connsiteY0" fmla="*/ 0 h 3836832"/>
                <a:gd name="connsiteX1" fmla="*/ 4342825 w 4342825"/>
                <a:gd name="connsiteY1" fmla="*/ 2179445 h 3836832"/>
                <a:gd name="connsiteX2" fmla="*/ 3196076 w 4342825"/>
                <a:gd name="connsiteY2" fmla="*/ 3836832 h 3836832"/>
                <a:gd name="connsiteX3" fmla="*/ 3130926 w 4342825"/>
                <a:gd name="connsiteY3" fmla="*/ 3797252 h 3836832"/>
                <a:gd name="connsiteX4" fmla="*/ 2167432 w 4342825"/>
                <a:gd name="connsiteY4" fmla="*/ 3553287 h 3836832"/>
                <a:gd name="connsiteX5" fmla="*/ 1203938 w 4342825"/>
                <a:gd name="connsiteY5" fmla="*/ 3797252 h 3836832"/>
                <a:gd name="connsiteX6" fmla="*/ 1143466 w 4342825"/>
                <a:gd name="connsiteY6" fmla="*/ 3833990 h 3836832"/>
                <a:gd name="connsiteX7" fmla="*/ 0 w 4342825"/>
                <a:gd name="connsiteY7" fmla="*/ 2171469 h 3836832"/>
                <a:gd name="connsiteX8" fmla="*/ 2167432 w 4342825"/>
                <a:gd name="connsiteY8" fmla="*/ 0 h 383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42825" h="3836832">
                  <a:moveTo>
                    <a:pt x="2167432" y="0"/>
                  </a:moveTo>
                  <a:lnTo>
                    <a:pt x="4342825" y="2179445"/>
                  </a:lnTo>
                  <a:lnTo>
                    <a:pt x="3196076" y="3836832"/>
                  </a:lnTo>
                  <a:lnTo>
                    <a:pt x="3130926" y="3797252"/>
                  </a:lnTo>
                  <a:cubicBezTo>
                    <a:pt x="2844515" y="3641665"/>
                    <a:pt x="2516294" y="3553287"/>
                    <a:pt x="2167432" y="3553287"/>
                  </a:cubicBezTo>
                  <a:cubicBezTo>
                    <a:pt x="1818570" y="3553287"/>
                    <a:pt x="1490349" y="3641665"/>
                    <a:pt x="1203938" y="3797252"/>
                  </a:cubicBezTo>
                  <a:lnTo>
                    <a:pt x="1143466" y="3833990"/>
                  </a:lnTo>
                  <a:lnTo>
                    <a:pt x="0" y="2171469"/>
                  </a:lnTo>
                  <a:lnTo>
                    <a:pt x="2167432"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08" name="Freeform 45">
              <a:extLst>
                <a:ext uri="{FF2B5EF4-FFF2-40B4-BE49-F238E27FC236}">
                  <a16:creationId xmlns:a16="http://schemas.microsoft.com/office/drawing/2014/main" xmlns="" id="{64FE2D3D-2C89-4277-BA06-2C7443A0397E}"/>
                </a:ext>
              </a:extLst>
            </p:cNvPr>
            <p:cNvSpPr/>
            <p:nvPr/>
          </p:nvSpPr>
          <p:spPr>
            <a:xfrm>
              <a:off x="5230592" y="2843454"/>
              <a:ext cx="1586881" cy="1816774"/>
            </a:xfrm>
            <a:custGeom>
              <a:avLst/>
              <a:gdLst>
                <a:gd name="connsiteX0" fmla="*/ 2665085 w 3797804"/>
                <a:gd name="connsiteY0" fmla="*/ 0 h 4347993"/>
                <a:gd name="connsiteX1" fmla="*/ 3797804 w 3797804"/>
                <a:gd name="connsiteY1" fmla="*/ 1646897 h 4347993"/>
                <a:gd name="connsiteX2" fmla="*/ 3711341 w 3797804"/>
                <a:gd name="connsiteY2" fmla="*/ 1711553 h 4347993"/>
                <a:gd name="connsiteX3" fmla="*/ 2975759 w 3797804"/>
                <a:gd name="connsiteY3" fmla="*/ 3271321 h 4347993"/>
                <a:gd name="connsiteX4" fmla="*/ 3016826 w 3797804"/>
                <a:gd name="connsiteY4" fmla="*/ 3678693 h 4347993"/>
                <a:gd name="connsiteX5" fmla="*/ 3037068 w 3797804"/>
                <a:gd name="connsiteY5" fmla="*/ 3757418 h 4347993"/>
                <a:gd name="connsiteX6" fmla="*/ 1292243 w 3797804"/>
                <a:gd name="connsiteY6" fmla="*/ 4347993 h 4347993"/>
                <a:gd name="connsiteX7" fmla="*/ 0 w 3797804"/>
                <a:gd name="connsiteY7" fmla="*/ 1514136 h 4347993"/>
                <a:gd name="connsiteX8" fmla="*/ 2665085 w 3797804"/>
                <a:gd name="connsiteY8" fmla="*/ 0 h 4347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7804" h="4347993">
                  <a:moveTo>
                    <a:pt x="2665085" y="0"/>
                  </a:moveTo>
                  <a:lnTo>
                    <a:pt x="3797804" y="1646897"/>
                  </a:lnTo>
                  <a:lnTo>
                    <a:pt x="3711341" y="1711553"/>
                  </a:lnTo>
                  <a:cubicBezTo>
                    <a:pt x="3262103" y="2082298"/>
                    <a:pt x="2975759" y="2643370"/>
                    <a:pt x="2975759" y="3271321"/>
                  </a:cubicBezTo>
                  <a:cubicBezTo>
                    <a:pt x="2975759" y="3410866"/>
                    <a:pt x="2989899" y="3547108"/>
                    <a:pt x="3016826" y="3678693"/>
                  </a:cubicBezTo>
                  <a:lnTo>
                    <a:pt x="3037068" y="3757418"/>
                  </a:lnTo>
                  <a:lnTo>
                    <a:pt x="1292243" y="4347993"/>
                  </a:lnTo>
                  <a:lnTo>
                    <a:pt x="0" y="1514136"/>
                  </a:lnTo>
                  <a:lnTo>
                    <a:pt x="2665085"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09" name="Freeform 44">
              <a:extLst>
                <a:ext uri="{FF2B5EF4-FFF2-40B4-BE49-F238E27FC236}">
                  <a16:creationId xmlns:a16="http://schemas.microsoft.com/office/drawing/2014/main" xmlns="" id="{A06290DB-875E-435C-A978-748606C01266}"/>
                </a:ext>
              </a:extLst>
            </p:cNvPr>
            <p:cNvSpPr/>
            <p:nvPr/>
          </p:nvSpPr>
          <p:spPr>
            <a:xfrm>
              <a:off x="7821542" y="2845743"/>
              <a:ext cx="1585049" cy="1814282"/>
            </a:xfrm>
            <a:custGeom>
              <a:avLst/>
              <a:gdLst>
                <a:gd name="connsiteX0" fmla="*/ 1137971 w 3793416"/>
                <a:gd name="connsiteY0" fmla="*/ 0 h 4342028"/>
                <a:gd name="connsiteX1" fmla="*/ 3793416 w 3793416"/>
                <a:gd name="connsiteY1" fmla="*/ 1508659 h 4342028"/>
                <a:gd name="connsiteX2" fmla="*/ 2501395 w 3793416"/>
                <a:gd name="connsiteY2" fmla="*/ 4342028 h 4342028"/>
                <a:gd name="connsiteX3" fmla="*/ 756418 w 3793416"/>
                <a:gd name="connsiteY3" fmla="*/ 3751669 h 4342028"/>
                <a:gd name="connsiteX4" fmla="*/ 776590 w 3793416"/>
                <a:gd name="connsiteY4" fmla="*/ 3673216 h 4342028"/>
                <a:gd name="connsiteX5" fmla="*/ 817657 w 3793416"/>
                <a:gd name="connsiteY5" fmla="*/ 3265844 h 4342028"/>
                <a:gd name="connsiteX6" fmla="*/ 82075 w 3793416"/>
                <a:gd name="connsiteY6" fmla="*/ 1706076 h 4342028"/>
                <a:gd name="connsiteX7" fmla="*/ 0 w 3793416"/>
                <a:gd name="connsiteY7" fmla="*/ 1644701 h 4342028"/>
                <a:gd name="connsiteX8" fmla="*/ 1137971 w 3793416"/>
                <a:gd name="connsiteY8" fmla="*/ 0 h 434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3416" h="4342028">
                  <a:moveTo>
                    <a:pt x="1137971" y="0"/>
                  </a:moveTo>
                  <a:lnTo>
                    <a:pt x="3793416" y="1508659"/>
                  </a:lnTo>
                  <a:lnTo>
                    <a:pt x="2501395" y="4342028"/>
                  </a:lnTo>
                  <a:lnTo>
                    <a:pt x="756418" y="3751669"/>
                  </a:lnTo>
                  <a:lnTo>
                    <a:pt x="776590" y="3673216"/>
                  </a:lnTo>
                  <a:cubicBezTo>
                    <a:pt x="803517" y="3541631"/>
                    <a:pt x="817657" y="3405389"/>
                    <a:pt x="817657" y="3265844"/>
                  </a:cubicBezTo>
                  <a:cubicBezTo>
                    <a:pt x="817657" y="2637893"/>
                    <a:pt x="531313" y="2076821"/>
                    <a:pt x="82075" y="1706076"/>
                  </a:cubicBezTo>
                  <a:lnTo>
                    <a:pt x="0" y="1644701"/>
                  </a:lnTo>
                  <a:lnTo>
                    <a:pt x="1137971"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0" name="Freeform 42">
              <a:extLst>
                <a:ext uri="{FF2B5EF4-FFF2-40B4-BE49-F238E27FC236}">
                  <a16:creationId xmlns:a16="http://schemas.microsoft.com/office/drawing/2014/main" xmlns="" id="{284198C2-8F5D-46D6-BAA7-CA5105A2527A}"/>
                </a:ext>
              </a:extLst>
            </p:cNvPr>
            <p:cNvSpPr/>
            <p:nvPr/>
          </p:nvSpPr>
          <p:spPr>
            <a:xfrm>
              <a:off x="7362530" y="4497487"/>
              <a:ext cx="1475499" cy="1559547"/>
            </a:xfrm>
            <a:custGeom>
              <a:avLst/>
              <a:gdLst>
                <a:gd name="connsiteX0" fmla="*/ 1793799 w 3531238"/>
                <a:gd name="connsiteY0" fmla="*/ 0 h 3732384"/>
                <a:gd name="connsiteX1" fmla="*/ 3531238 w 3531238"/>
                <a:gd name="connsiteY1" fmla="*/ 587808 h 3732384"/>
                <a:gd name="connsiteX2" fmla="*/ 2983224 w 3531238"/>
                <a:gd name="connsiteY2" fmla="*/ 3732384 h 3732384"/>
                <a:gd name="connsiteX3" fmla="*/ 0 w 3531238"/>
                <a:gd name="connsiteY3" fmla="*/ 3312947 h 3732384"/>
                <a:gd name="connsiteX4" fmla="*/ 0 w 3531238"/>
                <a:gd name="connsiteY4" fmla="*/ 1328844 h 3732384"/>
                <a:gd name="connsiteX5" fmla="*/ 101514 w 3531238"/>
                <a:gd name="connsiteY5" fmla="*/ 1323718 h 3732384"/>
                <a:gd name="connsiteX6" fmla="*/ 1757342 w 3531238"/>
                <a:gd name="connsiteY6" fmla="*/ 99608 h 3732384"/>
                <a:gd name="connsiteX7" fmla="*/ 1793799 w 3531238"/>
                <a:gd name="connsiteY7" fmla="*/ 0 h 373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238" h="3732384">
                  <a:moveTo>
                    <a:pt x="1793799" y="0"/>
                  </a:moveTo>
                  <a:lnTo>
                    <a:pt x="3531238" y="587808"/>
                  </a:lnTo>
                  <a:lnTo>
                    <a:pt x="2983224" y="3732384"/>
                  </a:lnTo>
                  <a:lnTo>
                    <a:pt x="0" y="3312947"/>
                  </a:lnTo>
                  <a:lnTo>
                    <a:pt x="0" y="1328844"/>
                  </a:lnTo>
                  <a:lnTo>
                    <a:pt x="101514" y="1323718"/>
                  </a:lnTo>
                  <a:cubicBezTo>
                    <a:pt x="848983" y="1247808"/>
                    <a:pt x="1476056" y="764641"/>
                    <a:pt x="1757342" y="99608"/>
                  </a:cubicBezTo>
                  <a:lnTo>
                    <a:pt x="1793799"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1" name="Freeform 41">
              <a:extLst>
                <a:ext uri="{FF2B5EF4-FFF2-40B4-BE49-F238E27FC236}">
                  <a16:creationId xmlns:a16="http://schemas.microsoft.com/office/drawing/2014/main" xmlns="" id="{5A2FBDAA-AB2E-4318-B3E6-2D62021619C3}"/>
                </a:ext>
              </a:extLst>
            </p:cNvPr>
            <p:cNvSpPr/>
            <p:nvPr/>
          </p:nvSpPr>
          <p:spPr>
            <a:xfrm>
              <a:off x="5799193" y="4497599"/>
              <a:ext cx="1475461" cy="1559436"/>
            </a:xfrm>
            <a:custGeom>
              <a:avLst/>
              <a:gdLst>
                <a:gd name="connsiteX0" fmla="*/ 1737443 w 3531147"/>
                <a:gd name="connsiteY0" fmla="*/ 0 h 3732119"/>
                <a:gd name="connsiteX1" fmla="*/ 1773803 w 3531147"/>
                <a:gd name="connsiteY1" fmla="*/ 99343 h 3732119"/>
                <a:gd name="connsiteX2" fmla="*/ 3429631 w 3531147"/>
                <a:gd name="connsiteY2" fmla="*/ 1323453 h 3732119"/>
                <a:gd name="connsiteX3" fmla="*/ 3531147 w 3531147"/>
                <a:gd name="connsiteY3" fmla="*/ 1328579 h 3732119"/>
                <a:gd name="connsiteX4" fmla="*/ 3531147 w 3531147"/>
                <a:gd name="connsiteY4" fmla="*/ 3312682 h 3732119"/>
                <a:gd name="connsiteX5" fmla="*/ 547921 w 3531147"/>
                <a:gd name="connsiteY5" fmla="*/ 3732119 h 3732119"/>
                <a:gd name="connsiteX6" fmla="*/ 0 w 3531147"/>
                <a:gd name="connsiteY6" fmla="*/ 588077 h 3732119"/>
                <a:gd name="connsiteX7" fmla="*/ 1737443 w 3531147"/>
                <a:gd name="connsiteY7" fmla="*/ 0 h 373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147" h="3732119">
                  <a:moveTo>
                    <a:pt x="1737443" y="0"/>
                  </a:moveTo>
                  <a:lnTo>
                    <a:pt x="1773803" y="99343"/>
                  </a:lnTo>
                  <a:cubicBezTo>
                    <a:pt x="2055089" y="764376"/>
                    <a:pt x="2682162" y="1247543"/>
                    <a:pt x="3429631" y="1323453"/>
                  </a:cubicBezTo>
                  <a:lnTo>
                    <a:pt x="3531147" y="1328579"/>
                  </a:lnTo>
                  <a:lnTo>
                    <a:pt x="3531147" y="3312682"/>
                  </a:lnTo>
                  <a:lnTo>
                    <a:pt x="547921" y="3732119"/>
                  </a:lnTo>
                  <a:lnTo>
                    <a:pt x="0" y="588077"/>
                  </a:lnTo>
                  <a:lnTo>
                    <a:pt x="1737443"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grpSp>
      <p:sp>
        <p:nvSpPr>
          <p:cNvPr id="6" name="Gleichschenkliges Dreieck 5">
            <a:extLst>
              <a:ext uri="{FF2B5EF4-FFF2-40B4-BE49-F238E27FC236}">
                <a16:creationId xmlns:a16="http://schemas.microsoft.com/office/drawing/2014/main" xmlns="" id="{BBA9848B-032B-4EEC-9174-79BE01349E70}"/>
              </a:ext>
            </a:extLst>
          </p:cNvPr>
          <p:cNvSpPr/>
          <p:nvPr/>
        </p:nvSpPr>
        <p:spPr>
          <a:xfrm rot="3377529">
            <a:off x="8365857" y="3063543"/>
            <a:ext cx="547902" cy="160824"/>
          </a:xfrm>
          <a:prstGeom prs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3" name="Gleichschenkliges Dreieck 312">
            <a:extLst>
              <a:ext uri="{FF2B5EF4-FFF2-40B4-BE49-F238E27FC236}">
                <a16:creationId xmlns:a16="http://schemas.microsoft.com/office/drawing/2014/main" xmlns="" id="{D3C96D78-034A-4AE1-997D-9641BDDBBEA0}"/>
              </a:ext>
            </a:extLst>
          </p:cNvPr>
          <p:cNvSpPr/>
          <p:nvPr/>
        </p:nvSpPr>
        <p:spPr>
          <a:xfrm rot="7510862">
            <a:off x="9762774" y="3159412"/>
            <a:ext cx="547902" cy="160824"/>
          </a:xfrm>
          <a:prstGeom prs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4" name="Gleichschenkliges Dreieck 313">
            <a:extLst>
              <a:ext uri="{FF2B5EF4-FFF2-40B4-BE49-F238E27FC236}">
                <a16:creationId xmlns:a16="http://schemas.microsoft.com/office/drawing/2014/main" xmlns="" id="{D68A5E81-DA1B-42FE-B43B-D14B61068E38}"/>
              </a:ext>
            </a:extLst>
          </p:cNvPr>
          <p:cNvSpPr/>
          <p:nvPr/>
        </p:nvSpPr>
        <p:spPr>
          <a:xfrm rot="11958181">
            <a:off x="10147451" y="4555309"/>
            <a:ext cx="547902" cy="160824"/>
          </a:xfrm>
          <a:prstGeom prs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5" name="Gleichschenkliges Dreieck 314">
            <a:extLst>
              <a:ext uri="{FF2B5EF4-FFF2-40B4-BE49-F238E27FC236}">
                <a16:creationId xmlns:a16="http://schemas.microsoft.com/office/drawing/2014/main" xmlns="" id="{E4B09A26-4CEF-4668-94D5-B8D066A9C381}"/>
              </a:ext>
            </a:extLst>
          </p:cNvPr>
          <p:cNvSpPr/>
          <p:nvPr/>
        </p:nvSpPr>
        <p:spPr>
          <a:xfrm rot="16200000">
            <a:off x="8951220" y="5397784"/>
            <a:ext cx="547902" cy="160824"/>
          </a:xfrm>
          <a:prstGeom prs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6" name="Gleichschenkliges Dreieck 315">
            <a:extLst>
              <a:ext uri="{FF2B5EF4-FFF2-40B4-BE49-F238E27FC236}">
                <a16:creationId xmlns:a16="http://schemas.microsoft.com/office/drawing/2014/main" xmlns="" id="{212944E4-8AD2-4A48-9960-92968A31B693}"/>
              </a:ext>
            </a:extLst>
          </p:cNvPr>
          <p:cNvSpPr/>
          <p:nvPr/>
        </p:nvSpPr>
        <p:spPr>
          <a:xfrm rot="20444859">
            <a:off x="7856399" y="4442751"/>
            <a:ext cx="547902" cy="160824"/>
          </a:xfrm>
          <a:prstGeom prs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2" name="Textfeld 321">
            <a:extLst>
              <a:ext uri="{FF2B5EF4-FFF2-40B4-BE49-F238E27FC236}">
                <a16:creationId xmlns:a16="http://schemas.microsoft.com/office/drawing/2014/main" xmlns="" id="{405EBF34-AAB8-4815-BBBD-7BB65CA0E7D2}"/>
              </a:ext>
            </a:extLst>
          </p:cNvPr>
          <p:cNvSpPr txBox="1"/>
          <p:nvPr/>
        </p:nvSpPr>
        <p:spPr>
          <a:xfrm>
            <a:off x="8707708" y="3756522"/>
            <a:ext cx="1165768" cy="738664"/>
          </a:xfrm>
          <a:prstGeom prst="rect">
            <a:avLst/>
          </a:prstGeom>
          <a:noFill/>
        </p:spPr>
        <p:txBody>
          <a:bodyPr wrap="none" rtlCol="0">
            <a:spAutoFit/>
          </a:bodyPr>
          <a:lstStyle/>
          <a:p>
            <a:pPr algn="ctr"/>
            <a:r>
              <a:rPr lang="en-GB" sz="1400"/>
              <a:t>BCM</a:t>
            </a:r>
            <a:br>
              <a:rPr lang="en-GB" sz="1400"/>
            </a:br>
            <a:r>
              <a:rPr lang="en-GB" sz="1400"/>
              <a:t>Programa</a:t>
            </a:r>
            <a:br>
              <a:rPr lang="en-GB" sz="1400"/>
            </a:br>
            <a:r>
              <a:rPr lang="en-GB" sz="1400"/>
              <a:t>Gestión </a:t>
            </a:r>
            <a:endParaRPr lang="en-GB" sz="1400" dirty="0"/>
          </a:p>
        </p:txBody>
      </p:sp>
      <p:sp>
        <p:nvSpPr>
          <p:cNvPr id="323" name="Gleichschenkliges Dreieck 322">
            <a:extLst>
              <a:ext uri="{FF2B5EF4-FFF2-40B4-BE49-F238E27FC236}">
                <a16:creationId xmlns:a16="http://schemas.microsoft.com/office/drawing/2014/main" xmlns="" id="{3036C30B-D9D5-43A0-AA62-2BA386B5ABB6}"/>
              </a:ext>
            </a:extLst>
          </p:cNvPr>
          <p:cNvSpPr/>
          <p:nvPr/>
        </p:nvSpPr>
        <p:spPr>
          <a:xfrm rot="17954094">
            <a:off x="8591295" y="3920439"/>
            <a:ext cx="295974" cy="169770"/>
          </a:xfrm>
          <a:prstGeom prst="triangle">
            <a:avLst/>
          </a:prstGeom>
          <a:solidFill>
            <a:srgbClr val="ED7D31"/>
          </a:solidFill>
          <a:ln>
            <a:solidFill>
              <a:srgbClr val="ED7D3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4" name="Gleichschenkliges Dreieck 323">
            <a:extLst>
              <a:ext uri="{FF2B5EF4-FFF2-40B4-BE49-F238E27FC236}">
                <a16:creationId xmlns:a16="http://schemas.microsoft.com/office/drawing/2014/main" xmlns="" id="{792EC749-0C25-4BE2-88F5-30195DBF355A}"/>
              </a:ext>
            </a:extLst>
          </p:cNvPr>
          <p:cNvSpPr/>
          <p:nvPr/>
        </p:nvSpPr>
        <p:spPr>
          <a:xfrm>
            <a:off x="9142605" y="3559005"/>
            <a:ext cx="295974" cy="169770"/>
          </a:xfrm>
          <a:prstGeom prst="triangle">
            <a:avLst/>
          </a:prstGeom>
          <a:solidFill>
            <a:srgbClr val="A5A5A5"/>
          </a:solidFill>
          <a:ln>
            <a:solidFill>
              <a:srgbClr val="A5A5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5" name="Gleichschenkliges Dreieck 324">
            <a:extLst>
              <a:ext uri="{FF2B5EF4-FFF2-40B4-BE49-F238E27FC236}">
                <a16:creationId xmlns:a16="http://schemas.microsoft.com/office/drawing/2014/main" xmlns="" id="{DB4B24A3-D136-4457-BAD5-6D252671AB65}"/>
              </a:ext>
            </a:extLst>
          </p:cNvPr>
          <p:cNvSpPr/>
          <p:nvPr/>
        </p:nvSpPr>
        <p:spPr>
          <a:xfrm rot="4113044">
            <a:off x="9710455" y="3933356"/>
            <a:ext cx="295974" cy="169770"/>
          </a:xfrm>
          <a:prstGeom prst="triangl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6" name="Gleichschenkliges Dreieck 325">
            <a:extLst>
              <a:ext uri="{FF2B5EF4-FFF2-40B4-BE49-F238E27FC236}">
                <a16:creationId xmlns:a16="http://schemas.microsoft.com/office/drawing/2014/main" xmlns="" id="{D011D404-DAE2-44FE-9D73-1FBA5914D269}"/>
              </a:ext>
            </a:extLst>
          </p:cNvPr>
          <p:cNvSpPr/>
          <p:nvPr/>
        </p:nvSpPr>
        <p:spPr>
          <a:xfrm rot="8312684">
            <a:off x="9483761" y="4639612"/>
            <a:ext cx="295974" cy="169770"/>
          </a:xfrm>
          <a:prstGeom prst="triangle">
            <a:avLst/>
          </a:prstGeom>
          <a:solidFill>
            <a:srgbClr val="5B9BD5"/>
          </a:solidFill>
          <a:ln>
            <a:solidFill>
              <a:srgbClr val="5B9B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7" name="Gleichschenkliges Dreieck 326">
            <a:extLst>
              <a:ext uri="{FF2B5EF4-FFF2-40B4-BE49-F238E27FC236}">
                <a16:creationId xmlns:a16="http://schemas.microsoft.com/office/drawing/2014/main" xmlns="" id="{2EDA9C4D-9EE9-451A-8C60-EB4F101C759F}"/>
              </a:ext>
            </a:extLst>
          </p:cNvPr>
          <p:cNvSpPr/>
          <p:nvPr/>
        </p:nvSpPr>
        <p:spPr>
          <a:xfrm rot="13143450">
            <a:off x="8795683" y="4624185"/>
            <a:ext cx="295974" cy="169770"/>
          </a:xfrm>
          <a:prstGeom prst="triangle">
            <a:avLst/>
          </a:prstGeom>
          <a:solidFill>
            <a:srgbClr val="4472C4"/>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8" name="Textfeld 327">
            <a:extLst>
              <a:ext uri="{FF2B5EF4-FFF2-40B4-BE49-F238E27FC236}">
                <a16:creationId xmlns:a16="http://schemas.microsoft.com/office/drawing/2014/main" xmlns="" id="{D2F72392-6049-458D-8F95-A810DDF677B7}"/>
              </a:ext>
            </a:extLst>
          </p:cNvPr>
          <p:cNvSpPr txBox="1"/>
          <p:nvPr/>
        </p:nvSpPr>
        <p:spPr>
          <a:xfrm>
            <a:off x="8769874" y="2437627"/>
            <a:ext cx="1041439" cy="738664"/>
          </a:xfrm>
          <a:prstGeom prst="rect">
            <a:avLst/>
          </a:prstGeom>
          <a:noFill/>
        </p:spPr>
        <p:txBody>
          <a:bodyPr wrap="none" rtlCol="0">
            <a:spAutoFit/>
          </a:bodyPr>
          <a:lstStyle/>
          <a:p>
            <a:pPr algn="ctr"/>
            <a:r>
              <a:rPr lang="en-GB" sz="1400">
                <a:solidFill>
                  <a:schemeClr val="bg1"/>
                </a:solidFill>
              </a:rPr>
              <a:t>Comprender</a:t>
            </a:r>
            <a:br>
              <a:rPr lang="en-GB" sz="1400">
                <a:solidFill>
                  <a:schemeClr val="bg1"/>
                </a:solidFill>
              </a:rPr>
            </a:br>
            <a:r>
              <a:rPr lang="en-GB" sz="1400">
                <a:solidFill>
                  <a:schemeClr val="bg1"/>
                </a:solidFill>
              </a:rPr>
              <a:t>su</a:t>
            </a:r>
            <a:br>
              <a:rPr lang="en-GB" sz="1400">
                <a:solidFill>
                  <a:schemeClr val="bg1"/>
                </a:solidFill>
              </a:rPr>
            </a:br>
            <a:r>
              <a:rPr lang="en-GB" sz="1400">
                <a:solidFill>
                  <a:schemeClr val="bg1"/>
                </a:solidFill>
              </a:rPr>
              <a:t>negocio</a:t>
            </a:r>
            <a:endParaRPr lang="en-GB" sz="1400" dirty="0">
              <a:solidFill>
                <a:schemeClr val="bg1"/>
              </a:solidFill>
            </a:endParaRPr>
          </a:p>
        </p:txBody>
      </p:sp>
      <p:sp>
        <p:nvSpPr>
          <p:cNvPr id="329" name="Textfeld 328">
            <a:extLst>
              <a:ext uri="{FF2B5EF4-FFF2-40B4-BE49-F238E27FC236}">
                <a16:creationId xmlns:a16="http://schemas.microsoft.com/office/drawing/2014/main" xmlns="" id="{98BE6618-6792-4FAC-BD18-914C2DFFA89E}"/>
              </a:ext>
            </a:extLst>
          </p:cNvPr>
          <p:cNvSpPr txBox="1"/>
          <p:nvPr/>
        </p:nvSpPr>
        <p:spPr>
          <a:xfrm>
            <a:off x="10126737" y="3367681"/>
            <a:ext cx="922112" cy="738664"/>
          </a:xfrm>
          <a:prstGeom prst="rect">
            <a:avLst/>
          </a:prstGeom>
          <a:noFill/>
        </p:spPr>
        <p:txBody>
          <a:bodyPr wrap="none" rtlCol="0">
            <a:spAutoFit/>
          </a:bodyPr>
          <a:lstStyle/>
          <a:p>
            <a:pPr algn="ctr"/>
            <a:r>
              <a:rPr lang="en-GB" sz="1400">
                <a:solidFill>
                  <a:schemeClr val="bg1"/>
                </a:solidFill>
              </a:rPr>
              <a:t>Empresa</a:t>
            </a:r>
            <a:br>
              <a:rPr lang="en-GB" sz="1400">
                <a:solidFill>
                  <a:schemeClr val="bg1"/>
                </a:solidFill>
              </a:rPr>
            </a:br>
            <a:r>
              <a:rPr lang="en-GB" sz="1400">
                <a:solidFill>
                  <a:schemeClr val="bg1"/>
                </a:solidFill>
              </a:rPr>
              <a:t>continuidad de la empresa</a:t>
            </a:r>
            <a:br>
              <a:rPr lang="en-GB" sz="1400">
                <a:solidFill>
                  <a:schemeClr val="bg1"/>
                </a:solidFill>
              </a:rPr>
            </a:br>
            <a:r>
              <a:rPr lang="en-GB" sz="1400">
                <a:solidFill>
                  <a:schemeClr val="bg1"/>
                </a:solidFill>
              </a:rPr>
              <a:t>estrategias</a:t>
            </a:r>
            <a:endParaRPr lang="en-GB" sz="1400" dirty="0">
              <a:solidFill>
                <a:schemeClr val="bg1"/>
              </a:solidFill>
            </a:endParaRPr>
          </a:p>
        </p:txBody>
      </p:sp>
      <p:sp>
        <p:nvSpPr>
          <p:cNvPr id="330" name="Textfeld 329">
            <a:extLst>
              <a:ext uri="{FF2B5EF4-FFF2-40B4-BE49-F238E27FC236}">
                <a16:creationId xmlns:a16="http://schemas.microsoft.com/office/drawing/2014/main" xmlns="" id="{73178C06-3DC1-4C3C-A7D8-76ADEBC81685}"/>
              </a:ext>
            </a:extLst>
          </p:cNvPr>
          <p:cNvSpPr txBox="1"/>
          <p:nvPr/>
        </p:nvSpPr>
        <p:spPr>
          <a:xfrm>
            <a:off x="9462583" y="4992191"/>
            <a:ext cx="1297085" cy="954107"/>
          </a:xfrm>
          <a:prstGeom prst="rect">
            <a:avLst/>
          </a:prstGeom>
          <a:noFill/>
        </p:spPr>
        <p:txBody>
          <a:bodyPr wrap="none" rtlCol="0">
            <a:spAutoFit/>
          </a:bodyPr>
          <a:lstStyle/>
          <a:p>
            <a:pPr algn="ctr"/>
            <a:r>
              <a:rPr lang="en-GB" sz="1400">
                <a:solidFill>
                  <a:schemeClr val="bg1"/>
                </a:solidFill>
              </a:rPr>
              <a:t>Desarrollar</a:t>
            </a:r>
            <a:br>
              <a:rPr lang="en-GB" sz="1400">
                <a:solidFill>
                  <a:schemeClr val="bg1"/>
                </a:solidFill>
              </a:rPr>
            </a:br>
            <a:r>
              <a:rPr lang="en-GB" sz="1400">
                <a:solidFill>
                  <a:schemeClr val="bg1"/>
                </a:solidFill>
              </a:rPr>
              <a:t>e implementar</a:t>
            </a:r>
            <a:br>
              <a:rPr lang="en-GB" sz="1400">
                <a:solidFill>
                  <a:schemeClr val="bg1"/>
                </a:solidFill>
              </a:rPr>
            </a:br>
            <a:r>
              <a:rPr lang="en-GB" sz="1400">
                <a:solidFill>
                  <a:schemeClr val="bg1"/>
                </a:solidFill>
              </a:rPr>
              <a:t>una respuesta </a:t>
            </a:r>
            <a:br>
              <a:rPr lang="en-GB" sz="1400">
                <a:solidFill>
                  <a:schemeClr val="bg1"/>
                </a:solidFill>
              </a:rPr>
            </a:br>
            <a:r>
              <a:rPr lang="en-GB" sz="1400">
                <a:solidFill>
                  <a:schemeClr val="bg1"/>
                </a:solidFill>
              </a:rPr>
              <a:t>respuesta</a:t>
            </a:r>
            <a:endParaRPr lang="en-GB" sz="1400" dirty="0">
              <a:solidFill>
                <a:schemeClr val="bg1"/>
              </a:solidFill>
            </a:endParaRPr>
          </a:p>
        </p:txBody>
      </p:sp>
      <p:sp>
        <p:nvSpPr>
          <p:cNvPr id="331" name="Textfeld 330">
            <a:extLst>
              <a:ext uri="{FF2B5EF4-FFF2-40B4-BE49-F238E27FC236}">
                <a16:creationId xmlns:a16="http://schemas.microsoft.com/office/drawing/2014/main" xmlns="" id="{B3DB0BFF-6847-48FE-937B-4223CD90FC7E}"/>
              </a:ext>
            </a:extLst>
          </p:cNvPr>
          <p:cNvSpPr txBox="1"/>
          <p:nvPr/>
        </p:nvSpPr>
        <p:spPr>
          <a:xfrm>
            <a:off x="7987861" y="4975157"/>
            <a:ext cx="1091966" cy="954107"/>
          </a:xfrm>
          <a:prstGeom prst="rect">
            <a:avLst/>
          </a:prstGeom>
          <a:noFill/>
        </p:spPr>
        <p:txBody>
          <a:bodyPr wrap="none" rtlCol="0">
            <a:spAutoFit/>
          </a:bodyPr>
          <a:lstStyle/>
          <a:p>
            <a:pPr algn="ctr"/>
            <a:r>
              <a:rPr lang="en-GB" sz="1400">
                <a:solidFill>
                  <a:schemeClr val="bg1"/>
                </a:solidFill>
              </a:rPr>
              <a:t>Construir e</a:t>
            </a:r>
            <a:br>
              <a:rPr lang="en-GB" sz="1400">
                <a:solidFill>
                  <a:schemeClr val="bg1"/>
                </a:solidFill>
              </a:rPr>
            </a:br>
            <a:r>
              <a:rPr lang="en-GB" sz="1400">
                <a:solidFill>
                  <a:schemeClr val="bg1"/>
                </a:solidFill>
              </a:rPr>
              <a:t>integración de</a:t>
            </a:r>
            <a:br>
              <a:rPr lang="en-GB" sz="1400">
                <a:solidFill>
                  <a:schemeClr val="bg1"/>
                </a:solidFill>
              </a:rPr>
            </a:br>
            <a:r>
              <a:rPr lang="en-GB" sz="1400">
                <a:solidFill>
                  <a:schemeClr val="bg1"/>
                </a:solidFill>
              </a:rPr>
              <a:t>BCM </a:t>
            </a:r>
            <a:br>
              <a:rPr lang="en-GB" sz="1400">
                <a:solidFill>
                  <a:schemeClr val="bg1"/>
                </a:solidFill>
              </a:rPr>
            </a:br>
            <a:r>
              <a:rPr lang="en-GB" sz="1400">
                <a:solidFill>
                  <a:schemeClr val="bg1"/>
                </a:solidFill>
              </a:rPr>
              <a:t>cultura</a:t>
            </a:r>
            <a:endParaRPr lang="en-GB" sz="1400" dirty="0">
              <a:solidFill>
                <a:schemeClr val="bg1"/>
              </a:solidFill>
            </a:endParaRPr>
          </a:p>
        </p:txBody>
      </p:sp>
      <p:sp>
        <p:nvSpPr>
          <p:cNvPr id="332" name="Textfeld 331">
            <a:extLst>
              <a:ext uri="{FF2B5EF4-FFF2-40B4-BE49-F238E27FC236}">
                <a16:creationId xmlns:a16="http://schemas.microsoft.com/office/drawing/2014/main" xmlns="" id="{9D25CA16-057A-4DEE-A444-8B2D76F19D52}"/>
              </a:ext>
            </a:extLst>
          </p:cNvPr>
          <p:cNvSpPr txBox="1"/>
          <p:nvPr/>
        </p:nvSpPr>
        <p:spPr>
          <a:xfrm>
            <a:off x="7375475" y="3330212"/>
            <a:ext cx="1138068" cy="738664"/>
          </a:xfrm>
          <a:prstGeom prst="rect">
            <a:avLst/>
          </a:prstGeom>
          <a:noFill/>
        </p:spPr>
        <p:txBody>
          <a:bodyPr wrap="none" rtlCol="0">
            <a:spAutoFit/>
          </a:bodyPr>
          <a:lstStyle/>
          <a:p>
            <a:pPr algn="ctr"/>
            <a:r>
              <a:rPr lang="en-GB" sz="1400">
                <a:solidFill>
                  <a:schemeClr val="bg1"/>
                </a:solidFill>
              </a:rPr>
              <a:t>Ejercicio,</a:t>
            </a:r>
            <a:br>
              <a:rPr lang="en-GB" sz="1400">
                <a:solidFill>
                  <a:schemeClr val="bg1"/>
                </a:solidFill>
              </a:rPr>
            </a:br>
            <a:r>
              <a:rPr lang="en-GB" sz="1400">
                <a:solidFill>
                  <a:schemeClr val="bg1"/>
                </a:solidFill>
              </a:rPr>
              <a:t>mantenimiento</a:t>
            </a:r>
            <a:br>
              <a:rPr lang="en-GB" sz="1400">
                <a:solidFill>
                  <a:schemeClr val="bg1"/>
                </a:solidFill>
              </a:rPr>
            </a:br>
            <a:r>
              <a:rPr lang="en-GB" sz="1400">
                <a:solidFill>
                  <a:schemeClr val="bg1"/>
                </a:solidFill>
              </a:rPr>
              <a:t>y auditoría</a:t>
            </a:r>
            <a:endParaRPr lang="en-GB" sz="1400" dirty="0">
              <a:solidFill>
                <a:schemeClr val="bg1"/>
              </a:solidFill>
            </a:endParaRPr>
          </a:p>
        </p:txBody>
      </p:sp>
      <p:sp>
        <p:nvSpPr>
          <p:cNvPr id="22" name="Ellipse 21">
            <a:extLst>
              <a:ext uri="{FF2B5EF4-FFF2-40B4-BE49-F238E27FC236}">
                <a16:creationId xmlns:a16="http://schemas.microsoft.com/office/drawing/2014/main" xmlns="" id="{DF4A991F-96D6-4A69-9300-C89426EC4D70}"/>
              </a:ext>
            </a:extLst>
          </p:cNvPr>
          <p:cNvSpPr/>
          <p:nvPr/>
        </p:nvSpPr>
        <p:spPr>
          <a:xfrm>
            <a:off x="8657250" y="1788701"/>
            <a:ext cx="360000" cy="36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1 </a:t>
            </a:r>
            <a:endParaRPr lang="en-GB" dirty="0"/>
          </a:p>
        </p:txBody>
      </p:sp>
      <p:sp>
        <p:nvSpPr>
          <p:cNvPr id="333" name="Ellipse 332">
            <a:extLst>
              <a:ext uri="{FF2B5EF4-FFF2-40B4-BE49-F238E27FC236}">
                <a16:creationId xmlns:a16="http://schemas.microsoft.com/office/drawing/2014/main" xmlns="" id="{FFD38BDD-8FBD-4F18-A58C-94200D67C3FE}"/>
              </a:ext>
            </a:extLst>
          </p:cNvPr>
          <p:cNvSpPr/>
          <p:nvPr/>
        </p:nvSpPr>
        <p:spPr>
          <a:xfrm>
            <a:off x="11167198" y="3305597"/>
            <a:ext cx="360000" cy="36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2 </a:t>
            </a:r>
            <a:endParaRPr lang="en-GB" dirty="0"/>
          </a:p>
        </p:txBody>
      </p:sp>
      <p:sp>
        <p:nvSpPr>
          <p:cNvPr id="334" name="Ellipse 333">
            <a:extLst>
              <a:ext uri="{FF2B5EF4-FFF2-40B4-BE49-F238E27FC236}">
                <a16:creationId xmlns:a16="http://schemas.microsoft.com/office/drawing/2014/main" xmlns="" id="{81F2C67B-6030-4CDE-9029-62E9FC87E443}"/>
              </a:ext>
            </a:extLst>
          </p:cNvPr>
          <p:cNvSpPr/>
          <p:nvPr/>
        </p:nvSpPr>
        <p:spPr>
          <a:xfrm>
            <a:off x="10346534" y="5872400"/>
            <a:ext cx="360000" cy="36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3 </a:t>
            </a:r>
            <a:endParaRPr lang="en-GB" dirty="0"/>
          </a:p>
        </p:txBody>
      </p:sp>
      <p:sp>
        <p:nvSpPr>
          <p:cNvPr id="335" name="Ellipse 334">
            <a:extLst>
              <a:ext uri="{FF2B5EF4-FFF2-40B4-BE49-F238E27FC236}">
                <a16:creationId xmlns:a16="http://schemas.microsoft.com/office/drawing/2014/main" xmlns="" id="{DAA0B68B-466C-4190-8E58-CF08293FE1A8}"/>
              </a:ext>
            </a:extLst>
          </p:cNvPr>
          <p:cNvSpPr/>
          <p:nvPr/>
        </p:nvSpPr>
        <p:spPr>
          <a:xfrm>
            <a:off x="7883847" y="5866652"/>
            <a:ext cx="360000" cy="36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4 </a:t>
            </a:r>
            <a:endParaRPr lang="en-GB" dirty="0"/>
          </a:p>
        </p:txBody>
      </p:sp>
      <p:sp>
        <p:nvSpPr>
          <p:cNvPr id="336" name="Ellipse 335">
            <a:extLst>
              <a:ext uri="{FF2B5EF4-FFF2-40B4-BE49-F238E27FC236}">
                <a16:creationId xmlns:a16="http://schemas.microsoft.com/office/drawing/2014/main" xmlns="" id="{577B148F-849C-4BF2-8981-D4F469501C00}"/>
              </a:ext>
            </a:extLst>
          </p:cNvPr>
          <p:cNvSpPr/>
          <p:nvPr/>
        </p:nvSpPr>
        <p:spPr>
          <a:xfrm>
            <a:off x="7029349" y="3330065"/>
            <a:ext cx="360000" cy="36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5 </a:t>
            </a:r>
            <a:endParaRPr lang="en-GB" dirty="0"/>
          </a:p>
        </p:txBody>
      </p:sp>
      <p:sp>
        <p:nvSpPr>
          <p:cNvPr id="337" name="Ellipse 336">
            <a:extLst>
              <a:ext uri="{FF2B5EF4-FFF2-40B4-BE49-F238E27FC236}">
                <a16:creationId xmlns:a16="http://schemas.microsoft.com/office/drawing/2014/main" xmlns="" id="{3E91C6DF-FE73-461F-9D96-56B13D7CFB9C}"/>
              </a:ext>
            </a:extLst>
          </p:cNvPr>
          <p:cNvSpPr/>
          <p:nvPr/>
        </p:nvSpPr>
        <p:spPr>
          <a:xfrm>
            <a:off x="9115875" y="4482018"/>
            <a:ext cx="360000" cy="36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6 </a:t>
            </a:r>
            <a:endParaRPr lang="en-GB" dirty="0"/>
          </a:p>
        </p:txBody>
      </p:sp>
      <p:sp>
        <p:nvSpPr>
          <p:cNvPr id="338" name="Ellipse 337">
            <a:extLst>
              <a:ext uri="{FF2B5EF4-FFF2-40B4-BE49-F238E27FC236}">
                <a16:creationId xmlns:a16="http://schemas.microsoft.com/office/drawing/2014/main" xmlns="" id="{947155E0-3C9B-4F5F-9E35-5861DE4DB4D8}"/>
              </a:ext>
            </a:extLst>
          </p:cNvPr>
          <p:cNvSpPr/>
          <p:nvPr/>
        </p:nvSpPr>
        <p:spPr>
          <a:xfrm>
            <a:off x="4906362" y="5891502"/>
            <a:ext cx="360000" cy="36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N </a:t>
            </a:r>
            <a:endParaRPr lang="en-GB" dirty="0"/>
          </a:p>
        </p:txBody>
      </p:sp>
      <p:sp>
        <p:nvSpPr>
          <p:cNvPr id="340" name="Textfeld 339">
            <a:extLst>
              <a:ext uri="{FF2B5EF4-FFF2-40B4-BE49-F238E27FC236}">
                <a16:creationId xmlns:a16="http://schemas.microsoft.com/office/drawing/2014/main" xmlns="" id="{D67B6B15-862D-4272-A252-8484BFA541DC}"/>
              </a:ext>
            </a:extLst>
          </p:cNvPr>
          <p:cNvSpPr txBox="1"/>
          <p:nvPr/>
        </p:nvSpPr>
        <p:spPr>
          <a:xfrm>
            <a:off x="5290973" y="5809892"/>
            <a:ext cx="1614481" cy="523220"/>
          </a:xfrm>
          <a:prstGeom prst="rect">
            <a:avLst/>
          </a:prstGeom>
          <a:noFill/>
        </p:spPr>
        <p:txBody>
          <a:bodyPr wrap="none" rtlCol="0">
            <a:spAutoFit/>
          </a:bodyPr>
          <a:lstStyle/>
          <a:p>
            <a:r>
              <a:rPr lang="en-GB" sz="1400"/>
              <a:t>Continuidad de negocio</a:t>
            </a:r>
            <a:br>
              <a:rPr lang="en-GB" sz="1400"/>
            </a:br>
            <a:r>
              <a:rPr lang="en-GB" sz="1400"/>
              <a:t>Nivel de madurez </a:t>
            </a:r>
            <a:endParaRPr lang="en-GB" sz="1400" dirty="0"/>
          </a:p>
        </p:txBody>
      </p:sp>
    </p:spTree>
    <p:extLst>
      <p:ext uri="{BB962C8B-B14F-4D97-AF65-F5344CB8AC3E}">
        <p14:creationId xmlns:p14="http://schemas.microsoft.com/office/powerpoint/2010/main" val="38257161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96288" y="489489"/>
            <a:ext cx="8852375" cy="697353"/>
          </a:xfrm>
        </p:spPr>
        <p:txBody>
          <a:bodyPr>
            <a:normAutofit/>
          </a:bodyPr>
          <a:lstStyle/>
          <a:p>
            <a:r>
              <a:rPr lang="en-GB" dirty="0"/>
              <a:t>El ciclo de gestión de la continuidad de las actividade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30986" y="1939934"/>
            <a:ext cx="2719697" cy="3360197"/>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t>Para entender mejor su negocio, debe </a:t>
            </a:r>
            <a:endParaRPr lang="en-US" dirty="0"/>
          </a:p>
          <a:p>
            <a:pPr marL="285750" indent="-285750" algn="l">
              <a:lnSpc>
                <a:spcPct val="100000"/>
              </a:lnSpc>
              <a:spcBef>
                <a:spcPts val="600"/>
              </a:spcBef>
              <a:buFont typeface="Wingdings" panose="05000000000000000000" pitchFamily="2" charset="2"/>
              <a:buChar char="à"/>
            </a:pPr>
            <a:r>
              <a:rPr lang="en-GB" altLang="de-DE" sz="2200" dirty="0">
                <a:latin typeface="+mj-lt"/>
                <a:sym typeface="Wingdings" panose="05000000000000000000" pitchFamily="2" charset="2"/>
              </a:rPr>
              <a:t>Realizar un análisis de impacto empresarial</a:t>
            </a:r>
            <a:endParaRPr lang="en-GB" altLang="de-DE" sz="2200" dirty="0">
              <a:latin typeface="+mj-lt"/>
            </a:endParaRPr>
          </a:p>
          <a:p>
            <a:pPr marL="285750" indent="-285750" algn="l">
              <a:lnSpc>
                <a:spcPct val="100000"/>
              </a:lnSpc>
              <a:spcBef>
                <a:spcPts val="600"/>
              </a:spcBef>
              <a:buFont typeface="Wingdings" panose="05000000000000000000" pitchFamily="2" charset="2"/>
              <a:buChar char="à"/>
            </a:pPr>
            <a:r>
              <a:rPr lang="en-GB" altLang="de-DE" sz="2200" dirty="0">
                <a:latin typeface="+mj-lt"/>
                <a:sym typeface="Wingdings" panose="05000000000000000000" pitchFamily="2" charset="2"/>
              </a:rPr>
              <a:t>Aplicar la evaluación de riesgos y las medidas de control</a:t>
            </a:r>
            <a:endParaRPr lang="en-GB" altLang="de-DE" sz="2200" dirty="0">
              <a:latin typeface="+mj-lt"/>
            </a:endParaRPr>
          </a:p>
          <a:p>
            <a:pPr algn="l">
              <a:lnSpc>
                <a:spcPct val="100000"/>
              </a:lnSpc>
              <a:spcBef>
                <a:spcPts val="600"/>
              </a:spcBef>
            </a:pPr>
            <a:endParaRPr lang="en-GB" altLang="de-DE" sz="2200" dirty="0">
              <a:latin typeface="+mj-lt"/>
            </a:endParaRPr>
          </a:p>
        </p:txBody>
      </p:sp>
      <p:grpSp>
        <p:nvGrpSpPr>
          <p:cNvPr id="7" name="Gruppieren 6">
            <a:extLst>
              <a:ext uri="{FF2B5EF4-FFF2-40B4-BE49-F238E27FC236}">
                <a16:creationId xmlns:a16="http://schemas.microsoft.com/office/drawing/2014/main" xmlns="" id="{6BAA9461-0926-4338-9034-AFB36BD5DDE1}"/>
              </a:ext>
            </a:extLst>
          </p:cNvPr>
          <p:cNvGrpSpPr>
            <a:grpSpLocks noChangeAspect="1"/>
          </p:cNvGrpSpPr>
          <p:nvPr/>
        </p:nvGrpSpPr>
        <p:grpSpPr>
          <a:xfrm>
            <a:off x="464898" y="5260687"/>
            <a:ext cx="1425467" cy="1430646"/>
            <a:chOff x="5230592" y="1865866"/>
            <a:chExt cx="4175999" cy="4191169"/>
          </a:xfrm>
        </p:grpSpPr>
        <p:grpSp>
          <p:nvGrpSpPr>
            <p:cNvPr id="24" name="Gruppieren 23">
              <a:extLst>
                <a:ext uri="{FF2B5EF4-FFF2-40B4-BE49-F238E27FC236}">
                  <a16:creationId xmlns:a16="http://schemas.microsoft.com/office/drawing/2014/main" xmlns="" id="{272239DA-1B06-425C-A5B2-EC9059DF8DDC}"/>
                </a:ext>
              </a:extLst>
            </p:cNvPr>
            <p:cNvGrpSpPr>
              <a:grpSpLocks noChangeAspect="1"/>
            </p:cNvGrpSpPr>
            <p:nvPr/>
          </p:nvGrpSpPr>
          <p:grpSpPr>
            <a:xfrm>
              <a:off x="5230592" y="1881035"/>
              <a:ext cx="4175999" cy="4176000"/>
              <a:chOff x="5230592" y="1881035"/>
              <a:chExt cx="4175999" cy="4176000"/>
            </a:xfrm>
          </p:grpSpPr>
          <p:sp>
            <p:nvSpPr>
              <p:cNvPr id="305" name="Freeform 48">
                <a:extLst>
                  <a:ext uri="{FF2B5EF4-FFF2-40B4-BE49-F238E27FC236}">
                    <a16:creationId xmlns:a16="http://schemas.microsoft.com/office/drawing/2014/main" xmlns="" id="{8E41C000-1DB8-4A00-8679-35E2EAD75C91}"/>
                  </a:ext>
                </a:extLst>
              </p:cNvPr>
              <p:cNvSpPr/>
              <p:nvPr/>
            </p:nvSpPr>
            <p:spPr>
              <a:xfrm>
                <a:off x="6412947" y="1881035"/>
                <a:ext cx="1814615" cy="1603190"/>
              </a:xfrm>
              <a:custGeom>
                <a:avLst/>
                <a:gdLst>
                  <a:gd name="connsiteX0" fmla="*/ 2167432 w 4342825"/>
                  <a:gd name="connsiteY0" fmla="*/ 0 h 3836832"/>
                  <a:gd name="connsiteX1" fmla="*/ 4342825 w 4342825"/>
                  <a:gd name="connsiteY1" fmla="*/ 2179445 h 3836832"/>
                  <a:gd name="connsiteX2" fmla="*/ 3196076 w 4342825"/>
                  <a:gd name="connsiteY2" fmla="*/ 3836832 h 3836832"/>
                  <a:gd name="connsiteX3" fmla="*/ 3130926 w 4342825"/>
                  <a:gd name="connsiteY3" fmla="*/ 3797252 h 3836832"/>
                  <a:gd name="connsiteX4" fmla="*/ 2167432 w 4342825"/>
                  <a:gd name="connsiteY4" fmla="*/ 3553287 h 3836832"/>
                  <a:gd name="connsiteX5" fmla="*/ 1203938 w 4342825"/>
                  <a:gd name="connsiteY5" fmla="*/ 3797252 h 3836832"/>
                  <a:gd name="connsiteX6" fmla="*/ 1143466 w 4342825"/>
                  <a:gd name="connsiteY6" fmla="*/ 3833990 h 3836832"/>
                  <a:gd name="connsiteX7" fmla="*/ 0 w 4342825"/>
                  <a:gd name="connsiteY7" fmla="*/ 2171469 h 3836832"/>
                  <a:gd name="connsiteX8" fmla="*/ 2167432 w 4342825"/>
                  <a:gd name="connsiteY8" fmla="*/ 0 h 383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42825" h="3836832">
                    <a:moveTo>
                      <a:pt x="2167432" y="0"/>
                    </a:moveTo>
                    <a:lnTo>
                      <a:pt x="4342825" y="2179445"/>
                    </a:lnTo>
                    <a:lnTo>
                      <a:pt x="3196076" y="3836832"/>
                    </a:lnTo>
                    <a:lnTo>
                      <a:pt x="3130926" y="3797252"/>
                    </a:lnTo>
                    <a:cubicBezTo>
                      <a:pt x="2844515" y="3641665"/>
                      <a:pt x="2516294" y="3553287"/>
                      <a:pt x="2167432" y="3553287"/>
                    </a:cubicBezTo>
                    <a:cubicBezTo>
                      <a:pt x="1818570" y="3553287"/>
                      <a:pt x="1490349" y="3641665"/>
                      <a:pt x="1203938" y="3797252"/>
                    </a:cubicBezTo>
                    <a:lnTo>
                      <a:pt x="1143466" y="3833990"/>
                    </a:lnTo>
                    <a:lnTo>
                      <a:pt x="0" y="2171469"/>
                    </a:lnTo>
                    <a:lnTo>
                      <a:pt x="2167432"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08" name="Freeform 45">
                <a:extLst>
                  <a:ext uri="{FF2B5EF4-FFF2-40B4-BE49-F238E27FC236}">
                    <a16:creationId xmlns:a16="http://schemas.microsoft.com/office/drawing/2014/main" xmlns="" id="{64FE2D3D-2C89-4277-BA06-2C7443A0397E}"/>
                  </a:ext>
                </a:extLst>
              </p:cNvPr>
              <p:cNvSpPr/>
              <p:nvPr/>
            </p:nvSpPr>
            <p:spPr>
              <a:xfrm>
                <a:off x="5230592" y="2843454"/>
                <a:ext cx="1586881" cy="1816774"/>
              </a:xfrm>
              <a:custGeom>
                <a:avLst/>
                <a:gdLst>
                  <a:gd name="connsiteX0" fmla="*/ 2665085 w 3797804"/>
                  <a:gd name="connsiteY0" fmla="*/ 0 h 4347993"/>
                  <a:gd name="connsiteX1" fmla="*/ 3797804 w 3797804"/>
                  <a:gd name="connsiteY1" fmla="*/ 1646897 h 4347993"/>
                  <a:gd name="connsiteX2" fmla="*/ 3711341 w 3797804"/>
                  <a:gd name="connsiteY2" fmla="*/ 1711553 h 4347993"/>
                  <a:gd name="connsiteX3" fmla="*/ 2975759 w 3797804"/>
                  <a:gd name="connsiteY3" fmla="*/ 3271321 h 4347993"/>
                  <a:gd name="connsiteX4" fmla="*/ 3016826 w 3797804"/>
                  <a:gd name="connsiteY4" fmla="*/ 3678693 h 4347993"/>
                  <a:gd name="connsiteX5" fmla="*/ 3037068 w 3797804"/>
                  <a:gd name="connsiteY5" fmla="*/ 3757418 h 4347993"/>
                  <a:gd name="connsiteX6" fmla="*/ 1292243 w 3797804"/>
                  <a:gd name="connsiteY6" fmla="*/ 4347993 h 4347993"/>
                  <a:gd name="connsiteX7" fmla="*/ 0 w 3797804"/>
                  <a:gd name="connsiteY7" fmla="*/ 1514136 h 4347993"/>
                  <a:gd name="connsiteX8" fmla="*/ 2665085 w 3797804"/>
                  <a:gd name="connsiteY8" fmla="*/ 0 h 4347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7804" h="4347993">
                    <a:moveTo>
                      <a:pt x="2665085" y="0"/>
                    </a:moveTo>
                    <a:lnTo>
                      <a:pt x="3797804" y="1646897"/>
                    </a:lnTo>
                    <a:lnTo>
                      <a:pt x="3711341" y="1711553"/>
                    </a:lnTo>
                    <a:cubicBezTo>
                      <a:pt x="3262103" y="2082298"/>
                      <a:pt x="2975759" y="2643370"/>
                      <a:pt x="2975759" y="3271321"/>
                    </a:cubicBezTo>
                    <a:cubicBezTo>
                      <a:pt x="2975759" y="3410866"/>
                      <a:pt x="2989899" y="3547108"/>
                      <a:pt x="3016826" y="3678693"/>
                    </a:cubicBezTo>
                    <a:lnTo>
                      <a:pt x="3037068" y="3757418"/>
                    </a:lnTo>
                    <a:lnTo>
                      <a:pt x="1292243" y="4347993"/>
                    </a:lnTo>
                    <a:lnTo>
                      <a:pt x="0" y="1514136"/>
                    </a:lnTo>
                    <a:lnTo>
                      <a:pt x="2665085" y="0"/>
                    </a:lnTo>
                    <a:close/>
                  </a:path>
                </a:pathLst>
              </a:custGeom>
              <a:solidFill>
                <a:schemeClr val="accent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09" name="Freeform 44">
                <a:extLst>
                  <a:ext uri="{FF2B5EF4-FFF2-40B4-BE49-F238E27FC236}">
                    <a16:creationId xmlns:a16="http://schemas.microsoft.com/office/drawing/2014/main" xmlns="" id="{A06290DB-875E-435C-A978-748606C01266}"/>
                  </a:ext>
                </a:extLst>
              </p:cNvPr>
              <p:cNvSpPr/>
              <p:nvPr/>
            </p:nvSpPr>
            <p:spPr>
              <a:xfrm>
                <a:off x="7821542" y="2845743"/>
                <a:ext cx="1585049" cy="1814282"/>
              </a:xfrm>
              <a:custGeom>
                <a:avLst/>
                <a:gdLst>
                  <a:gd name="connsiteX0" fmla="*/ 1137971 w 3793416"/>
                  <a:gd name="connsiteY0" fmla="*/ 0 h 4342028"/>
                  <a:gd name="connsiteX1" fmla="*/ 3793416 w 3793416"/>
                  <a:gd name="connsiteY1" fmla="*/ 1508659 h 4342028"/>
                  <a:gd name="connsiteX2" fmla="*/ 2501395 w 3793416"/>
                  <a:gd name="connsiteY2" fmla="*/ 4342028 h 4342028"/>
                  <a:gd name="connsiteX3" fmla="*/ 756418 w 3793416"/>
                  <a:gd name="connsiteY3" fmla="*/ 3751669 h 4342028"/>
                  <a:gd name="connsiteX4" fmla="*/ 776590 w 3793416"/>
                  <a:gd name="connsiteY4" fmla="*/ 3673216 h 4342028"/>
                  <a:gd name="connsiteX5" fmla="*/ 817657 w 3793416"/>
                  <a:gd name="connsiteY5" fmla="*/ 3265844 h 4342028"/>
                  <a:gd name="connsiteX6" fmla="*/ 82075 w 3793416"/>
                  <a:gd name="connsiteY6" fmla="*/ 1706076 h 4342028"/>
                  <a:gd name="connsiteX7" fmla="*/ 0 w 3793416"/>
                  <a:gd name="connsiteY7" fmla="*/ 1644701 h 4342028"/>
                  <a:gd name="connsiteX8" fmla="*/ 1137971 w 3793416"/>
                  <a:gd name="connsiteY8" fmla="*/ 0 h 434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3416" h="4342028">
                    <a:moveTo>
                      <a:pt x="1137971" y="0"/>
                    </a:moveTo>
                    <a:lnTo>
                      <a:pt x="3793416" y="1508659"/>
                    </a:lnTo>
                    <a:lnTo>
                      <a:pt x="2501395" y="4342028"/>
                    </a:lnTo>
                    <a:lnTo>
                      <a:pt x="756418" y="3751669"/>
                    </a:lnTo>
                    <a:lnTo>
                      <a:pt x="776590" y="3673216"/>
                    </a:lnTo>
                    <a:cubicBezTo>
                      <a:pt x="803517" y="3541631"/>
                      <a:pt x="817657" y="3405389"/>
                      <a:pt x="817657" y="3265844"/>
                    </a:cubicBezTo>
                    <a:cubicBezTo>
                      <a:pt x="817657" y="2637893"/>
                      <a:pt x="531313" y="2076821"/>
                      <a:pt x="82075" y="1706076"/>
                    </a:cubicBezTo>
                    <a:lnTo>
                      <a:pt x="0" y="1644701"/>
                    </a:lnTo>
                    <a:lnTo>
                      <a:pt x="1137971" y="0"/>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0" name="Freeform 42">
                <a:extLst>
                  <a:ext uri="{FF2B5EF4-FFF2-40B4-BE49-F238E27FC236}">
                    <a16:creationId xmlns:a16="http://schemas.microsoft.com/office/drawing/2014/main" xmlns="" id="{284198C2-8F5D-46D6-BAA7-CA5105A2527A}"/>
                  </a:ext>
                </a:extLst>
              </p:cNvPr>
              <p:cNvSpPr/>
              <p:nvPr/>
            </p:nvSpPr>
            <p:spPr>
              <a:xfrm>
                <a:off x="7362530" y="4497487"/>
                <a:ext cx="1475499" cy="1559547"/>
              </a:xfrm>
              <a:custGeom>
                <a:avLst/>
                <a:gdLst>
                  <a:gd name="connsiteX0" fmla="*/ 1793799 w 3531238"/>
                  <a:gd name="connsiteY0" fmla="*/ 0 h 3732384"/>
                  <a:gd name="connsiteX1" fmla="*/ 3531238 w 3531238"/>
                  <a:gd name="connsiteY1" fmla="*/ 587808 h 3732384"/>
                  <a:gd name="connsiteX2" fmla="*/ 2983224 w 3531238"/>
                  <a:gd name="connsiteY2" fmla="*/ 3732384 h 3732384"/>
                  <a:gd name="connsiteX3" fmla="*/ 0 w 3531238"/>
                  <a:gd name="connsiteY3" fmla="*/ 3312947 h 3732384"/>
                  <a:gd name="connsiteX4" fmla="*/ 0 w 3531238"/>
                  <a:gd name="connsiteY4" fmla="*/ 1328844 h 3732384"/>
                  <a:gd name="connsiteX5" fmla="*/ 101514 w 3531238"/>
                  <a:gd name="connsiteY5" fmla="*/ 1323718 h 3732384"/>
                  <a:gd name="connsiteX6" fmla="*/ 1757342 w 3531238"/>
                  <a:gd name="connsiteY6" fmla="*/ 99608 h 3732384"/>
                  <a:gd name="connsiteX7" fmla="*/ 1793799 w 3531238"/>
                  <a:gd name="connsiteY7" fmla="*/ 0 h 373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238" h="3732384">
                    <a:moveTo>
                      <a:pt x="1793799" y="0"/>
                    </a:moveTo>
                    <a:lnTo>
                      <a:pt x="3531238" y="587808"/>
                    </a:lnTo>
                    <a:lnTo>
                      <a:pt x="2983224" y="3732384"/>
                    </a:lnTo>
                    <a:lnTo>
                      <a:pt x="0" y="3312947"/>
                    </a:lnTo>
                    <a:lnTo>
                      <a:pt x="0" y="1328844"/>
                    </a:lnTo>
                    <a:lnTo>
                      <a:pt x="101514" y="1323718"/>
                    </a:lnTo>
                    <a:cubicBezTo>
                      <a:pt x="848983" y="1247808"/>
                      <a:pt x="1476056" y="764641"/>
                      <a:pt x="1757342" y="99608"/>
                    </a:cubicBezTo>
                    <a:lnTo>
                      <a:pt x="1793799" y="0"/>
                    </a:lnTo>
                    <a:close/>
                  </a:path>
                </a:pathLst>
              </a:custGeom>
              <a:solidFill>
                <a:schemeClr val="accent5">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1" name="Freeform 41">
                <a:extLst>
                  <a:ext uri="{FF2B5EF4-FFF2-40B4-BE49-F238E27FC236}">
                    <a16:creationId xmlns:a16="http://schemas.microsoft.com/office/drawing/2014/main" xmlns="" id="{5A2FBDAA-AB2E-4318-B3E6-2D62021619C3}"/>
                  </a:ext>
                </a:extLst>
              </p:cNvPr>
              <p:cNvSpPr/>
              <p:nvPr/>
            </p:nvSpPr>
            <p:spPr>
              <a:xfrm>
                <a:off x="5799193" y="4497599"/>
                <a:ext cx="1475461" cy="1559436"/>
              </a:xfrm>
              <a:custGeom>
                <a:avLst/>
                <a:gdLst>
                  <a:gd name="connsiteX0" fmla="*/ 1737443 w 3531147"/>
                  <a:gd name="connsiteY0" fmla="*/ 0 h 3732119"/>
                  <a:gd name="connsiteX1" fmla="*/ 1773803 w 3531147"/>
                  <a:gd name="connsiteY1" fmla="*/ 99343 h 3732119"/>
                  <a:gd name="connsiteX2" fmla="*/ 3429631 w 3531147"/>
                  <a:gd name="connsiteY2" fmla="*/ 1323453 h 3732119"/>
                  <a:gd name="connsiteX3" fmla="*/ 3531147 w 3531147"/>
                  <a:gd name="connsiteY3" fmla="*/ 1328579 h 3732119"/>
                  <a:gd name="connsiteX4" fmla="*/ 3531147 w 3531147"/>
                  <a:gd name="connsiteY4" fmla="*/ 3312682 h 3732119"/>
                  <a:gd name="connsiteX5" fmla="*/ 547921 w 3531147"/>
                  <a:gd name="connsiteY5" fmla="*/ 3732119 h 3732119"/>
                  <a:gd name="connsiteX6" fmla="*/ 0 w 3531147"/>
                  <a:gd name="connsiteY6" fmla="*/ 588077 h 3732119"/>
                  <a:gd name="connsiteX7" fmla="*/ 1737443 w 3531147"/>
                  <a:gd name="connsiteY7" fmla="*/ 0 h 373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147" h="3732119">
                    <a:moveTo>
                      <a:pt x="1737443" y="0"/>
                    </a:moveTo>
                    <a:lnTo>
                      <a:pt x="1773803" y="99343"/>
                    </a:lnTo>
                    <a:cubicBezTo>
                      <a:pt x="2055089" y="764376"/>
                      <a:pt x="2682162" y="1247543"/>
                      <a:pt x="3429631" y="1323453"/>
                    </a:cubicBezTo>
                    <a:lnTo>
                      <a:pt x="3531147" y="1328579"/>
                    </a:lnTo>
                    <a:lnTo>
                      <a:pt x="3531147" y="3312682"/>
                    </a:lnTo>
                    <a:lnTo>
                      <a:pt x="547921" y="3732119"/>
                    </a:lnTo>
                    <a:lnTo>
                      <a:pt x="0" y="588077"/>
                    </a:lnTo>
                    <a:lnTo>
                      <a:pt x="1737443" y="0"/>
                    </a:lnTo>
                    <a:close/>
                  </a:path>
                </a:pathLst>
              </a:custGeom>
              <a:solidFill>
                <a:scrgbClr r="0" g="0" b="0">
                  <a:alpha val="30000"/>
                </a:sc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grpSp>
        <p:sp>
          <p:nvSpPr>
            <p:cNvPr id="22" name="Ellipse 21">
              <a:extLst>
                <a:ext uri="{FF2B5EF4-FFF2-40B4-BE49-F238E27FC236}">
                  <a16:creationId xmlns:a16="http://schemas.microsoft.com/office/drawing/2014/main" xmlns="" id="{DF4A991F-96D6-4A69-9300-C89426EC4D70}"/>
                </a:ext>
              </a:extLst>
            </p:cNvPr>
            <p:cNvSpPr/>
            <p:nvPr/>
          </p:nvSpPr>
          <p:spPr>
            <a:xfrm>
              <a:off x="7138073" y="1865866"/>
              <a:ext cx="360000" cy="36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t>1 </a:t>
              </a:r>
              <a:endParaRPr lang="en-GB" sz="1200" dirty="0"/>
            </a:p>
          </p:txBody>
        </p:sp>
      </p:grpSp>
      <p:sp>
        <p:nvSpPr>
          <p:cNvPr id="41" name="Textplatzhalter 1">
            <a:extLst>
              <a:ext uri="{FF2B5EF4-FFF2-40B4-BE49-F238E27FC236}">
                <a16:creationId xmlns:a16="http://schemas.microsoft.com/office/drawing/2014/main" xmlns="" id="{7A1600A2-C58E-42AD-B86F-5A4EF6A570AB}"/>
              </a:ext>
            </a:extLst>
          </p:cNvPr>
          <p:cNvSpPr txBox="1">
            <a:spLocks/>
          </p:cNvSpPr>
          <p:nvPr/>
        </p:nvSpPr>
        <p:spPr>
          <a:xfrm>
            <a:off x="4235974" y="1256524"/>
            <a:ext cx="9086941" cy="498266"/>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a:buNone/>
              <a:defRPr sz="3600" kern="1200">
                <a:solidFill>
                  <a:srgbClr val="245473"/>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GB" sz="2000" dirty="0">
                <a:solidFill>
                  <a:srgbClr val="E53292"/>
                </a:solidFill>
              </a:rPr>
              <a:t>Etapa 1: Entender su negocio</a:t>
            </a:r>
          </a:p>
        </p:txBody>
      </p:sp>
      <p:sp>
        <p:nvSpPr>
          <p:cNvPr id="17" name="Freeform 2">
            <a:extLst>
              <a:ext uri="{FF2B5EF4-FFF2-40B4-BE49-F238E27FC236}">
                <a16:creationId xmlns:a16="http://schemas.microsoft.com/office/drawing/2014/main" xmlns="" id="{3D995078-5C3A-434C-8044-59452370E8E7}"/>
              </a:ext>
            </a:extLst>
          </p:cNvPr>
          <p:cNvSpPr>
            <a:spLocks noChangeArrowheads="1"/>
          </p:cNvSpPr>
          <p:nvPr/>
        </p:nvSpPr>
        <p:spPr bwMode="auto">
          <a:xfrm>
            <a:off x="5016871" y="3525322"/>
            <a:ext cx="1285071" cy="1285071"/>
          </a:xfrm>
          <a:custGeom>
            <a:avLst/>
            <a:gdLst>
              <a:gd name="T0" fmla="*/ 1377 w 2753"/>
              <a:gd name="T1" fmla="*/ 0 h 2752"/>
              <a:gd name="T2" fmla="*/ 1377 w 2753"/>
              <a:gd name="T3" fmla="*/ 0 h 2752"/>
              <a:gd name="T4" fmla="*/ 2752 w 2753"/>
              <a:gd name="T5" fmla="*/ 1376 h 2752"/>
              <a:gd name="T6" fmla="*/ 2752 w 2753"/>
              <a:gd name="T7" fmla="*/ 1376 h 2752"/>
              <a:gd name="T8" fmla="*/ 1377 w 2753"/>
              <a:gd name="T9" fmla="*/ 2751 h 2752"/>
              <a:gd name="T10" fmla="*/ 1377 w 2753"/>
              <a:gd name="T11" fmla="*/ 2751 h 2752"/>
              <a:gd name="T12" fmla="*/ 0 w 2753"/>
              <a:gd name="T13" fmla="*/ 1376 h 2752"/>
              <a:gd name="T14" fmla="*/ 0 w 2753"/>
              <a:gd name="T15" fmla="*/ 1376 h 2752"/>
              <a:gd name="T16" fmla="*/ 1377 w 2753"/>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3" h="2752">
                <a:moveTo>
                  <a:pt x="1377" y="0"/>
                </a:moveTo>
                <a:lnTo>
                  <a:pt x="1377" y="0"/>
                </a:lnTo>
                <a:cubicBezTo>
                  <a:pt x="2137" y="0"/>
                  <a:pt x="2752" y="616"/>
                  <a:pt x="2752" y="1376"/>
                </a:cubicBezTo>
                <a:lnTo>
                  <a:pt x="2752" y="1376"/>
                </a:lnTo>
                <a:cubicBezTo>
                  <a:pt x="2752" y="2135"/>
                  <a:pt x="2137" y="2751"/>
                  <a:pt x="1377" y="2751"/>
                </a:cubicBezTo>
                <a:lnTo>
                  <a:pt x="1377" y="2751"/>
                </a:lnTo>
                <a:cubicBezTo>
                  <a:pt x="616" y="2751"/>
                  <a:pt x="0" y="2135"/>
                  <a:pt x="0" y="1376"/>
                </a:cubicBezTo>
                <a:lnTo>
                  <a:pt x="0" y="1376"/>
                </a:lnTo>
                <a:cubicBezTo>
                  <a:pt x="0" y="616"/>
                  <a:pt x="616" y="0"/>
                  <a:pt x="1377" y="0"/>
                </a:cubicBezTo>
              </a:path>
            </a:pathLst>
          </a:custGeom>
          <a:solidFill>
            <a:schemeClr val="accent1"/>
          </a:solidFill>
          <a:ln>
            <a:noFill/>
          </a:ln>
          <a:effectLst/>
        </p:spPr>
        <p:txBody>
          <a:bodyPr wrap="none" anchor="ctr"/>
          <a:lstStyle/>
          <a:p>
            <a:endParaRPr lang="en-GB" sz="2450" dirty="0">
              <a:latin typeface="+mj-lt"/>
            </a:endParaRPr>
          </a:p>
        </p:txBody>
      </p:sp>
      <p:sp>
        <p:nvSpPr>
          <p:cNvPr id="18" name="Freeform 3">
            <a:extLst>
              <a:ext uri="{FF2B5EF4-FFF2-40B4-BE49-F238E27FC236}">
                <a16:creationId xmlns:a16="http://schemas.microsoft.com/office/drawing/2014/main" xmlns="" id="{05964768-527E-4FE5-9060-988FA2DE2414}"/>
              </a:ext>
            </a:extLst>
          </p:cNvPr>
          <p:cNvSpPr>
            <a:spLocks noChangeArrowheads="1"/>
          </p:cNvSpPr>
          <p:nvPr/>
        </p:nvSpPr>
        <p:spPr bwMode="auto">
          <a:xfrm>
            <a:off x="5222812" y="3669480"/>
            <a:ext cx="875248" cy="998814"/>
          </a:xfrm>
          <a:custGeom>
            <a:avLst/>
            <a:gdLst>
              <a:gd name="T0" fmla="*/ 885 w 1872"/>
              <a:gd name="T1" fmla="*/ 18 h 2138"/>
              <a:gd name="T2" fmla="*/ 885 w 1872"/>
              <a:gd name="T3" fmla="*/ 18 h 2138"/>
              <a:gd name="T4" fmla="*/ 986 w 1872"/>
              <a:gd name="T5" fmla="*/ 18 h 2138"/>
              <a:gd name="T6" fmla="*/ 1820 w 1872"/>
              <a:gd name="T7" fmla="*/ 500 h 2138"/>
              <a:gd name="T8" fmla="*/ 1820 w 1872"/>
              <a:gd name="T9" fmla="*/ 500 h 2138"/>
              <a:gd name="T10" fmla="*/ 1871 w 1872"/>
              <a:gd name="T11" fmla="*/ 588 h 2138"/>
              <a:gd name="T12" fmla="*/ 1871 w 1872"/>
              <a:gd name="T13" fmla="*/ 1549 h 2138"/>
              <a:gd name="T14" fmla="*/ 1871 w 1872"/>
              <a:gd name="T15" fmla="*/ 1549 h 2138"/>
              <a:gd name="T16" fmla="*/ 1820 w 1872"/>
              <a:gd name="T17" fmla="*/ 1637 h 2138"/>
              <a:gd name="T18" fmla="*/ 986 w 1872"/>
              <a:gd name="T19" fmla="*/ 2119 h 2138"/>
              <a:gd name="T20" fmla="*/ 986 w 1872"/>
              <a:gd name="T21" fmla="*/ 2119 h 2138"/>
              <a:gd name="T22" fmla="*/ 885 w 1872"/>
              <a:gd name="T23" fmla="*/ 2119 h 2138"/>
              <a:gd name="T24" fmla="*/ 50 w 1872"/>
              <a:gd name="T25" fmla="*/ 1637 h 2138"/>
              <a:gd name="T26" fmla="*/ 50 w 1872"/>
              <a:gd name="T27" fmla="*/ 1637 h 2138"/>
              <a:gd name="T28" fmla="*/ 0 w 1872"/>
              <a:gd name="T29" fmla="*/ 1549 h 2138"/>
              <a:gd name="T30" fmla="*/ 0 w 1872"/>
              <a:gd name="T31" fmla="*/ 588 h 2138"/>
              <a:gd name="T32" fmla="*/ 0 w 1872"/>
              <a:gd name="T33" fmla="*/ 588 h 2138"/>
              <a:gd name="T34" fmla="*/ 50 w 1872"/>
              <a:gd name="T35" fmla="*/ 500 h 2138"/>
              <a:gd name="T36" fmla="*/ 885 w 1872"/>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2" h="2138">
                <a:moveTo>
                  <a:pt x="885" y="18"/>
                </a:moveTo>
                <a:lnTo>
                  <a:pt x="885" y="18"/>
                </a:lnTo>
                <a:cubicBezTo>
                  <a:pt x="916" y="0"/>
                  <a:pt x="955" y="0"/>
                  <a:pt x="986" y="18"/>
                </a:cubicBezTo>
                <a:lnTo>
                  <a:pt x="1820" y="500"/>
                </a:lnTo>
                <a:lnTo>
                  <a:pt x="1820" y="500"/>
                </a:lnTo>
                <a:cubicBezTo>
                  <a:pt x="1851" y="517"/>
                  <a:pt x="1871" y="551"/>
                  <a:pt x="1871" y="588"/>
                </a:cubicBezTo>
                <a:lnTo>
                  <a:pt x="1871" y="1549"/>
                </a:lnTo>
                <a:lnTo>
                  <a:pt x="1871" y="1549"/>
                </a:lnTo>
                <a:cubicBezTo>
                  <a:pt x="1871" y="1586"/>
                  <a:pt x="1851" y="1620"/>
                  <a:pt x="1820" y="1637"/>
                </a:cubicBezTo>
                <a:lnTo>
                  <a:pt x="986" y="2119"/>
                </a:lnTo>
                <a:lnTo>
                  <a:pt x="986" y="2119"/>
                </a:lnTo>
                <a:cubicBezTo>
                  <a:pt x="955" y="2137"/>
                  <a:pt x="916" y="2137"/>
                  <a:pt x="885" y="2119"/>
                </a:cubicBezTo>
                <a:lnTo>
                  <a:pt x="50" y="1637"/>
                </a:lnTo>
                <a:lnTo>
                  <a:pt x="50" y="1637"/>
                </a:lnTo>
                <a:cubicBezTo>
                  <a:pt x="19" y="1620"/>
                  <a:pt x="0" y="1586"/>
                  <a:pt x="0" y="1549"/>
                </a:cubicBezTo>
                <a:lnTo>
                  <a:pt x="0" y="588"/>
                </a:lnTo>
                <a:lnTo>
                  <a:pt x="0" y="588"/>
                </a:lnTo>
                <a:cubicBezTo>
                  <a:pt x="0" y="551"/>
                  <a:pt x="19" y="517"/>
                  <a:pt x="50"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19" name="Freeform 5">
            <a:extLst>
              <a:ext uri="{FF2B5EF4-FFF2-40B4-BE49-F238E27FC236}">
                <a16:creationId xmlns:a16="http://schemas.microsoft.com/office/drawing/2014/main" xmlns="" id="{99814CB9-1F95-4B6A-98EF-814657BAD560}"/>
              </a:ext>
            </a:extLst>
          </p:cNvPr>
          <p:cNvSpPr>
            <a:spLocks noChangeArrowheads="1"/>
          </p:cNvSpPr>
          <p:nvPr/>
        </p:nvSpPr>
        <p:spPr bwMode="auto">
          <a:xfrm>
            <a:off x="6576891" y="3525322"/>
            <a:ext cx="1285071" cy="1285071"/>
          </a:xfrm>
          <a:custGeom>
            <a:avLst/>
            <a:gdLst>
              <a:gd name="T0" fmla="*/ 1376 w 2753"/>
              <a:gd name="T1" fmla="*/ 0 h 2752"/>
              <a:gd name="T2" fmla="*/ 1376 w 2753"/>
              <a:gd name="T3" fmla="*/ 0 h 2752"/>
              <a:gd name="T4" fmla="*/ 2752 w 2753"/>
              <a:gd name="T5" fmla="*/ 1376 h 2752"/>
              <a:gd name="T6" fmla="*/ 2752 w 2753"/>
              <a:gd name="T7" fmla="*/ 1376 h 2752"/>
              <a:gd name="T8" fmla="*/ 1376 w 2753"/>
              <a:gd name="T9" fmla="*/ 2751 h 2752"/>
              <a:gd name="T10" fmla="*/ 1376 w 2753"/>
              <a:gd name="T11" fmla="*/ 2751 h 2752"/>
              <a:gd name="T12" fmla="*/ 0 w 2753"/>
              <a:gd name="T13" fmla="*/ 1376 h 2752"/>
              <a:gd name="T14" fmla="*/ 0 w 2753"/>
              <a:gd name="T15" fmla="*/ 1376 h 2752"/>
              <a:gd name="T16" fmla="*/ 1376 w 2753"/>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3" h="2752">
                <a:moveTo>
                  <a:pt x="1376" y="0"/>
                </a:moveTo>
                <a:lnTo>
                  <a:pt x="1376" y="0"/>
                </a:lnTo>
                <a:cubicBezTo>
                  <a:pt x="2137" y="0"/>
                  <a:pt x="2752" y="616"/>
                  <a:pt x="2752" y="1376"/>
                </a:cubicBezTo>
                <a:lnTo>
                  <a:pt x="2752" y="1376"/>
                </a:lnTo>
                <a:cubicBezTo>
                  <a:pt x="2752" y="2135"/>
                  <a:pt x="2137" y="2751"/>
                  <a:pt x="1376" y="2751"/>
                </a:cubicBezTo>
                <a:lnTo>
                  <a:pt x="1376" y="2751"/>
                </a:lnTo>
                <a:cubicBezTo>
                  <a:pt x="616" y="2751"/>
                  <a:pt x="0" y="2135"/>
                  <a:pt x="0" y="1376"/>
                </a:cubicBezTo>
                <a:lnTo>
                  <a:pt x="0" y="1376"/>
                </a:lnTo>
                <a:cubicBezTo>
                  <a:pt x="0" y="616"/>
                  <a:pt x="616" y="0"/>
                  <a:pt x="1376" y="0"/>
                </a:cubicBezTo>
              </a:path>
            </a:pathLst>
          </a:custGeom>
          <a:solidFill>
            <a:schemeClr val="accent2"/>
          </a:solidFill>
          <a:ln>
            <a:noFill/>
          </a:ln>
          <a:effectLst/>
        </p:spPr>
        <p:txBody>
          <a:bodyPr wrap="none" anchor="ctr"/>
          <a:lstStyle/>
          <a:p>
            <a:endParaRPr lang="en-GB" sz="2450" dirty="0">
              <a:latin typeface="+mj-lt"/>
            </a:endParaRPr>
          </a:p>
        </p:txBody>
      </p:sp>
      <p:sp>
        <p:nvSpPr>
          <p:cNvPr id="20" name="Freeform 6">
            <a:extLst>
              <a:ext uri="{FF2B5EF4-FFF2-40B4-BE49-F238E27FC236}">
                <a16:creationId xmlns:a16="http://schemas.microsoft.com/office/drawing/2014/main" xmlns="" id="{E2CFCDB4-07A4-4B96-8440-254994C4D1BC}"/>
              </a:ext>
            </a:extLst>
          </p:cNvPr>
          <p:cNvSpPr>
            <a:spLocks noChangeArrowheads="1"/>
          </p:cNvSpPr>
          <p:nvPr/>
        </p:nvSpPr>
        <p:spPr bwMode="auto">
          <a:xfrm>
            <a:off x="6782833" y="3669480"/>
            <a:ext cx="875249" cy="998814"/>
          </a:xfrm>
          <a:custGeom>
            <a:avLst/>
            <a:gdLst>
              <a:gd name="T0" fmla="*/ 885 w 1873"/>
              <a:gd name="T1" fmla="*/ 18 h 2138"/>
              <a:gd name="T2" fmla="*/ 885 w 1873"/>
              <a:gd name="T3" fmla="*/ 18 h 2138"/>
              <a:gd name="T4" fmla="*/ 987 w 1873"/>
              <a:gd name="T5" fmla="*/ 18 h 2138"/>
              <a:gd name="T6" fmla="*/ 1821 w 1873"/>
              <a:gd name="T7" fmla="*/ 500 h 2138"/>
              <a:gd name="T8" fmla="*/ 1821 w 1873"/>
              <a:gd name="T9" fmla="*/ 500 h 2138"/>
              <a:gd name="T10" fmla="*/ 1872 w 1873"/>
              <a:gd name="T11" fmla="*/ 588 h 2138"/>
              <a:gd name="T12" fmla="*/ 1872 w 1873"/>
              <a:gd name="T13" fmla="*/ 1549 h 2138"/>
              <a:gd name="T14" fmla="*/ 1872 w 1873"/>
              <a:gd name="T15" fmla="*/ 1549 h 2138"/>
              <a:gd name="T16" fmla="*/ 1821 w 1873"/>
              <a:gd name="T17" fmla="*/ 1637 h 2138"/>
              <a:gd name="T18" fmla="*/ 987 w 1873"/>
              <a:gd name="T19" fmla="*/ 2119 h 2138"/>
              <a:gd name="T20" fmla="*/ 987 w 1873"/>
              <a:gd name="T21" fmla="*/ 2119 h 2138"/>
              <a:gd name="T22" fmla="*/ 885 w 1873"/>
              <a:gd name="T23" fmla="*/ 2119 h 2138"/>
              <a:gd name="T24" fmla="*/ 51 w 1873"/>
              <a:gd name="T25" fmla="*/ 1637 h 2138"/>
              <a:gd name="T26" fmla="*/ 51 w 1873"/>
              <a:gd name="T27" fmla="*/ 1637 h 2138"/>
              <a:gd name="T28" fmla="*/ 0 w 1873"/>
              <a:gd name="T29" fmla="*/ 1549 h 2138"/>
              <a:gd name="T30" fmla="*/ 0 w 1873"/>
              <a:gd name="T31" fmla="*/ 588 h 2138"/>
              <a:gd name="T32" fmla="*/ 0 w 1873"/>
              <a:gd name="T33" fmla="*/ 588 h 2138"/>
              <a:gd name="T34" fmla="*/ 51 w 1873"/>
              <a:gd name="T35" fmla="*/ 500 h 2138"/>
              <a:gd name="T36" fmla="*/ 885 w 1873"/>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3" h="2138">
                <a:moveTo>
                  <a:pt x="885" y="18"/>
                </a:moveTo>
                <a:lnTo>
                  <a:pt x="885" y="18"/>
                </a:lnTo>
                <a:cubicBezTo>
                  <a:pt x="917" y="0"/>
                  <a:pt x="956" y="0"/>
                  <a:pt x="987" y="18"/>
                </a:cubicBezTo>
                <a:lnTo>
                  <a:pt x="1821" y="500"/>
                </a:lnTo>
                <a:lnTo>
                  <a:pt x="1821" y="500"/>
                </a:lnTo>
                <a:cubicBezTo>
                  <a:pt x="1852" y="517"/>
                  <a:pt x="1872" y="551"/>
                  <a:pt x="1872" y="588"/>
                </a:cubicBezTo>
                <a:lnTo>
                  <a:pt x="1872" y="1549"/>
                </a:lnTo>
                <a:lnTo>
                  <a:pt x="1872" y="1549"/>
                </a:lnTo>
                <a:cubicBezTo>
                  <a:pt x="1872" y="1586"/>
                  <a:pt x="1852" y="1620"/>
                  <a:pt x="1821" y="1637"/>
                </a:cubicBezTo>
                <a:lnTo>
                  <a:pt x="987" y="2119"/>
                </a:lnTo>
                <a:lnTo>
                  <a:pt x="987" y="2119"/>
                </a:lnTo>
                <a:cubicBezTo>
                  <a:pt x="956" y="2137"/>
                  <a:pt x="917" y="2137"/>
                  <a:pt x="885" y="2119"/>
                </a:cubicBezTo>
                <a:lnTo>
                  <a:pt x="51" y="1637"/>
                </a:lnTo>
                <a:lnTo>
                  <a:pt x="51" y="1637"/>
                </a:lnTo>
                <a:cubicBezTo>
                  <a:pt x="20" y="1620"/>
                  <a:pt x="0" y="1586"/>
                  <a:pt x="0" y="1549"/>
                </a:cubicBezTo>
                <a:lnTo>
                  <a:pt x="0" y="588"/>
                </a:lnTo>
                <a:lnTo>
                  <a:pt x="0" y="588"/>
                </a:lnTo>
                <a:cubicBezTo>
                  <a:pt x="0" y="551"/>
                  <a:pt x="20" y="517"/>
                  <a:pt x="51"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21" name="Freeform 8">
            <a:extLst>
              <a:ext uri="{FF2B5EF4-FFF2-40B4-BE49-F238E27FC236}">
                <a16:creationId xmlns:a16="http://schemas.microsoft.com/office/drawing/2014/main" xmlns="" id="{F4E711F3-7B30-463F-BE0F-9502EBE6CD8B}"/>
              </a:ext>
            </a:extLst>
          </p:cNvPr>
          <p:cNvSpPr>
            <a:spLocks noChangeArrowheads="1"/>
          </p:cNvSpPr>
          <p:nvPr/>
        </p:nvSpPr>
        <p:spPr bwMode="auto">
          <a:xfrm>
            <a:off x="8136912" y="3525322"/>
            <a:ext cx="1285071" cy="1285071"/>
          </a:xfrm>
          <a:custGeom>
            <a:avLst/>
            <a:gdLst>
              <a:gd name="T0" fmla="*/ 1376 w 2752"/>
              <a:gd name="T1" fmla="*/ 0 h 2752"/>
              <a:gd name="T2" fmla="*/ 1376 w 2752"/>
              <a:gd name="T3" fmla="*/ 0 h 2752"/>
              <a:gd name="T4" fmla="*/ 2751 w 2752"/>
              <a:gd name="T5" fmla="*/ 1376 h 2752"/>
              <a:gd name="T6" fmla="*/ 2751 w 2752"/>
              <a:gd name="T7" fmla="*/ 1376 h 2752"/>
              <a:gd name="T8" fmla="*/ 1376 w 2752"/>
              <a:gd name="T9" fmla="*/ 2751 h 2752"/>
              <a:gd name="T10" fmla="*/ 1376 w 2752"/>
              <a:gd name="T11" fmla="*/ 2751 h 2752"/>
              <a:gd name="T12" fmla="*/ 0 w 2752"/>
              <a:gd name="T13" fmla="*/ 1376 h 2752"/>
              <a:gd name="T14" fmla="*/ 0 w 2752"/>
              <a:gd name="T15" fmla="*/ 1376 h 2752"/>
              <a:gd name="T16" fmla="*/ 1376 w 2752"/>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2" h="2752">
                <a:moveTo>
                  <a:pt x="1376" y="0"/>
                </a:moveTo>
                <a:lnTo>
                  <a:pt x="1376" y="0"/>
                </a:lnTo>
                <a:cubicBezTo>
                  <a:pt x="2135" y="0"/>
                  <a:pt x="2751" y="616"/>
                  <a:pt x="2751" y="1376"/>
                </a:cubicBezTo>
                <a:lnTo>
                  <a:pt x="2751" y="1376"/>
                </a:lnTo>
                <a:cubicBezTo>
                  <a:pt x="2751" y="2135"/>
                  <a:pt x="2135" y="2751"/>
                  <a:pt x="1376" y="2751"/>
                </a:cubicBezTo>
                <a:lnTo>
                  <a:pt x="1376" y="2751"/>
                </a:lnTo>
                <a:cubicBezTo>
                  <a:pt x="616" y="2751"/>
                  <a:pt x="0" y="2135"/>
                  <a:pt x="0" y="1376"/>
                </a:cubicBezTo>
                <a:lnTo>
                  <a:pt x="0" y="1376"/>
                </a:lnTo>
                <a:cubicBezTo>
                  <a:pt x="0" y="616"/>
                  <a:pt x="616" y="0"/>
                  <a:pt x="1376" y="0"/>
                </a:cubicBezTo>
              </a:path>
            </a:pathLst>
          </a:custGeom>
          <a:solidFill>
            <a:schemeClr val="accent3"/>
          </a:solidFill>
          <a:ln>
            <a:noFill/>
          </a:ln>
          <a:effectLst/>
        </p:spPr>
        <p:txBody>
          <a:bodyPr wrap="none" anchor="ctr"/>
          <a:lstStyle/>
          <a:p>
            <a:endParaRPr lang="en-GB" sz="2450" dirty="0">
              <a:latin typeface="+mj-lt"/>
            </a:endParaRPr>
          </a:p>
        </p:txBody>
      </p:sp>
      <p:sp>
        <p:nvSpPr>
          <p:cNvPr id="23" name="Freeform 9">
            <a:extLst>
              <a:ext uri="{FF2B5EF4-FFF2-40B4-BE49-F238E27FC236}">
                <a16:creationId xmlns:a16="http://schemas.microsoft.com/office/drawing/2014/main" xmlns="" id="{7D3592B3-7658-4E2E-A8EE-67A2EF5A3D27}"/>
              </a:ext>
            </a:extLst>
          </p:cNvPr>
          <p:cNvSpPr>
            <a:spLocks noChangeArrowheads="1"/>
          </p:cNvSpPr>
          <p:nvPr/>
        </p:nvSpPr>
        <p:spPr bwMode="auto">
          <a:xfrm>
            <a:off x="8342853" y="3669480"/>
            <a:ext cx="875249" cy="998814"/>
          </a:xfrm>
          <a:custGeom>
            <a:avLst/>
            <a:gdLst>
              <a:gd name="T0" fmla="*/ 885 w 1872"/>
              <a:gd name="T1" fmla="*/ 18 h 2138"/>
              <a:gd name="T2" fmla="*/ 885 w 1872"/>
              <a:gd name="T3" fmla="*/ 18 h 2138"/>
              <a:gd name="T4" fmla="*/ 986 w 1872"/>
              <a:gd name="T5" fmla="*/ 18 h 2138"/>
              <a:gd name="T6" fmla="*/ 1820 w 1872"/>
              <a:gd name="T7" fmla="*/ 500 h 2138"/>
              <a:gd name="T8" fmla="*/ 1820 w 1872"/>
              <a:gd name="T9" fmla="*/ 500 h 2138"/>
              <a:gd name="T10" fmla="*/ 1871 w 1872"/>
              <a:gd name="T11" fmla="*/ 588 h 2138"/>
              <a:gd name="T12" fmla="*/ 1871 w 1872"/>
              <a:gd name="T13" fmla="*/ 1549 h 2138"/>
              <a:gd name="T14" fmla="*/ 1871 w 1872"/>
              <a:gd name="T15" fmla="*/ 1549 h 2138"/>
              <a:gd name="T16" fmla="*/ 1820 w 1872"/>
              <a:gd name="T17" fmla="*/ 1637 h 2138"/>
              <a:gd name="T18" fmla="*/ 986 w 1872"/>
              <a:gd name="T19" fmla="*/ 2119 h 2138"/>
              <a:gd name="T20" fmla="*/ 986 w 1872"/>
              <a:gd name="T21" fmla="*/ 2119 h 2138"/>
              <a:gd name="T22" fmla="*/ 885 w 1872"/>
              <a:gd name="T23" fmla="*/ 2119 h 2138"/>
              <a:gd name="T24" fmla="*/ 51 w 1872"/>
              <a:gd name="T25" fmla="*/ 1637 h 2138"/>
              <a:gd name="T26" fmla="*/ 51 w 1872"/>
              <a:gd name="T27" fmla="*/ 1637 h 2138"/>
              <a:gd name="T28" fmla="*/ 0 w 1872"/>
              <a:gd name="T29" fmla="*/ 1549 h 2138"/>
              <a:gd name="T30" fmla="*/ 0 w 1872"/>
              <a:gd name="T31" fmla="*/ 588 h 2138"/>
              <a:gd name="T32" fmla="*/ 0 w 1872"/>
              <a:gd name="T33" fmla="*/ 588 h 2138"/>
              <a:gd name="T34" fmla="*/ 51 w 1872"/>
              <a:gd name="T35" fmla="*/ 500 h 2138"/>
              <a:gd name="T36" fmla="*/ 885 w 1872"/>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2" h="2138">
                <a:moveTo>
                  <a:pt x="885" y="18"/>
                </a:moveTo>
                <a:lnTo>
                  <a:pt x="885" y="18"/>
                </a:lnTo>
                <a:cubicBezTo>
                  <a:pt x="917" y="0"/>
                  <a:pt x="955" y="0"/>
                  <a:pt x="986" y="18"/>
                </a:cubicBezTo>
                <a:lnTo>
                  <a:pt x="1820" y="500"/>
                </a:lnTo>
                <a:lnTo>
                  <a:pt x="1820" y="500"/>
                </a:lnTo>
                <a:cubicBezTo>
                  <a:pt x="1851" y="517"/>
                  <a:pt x="1871" y="551"/>
                  <a:pt x="1871" y="588"/>
                </a:cubicBezTo>
                <a:lnTo>
                  <a:pt x="1871" y="1549"/>
                </a:lnTo>
                <a:lnTo>
                  <a:pt x="1871" y="1549"/>
                </a:lnTo>
                <a:cubicBezTo>
                  <a:pt x="1871" y="1586"/>
                  <a:pt x="1851" y="1620"/>
                  <a:pt x="1820" y="1637"/>
                </a:cubicBezTo>
                <a:lnTo>
                  <a:pt x="986" y="2119"/>
                </a:lnTo>
                <a:lnTo>
                  <a:pt x="986" y="2119"/>
                </a:lnTo>
                <a:cubicBezTo>
                  <a:pt x="955" y="2137"/>
                  <a:pt x="917" y="2137"/>
                  <a:pt x="885" y="2119"/>
                </a:cubicBezTo>
                <a:lnTo>
                  <a:pt x="51" y="1637"/>
                </a:lnTo>
                <a:lnTo>
                  <a:pt x="51" y="1637"/>
                </a:lnTo>
                <a:cubicBezTo>
                  <a:pt x="20" y="1620"/>
                  <a:pt x="0" y="1586"/>
                  <a:pt x="0" y="1549"/>
                </a:cubicBezTo>
                <a:lnTo>
                  <a:pt x="0" y="588"/>
                </a:lnTo>
                <a:lnTo>
                  <a:pt x="0" y="588"/>
                </a:lnTo>
                <a:cubicBezTo>
                  <a:pt x="0" y="551"/>
                  <a:pt x="20" y="517"/>
                  <a:pt x="51"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26" name="TextBox 37">
            <a:extLst>
              <a:ext uri="{FF2B5EF4-FFF2-40B4-BE49-F238E27FC236}">
                <a16:creationId xmlns:a16="http://schemas.microsoft.com/office/drawing/2014/main" xmlns="" id="{F122EBBB-BE47-44F2-BDB0-D564B59A715E}"/>
              </a:ext>
            </a:extLst>
          </p:cNvPr>
          <p:cNvSpPr txBox="1"/>
          <p:nvPr/>
        </p:nvSpPr>
        <p:spPr>
          <a:xfrm>
            <a:off x="7746570" y="4881296"/>
            <a:ext cx="2065758" cy="830997"/>
          </a:xfrm>
          <a:prstGeom prst="rect">
            <a:avLst/>
          </a:prstGeom>
          <a:noFill/>
        </p:spPr>
        <p:txBody>
          <a:bodyPr wrap="none" lIns="91440" tIns="45720" rIns="91440" bIns="45720" rtlCol="0" anchor="t" anchorCtr="0">
            <a:spAutoFit/>
          </a:bodyPr>
          <a:lstStyle/>
          <a:p>
            <a:pPr algn="ctr"/>
            <a:r>
              <a:rPr lang="en-GB" sz="1600" b="1" dirty="0">
                <a:solidFill>
                  <a:schemeClr val="tx2"/>
                </a:solidFill>
                <a:latin typeface="+mj-lt"/>
                <a:ea typeface="League Spartan" charset="0"/>
                <a:cs typeface="Poppins" pitchFamily="2" charset="77"/>
              </a:rPr>
              <a:t>Resultados empresariales</a:t>
            </a:r>
            <a:r>
              <a:rPr lang="en-GB" sz="1600" b="1" dirty="0">
                <a:latin typeface="+mj-lt"/>
                <a:ea typeface="League Spartan" charset="0"/>
                <a:cs typeface="Poppins" pitchFamily="2" charset="77"/>
              </a:rPr>
              <a:t/>
            </a:r>
            <a:br>
              <a:rPr lang="en-GB" sz="1600" b="1" dirty="0">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y entregables</a:t>
            </a:r>
            <a:r>
              <a:rPr lang="en-GB" sz="1600" b="1" dirty="0">
                <a:latin typeface="+mj-lt"/>
                <a:ea typeface="League Spartan" charset="0"/>
                <a:cs typeface="Poppins" pitchFamily="2" charset="77"/>
              </a:rPr>
              <a:t/>
            </a:r>
            <a:br>
              <a:rPr lang="en-GB" sz="1600" b="1" dirty="0">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Servicios y productos)</a:t>
            </a:r>
          </a:p>
        </p:txBody>
      </p:sp>
      <p:sp>
        <p:nvSpPr>
          <p:cNvPr id="28" name="TextBox 19">
            <a:extLst>
              <a:ext uri="{FF2B5EF4-FFF2-40B4-BE49-F238E27FC236}">
                <a16:creationId xmlns:a16="http://schemas.microsoft.com/office/drawing/2014/main" xmlns="" id="{C3EB7AEC-8673-47A3-B23D-113D2232EF5D}"/>
              </a:ext>
            </a:extLst>
          </p:cNvPr>
          <p:cNvSpPr txBox="1"/>
          <p:nvPr/>
        </p:nvSpPr>
        <p:spPr>
          <a:xfrm>
            <a:off x="4548174" y="4881296"/>
            <a:ext cx="2222468" cy="830997"/>
          </a:xfrm>
          <a:prstGeom prst="rect">
            <a:avLst/>
          </a:prstGeom>
          <a:noFill/>
        </p:spPr>
        <p:txBody>
          <a:bodyPr wrap="none" lIns="91440" tIns="45720" rIns="91440" bIns="45720" rtlCol="0" anchor="t" anchorCtr="0">
            <a:spAutoFit/>
          </a:bodyPr>
          <a:lstStyle/>
          <a:p>
            <a:pPr algn="ctr"/>
            <a:r>
              <a:rPr lang="en-GB" sz="1600" b="1" dirty="0">
                <a:solidFill>
                  <a:schemeClr val="tx2"/>
                </a:solidFill>
                <a:latin typeface="+mj-lt"/>
                <a:ea typeface="League Spartan" charset="0"/>
                <a:cs typeface="Poppins" pitchFamily="2" charset="77"/>
              </a:rPr>
              <a:t>Estrategia organizativa / </a:t>
            </a:r>
            <a:r>
              <a:rPr lang="en-GB" sz="1600" b="1" dirty="0">
                <a:latin typeface="+mj-lt"/>
                <a:ea typeface="League Spartan" charset="0"/>
                <a:cs typeface="Poppins" pitchFamily="2" charset="77"/>
              </a:rPr>
              <a:t/>
            </a:r>
            <a:br>
              <a:rPr lang="en-GB" sz="1600" b="1" dirty="0">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Objetivos operativos y empresariales</a:t>
            </a:r>
            <a:r>
              <a:rPr lang="en-GB" sz="1600" b="1" dirty="0">
                <a:latin typeface="+mj-lt"/>
                <a:ea typeface="League Spartan" charset="0"/>
                <a:cs typeface="Poppins" pitchFamily="2" charset="77"/>
              </a:rPr>
              <a:t/>
            </a:r>
            <a:br>
              <a:rPr lang="en-GB" sz="1600" b="1" dirty="0">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objetivos de la empresa</a:t>
            </a:r>
          </a:p>
        </p:txBody>
      </p:sp>
      <p:sp>
        <p:nvSpPr>
          <p:cNvPr id="30" name="TextBox 43">
            <a:extLst>
              <a:ext uri="{FF2B5EF4-FFF2-40B4-BE49-F238E27FC236}">
                <a16:creationId xmlns:a16="http://schemas.microsoft.com/office/drawing/2014/main" xmlns="" id="{045778D2-140D-49F9-8CB8-190045EA7B0C}"/>
              </a:ext>
            </a:extLst>
          </p:cNvPr>
          <p:cNvSpPr txBox="1"/>
          <p:nvPr/>
        </p:nvSpPr>
        <p:spPr>
          <a:xfrm>
            <a:off x="6367755" y="2107412"/>
            <a:ext cx="1703351" cy="1323439"/>
          </a:xfrm>
          <a:prstGeom prst="rect">
            <a:avLst/>
          </a:prstGeom>
          <a:noFill/>
        </p:spPr>
        <p:txBody>
          <a:bodyPr wrap="none" rtlCol="0" anchor="b" anchorCtr="0">
            <a:spAutoFit/>
          </a:bodyPr>
          <a:lstStyle/>
          <a:p>
            <a:pPr algn="ctr"/>
            <a:r>
              <a:rPr lang="en-GB" sz="1600" b="1">
                <a:solidFill>
                  <a:schemeClr val="tx2"/>
                </a:solidFill>
                <a:latin typeface="+mj-lt"/>
                <a:ea typeface="League Spartan" charset="0"/>
                <a:cs typeface="Poppins" pitchFamily="2" charset="77"/>
              </a:rPr>
              <a:t>Definir y analizar</a:t>
            </a:r>
            <a:br>
              <a:rPr lang="en-GB" sz="1600" b="1">
                <a:solidFill>
                  <a:schemeClr val="tx2"/>
                </a:solidFill>
                <a:latin typeface="+mj-lt"/>
                <a:ea typeface="League Spartan" charset="0"/>
                <a:cs typeface="Poppins" pitchFamily="2" charset="77"/>
              </a:rPr>
            </a:br>
            <a:r>
              <a:rPr lang="en-GB" sz="1600" b="1">
                <a:solidFill>
                  <a:schemeClr val="tx2"/>
                </a:solidFill>
                <a:latin typeface="+mj-lt"/>
                <a:ea typeface="League Spartan" charset="0"/>
                <a:cs typeface="Poppins" pitchFamily="2" charset="77"/>
              </a:rPr>
              <a:t> factores críticos del negocio </a:t>
            </a:r>
            <a:br>
              <a:rPr lang="en-GB" sz="1600" b="1">
                <a:solidFill>
                  <a:schemeClr val="tx2"/>
                </a:solidFill>
                <a:latin typeface="+mj-lt"/>
                <a:ea typeface="League Spartan" charset="0"/>
                <a:cs typeface="Poppins" pitchFamily="2" charset="77"/>
              </a:rPr>
            </a:br>
            <a:r>
              <a:rPr lang="en-GB" sz="1600" b="1">
                <a:solidFill>
                  <a:schemeClr val="tx2"/>
                </a:solidFill>
                <a:latin typeface="+mj-lt"/>
                <a:ea typeface="League Spartan" charset="0"/>
                <a:cs typeface="Poppins" pitchFamily="2" charset="77"/>
              </a:rPr>
              <a:t>factores críticos de la empresa</a:t>
            </a:r>
            <a:br>
              <a:rPr lang="en-GB" sz="1600" b="1">
                <a:solidFill>
                  <a:schemeClr val="tx2"/>
                </a:solidFill>
                <a:latin typeface="+mj-lt"/>
                <a:ea typeface="League Spartan" charset="0"/>
                <a:cs typeface="Poppins" pitchFamily="2" charset="77"/>
              </a:rPr>
            </a:br>
            <a:r>
              <a:rPr lang="en-GB" sz="1600" b="1">
                <a:solidFill>
                  <a:schemeClr val="tx2"/>
                </a:solidFill>
                <a:latin typeface="+mj-lt"/>
                <a:ea typeface="League Spartan" charset="0"/>
                <a:cs typeface="Poppins" pitchFamily="2" charset="77"/>
              </a:rPr>
              <a:t>(Actividades de misión crítica </a:t>
            </a:r>
            <a:br>
              <a:rPr lang="en-GB" sz="1600" b="1">
                <a:solidFill>
                  <a:schemeClr val="tx2"/>
                </a:solidFill>
                <a:latin typeface="+mj-lt"/>
                <a:ea typeface="League Spartan" charset="0"/>
                <a:cs typeface="Poppins" pitchFamily="2" charset="77"/>
              </a:rPr>
            </a:br>
            <a:r>
              <a:rPr lang="en-GB" sz="1600" b="1">
                <a:solidFill>
                  <a:schemeClr val="tx2"/>
                </a:solidFill>
                <a:latin typeface="+mj-lt"/>
                <a:ea typeface="League Spartan" charset="0"/>
                <a:cs typeface="Poppins" pitchFamily="2" charset="77"/>
              </a:rPr>
              <a:t>misión)</a:t>
            </a:r>
            <a:endParaRPr lang="en-GB" sz="1600" b="1" dirty="0">
              <a:solidFill>
                <a:schemeClr val="tx2"/>
              </a:solidFill>
              <a:latin typeface="+mj-lt"/>
              <a:ea typeface="League Spartan" charset="0"/>
              <a:cs typeface="Poppins" pitchFamily="2" charset="77"/>
            </a:endParaRPr>
          </a:p>
        </p:txBody>
      </p:sp>
      <p:sp>
        <p:nvSpPr>
          <p:cNvPr id="31" name="TextBox 48">
            <a:extLst>
              <a:ext uri="{FF2B5EF4-FFF2-40B4-BE49-F238E27FC236}">
                <a16:creationId xmlns:a16="http://schemas.microsoft.com/office/drawing/2014/main" xmlns="" id="{D9CE3E7D-97C1-434F-A676-6D8A6A436A90}"/>
              </a:ext>
            </a:extLst>
          </p:cNvPr>
          <p:cNvSpPr txBox="1"/>
          <p:nvPr/>
        </p:nvSpPr>
        <p:spPr>
          <a:xfrm>
            <a:off x="5457265" y="3861939"/>
            <a:ext cx="404278" cy="611834"/>
          </a:xfrm>
          <a:prstGeom prst="rect">
            <a:avLst/>
          </a:prstGeom>
          <a:noFill/>
        </p:spPr>
        <p:txBody>
          <a:bodyPr wrap="none" rtlCol="0" anchor="ctr">
            <a:spAutoFit/>
          </a:bodyPr>
          <a:lstStyle/>
          <a:p>
            <a:pPr algn="ctr"/>
            <a:r>
              <a:rPr lang="en-GB" sz="3376" b="1">
                <a:solidFill>
                  <a:schemeClr val="accent1"/>
                </a:solidFill>
                <a:latin typeface="+mj-lt"/>
                <a:cs typeface="Poppins" pitchFamily="2" charset="77"/>
              </a:rPr>
              <a:t>1</a:t>
            </a:r>
            <a:endParaRPr lang="en-GB" sz="3376" b="1" dirty="0">
              <a:solidFill>
                <a:schemeClr val="accent1"/>
              </a:solidFill>
              <a:latin typeface="+mj-lt"/>
              <a:cs typeface="Poppins" pitchFamily="2" charset="77"/>
            </a:endParaRPr>
          </a:p>
        </p:txBody>
      </p:sp>
      <p:sp>
        <p:nvSpPr>
          <p:cNvPr id="32" name="TextBox 49">
            <a:extLst>
              <a:ext uri="{FF2B5EF4-FFF2-40B4-BE49-F238E27FC236}">
                <a16:creationId xmlns:a16="http://schemas.microsoft.com/office/drawing/2014/main" xmlns="" id="{B1EA253C-EEF4-4941-9456-E959421FF7BC}"/>
              </a:ext>
            </a:extLst>
          </p:cNvPr>
          <p:cNvSpPr txBox="1"/>
          <p:nvPr/>
        </p:nvSpPr>
        <p:spPr>
          <a:xfrm>
            <a:off x="7017286" y="3861939"/>
            <a:ext cx="404278" cy="611834"/>
          </a:xfrm>
          <a:prstGeom prst="rect">
            <a:avLst/>
          </a:prstGeom>
          <a:noFill/>
        </p:spPr>
        <p:txBody>
          <a:bodyPr wrap="none" rtlCol="0" anchor="ctr">
            <a:spAutoFit/>
          </a:bodyPr>
          <a:lstStyle/>
          <a:p>
            <a:pPr algn="ctr"/>
            <a:r>
              <a:rPr lang="en-GB" sz="3376" b="1">
                <a:solidFill>
                  <a:schemeClr val="accent2"/>
                </a:solidFill>
                <a:latin typeface="+mj-lt"/>
                <a:cs typeface="Poppins" pitchFamily="2" charset="77"/>
              </a:rPr>
              <a:t>2</a:t>
            </a:r>
            <a:endParaRPr lang="en-GB" sz="3376" b="1" dirty="0">
              <a:solidFill>
                <a:schemeClr val="accent2"/>
              </a:solidFill>
              <a:latin typeface="+mj-lt"/>
              <a:cs typeface="Poppins" pitchFamily="2" charset="77"/>
            </a:endParaRPr>
          </a:p>
        </p:txBody>
      </p:sp>
      <p:sp>
        <p:nvSpPr>
          <p:cNvPr id="33" name="TextBox 50">
            <a:extLst>
              <a:ext uri="{FF2B5EF4-FFF2-40B4-BE49-F238E27FC236}">
                <a16:creationId xmlns:a16="http://schemas.microsoft.com/office/drawing/2014/main" xmlns="" id="{8FEE6A9F-C610-4C96-9051-718A698EA8FA}"/>
              </a:ext>
            </a:extLst>
          </p:cNvPr>
          <p:cNvSpPr txBox="1"/>
          <p:nvPr/>
        </p:nvSpPr>
        <p:spPr>
          <a:xfrm>
            <a:off x="8577306" y="3861939"/>
            <a:ext cx="404278" cy="611834"/>
          </a:xfrm>
          <a:prstGeom prst="rect">
            <a:avLst/>
          </a:prstGeom>
          <a:noFill/>
        </p:spPr>
        <p:txBody>
          <a:bodyPr wrap="none" rtlCol="0" anchor="ctr">
            <a:spAutoFit/>
          </a:bodyPr>
          <a:lstStyle/>
          <a:p>
            <a:pPr algn="ctr"/>
            <a:r>
              <a:rPr lang="en-GB" sz="3376" b="1">
                <a:solidFill>
                  <a:schemeClr val="accent3"/>
                </a:solidFill>
                <a:latin typeface="+mj-lt"/>
                <a:cs typeface="Poppins" pitchFamily="2" charset="77"/>
              </a:rPr>
              <a:t>3</a:t>
            </a:r>
            <a:endParaRPr lang="en-GB" sz="3376" b="1" dirty="0">
              <a:solidFill>
                <a:schemeClr val="accent3"/>
              </a:solidFill>
              <a:latin typeface="+mj-lt"/>
              <a:cs typeface="Poppins" pitchFamily="2" charset="77"/>
            </a:endParaRPr>
          </a:p>
        </p:txBody>
      </p:sp>
      <p:sp>
        <p:nvSpPr>
          <p:cNvPr id="34" name="Gleichschenkliges Dreieck 33">
            <a:extLst>
              <a:ext uri="{FF2B5EF4-FFF2-40B4-BE49-F238E27FC236}">
                <a16:creationId xmlns:a16="http://schemas.microsoft.com/office/drawing/2014/main" xmlns="" id="{DB826488-6585-4BA3-BBCE-202A1FFF150F}"/>
              </a:ext>
            </a:extLst>
          </p:cNvPr>
          <p:cNvSpPr/>
          <p:nvPr/>
        </p:nvSpPr>
        <p:spPr>
          <a:xfrm rot="5400000">
            <a:off x="6164876" y="4097738"/>
            <a:ext cx="547902" cy="160824"/>
          </a:xfrm>
          <a:prstGeom prst="triangle">
            <a:avLst/>
          </a:prstGeom>
          <a:solidFill>
            <a:srgbClr val="E94EA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Gleichschenkliges Dreieck 34">
            <a:extLst>
              <a:ext uri="{FF2B5EF4-FFF2-40B4-BE49-F238E27FC236}">
                <a16:creationId xmlns:a16="http://schemas.microsoft.com/office/drawing/2014/main" xmlns="" id="{ED58E4BC-4409-4B4B-8B9C-3ADF5D94B693}"/>
              </a:ext>
            </a:extLst>
          </p:cNvPr>
          <p:cNvSpPr/>
          <p:nvPr/>
        </p:nvSpPr>
        <p:spPr>
          <a:xfrm rot="5400000">
            <a:off x="7704881" y="4087444"/>
            <a:ext cx="547902" cy="160824"/>
          </a:xfrm>
          <a:prstGeom prst="triangle">
            <a:avLst/>
          </a:prstGeom>
          <a:solidFill>
            <a:srgbClr val="E94EA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41664839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1332612" y="-163286"/>
            <a:ext cx="9821959" cy="1582271"/>
          </a:xfrm>
        </p:spPr>
        <p:txBody>
          <a:bodyPr/>
          <a:lstStyle/>
          <a:p>
            <a:r>
              <a:rPr lang="en-GB" b="1" dirty="0"/>
              <a:t>Lo que aprenderás del Módulo 08 .. </a:t>
            </a:r>
          </a:p>
        </p:txBody>
      </p:sp>
      <p:sp>
        <p:nvSpPr>
          <p:cNvPr id="4" name="TextBox 3">
            <a:extLst>
              <a:ext uri="{FF2B5EF4-FFF2-40B4-BE49-F238E27FC236}">
                <a16:creationId xmlns:a16="http://schemas.microsoft.com/office/drawing/2014/main" xmlns="" id="{562838D1-CDDB-4866-97B5-C8EA24C6919C}"/>
              </a:ext>
            </a:extLst>
          </p:cNvPr>
          <p:cNvSpPr txBox="1"/>
          <p:nvPr/>
        </p:nvSpPr>
        <p:spPr>
          <a:xfrm>
            <a:off x="1255211" y="983867"/>
            <a:ext cx="10729959" cy="7063472"/>
          </a:xfrm>
          <a:prstGeom prst="rect">
            <a:avLst/>
          </a:prstGeom>
          <a:noFill/>
        </p:spPr>
        <p:txBody>
          <a:bodyPr wrap="square">
            <a:spAutoFit/>
          </a:bodyPr>
          <a:lstStyle/>
          <a:p>
            <a:r>
              <a:rPr lang="en-IE" sz="2200" dirty="0">
                <a:solidFill>
                  <a:schemeClr val="bg1"/>
                </a:solidFill>
                <a:latin typeface="+mj-lt"/>
              </a:rPr>
              <a:t>En el Módulo 8, su viaje de aprendizaje de SMART UP concluyó con dos áreas vitales: la resiliencia ante las crisis y la continuidad empresarial. </a:t>
            </a:r>
            <a:endParaRPr lang="en-US" sz="2200" dirty="0">
              <a:solidFill>
                <a:schemeClr val="bg1"/>
              </a:solidFill>
              <a:latin typeface="+mj-lt"/>
            </a:endParaRPr>
          </a:p>
          <a:p>
            <a:pPr algn="l">
              <a:lnSpc>
                <a:spcPct val="100000"/>
              </a:lnSpc>
              <a:spcBef>
                <a:spcPts val="600"/>
              </a:spcBef>
            </a:pPr>
            <a:endParaRPr lang="en-GB" sz="1100" dirty="0">
              <a:solidFill>
                <a:schemeClr val="bg1"/>
              </a:solidFill>
              <a:latin typeface="+mj-lt"/>
            </a:endParaRPr>
          </a:p>
          <a:p>
            <a:pPr algn="l">
              <a:lnSpc>
                <a:spcPct val="100000"/>
              </a:lnSpc>
              <a:spcBef>
                <a:spcPts val="600"/>
              </a:spcBef>
            </a:pPr>
            <a:r>
              <a:rPr lang="en-GB" sz="2200" dirty="0">
                <a:solidFill>
                  <a:schemeClr val="bg1"/>
                </a:solidFill>
                <a:latin typeface="+mj-lt"/>
              </a:rPr>
              <a:t>En este módulo, </a:t>
            </a:r>
            <a:r>
              <a:rPr lang="en-IE" sz="2200" dirty="0" err="1">
                <a:solidFill>
                  <a:schemeClr val="bg1"/>
                </a:solidFill>
                <a:latin typeface="+mj-lt"/>
              </a:rPr>
              <a:t>se </a:t>
            </a:r>
            <a:r>
              <a:rPr lang="en-IE" sz="2200" dirty="0">
                <a:solidFill>
                  <a:schemeClr val="bg1"/>
                </a:solidFill>
                <a:latin typeface="+mj-lt"/>
              </a:rPr>
              <a:t>beneficiará de aprender a </a:t>
            </a:r>
          </a:p>
          <a:p>
            <a:endParaRPr lang="en-IE" sz="2200" dirty="0">
              <a:solidFill>
                <a:schemeClr val="bg1"/>
              </a:solidFill>
              <a:latin typeface="+mj-lt"/>
            </a:endParaRPr>
          </a:p>
          <a:p>
            <a:pPr marL="285750" indent="-285750">
              <a:buFont typeface="Arial" panose="020B0604020202020204" pitchFamily="34" charset="0"/>
              <a:buChar char="•"/>
            </a:pPr>
            <a:r>
              <a:rPr lang="en-GB" sz="2200" dirty="0">
                <a:solidFill>
                  <a:schemeClr val="bg1"/>
                </a:solidFill>
                <a:latin typeface="+mj-lt"/>
              </a:rPr>
              <a:t>Reconocer la dura realidad de la crisis </a:t>
            </a:r>
          </a:p>
          <a:p>
            <a:pPr marL="285750" indent="-285750">
              <a:buFont typeface="Arial" panose="020B0604020202020204" pitchFamily="34" charset="0"/>
              <a:buChar char="•"/>
            </a:pPr>
            <a:r>
              <a:rPr lang="en-GB" sz="2200" dirty="0">
                <a:solidFill>
                  <a:schemeClr val="bg1"/>
                </a:solidFill>
                <a:latin typeface="+mj-lt"/>
              </a:rPr>
              <a:t>Comprender la escala de resiliencia ante las crisis y que realmente EXISTA la Gloria en la Prevención</a:t>
            </a:r>
          </a:p>
          <a:p>
            <a:pPr marL="285750" indent="-285750">
              <a:buFont typeface="Arial" panose="020B0604020202020204" pitchFamily="34" charset="0"/>
              <a:buChar char="•"/>
            </a:pPr>
            <a:r>
              <a:rPr lang="en-GB" sz="2200" dirty="0">
                <a:solidFill>
                  <a:schemeClr val="bg1"/>
                </a:solidFill>
                <a:latin typeface="+mj-lt"/>
              </a:rPr>
              <a:t>Apreciar los tipos de resistencia a las crisis </a:t>
            </a:r>
          </a:p>
          <a:p>
            <a:endParaRPr lang="en-GB" sz="2200" dirty="0">
              <a:solidFill>
                <a:schemeClr val="bg1"/>
              </a:solidFill>
              <a:latin typeface="+mj-lt"/>
            </a:endParaRPr>
          </a:p>
          <a:p>
            <a:r>
              <a:rPr lang="en-GB" sz="2400" dirty="0">
                <a:solidFill>
                  <a:schemeClr val="bg1"/>
                </a:solidFill>
                <a:latin typeface="+mj-lt"/>
              </a:rPr>
              <a:t>Retorcemos el enfoque del aprendizaje para centrarnos y valorar el aprendizaje de lo que sale bien. </a:t>
            </a:r>
            <a:endParaRPr lang="en-GB" sz="2200" dirty="0">
              <a:solidFill>
                <a:schemeClr val="bg1"/>
              </a:solidFill>
              <a:latin typeface="+mj-lt"/>
            </a:endParaRPr>
          </a:p>
          <a:p>
            <a:pPr marL="285750" indent="-285750">
              <a:buFont typeface="Arial" panose="020B0604020202020204" pitchFamily="34" charset="0"/>
              <a:buChar char="•"/>
            </a:pPr>
            <a:endParaRPr lang="en-GB" sz="2200" dirty="0">
              <a:solidFill>
                <a:schemeClr val="bg1"/>
              </a:solidFill>
              <a:latin typeface="+mj-lt"/>
            </a:endParaRPr>
          </a:p>
          <a:p>
            <a:r>
              <a:rPr lang="en-GB" sz="2200" dirty="0">
                <a:solidFill>
                  <a:schemeClr val="bg1"/>
                </a:solidFill>
                <a:latin typeface="+mj-lt"/>
              </a:rPr>
              <a:t>Y por último, le llevamos a un viaje de aprendizaje a través del Ciclo de Gestión de la Continuidad del Negocio.</a:t>
            </a:r>
          </a:p>
          <a:p>
            <a:endParaRPr lang="en-GB" sz="2200" dirty="0">
              <a:solidFill>
                <a:schemeClr val="bg1"/>
              </a:solidFill>
              <a:latin typeface="+mj-lt"/>
            </a:endParaRPr>
          </a:p>
          <a:p>
            <a:r>
              <a:rPr lang="en-GB" sz="2200" dirty="0">
                <a:solidFill>
                  <a:schemeClr val="bg1"/>
                </a:solidFill>
                <a:latin typeface="+mj-lt"/>
              </a:rPr>
              <a:t>Con esto </a:t>
            </a:r>
            <a:r>
              <a:rPr lang="en-GB" sz="2200">
                <a:solidFill>
                  <a:schemeClr val="bg1"/>
                </a:solidFill>
                <a:latin typeface="+mj-lt"/>
              </a:rPr>
              <a:t>concluye </a:t>
            </a:r>
            <a:r>
              <a:rPr lang="en-GB" sz="2200" dirty="0">
                <a:solidFill>
                  <a:schemeClr val="bg1"/>
                </a:solidFill>
                <a:latin typeface="+mj-lt"/>
              </a:rPr>
              <a:t>su experiencia de aprendizaje SMART UP </a:t>
            </a:r>
            <a:r>
              <a:rPr lang="en-GB" sz="2200">
                <a:solidFill>
                  <a:schemeClr val="bg1"/>
                </a:solidFill>
                <a:latin typeface="+mj-lt"/>
              </a:rPr>
              <a:t>y le deseamos que</a:t>
            </a:r>
          </a:p>
          <a:p>
            <a:r>
              <a:rPr lang="en-GB" sz="2200">
                <a:solidFill>
                  <a:schemeClr val="bg1"/>
                </a:solidFill>
                <a:latin typeface="+mj-lt"/>
              </a:rPr>
              <a:t> sólo lo mejor en el futuro. </a:t>
            </a:r>
            <a:endParaRPr lang="en-GB" sz="2200" dirty="0">
              <a:solidFill>
                <a:schemeClr val="bg1"/>
              </a:solidFill>
              <a:latin typeface="+mj-lt"/>
            </a:endParaRPr>
          </a:p>
          <a:p>
            <a:endParaRPr lang="en-GB" sz="4000" dirty="0"/>
          </a:p>
          <a:p>
            <a:endParaRPr lang="en-GB" sz="2000" dirty="0">
              <a:solidFill>
                <a:schemeClr val="bg1"/>
              </a:solidFill>
            </a:endParaRPr>
          </a:p>
          <a:p>
            <a:endParaRPr lang="en-GB" sz="2000" dirty="0">
              <a:solidFill>
                <a:schemeClr val="bg1"/>
              </a:solidFill>
            </a:endParaRPr>
          </a:p>
          <a:p>
            <a:endParaRPr lang="en-IE" sz="2000" dirty="0">
              <a:solidFill>
                <a:schemeClr val="bg1"/>
              </a:solidFill>
            </a:endParaRPr>
          </a:p>
        </p:txBody>
      </p:sp>
    </p:spTree>
    <p:extLst>
      <p:ext uri="{BB962C8B-B14F-4D97-AF65-F5344CB8AC3E}">
        <p14:creationId xmlns:p14="http://schemas.microsoft.com/office/powerpoint/2010/main" val="10811430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87906" y="428874"/>
            <a:ext cx="8852375" cy="697353"/>
          </a:xfrm>
        </p:spPr>
        <p:txBody>
          <a:bodyPr>
            <a:normAutofit/>
          </a:bodyPr>
          <a:lstStyle/>
          <a:p>
            <a:r>
              <a:rPr lang="en-GB" dirty="0"/>
              <a:t>El ciclo de gestión de la continuidad de las actividade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381480" y="2108732"/>
            <a:ext cx="3626380" cy="3437141"/>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latin typeface="+mj-lt"/>
              </a:rPr>
              <a:t>Las estrategias de continuidad del negocio constan de 3 niveles diferentes: </a:t>
            </a:r>
            <a:endParaRPr lang="en-US" dirty="0"/>
          </a:p>
          <a:p>
            <a:pPr marL="285750" indent="-285750" algn="l">
              <a:lnSpc>
                <a:spcPct val="100000"/>
              </a:lnSpc>
              <a:spcBef>
                <a:spcPts val="600"/>
              </a:spcBef>
              <a:buFont typeface="Wingdings" panose="05000000000000000000" pitchFamily="2" charset="2"/>
              <a:buChar char="à"/>
            </a:pPr>
            <a:r>
              <a:rPr lang="en-GB" altLang="de-DE" sz="2200" dirty="0">
                <a:latin typeface="+mj-lt"/>
                <a:sym typeface="Wingdings" panose="05000000000000000000" pitchFamily="2" charset="2"/>
              </a:rPr>
              <a:t>Estrategia de gestión de la continuidad del negocio de la organización (corporativa)</a:t>
            </a:r>
            <a:endParaRPr lang="en-GB" altLang="de-DE" sz="2200" dirty="0">
              <a:latin typeface="+mj-lt"/>
            </a:endParaRPr>
          </a:p>
          <a:p>
            <a:pPr marL="285750" indent="-285750" algn="l">
              <a:lnSpc>
                <a:spcPct val="100000"/>
              </a:lnSpc>
              <a:spcBef>
                <a:spcPts val="600"/>
              </a:spcBef>
              <a:buFont typeface="Wingdings" panose="05000000000000000000" pitchFamily="2" charset="2"/>
              <a:buChar char="à"/>
            </a:pPr>
            <a:r>
              <a:rPr lang="en-GB" altLang="de-DE" sz="2200" dirty="0">
                <a:latin typeface="+mj-lt"/>
                <a:sym typeface="Wingdings" panose="05000000000000000000" pitchFamily="2" charset="2"/>
              </a:rPr>
              <a:t>Estrategia BCM a nivel de procesos</a:t>
            </a:r>
            <a:endParaRPr lang="en-GB" altLang="de-DE" sz="2200" dirty="0">
              <a:latin typeface="+mj-lt"/>
            </a:endParaRPr>
          </a:p>
          <a:p>
            <a:pPr marL="285750" indent="-285750" algn="l">
              <a:lnSpc>
                <a:spcPct val="100000"/>
              </a:lnSpc>
              <a:spcBef>
                <a:spcPts val="600"/>
              </a:spcBef>
              <a:buFont typeface="Wingdings" panose="05000000000000000000" pitchFamily="2" charset="2"/>
              <a:buChar char="à"/>
            </a:pPr>
            <a:r>
              <a:rPr lang="en-GB" altLang="de-DE" sz="2200" dirty="0">
                <a:latin typeface="+mj-lt"/>
                <a:sym typeface="Wingdings" panose="05000000000000000000" pitchFamily="2" charset="2"/>
              </a:rPr>
              <a:t>Recuperación de recursos Estrategia BCM</a:t>
            </a:r>
            <a:endParaRPr lang="en-GB" altLang="de-DE" sz="2200" dirty="0">
              <a:latin typeface="+mj-lt"/>
            </a:endParaRPr>
          </a:p>
          <a:p>
            <a:pPr algn="l">
              <a:lnSpc>
                <a:spcPct val="100000"/>
              </a:lnSpc>
              <a:spcBef>
                <a:spcPts val="600"/>
              </a:spcBef>
            </a:pPr>
            <a:endParaRPr lang="en-GB" altLang="de-DE" sz="2200" dirty="0">
              <a:latin typeface="+mj-lt"/>
            </a:endParaRPr>
          </a:p>
        </p:txBody>
      </p:sp>
      <p:grpSp>
        <p:nvGrpSpPr>
          <p:cNvPr id="7" name="Gruppieren 6">
            <a:extLst>
              <a:ext uri="{FF2B5EF4-FFF2-40B4-BE49-F238E27FC236}">
                <a16:creationId xmlns:a16="http://schemas.microsoft.com/office/drawing/2014/main" xmlns="" id="{6BAA9461-0926-4338-9034-AFB36BD5DDE1}"/>
              </a:ext>
            </a:extLst>
          </p:cNvPr>
          <p:cNvGrpSpPr>
            <a:grpSpLocks noChangeAspect="1"/>
          </p:cNvGrpSpPr>
          <p:nvPr/>
        </p:nvGrpSpPr>
        <p:grpSpPr>
          <a:xfrm>
            <a:off x="464898" y="5265865"/>
            <a:ext cx="1445227" cy="1425468"/>
            <a:chOff x="5230592" y="1881035"/>
            <a:chExt cx="4233888" cy="4176000"/>
          </a:xfrm>
        </p:grpSpPr>
        <p:grpSp>
          <p:nvGrpSpPr>
            <p:cNvPr id="24" name="Gruppieren 23">
              <a:extLst>
                <a:ext uri="{FF2B5EF4-FFF2-40B4-BE49-F238E27FC236}">
                  <a16:creationId xmlns:a16="http://schemas.microsoft.com/office/drawing/2014/main" xmlns="" id="{272239DA-1B06-425C-A5B2-EC9059DF8DDC}"/>
                </a:ext>
              </a:extLst>
            </p:cNvPr>
            <p:cNvGrpSpPr>
              <a:grpSpLocks noChangeAspect="1"/>
            </p:cNvGrpSpPr>
            <p:nvPr/>
          </p:nvGrpSpPr>
          <p:grpSpPr>
            <a:xfrm>
              <a:off x="5230592" y="1881035"/>
              <a:ext cx="4175999" cy="4176000"/>
              <a:chOff x="5230592" y="1881035"/>
              <a:chExt cx="4175999" cy="4176000"/>
            </a:xfrm>
          </p:grpSpPr>
          <p:sp>
            <p:nvSpPr>
              <p:cNvPr id="305" name="Freeform 48">
                <a:extLst>
                  <a:ext uri="{FF2B5EF4-FFF2-40B4-BE49-F238E27FC236}">
                    <a16:creationId xmlns:a16="http://schemas.microsoft.com/office/drawing/2014/main" xmlns="" id="{8E41C000-1DB8-4A00-8679-35E2EAD75C91}"/>
                  </a:ext>
                </a:extLst>
              </p:cNvPr>
              <p:cNvSpPr/>
              <p:nvPr/>
            </p:nvSpPr>
            <p:spPr>
              <a:xfrm>
                <a:off x="6412947" y="1881035"/>
                <a:ext cx="1814615" cy="1603190"/>
              </a:xfrm>
              <a:custGeom>
                <a:avLst/>
                <a:gdLst>
                  <a:gd name="connsiteX0" fmla="*/ 2167432 w 4342825"/>
                  <a:gd name="connsiteY0" fmla="*/ 0 h 3836832"/>
                  <a:gd name="connsiteX1" fmla="*/ 4342825 w 4342825"/>
                  <a:gd name="connsiteY1" fmla="*/ 2179445 h 3836832"/>
                  <a:gd name="connsiteX2" fmla="*/ 3196076 w 4342825"/>
                  <a:gd name="connsiteY2" fmla="*/ 3836832 h 3836832"/>
                  <a:gd name="connsiteX3" fmla="*/ 3130926 w 4342825"/>
                  <a:gd name="connsiteY3" fmla="*/ 3797252 h 3836832"/>
                  <a:gd name="connsiteX4" fmla="*/ 2167432 w 4342825"/>
                  <a:gd name="connsiteY4" fmla="*/ 3553287 h 3836832"/>
                  <a:gd name="connsiteX5" fmla="*/ 1203938 w 4342825"/>
                  <a:gd name="connsiteY5" fmla="*/ 3797252 h 3836832"/>
                  <a:gd name="connsiteX6" fmla="*/ 1143466 w 4342825"/>
                  <a:gd name="connsiteY6" fmla="*/ 3833990 h 3836832"/>
                  <a:gd name="connsiteX7" fmla="*/ 0 w 4342825"/>
                  <a:gd name="connsiteY7" fmla="*/ 2171469 h 3836832"/>
                  <a:gd name="connsiteX8" fmla="*/ 2167432 w 4342825"/>
                  <a:gd name="connsiteY8" fmla="*/ 0 h 383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42825" h="3836832">
                    <a:moveTo>
                      <a:pt x="2167432" y="0"/>
                    </a:moveTo>
                    <a:lnTo>
                      <a:pt x="4342825" y="2179445"/>
                    </a:lnTo>
                    <a:lnTo>
                      <a:pt x="3196076" y="3836832"/>
                    </a:lnTo>
                    <a:lnTo>
                      <a:pt x="3130926" y="3797252"/>
                    </a:lnTo>
                    <a:cubicBezTo>
                      <a:pt x="2844515" y="3641665"/>
                      <a:pt x="2516294" y="3553287"/>
                      <a:pt x="2167432" y="3553287"/>
                    </a:cubicBezTo>
                    <a:cubicBezTo>
                      <a:pt x="1818570" y="3553287"/>
                      <a:pt x="1490349" y="3641665"/>
                      <a:pt x="1203938" y="3797252"/>
                    </a:cubicBezTo>
                    <a:lnTo>
                      <a:pt x="1143466" y="3833990"/>
                    </a:lnTo>
                    <a:lnTo>
                      <a:pt x="0" y="2171469"/>
                    </a:lnTo>
                    <a:lnTo>
                      <a:pt x="2167432" y="0"/>
                    </a:lnTo>
                    <a:close/>
                  </a:path>
                </a:pathLst>
              </a:cu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08" name="Freeform 45">
                <a:extLst>
                  <a:ext uri="{FF2B5EF4-FFF2-40B4-BE49-F238E27FC236}">
                    <a16:creationId xmlns:a16="http://schemas.microsoft.com/office/drawing/2014/main" xmlns="" id="{64FE2D3D-2C89-4277-BA06-2C7443A0397E}"/>
                  </a:ext>
                </a:extLst>
              </p:cNvPr>
              <p:cNvSpPr/>
              <p:nvPr/>
            </p:nvSpPr>
            <p:spPr>
              <a:xfrm>
                <a:off x="5230592" y="2843454"/>
                <a:ext cx="1586881" cy="1816774"/>
              </a:xfrm>
              <a:custGeom>
                <a:avLst/>
                <a:gdLst>
                  <a:gd name="connsiteX0" fmla="*/ 2665085 w 3797804"/>
                  <a:gd name="connsiteY0" fmla="*/ 0 h 4347993"/>
                  <a:gd name="connsiteX1" fmla="*/ 3797804 w 3797804"/>
                  <a:gd name="connsiteY1" fmla="*/ 1646897 h 4347993"/>
                  <a:gd name="connsiteX2" fmla="*/ 3711341 w 3797804"/>
                  <a:gd name="connsiteY2" fmla="*/ 1711553 h 4347993"/>
                  <a:gd name="connsiteX3" fmla="*/ 2975759 w 3797804"/>
                  <a:gd name="connsiteY3" fmla="*/ 3271321 h 4347993"/>
                  <a:gd name="connsiteX4" fmla="*/ 3016826 w 3797804"/>
                  <a:gd name="connsiteY4" fmla="*/ 3678693 h 4347993"/>
                  <a:gd name="connsiteX5" fmla="*/ 3037068 w 3797804"/>
                  <a:gd name="connsiteY5" fmla="*/ 3757418 h 4347993"/>
                  <a:gd name="connsiteX6" fmla="*/ 1292243 w 3797804"/>
                  <a:gd name="connsiteY6" fmla="*/ 4347993 h 4347993"/>
                  <a:gd name="connsiteX7" fmla="*/ 0 w 3797804"/>
                  <a:gd name="connsiteY7" fmla="*/ 1514136 h 4347993"/>
                  <a:gd name="connsiteX8" fmla="*/ 2665085 w 3797804"/>
                  <a:gd name="connsiteY8" fmla="*/ 0 h 4347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7804" h="4347993">
                    <a:moveTo>
                      <a:pt x="2665085" y="0"/>
                    </a:moveTo>
                    <a:lnTo>
                      <a:pt x="3797804" y="1646897"/>
                    </a:lnTo>
                    <a:lnTo>
                      <a:pt x="3711341" y="1711553"/>
                    </a:lnTo>
                    <a:cubicBezTo>
                      <a:pt x="3262103" y="2082298"/>
                      <a:pt x="2975759" y="2643370"/>
                      <a:pt x="2975759" y="3271321"/>
                    </a:cubicBezTo>
                    <a:cubicBezTo>
                      <a:pt x="2975759" y="3410866"/>
                      <a:pt x="2989899" y="3547108"/>
                      <a:pt x="3016826" y="3678693"/>
                    </a:cubicBezTo>
                    <a:lnTo>
                      <a:pt x="3037068" y="3757418"/>
                    </a:lnTo>
                    <a:lnTo>
                      <a:pt x="1292243" y="4347993"/>
                    </a:lnTo>
                    <a:lnTo>
                      <a:pt x="0" y="1514136"/>
                    </a:lnTo>
                    <a:lnTo>
                      <a:pt x="2665085" y="0"/>
                    </a:lnTo>
                    <a:close/>
                  </a:path>
                </a:pathLst>
              </a:custGeom>
              <a:solidFill>
                <a:schemeClr val="accent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09" name="Freeform 44">
                <a:extLst>
                  <a:ext uri="{FF2B5EF4-FFF2-40B4-BE49-F238E27FC236}">
                    <a16:creationId xmlns:a16="http://schemas.microsoft.com/office/drawing/2014/main" xmlns="" id="{A06290DB-875E-435C-A978-748606C01266}"/>
                  </a:ext>
                </a:extLst>
              </p:cNvPr>
              <p:cNvSpPr/>
              <p:nvPr/>
            </p:nvSpPr>
            <p:spPr>
              <a:xfrm>
                <a:off x="7821542" y="2845743"/>
                <a:ext cx="1585049" cy="1814282"/>
              </a:xfrm>
              <a:custGeom>
                <a:avLst/>
                <a:gdLst>
                  <a:gd name="connsiteX0" fmla="*/ 1137971 w 3793416"/>
                  <a:gd name="connsiteY0" fmla="*/ 0 h 4342028"/>
                  <a:gd name="connsiteX1" fmla="*/ 3793416 w 3793416"/>
                  <a:gd name="connsiteY1" fmla="*/ 1508659 h 4342028"/>
                  <a:gd name="connsiteX2" fmla="*/ 2501395 w 3793416"/>
                  <a:gd name="connsiteY2" fmla="*/ 4342028 h 4342028"/>
                  <a:gd name="connsiteX3" fmla="*/ 756418 w 3793416"/>
                  <a:gd name="connsiteY3" fmla="*/ 3751669 h 4342028"/>
                  <a:gd name="connsiteX4" fmla="*/ 776590 w 3793416"/>
                  <a:gd name="connsiteY4" fmla="*/ 3673216 h 4342028"/>
                  <a:gd name="connsiteX5" fmla="*/ 817657 w 3793416"/>
                  <a:gd name="connsiteY5" fmla="*/ 3265844 h 4342028"/>
                  <a:gd name="connsiteX6" fmla="*/ 82075 w 3793416"/>
                  <a:gd name="connsiteY6" fmla="*/ 1706076 h 4342028"/>
                  <a:gd name="connsiteX7" fmla="*/ 0 w 3793416"/>
                  <a:gd name="connsiteY7" fmla="*/ 1644701 h 4342028"/>
                  <a:gd name="connsiteX8" fmla="*/ 1137971 w 3793416"/>
                  <a:gd name="connsiteY8" fmla="*/ 0 h 434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3416" h="4342028">
                    <a:moveTo>
                      <a:pt x="1137971" y="0"/>
                    </a:moveTo>
                    <a:lnTo>
                      <a:pt x="3793416" y="1508659"/>
                    </a:lnTo>
                    <a:lnTo>
                      <a:pt x="2501395" y="4342028"/>
                    </a:lnTo>
                    <a:lnTo>
                      <a:pt x="756418" y="3751669"/>
                    </a:lnTo>
                    <a:lnTo>
                      <a:pt x="776590" y="3673216"/>
                    </a:lnTo>
                    <a:cubicBezTo>
                      <a:pt x="803517" y="3541631"/>
                      <a:pt x="817657" y="3405389"/>
                      <a:pt x="817657" y="3265844"/>
                    </a:cubicBezTo>
                    <a:cubicBezTo>
                      <a:pt x="817657" y="2637893"/>
                      <a:pt x="531313" y="2076821"/>
                      <a:pt x="82075" y="1706076"/>
                    </a:cubicBezTo>
                    <a:lnTo>
                      <a:pt x="0" y="1644701"/>
                    </a:lnTo>
                    <a:lnTo>
                      <a:pt x="1137971"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0" name="Freeform 42">
                <a:extLst>
                  <a:ext uri="{FF2B5EF4-FFF2-40B4-BE49-F238E27FC236}">
                    <a16:creationId xmlns:a16="http://schemas.microsoft.com/office/drawing/2014/main" xmlns="" id="{284198C2-8F5D-46D6-BAA7-CA5105A2527A}"/>
                  </a:ext>
                </a:extLst>
              </p:cNvPr>
              <p:cNvSpPr/>
              <p:nvPr/>
            </p:nvSpPr>
            <p:spPr>
              <a:xfrm>
                <a:off x="7362530" y="4497487"/>
                <a:ext cx="1475499" cy="1559547"/>
              </a:xfrm>
              <a:custGeom>
                <a:avLst/>
                <a:gdLst>
                  <a:gd name="connsiteX0" fmla="*/ 1793799 w 3531238"/>
                  <a:gd name="connsiteY0" fmla="*/ 0 h 3732384"/>
                  <a:gd name="connsiteX1" fmla="*/ 3531238 w 3531238"/>
                  <a:gd name="connsiteY1" fmla="*/ 587808 h 3732384"/>
                  <a:gd name="connsiteX2" fmla="*/ 2983224 w 3531238"/>
                  <a:gd name="connsiteY2" fmla="*/ 3732384 h 3732384"/>
                  <a:gd name="connsiteX3" fmla="*/ 0 w 3531238"/>
                  <a:gd name="connsiteY3" fmla="*/ 3312947 h 3732384"/>
                  <a:gd name="connsiteX4" fmla="*/ 0 w 3531238"/>
                  <a:gd name="connsiteY4" fmla="*/ 1328844 h 3732384"/>
                  <a:gd name="connsiteX5" fmla="*/ 101514 w 3531238"/>
                  <a:gd name="connsiteY5" fmla="*/ 1323718 h 3732384"/>
                  <a:gd name="connsiteX6" fmla="*/ 1757342 w 3531238"/>
                  <a:gd name="connsiteY6" fmla="*/ 99608 h 3732384"/>
                  <a:gd name="connsiteX7" fmla="*/ 1793799 w 3531238"/>
                  <a:gd name="connsiteY7" fmla="*/ 0 h 373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238" h="3732384">
                    <a:moveTo>
                      <a:pt x="1793799" y="0"/>
                    </a:moveTo>
                    <a:lnTo>
                      <a:pt x="3531238" y="587808"/>
                    </a:lnTo>
                    <a:lnTo>
                      <a:pt x="2983224" y="3732384"/>
                    </a:lnTo>
                    <a:lnTo>
                      <a:pt x="0" y="3312947"/>
                    </a:lnTo>
                    <a:lnTo>
                      <a:pt x="0" y="1328844"/>
                    </a:lnTo>
                    <a:lnTo>
                      <a:pt x="101514" y="1323718"/>
                    </a:lnTo>
                    <a:cubicBezTo>
                      <a:pt x="848983" y="1247808"/>
                      <a:pt x="1476056" y="764641"/>
                      <a:pt x="1757342" y="99608"/>
                    </a:cubicBezTo>
                    <a:lnTo>
                      <a:pt x="1793799" y="0"/>
                    </a:lnTo>
                    <a:close/>
                  </a:path>
                </a:pathLst>
              </a:custGeom>
              <a:solidFill>
                <a:schemeClr val="accent5">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1" name="Freeform 41">
                <a:extLst>
                  <a:ext uri="{FF2B5EF4-FFF2-40B4-BE49-F238E27FC236}">
                    <a16:creationId xmlns:a16="http://schemas.microsoft.com/office/drawing/2014/main" xmlns="" id="{5A2FBDAA-AB2E-4318-B3E6-2D62021619C3}"/>
                  </a:ext>
                </a:extLst>
              </p:cNvPr>
              <p:cNvSpPr/>
              <p:nvPr/>
            </p:nvSpPr>
            <p:spPr>
              <a:xfrm>
                <a:off x="5799193" y="4497599"/>
                <a:ext cx="1475461" cy="1559436"/>
              </a:xfrm>
              <a:custGeom>
                <a:avLst/>
                <a:gdLst>
                  <a:gd name="connsiteX0" fmla="*/ 1737443 w 3531147"/>
                  <a:gd name="connsiteY0" fmla="*/ 0 h 3732119"/>
                  <a:gd name="connsiteX1" fmla="*/ 1773803 w 3531147"/>
                  <a:gd name="connsiteY1" fmla="*/ 99343 h 3732119"/>
                  <a:gd name="connsiteX2" fmla="*/ 3429631 w 3531147"/>
                  <a:gd name="connsiteY2" fmla="*/ 1323453 h 3732119"/>
                  <a:gd name="connsiteX3" fmla="*/ 3531147 w 3531147"/>
                  <a:gd name="connsiteY3" fmla="*/ 1328579 h 3732119"/>
                  <a:gd name="connsiteX4" fmla="*/ 3531147 w 3531147"/>
                  <a:gd name="connsiteY4" fmla="*/ 3312682 h 3732119"/>
                  <a:gd name="connsiteX5" fmla="*/ 547921 w 3531147"/>
                  <a:gd name="connsiteY5" fmla="*/ 3732119 h 3732119"/>
                  <a:gd name="connsiteX6" fmla="*/ 0 w 3531147"/>
                  <a:gd name="connsiteY6" fmla="*/ 588077 h 3732119"/>
                  <a:gd name="connsiteX7" fmla="*/ 1737443 w 3531147"/>
                  <a:gd name="connsiteY7" fmla="*/ 0 h 373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147" h="3732119">
                    <a:moveTo>
                      <a:pt x="1737443" y="0"/>
                    </a:moveTo>
                    <a:lnTo>
                      <a:pt x="1773803" y="99343"/>
                    </a:lnTo>
                    <a:cubicBezTo>
                      <a:pt x="2055089" y="764376"/>
                      <a:pt x="2682162" y="1247543"/>
                      <a:pt x="3429631" y="1323453"/>
                    </a:cubicBezTo>
                    <a:lnTo>
                      <a:pt x="3531147" y="1328579"/>
                    </a:lnTo>
                    <a:lnTo>
                      <a:pt x="3531147" y="3312682"/>
                    </a:lnTo>
                    <a:lnTo>
                      <a:pt x="547921" y="3732119"/>
                    </a:lnTo>
                    <a:lnTo>
                      <a:pt x="0" y="588077"/>
                    </a:lnTo>
                    <a:lnTo>
                      <a:pt x="1737443" y="0"/>
                    </a:lnTo>
                    <a:close/>
                  </a:path>
                </a:pathLst>
              </a:custGeom>
              <a:solidFill>
                <a:scrgbClr r="0" g="0" b="0">
                  <a:alpha val="30000"/>
                </a:sc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grpSp>
        <p:sp>
          <p:nvSpPr>
            <p:cNvPr id="22" name="Ellipse 21">
              <a:extLst>
                <a:ext uri="{FF2B5EF4-FFF2-40B4-BE49-F238E27FC236}">
                  <a16:creationId xmlns:a16="http://schemas.microsoft.com/office/drawing/2014/main" xmlns="" id="{DF4A991F-96D6-4A69-9300-C89426EC4D70}"/>
                </a:ext>
              </a:extLst>
            </p:cNvPr>
            <p:cNvSpPr/>
            <p:nvPr/>
          </p:nvSpPr>
          <p:spPr>
            <a:xfrm>
              <a:off x="9104480" y="3216594"/>
              <a:ext cx="360000" cy="35999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t>2 </a:t>
              </a:r>
              <a:endParaRPr lang="en-GB" sz="1200" dirty="0"/>
            </a:p>
          </p:txBody>
        </p:sp>
      </p:grpSp>
      <p:sp>
        <p:nvSpPr>
          <p:cNvPr id="41" name="Textplatzhalter 1">
            <a:extLst>
              <a:ext uri="{FF2B5EF4-FFF2-40B4-BE49-F238E27FC236}">
                <a16:creationId xmlns:a16="http://schemas.microsoft.com/office/drawing/2014/main" xmlns="" id="{7A1600A2-C58E-42AD-B86F-5A4EF6A570AB}"/>
              </a:ext>
            </a:extLst>
          </p:cNvPr>
          <p:cNvSpPr txBox="1">
            <a:spLocks/>
          </p:cNvSpPr>
          <p:nvPr/>
        </p:nvSpPr>
        <p:spPr>
          <a:xfrm>
            <a:off x="3869211" y="1122626"/>
            <a:ext cx="8947283" cy="538404"/>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a:buNone/>
              <a:defRPr sz="3600" kern="1200">
                <a:solidFill>
                  <a:srgbClr val="245473"/>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GB" sz="2400" dirty="0">
                <a:solidFill>
                  <a:srgbClr val="E53292"/>
                </a:solidFill>
              </a:rPr>
              <a:t>Etapa 2: Estrategias de continuidad de la actividad</a:t>
            </a:r>
          </a:p>
        </p:txBody>
      </p:sp>
      <p:sp>
        <p:nvSpPr>
          <p:cNvPr id="17" name="Freeform 2">
            <a:extLst>
              <a:ext uri="{FF2B5EF4-FFF2-40B4-BE49-F238E27FC236}">
                <a16:creationId xmlns:a16="http://schemas.microsoft.com/office/drawing/2014/main" xmlns="" id="{3D995078-5C3A-434C-8044-59452370E8E7}"/>
              </a:ext>
            </a:extLst>
          </p:cNvPr>
          <p:cNvSpPr>
            <a:spLocks noChangeArrowheads="1"/>
          </p:cNvSpPr>
          <p:nvPr/>
        </p:nvSpPr>
        <p:spPr bwMode="auto">
          <a:xfrm>
            <a:off x="5016871" y="3525322"/>
            <a:ext cx="1285071" cy="1285071"/>
          </a:xfrm>
          <a:custGeom>
            <a:avLst/>
            <a:gdLst>
              <a:gd name="T0" fmla="*/ 1377 w 2753"/>
              <a:gd name="T1" fmla="*/ 0 h 2752"/>
              <a:gd name="T2" fmla="*/ 1377 w 2753"/>
              <a:gd name="T3" fmla="*/ 0 h 2752"/>
              <a:gd name="T4" fmla="*/ 2752 w 2753"/>
              <a:gd name="T5" fmla="*/ 1376 h 2752"/>
              <a:gd name="T6" fmla="*/ 2752 w 2753"/>
              <a:gd name="T7" fmla="*/ 1376 h 2752"/>
              <a:gd name="T8" fmla="*/ 1377 w 2753"/>
              <a:gd name="T9" fmla="*/ 2751 h 2752"/>
              <a:gd name="T10" fmla="*/ 1377 w 2753"/>
              <a:gd name="T11" fmla="*/ 2751 h 2752"/>
              <a:gd name="T12" fmla="*/ 0 w 2753"/>
              <a:gd name="T13" fmla="*/ 1376 h 2752"/>
              <a:gd name="T14" fmla="*/ 0 w 2753"/>
              <a:gd name="T15" fmla="*/ 1376 h 2752"/>
              <a:gd name="T16" fmla="*/ 1377 w 2753"/>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3" h="2752">
                <a:moveTo>
                  <a:pt x="1377" y="0"/>
                </a:moveTo>
                <a:lnTo>
                  <a:pt x="1377" y="0"/>
                </a:lnTo>
                <a:cubicBezTo>
                  <a:pt x="2137" y="0"/>
                  <a:pt x="2752" y="616"/>
                  <a:pt x="2752" y="1376"/>
                </a:cubicBezTo>
                <a:lnTo>
                  <a:pt x="2752" y="1376"/>
                </a:lnTo>
                <a:cubicBezTo>
                  <a:pt x="2752" y="2135"/>
                  <a:pt x="2137" y="2751"/>
                  <a:pt x="1377" y="2751"/>
                </a:cubicBezTo>
                <a:lnTo>
                  <a:pt x="1377" y="2751"/>
                </a:lnTo>
                <a:cubicBezTo>
                  <a:pt x="616" y="2751"/>
                  <a:pt x="0" y="2135"/>
                  <a:pt x="0" y="1376"/>
                </a:cubicBezTo>
                <a:lnTo>
                  <a:pt x="0" y="1376"/>
                </a:lnTo>
                <a:cubicBezTo>
                  <a:pt x="0" y="616"/>
                  <a:pt x="616" y="0"/>
                  <a:pt x="1377" y="0"/>
                </a:cubicBezTo>
              </a:path>
            </a:pathLst>
          </a:custGeom>
          <a:solidFill>
            <a:schemeClr val="accent1"/>
          </a:solidFill>
          <a:ln>
            <a:noFill/>
          </a:ln>
          <a:effectLst/>
        </p:spPr>
        <p:txBody>
          <a:bodyPr wrap="none" anchor="ctr"/>
          <a:lstStyle/>
          <a:p>
            <a:endParaRPr lang="en-GB" sz="2450" dirty="0">
              <a:latin typeface="+mj-lt"/>
            </a:endParaRPr>
          </a:p>
        </p:txBody>
      </p:sp>
      <p:sp>
        <p:nvSpPr>
          <p:cNvPr id="18" name="Freeform 3">
            <a:extLst>
              <a:ext uri="{FF2B5EF4-FFF2-40B4-BE49-F238E27FC236}">
                <a16:creationId xmlns:a16="http://schemas.microsoft.com/office/drawing/2014/main" xmlns="" id="{05964768-527E-4FE5-9060-988FA2DE2414}"/>
              </a:ext>
            </a:extLst>
          </p:cNvPr>
          <p:cNvSpPr>
            <a:spLocks noChangeArrowheads="1"/>
          </p:cNvSpPr>
          <p:nvPr/>
        </p:nvSpPr>
        <p:spPr bwMode="auto">
          <a:xfrm>
            <a:off x="5208217" y="3679747"/>
            <a:ext cx="875248" cy="998814"/>
          </a:xfrm>
          <a:custGeom>
            <a:avLst/>
            <a:gdLst>
              <a:gd name="T0" fmla="*/ 885 w 1872"/>
              <a:gd name="T1" fmla="*/ 18 h 2138"/>
              <a:gd name="T2" fmla="*/ 885 w 1872"/>
              <a:gd name="T3" fmla="*/ 18 h 2138"/>
              <a:gd name="T4" fmla="*/ 986 w 1872"/>
              <a:gd name="T5" fmla="*/ 18 h 2138"/>
              <a:gd name="T6" fmla="*/ 1820 w 1872"/>
              <a:gd name="T7" fmla="*/ 500 h 2138"/>
              <a:gd name="T8" fmla="*/ 1820 w 1872"/>
              <a:gd name="T9" fmla="*/ 500 h 2138"/>
              <a:gd name="T10" fmla="*/ 1871 w 1872"/>
              <a:gd name="T11" fmla="*/ 588 h 2138"/>
              <a:gd name="T12" fmla="*/ 1871 w 1872"/>
              <a:gd name="T13" fmla="*/ 1549 h 2138"/>
              <a:gd name="T14" fmla="*/ 1871 w 1872"/>
              <a:gd name="T15" fmla="*/ 1549 h 2138"/>
              <a:gd name="T16" fmla="*/ 1820 w 1872"/>
              <a:gd name="T17" fmla="*/ 1637 h 2138"/>
              <a:gd name="T18" fmla="*/ 986 w 1872"/>
              <a:gd name="T19" fmla="*/ 2119 h 2138"/>
              <a:gd name="T20" fmla="*/ 986 w 1872"/>
              <a:gd name="T21" fmla="*/ 2119 h 2138"/>
              <a:gd name="T22" fmla="*/ 885 w 1872"/>
              <a:gd name="T23" fmla="*/ 2119 h 2138"/>
              <a:gd name="T24" fmla="*/ 50 w 1872"/>
              <a:gd name="T25" fmla="*/ 1637 h 2138"/>
              <a:gd name="T26" fmla="*/ 50 w 1872"/>
              <a:gd name="T27" fmla="*/ 1637 h 2138"/>
              <a:gd name="T28" fmla="*/ 0 w 1872"/>
              <a:gd name="T29" fmla="*/ 1549 h 2138"/>
              <a:gd name="T30" fmla="*/ 0 w 1872"/>
              <a:gd name="T31" fmla="*/ 588 h 2138"/>
              <a:gd name="T32" fmla="*/ 0 w 1872"/>
              <a:gd name="T33" fmla="*/ 588 h 2138"/>
              <a:gd name="T34" fmla="*/ 50 w 1872"/>
              <a:gd name="T35" fmla="*/ 500 h 2138"/>
              <a:gd name="T36" fmla="*/ 885 w 1872"/>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2" h="2138">
                <a:moveTo>
                  <a:pt x="885" y="18"/>
                </a:moveTo>
                <a:lnTo>
                  <a:pt x="885" y="18"/>
                </a:lnTo>
                <a:cubicBezTo>
                  <a:pt x="916" y="0"/>
                  <a:pt x="955" y="0"/>
                  <a:pt x="986" y="18"/>
                </a:cubicBezTo>
                <a:lnTo>
                  <a:pt x="1820" y="500"/>
                </a:lnTo>
                <a:lnTo>
                  <a:pt x="1820" y="500"/>
                </a:lnTo>
                <a:cubicBezTo>
                  <a:pt x="1851" y="517"/>
                  <a:pt x="1871" y="551"/>
                  <a:pt x="1871" y="588"/>
                </a:cubicBezTo>
                <a:lnTo>
                  <a:pt x="1871" y="1549"/>
                </a:lnTo>
                <a:lnTo>
                  <a:pt x="1871" y="1549"/>
                </a:lnTo>
                <a:cubicBezTo>
                  <a:pt x="1871" y="1586"/>
                  <a:pt x="1851" y="1620"/>
                  <a:pt x="1820" y="1637"/>
                </a:cubicBezTo>
                <a:lnTo>
                  <a:pt x="986" y="2119"/>
                </a:lnTo>
                <a:lnTo>
                  <a:pt x="986" y="2119"/>
                </a:lnTo>
                <a:cubicBezTo>
                  <a:pt x="955" y="2137"/>
                  <a:pt x="916" y="2137"/>
                  <a:pt x="885" y="2119"/>
                </a:cubicBezTo>
                <a:lnTo>
                  <a:pt x="50" y="1637"/>
                </a:lnTo>
                <a:lnTo>
                  <a:pt x="50" y="1637"/>
                </a:lnTo>
                <a:cubicBezTo>
                  <a:pt x="19" y="1620"/>
                  <a:pt x="0" y="1586"/>
                  <a:pt x="0" y="1549"/>
                </a:cubicBezTo>
                <a:lnTo>
                  <a:pt x="0" y="588"/>
                </a:lnTo>
                <a:lnTo>
                  <a:pt x="0" y="588"/>
                </a:lnTo>
                <a:cubicBezTo>
                  <a:pt x="0" y="551"/>
                  <a:pt x="19" y="517"/>
                  <a:pt x="50"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19" name="Freeform 5">
            <a:extLst>
              <a:ext uri="{FF2B5EF4-FFF2-40B4-BE49-F238E27FC236}">
                <a16:creationId xmlns:a16="http://schemas.microsoft.com/office/drawing/2014/main" xmlns="" id="{99814CB9-1F95-4B6A-98EF-814657BAD560}"/>
              </a:ext>
            </a:extLst>
          </p:cNvPr>
          <p:cNvSpPr>
            <a:spLocks noChangeArrowheads="1"/>
          </p:cNvSpPr>
          <p:nvPr/>
        </p:nvSpPr>
        <p:spPr bwMode="auto">
          <a:xfrm>
            <a:off x="6576891" y="3525322"/>
            <a:ext cx="1285071" cy="1285071"/>
          </a:xfrm>
          <a:custGeom>
            <a:avLst/>
            <a:gdLst>
              <a:gd name="T0" fmla="*/ 1376 w 2753"/>
              <a:gd name="T1" fmla="*/ 0 h 2752"/>
              <a:gd name="T2" fmla="*/ 1376 w 2753"/>
              <a:gd name="T3" fmla="*/ 0 h 2752"/>
              <a:gd name="T4" fmla="*/ 2752 w 2753"/>
              <a:gd name="T5" fmla="*/ 1376 h 2752"/>
              <a:gd name="T6" fmla="*/ 2752 w 2753"/>
              <a:gd name="T7" fmla="*/ 1376 h 2752"/>
              <a:gd name="T8" fmla="*/ 1376 w 2753"/>
              <a:gd name="T9" fmla="*/ 2751 h 2752"/>
              <a:gd name="T10" fmla="*/ 1376 w 2753"/>
              <a:gd name="T11" fmla="*/ 2751 h 2752"/>
              <a:gd name="T12" fmla="*/ 0 w 2753"/>
              <a:gd name="T13" fmla="*/ 1376 h 2752"/>
              <a:gd name="T14" fmla="*/ 0 w 2753"/>
              <a:gd name="T15" fmla="*/ 1376 h 2752"/>
              <a:gd name="T16" fmla="*/ 1376 w 2753"/>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3" h="2752">
                <a:moveTo>
                  <a:pt x="1376" y="0"/>
                </a:moveTo>
                <a:lnTo>
                  <a:pt x="1376" y="0"/>
                </a:lnTo>
                <a:cubicBezTo>
                  <a:pt x="2137" y="0"/>
                  <a:pt x="2752" y="616"/>
                  <a:pt x="2752" y="1376"/>
                </a:cubicBezTo>
                <a:lnTo>
                  <a:pt x="2752" y="1376"/>
                </a:lnTo>
                <a:cubicBezTo>
                  <a:pt x="2752" y="2135"/>
                  <a:pt x="2137" y="2751"/>
                  <a:pt x="1376" y="2751"/>
                </a:cubicBezTo>
                <a:lnTo>
                  <a:pt x="1376" y="2751"/>
                </a:lnTo>
                <a:cubicBezTo>
                  <a:pt x="616" y="2751"/>
                  <a:pt x="0" y="2135"/>
                  <a:pt x="0" y="1376"/>
                </a:cubicBezTo>
                <a:lnTo>
                  <a:pt x="0" y="1376"/>
                </a:lnTo>
                <a:cubicBezTo>
                  <a:pt x="0" y="616"/>
                  <a:pt x="616" y="0"/>
                  <a:pt x="1376" y="0"/>
                </a:cubicBezTo>
              </a:path>
            </a:pathLst>
          </a:custGeom>
          <a:solidFill>
            <a:schemeClr val="accent2"/>
          </a:solidFill>
          <a:ln>
            <a:noFill/>
          </a:ln>
          <a:effectLst/>
        </p:spPr>
        <p:txBody>
          <a:bodyPr wrap="none" anchor="ctr"/>
          <a:lstStyle/>
          <a:p>
            <a:endParaRPr lang="en-GB" sz="2450" dirty="0">
              <a:latin typeface="+mj-lt"/>
            </a:endParaRPr>
          </a:p>
        </p:txBody>
      </p:sp>
      <p:sp>
        <p:nvSpPr>
          <p:cNvPr id="20" name="Freeform 6">
            <a:extLst>
              <a:ext uri="{FF2B5EF4-FFF2-40B4-BE49-F238E27FC236}">
                <a16:creationId xmlns:a16="http://schemas.microsoft.com/office/drawing/2014/main" xmlns="" id="{E2CFCDB4-07A4-4B96-8440-254994C4D1BC}"/>
              </a:ext>
            </a:extLst>
          </p:cNvPr>
          <p:cNvSpPr>
            <a:spLocks noChangeArrowheads="1"/>
          </p:cNvSpPr>
          <p:nvPr/>
        </p:nvSpPr>
        <p:spPr bwMode="auto">
          <a:xfrm>
            <a:off x="6782833" y="3669480"/>
            <a:ext cx="875249" cy="998814"/>
          </a:xfrm>
          <a:custGeom>
            <a:avLst/>
            <a:gdLst>
              <a:gd name="T0" fmla="*/ 885 w 1873"/>
              <a:gd name="T1" fmla="*/ 18 h 2138"/>
              <a:gd name="T2" fmla="*/ 885 w 1873"/>
              <a:gd name="T3" fmla="*/ 18 h 2138"/>
              <a:gd name="T4" fmla="*/ 987 w 1873"/>
              <a:gd name="T5" fmla="*/ 18 h 2138"/>
              <a:gd name="T6" fmla="*/ 1821 w 1873"/>
              <a:gd name="T7" fmla="*/ 500 h 2138"/>
              <a:gd name="T8" fmla="*/ 1821 w 1873"/>
              <a:gd name="T9" fmla="*/ 500 h 2138"/>
              <a:gd name="T10" fmla="*/ 1872 w 1873"/>
              <a:gd name="T11" fmla="*/ 588 h 2138"/>
              <a:gd name="T12" fmla="*/ 1872 w 1873"/>
              <a:gd name="T13" fmla="*/ 1549 h 2138"/>
              <a:gd name="T14" fmla="*/ 1872 w 1873"/>
              <a:gd name="T15" fmla="*/ 1549 h 2138"/>
              <a:gd name="T16" fmla="*/ 1821 w 1873"/>
              <a:gd name="T17" fmla="*/ 1637 h 2138"/>
              <a:gd name="T18" fmla="*/ 987 w 1873"/>
              <a:gd name="T19" fmla="*/ 2119 h 2138"/>
              <a:gd name="T20" fmla="*/ 987 w 1873"/>
              <a:gd name="T21" fmla="*/ 2119 h 2138"/>
              <a:gd name="T22" fmla="*/ 885 w 1873"/>
              <a:gd name="T23" fmla="*/ 2119 h 2138"/>
              <a:gd name="T24" fmla="*/ 51 w 1873"/>
              <a:gd name="T25" fmla="*/ 1637 h 2138"/>
              <a:gd name="T26" fmla="*/ 51 w 1873"/>
              <a:gd name="T27" fmla="*/ 1637 h 2138"/>
              <a:gd name="T28" fmla="*/ 0 w 1873"/>
              <a:gd name="T29" fmla="*/ 1549 h 2138"/>
              <a:gd name="T30" fmla="*/ 0 w 1873"/>
              <a:gd name="T31" fmla="*/ 588 h 2138"/>
              <a:gd name="T32" fmla="*/ 0 w 1873"/>
              <a:gd name="T33" fmla="*/ 588 h 2138"/>
              <a:gd name="T34" fmla="*/ 51 w 1873"/>
              <a:gd name="T35" fmla="*/ 500 h 2138"/>
              <a:gd name="T36" fmla="*/ 885 w 1873"/>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3" h="2138">
                <a:moveTo>
                  <a:pt x="885" y="18"/>
                </a:moveTo>
                <a:lnTo>
                  <a:pt x="885" y="18"/>
                </a:lnTo>
                <a:cubicBezTo>
                  <a:pt x="917" y="0"/>
                  <a:pt x="956" y="0"/>
                  <a:pt x="987" y="18"/>
                </a:cubicBezTo>
                <a:lnTo>
                  <a:pt x="1821" y="500"/>
                </a:lnTo>
                <a:lnTo>
                  <a:pt x="1821" y="500"/>
                </a:lnTo>
                <a:cubicBezTo>
                  <a:pt x="1852" y="517"/>
                  <a:pt x="1872" y="551"/>
                  <a:pt x="1872" y="588"/>
                </a:cubicBezTo>
                <a:lnTo>
                  <a:pt x="1872" y="1549"/>
                </a:lnTo>
                <a:lnTo>
                  <a:pt x="1872" y="1549"/>
                </a:lnTo>
                <a:cubicBezTo>
                  <a:pt x="1872" y="1586"/>
                  <a:pt x="1852" y="1620"/>
                  <a:pt x="1821" y="1637"/>
                </a:cubicBezTo>
                <a:lnTo>
                  <a:pt x="987" y="2119"/>
                </a:lnTo>
                <a:lnTo>
                  <a:pt x="987" y="2119"/>
                </a:lnTo>
                <a:cubicBezTo>
                  <a:pt x="956" y="2137"/>
                  <a:pt x="917" y="2137"/>
                  <a:pt x="885" y="2119"/>
                </a:cubicBezTo>
                <a:lnTo>
                  <a:pt x="51" y="1637"/>
                </a:lnTo>
                <a:lnTo>
                  <a:pt x="51" y="1637"/>
                </a:lnTo>
                <a:cubicBezTo>
                  <a:pt x="20" y="1620"/>
                  <a:pt x="0" y="1586"/>
                  <a:pt x="0" y="1549"/>
                </a:cubicBezTo>
                <a:lnTo>
                  <a:pt x="0" y="588"/>
                </a:lnTo>
                <a:lnTo>
                  <a:pt x="0" y="588"/>
                </a:lnTo>
                <a:cubicBezTo>
                  <a:pt x="0" y="551"/>
                  <a:pt x="20" y="517"/>
                  <a:pt x="51"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21" name="Freeform 8">
            <a:extLst>
              <a:ext uri="{FF2B5EF4-FFF2-40B4-BE49-F238E27FC236}">
                <a16:creationId xmlns:a16="http://schemas.microsoft.com/office/drawing/2014/main" xmlns="" id="{F4E711F3-7B30-463F-BE0F-9502EBE6CD8B}"/>
              </a:ext>
            </a:extLst>
          </p:cNvPr>
          <p:cNvSpPr>
            <a:spLocks noChangeArrowheads="1"/>
          </p:cNvSpPr>
          <p:nvPr/>
        </p:nvSpPr>
        <p:spPr bwMode="auto">
          <a:xfrm>
            <a:off x="8136912" y="3525322"/>
            <a:ext cx="1285071" cy="1285071"/>
          </a:xfrm>
          <a:custGeom>
            <a:avLst/>
            <a:gdLst>
              <a:gd name="T0" fmla="*/ 1376 w 2752"/>
              <a:gd name="T1" fmla="*/ 0 h 2752"/>
              <a:gd name="T2" fmla="*/ 1376 w 2752"/>
              <a:gd name="T3" fmla="*/ 0 h 2752"/>
              <a:gd name="T4" fmla="*/ 2751 w 2752"/>
              <a:gd name="T5" fmla="*/ 1376 h 2752"/>
              <a:gd name="T6" fmla="*/ 2751 w 2752"/>
              <a:gd name="T7" fmla="*/ 1376 h 2752"/>
              <a:gd name="T8" fmla="*/ 1376 w 2752"/>
              <a:gd name="T9" fmla="*/ 2751 h 2752"/>
              <a:gd name="T10" fmla="*/ 1376 w 2752"/>
              <a:gd name="T11" fmla="*/ 2751 h 2752"/>
              <a:gd name="T12" fmla="*/ 0 w 2752"/>
              <a:gd name="T13" fmla="*/ 1376 h 2752"/>
              <a:gd name="T14" fmla="*/ 0 w 2752"/>
              <a:gd name="T15" fmla="*/ 1376 h 2752"/>
              <a:gd name="T16" fmla="*/ 1376 w 2752"/>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2" h="2752">
                <a:moveTo>
                  <a:pt x="1376" y="0"/>
                </a:moveTo>
                <a:lnTo>
                  <a:pt x="1376" y="0"/>
                </a:lnTo>
                <a:cubicBezTo>
                  <a:pt x="2135" y="0"/>
                  <a:pt x="2751" y="616"/>
                  <a:pt x="2751" y="1376"/>
                </a:cubicBezTo>
                <a:lnTo>
                  <a:pt x="2751" y="1376"/>
                </a:lnTo>
                <a:cubicBezTo>
                  <a:pt x="2751" y="2135"/>
                  <a:pt x="2135" y="2751"/>
                  <a:pt x="1376" y="2751"/>
                </a:cubicBezTo>
                <a:lnTo>
                  <a:pt x="1376" y="2751"/>
                </a:lnTo>
                <a:cubicBezTo>
                  <a:pt x="616" y="2751"/>
                  <a:pt x="0" y="2135"/>
                  <a:pt x="0" y="1376"/>
                </a:cubicBezTo>
                <a:lnTo>
                  <a:pt x="0" y="1376"/>
                </a:lnTo>
                <a:cubicBezTo>
                  <a:pt x="0" y="616"/>
                  <a:pt x="616" y="0"/>
                  <a:pt x="1376" y="0"/>
                </a:cubicBezTo>
              </a:path>
            </a:pathLst>
          </a:custGeom>
          <a:solidFill>
            <a:schemeClr val="accent3"/>
          </a:solidFill>
          <a:ln>
            <a:noFill/>
          </a:ln>
          <a:effectLst/>
        </p:spPr>
        <p:txBody>
          <a:bodyPr wrap="none" anchor="ctr"/>
          <a:lstStyle/>
          <a:p>
            <a:endParaRPr lang="en-GB" sz="2450" dirty="0">
              <a:latin typeface="+mj-lt"/>
            </a:endParaRPr>
          </a:p>
        </p:txBody>
      </p:sp>
      <p:sp>
        <p:nvSpPr>
          <p:cNvPr id="23" name="Freeform 9">
            <a:extLst>
              <a:ext uri="{FF2B5EF4-FFF2-40B4-BE49-F238E27FC236}">
                <a16:creationId xmlns:a16="http://schemas.microsoft.com/office/drawing/2014/main" xmlns="" id="{7D3592B3-7658-4E2E-A8EE-67A2EF5A3D27}"/>
              </a:ext>
            </a:extLst>
          </p:cNvPr>
          <p:cNvSpPr>
            <a:spLocks noChangeArrowheads="1"/>
          </p:cNvSpPr>
          <p:nvPr/>
        </p:nvSpPr>
        <p:spPr bwMode="auto">
          <a:xfrm>
            <a:off x="8342853" y="3669480"/>
            <a:ext cx="875249" cy="998814"/>
          </a:xfrm>
          <a:custGeom>
            <a:avLst/>
            <a:gdLst>
              <a:gd name="T0" fmla="*/ 885 w 1872"/>
              <a:gd name="T1" fmla="*/ 18 h 2138"/>
              <a:gd name="T2" fmla="*/ 885 w 1872"/>
              <a:gd name="T3" fmla="*/ 18 h 2138"/>
              <a:gd name="T4" fmla="*/ 986 w 1872"/>
              <a:gd name="T5" fmla="*/ 18 h 2138"/>
              <a:gd name="T6" fmla="*/ 1820 w 1872"/>
              <a:gd name="T7" fmla="*/ 500 h 2138"/>
              <a:gd name="T8" fmla="*/ 1820 w 1872"/>
              <a:gd name="T9" fmla="*/ 500 h 2138"/>
              <a:gd name="T10" fmla="*/ 1871 w 1872"/>
              <a:gd name="T11" fmla="*/ 588 h 2138"/>
              <a:gd name="T12" fmla="*/ 1871 w 1872"/>
              <a:gd name="T13" fmla="*/ 1549 h 2138"/>
              <a:gd name="T14" fmla="*/ 1871 w 1872"/>
              <a:gd name="T15" fmla="*/ 1549 h 2138"/>
              <a:gd name="T16" fmla="*/ 1820 w 1872"/>
              <a:gd name="T17" fmla="*/ 1637 h 2138"/>
              <a:gd name="T18" fmla="*/ 986 w 1872"/>
              <a:gd name="T19" fmla="*/ 2119 h 2138"/>
              <a:gd name="T20" fmla="*/ 986 w 1872"/>
              <a:gd name="T21" fmla="*/ 2119 h 2138"/>
              <a:gd name="T22" fmla="*/ 885 w 1872"/>
              <a:gd name="T23" fmla="*/ 2119 h 2138"/>
              <a:gd name="T24" fmla="*/ 51 w 1872"/>
              <a:gd name="T25" fmla="*/ 1637 h 2138"/>
              <a:gd name="T26" fmla="*/ 51 w 1872"/>
              <a:gd name="T27" fmla="*/ 1637 h 2138"/>
              <a:gd name="T28" fmla="*/ 0 w 1872"/>
              <a:gd name="T29" fmla="*/ 1549 h 2138"/>
              <a:gd name="T30" fmla="*/ 0 w 1872"/>
              <a:gd name="T31" fmla="*/ 588 h 2138"/>
              <a:gd name="T32" fmla="*/ 0 w 1872"/>
              <a:gd name="T33" fmla="*/ 588 h 2138"/>
              <a:gd name="T34" fmla="*/ 51 w 1872"/>
              <a:gd name="T35" fmla="*/ 500 h 2138"/>
              <a:gd name="T36" fmla="*/ 885 w 1872"/>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2" h="2138">
                <a:moveTo>
                  <a:pt x="885" y="18"/>
                </a:moveTo>
                <a:lnTo>
                  <a:pt x="885" y="18"/>
                </a:lnTo>
                <a:cubicBezTo>
                  <a:pt x="917" y="0"/>
                  <a:pt x="955" y="0"/>
                  <a:pt x="986" y="18"/>
                </a:cubicBezTo>
                <a:lnTo>
                  <a:pt x="1820" y="500"/>
                </a:lnTo>
                <a:lnTo>
                  <a:pt x="1820" y="500"/>
                </a:lnTo>
                <a:cubicBezTo>
                  <a:pt x="1851" y="517"/>
                  <a:pt x="1871" y="551"/>
                  <a:pt x="1871" y="588"/>
                </a:cubicBezTo>
                <a:lnTo>
                  <a:pt x="1871" y="1549"/>
                </a:lnTo>
                <a:lnTo>
                  <a:pt x="1871" y="1549"/>
                </a:lnTo>
                <a:cubicBezTo>
                  <a:pt x="1871" y="1586"/>
                  <a:pt x="1851" y="1620"/>
                  <a:pt x="1820" y="1637"/>
                </a:cubicBezTo>
                <a:lnTo>
                  <a:pt x="986" y="2119"/>
                </a:lnTo>
                <a:lnTo>
                  <a:pt x="986" y="2119"/>
                </a:lnTo>
                <a:cubicBezTo>
                  <a:pt x="955" y="2137"/>
                  <a:pt x="917" y="2137"/>
                  <a:pt x="885" y="2119"/>
                </a:cubicBezTo>
                <a:lnTo>
                  <a:pt x="51" y="1637"/>
                </a:lnTo>
                <a:lnTo>
                  <a:pt x="51" y="1637"/>
                </a:lnTo>
                <a:cubicBezTo>
                  <a:pt x="20" y="1620"/>
                  <a:pt x="0" y="1586"/>
                  <a:pt x="0" y="1549"/>
                </a:cubicBezTo>
                <a:lnTo>
                  <a:pt x="0" y="588"/>
                </a:lnTo>
                <a:lnTo>
                  <a:pt x="0" y="588"/>
                </a:lnTo>
                <a:cubicBezTo>
                  <a:pt x="0" y="551"/>
                  <a:pt x="20" y="517"/>
                  <a:pt x="51"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26" name="TextBox 37">
            <a:extLst>
              <a:ext uri="{FF2B5EF4-FFF2-40B4-BE49-F238E27FC236}">
                <a16:creationId xmlns:a16="http://schemas.microsoft.com/office/drawing/2014/main" xmlns="" id="{F122EBBB-BE47-44F2-BDB0-D564B59A715E}"/>
              </a:ext>
            </a:extLst>
          </p:cNvPr>
          <p:cNvSpPr txBox="1"/>
          <p:nvPr/>
        </p:nvSpPr>
        <p:spPr>
          <a:xfrm>
            <a:off x="7991575" y="4881296"/>
            <a:ext cx="1575752" cy="553998"/>
          </a:xfrm>
          <a:prstGeom prst="rect">
            <a:avLst/>
          </a:prstGeom>
          <a:noFill/>
        </p:spPr>
        <p:txBody>
          <a:bodyPr wrap="none" lIns="91440" tIns="45720" rIns="91440" bIns="45720" rtlCol="0" anchor="t" anchorCtr="0">
            <a:spAutoFit/>
          </a:bodyPr>
          <a:lstStyle/>
          <a:p>
            <a:pPr algn="ctr"/>
            <a:r>
              <a:rPr lang="en-GB" sz="1400" b="1" dirty="0">
                <a:solidFill>
                  <a:schemeClr val="tx2"/>
                </a:solidFill>
                <a:latin typeface="+mj-lt"/>
                <a:ea typeface="League Spartan" charset="0"/>
                <a:cs typeface="Poppins" pitchFamily="2" charset="77"/>
              </a:rPr>
              <a:t>Recuperación de </a:t>
            </a:r>
            <a:r>
              <a:rPr lang="en-GB" sz="1600" b="1" dirty="0">
                <a:solidFill>
                  <a:schemeClr val="tx2"/>
                </a:solidFill>
                <a:latin typeface="+mj-lt"/>
                <a:ea typeface="League Spartan" charset="0"/>
                <a:cs typeface="Poppins" pitchFamily="2" charset="77"/>
              </a:rPr>
              <a:t>recursos</a:t>
            </a:r>
            <a:r>
              <a:rPr lang="en-GB" sz="1400" b="1" dirty="0">
                <a:latin typeface="+mj-lt"/>
                <a:ea typeface="League Spartan" charset="0"/>
                <a:cs typeface="Poppins" pitchFamily="2" charset="77"/>
              </a:rPr>
              <a:t/>
            </a:r>
            <a:br>
              <a:rPr lang="en-GB" sz="1400" b="1" dirty="0">
                <a:latin typeface="+mj-lt"/>
                <a:ea typeface="League Spartan" charset="0"/>
                <a:cs typeface="Poppins" pitchFamily="2" charset="77"/>
              </a:rPr>
            </a:br>
            <a:r>
              <a:rPr lang="en-GB" sz="1400" b="1" dirty="0">
                <a:solidFill>
                  <a:schemeClr val="tx2"/>
                </a:solidFill>
                <a:latin typeface="+mj-lt"/>
                <a:ea typeface="League Spartan" charset="0"/>
                <a:cs typeface="Poppins" pitchFamily="2" charset="77"/>
              </a:rPr>
              <a:t>Estrategia BCM</a:t>
            </a:r>
          </a:p>
        </p:txBody>
      </p:sp>
      <p:sp>
        <p:nvSpPr>
          <p:cNvPr id="28" name="TextBox 19">
            <a:extLst>
              <a:ext uri="{FF2B5EF4-FFF2-40B4-BE49-F238E27FC236}">
                <a16:creationId xmlns:a16="http://schemas.microsoft.com/office/drawing/2014/main" xmlns="" id="{C3EB7AEC-8673-47A3-B23D-113D2232EF5D}"/>
              </a:ext>
            </a:extLst>
          </p:cNvPr>
          <p:cNvSpPr txBox="1"/>
          <p:nvPr/>
        </p:nvSpPr>
        <p:spPr>
          <a:xfrm>
            <a:off x="4897214" y="4881296"/>
            <a:ext cx="1524393" cy="830997"/>
          </a:xfrm>
          <a:prstGeom prst="rect">
            <a:avLst/>
          </a:prstGeom>
          <a:noFill/>
        </p:spPr>
        <p:txBody>
          <a:bodyPr wrap="none" lIns="91440" tIns="45720" rIns="91440" bIns="45720" rtlCol="0" anchor="t" anchorCtr="0">
            <a:spAutoFit/>
          </a:bodyPr>
          <a:lstStyle/>
          <a:p>
            <a:pPr algn="ctr"/>
            <a:r>
              <a:rPr lang="en-GB" sz="1600" b="1" dirty="0">
                <a:solidFill>
                  <a:schemeClr val="tx2"/>
                </a:solidFill>
                <a:latin typeface="+mj-lt"/>
                <a:ea typeface="League Spartan" charset="0"/>
                <a:cs typeface="Poppins" pitchFamily="2" charset="77"/>
              </a:rPr>
              <a:t>Organización</a:t>
            </a:r>
            <a:r>
              <a:rPr lang="en-GB" sz="1600" b="1" dirty="0">
                <a:latin typeface="+mj-lt"/>
                <a:ea typeface="League Spartan" charset="0"/>
                <a:cs typeface="Poppins" pitchFamily="2" charset="77"/>
              </a:rPr>
              <a:t/>
            </a:r>
            <a:br>
              <a:rPr lang="en-GB" sz="1600" b="1" dirty="0">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corporativa) BCM</a:t>
            </a:r>
            <a:r>
              <a:rPr lang="en-GB" sz="1600" b="1" dirty="0">
                <a:latin typeface="+mj-lt"/>
                <a:ea typeface="League Spartan" charset="0"/>
                <a:cs typeface="Poppins" pitchFamily="2" charset="77"/>
              </a:rPr>
              <a:t/>
            </a:r>
            <a:br>
              <a:rPr lang="en-GB" sz="1600" b="1" dirty="0">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Estrategia</a:t>
            </a:r>
          </a:p>
        </p:txBody>
      </p:sp>
      <p:sp>
        <p:nvSpPr>
          <p:cNvPr id="30" name="TextBox 43">
            <a:extLst>
              <a:ext uri="{FF2B5EF4-FFF2-40B4-BE49-F238E27FC236}">
                <a16:creationId xmlns:a16="http://schemas.microsoft.com/office/drawing/2014/main" xmlns="" id="{045778D2-140D-49F9-8CB8-190045EA7B0C}"/>
              </a:ext>
            </a:extLst>
          </p:cNvPr>
          <p:cNvSpPr txBox="1"/>
          <p:nvPr/>
        </p:nvSpPr>
        <p:spPr>
          <a:xfrm>
            <a:off x="6582080" y="2759266"/>
            <a:ext cx="1274708" cy="584775"/>
          </a:xfrm>
          <a:prstGeom prst="rect">
            <a:avLst/>
          </a:prstGeom>
          <a:noFill/>
        </p:spPr>
        <p:txBody>
          <a:bodyPr wrap="none" lIns="91440" tIns="45720" rIns="91440" bIns="45720" rtlCol="0" anchor="b" anchorCtr="0">
            <a:spAutoFit/>
          </a:bodyPr>
          <a:lstStyle/>
          <a:p>
            <a:pPr algn="ctr"/>
            <a:r>
              <a:rPr lang="en-GB" sz="1600" b="1" dirty="0">
                <a:solidFill>
                  <a:schemeClr val="tx2"/>
                </a:solidFill>
                <a:latin typeface="+mj-lt"/>
                <a:ea typeface="League Spartan" charset="0"/>
                <a:cs typeface="Poppins" pitchFamily="2" charset="77"/>
              </a:rPr>
              <a:t>Nivel de proceso</a:t>
            </a:r>
            <a:r>
              <a:rPr lang="en-GB" sz="1600" b="1" dirty="0">
                <a:latin typeface="+mj-lt"/>
                <a:ea typeface="League Spartan" charset="0"/>
                <a:cs typeface="Poppins" pitchFamily="2" charset="77"/>
              </a:rPr>
              <a:t/>
            </a:r>
            <a:br>
              <a:rPr lang="en-GB" sz="1600" b="1" dirty="0">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Estrategia de BCM</a:t>
            </a:r>
          </a:p>
        </p:txBody>
      </p:sp>
      <p:sp>
        <p:nvSpPr>
          <p:cNvPr id="31" name="TextBox 48">
            <a:extLst>
              <a:ext uri="{FF2B5EF4-FFF2-40B4-BE49-F238E27FC236}">
                <a16:creationId xmlns:a16="http://schemas.microsoft.com/office/drawing/2014/main" xmlns="" id="{D9CE3E7D-97C1-434F-A676-6D8A6A436A90}"/>
              </a:ext>
            </a:extLst>
          </p:cNvPr>
          <p:cNvSpPr txBox="1"/>
          <p:nvPr/>
        </p:nvSpPr>
        <p:spPr>
          <a:xfrm>
            <a:off x="5457265" y="3861939"/>
            <a:ext cx="404278" cy="611834"/>
          </a:xfrm>
          <a:prstGeom prst="rect">
            <a:avLst/>
          </a:prstGeom>
          <a:noFill/>
        </p:spPr>
        <p:txBody>
          <a:bodyPr wrap="none" rtlCol="0" anchor="ctr">
            <a:spAutoFit/>
          </a:bodyPr>
          <a:lstStyle/>
          <a:p>
            <a:pPr algn="ctr"/>
            <a:r>
              <a:rPr lang="en-GB" sz="3376" b="1">
                <a:solidFill>
                  <a:schemeClr val="accent1"/>
                </a:solidFill>
                <a:latin typeface="+mj-lt"/>
                <a:cs typeface="Poppins" pitchFamily="2" charset="77"/>
              </a:rPr>
              <a:t>1</a:t>
            </a:r>
            <a:endParaRPr lang="en-GB" sz="3376" b="1" dirty="0">
              <a:solidFill>
                <a:schemeClr val="accent1"/>
              </a:solidFill>
              <a:latin typeface="+mj-lt"/>
              <a:cs typeface="Poppins" pitchFamily="2" charset="77"/>
            </a:endParaRPr>
          </a:p>
        </p:txBody>
      </p:sp>
      <p:sp>
        <p:nvSpPr>
          <p:cNvPr id="32" name="TextBox 49">
            <a:extLst>
              <a:ext uri="{FF2B5EF4-FFF2-40B4-BE49-F238E27FC236}">
                <a16:creationId xmlns:a16="http://schemas.microsoft.com/office/drawing/2014/main" xmlns="" id="{B1EA253C-EEF4-4941-9456-E959421FF7BC}"/>
              </a:ext>
            </a:extLst>
          </p:cNvPr>
          <p:cNvSpPr txBox="1"/>
          <p:nvPr/>
        </p:nvSpPr>
        <p:spPr>
          <a:xfrm>
            <a:off x="7017286" y="3861939"/>
            <a:ext cx="404278" cy="611834"/>
          </a:xfrm>
          <a:prstGeom prst="rect">
            <a:avLst/>
          </a:prstGeom>
          <a:noFill/>
        </p:spPr>
        <p:txBody>
          <a:bodyPr wrap="none" rtlCol="0" anchor="ctr">
            <a:spAutoFit/>
          </a:bodyPr>
          <a:lstStyle/>
          <a:p>
            <a:pPr algn="ctr"/>
            <a:r>
              <a:rPr lang="en-GB" sz="3376" b="1">
                <a:solidFill>
                  <a:schemeClr val="accent2"/>
                </a:solidFill>
                <a:latin typeface="+mj-lt"/>
                <a:cs typeface="Poppins" pitchFamily="2" charset="77"/>
              </a:rPr>
              <a:t>2</a:t>
            </a:r>
            <a:endParaRPr lang="en-GB" sz="3376" b="1" dirty="0">
              <a:solidFill>
                <a:schemeClr val="accent2"/>
              </a:solidFill>
              <a:latin typeface="+mj-lt"/>
              <a:cs typeface="Poppins" pitchFamily="2" charset="77"/>
            </a:endParaRPr>
          </a:p>
        </p:txBody>
      </p:sp>
      <p:sp>
        <p:nvSpPr>
          <p:cNvPr id="33" name="TextBox 50">
            <a:extLst>
              <a:ext uri="{FF2B5EF4-FFF2-40B4-BE49-F238E27FC236}">
                <a16:creationId xmlns:a16="http://schemas.microsoft.com/office/drawing/2014/main" xmlns="" id="{8FEE6A9F-C610-4C96-9051-718A698EA8FA}"/>
              </a:ext>
            </a:extLst>
          </p:cNvPr>
          <p:cNvSpPr txBox="1"/>
          <p:nvPr/>
        </p:nvSpPr>
        <p:spPr>
          <a:xfrm>
            <a:off x="8577306" y="3861939"/>
            <a:ext cx="404278" cy="611834"/>
          </a:xfrm>
          <a:prstGeom prst="rect">
            <a:avLst/>
          </a:prstGeom>
          <a:noFill/>
        </p:spPr>
        <p:txBody>
          <a:bodyPr wrap="none" rtlCol="0" anchor="ctr">
            <a:spAutoFit/>
          </a:bodyPr>
          <a:lstStyle/>
          <a:p>
            <a:pPr algn="ctr"/>
            <a:r>
              <a:rPr lang="en-GB" sz="3376" b="1">
                <a:solidFill>
                  <a:schemeClr val="accent3"/>
                </a:solidFill>
                <a:latin typeface="+mj-lt"/>
                <a:cs typeface="Poppins" pitchFamily="2" charset="77"/>
              </a:rPr>
              <a:t>3</a:t>
            </a:r>
            <a:endParaRPr lang="en-GB" sz="3376" b="1" dirty="0">
              <a:solidFill>
                <a:schemeClr val="accent3"/>
              </a:solidFill>
              <a:latin typeface="+mj-lt"/>
              <a:cs typeface="Poppins" pitchFamily="2" charset="77"/>
            </a:endParaRPr>
          </a:p>
        </p:txBody>
      </p:sp>
      <p:sp>
        <p:nvSpPr>
          <p:cNvPr id="34" name="Gleichschenkliges Dreieck 33">
            <a:extLst>
              <a:ext uri="{FF2B5EF4-FFF2-40B4-BE49-F238E27FC236}">
                <a16:creationId xmlns:a16="http://schemas.microsoft.com/office/drawing/2014/main" xmlns="" id="{DB826488-6585-4BA3-BBCE-202A1FFF150F}"/>
              </a:ext>
            </a:extLst>
          </p:cNvPr>
          <p:cNvSpPr/>
          <p:nvPr/>
        </p:nvSpPr>
        <p:spPr>
          <a:xfrm rot="5400000">
            <a:off x="6164876" y="4097738"/>
            <a:ext cx="547902" cy="160824"/>
          </a:xfrm>
          <a:prstGeom prst="triangle">
            <a:avLst/>
          </a:prstGeom>
          <a:solidFill>
            <a:srgbClr val="E94EA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Gleichschenkliges Dreieck 34">
            <a:extLst>
              <a:ext uri="{FF2B5EF4-FFF2-40B4-BE49-F238E27FC236}">
                <a16:creationId xmlns:a16="http://schemas.microsoft.com/office/drawing/2014/main" xmlns="" id="{ED58E4BC-4409-4B4B-8B9C-3ADF5D94B693}"/>
              </a:ext>
            </a:extLst>
          </p:cNvPr>
          <p:cNvSpPr/>
          <p:nvPr/>
        </p:nvSpPr>
        <p:spPr>
          <a:xfrm rot="5400000">
            <a:off x="7704881" y="4087444"/>
            <a:ext cx="547902" cy="160824"/>
          </a:xfrm>
          <a:prstGeom prst="triangle">
            <a:avLst/>
          </a:prstGeom>
          <a:solidFill>
            <a:srgbClr val="E94EA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4773028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2099525" y="448354"/>
            <a:ext cx="8852375" cy="697353"/>
          </a:xfrm>
        </p:spPr>
        <p:txBody>
          <a:bodyPr>
            <a:normAutofit/>
          </a:bodyPr>
          <a:lstStyle/>
          <a:p>
            <a:r>
              <a:rPr lang="en-GB" dirty="0"/>
              <a:t>El ciclo de gestión de la continuidad de las actividade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71214" y="2029940"/>
            <a:ext cx="5924786" cy="3667974"/>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latin typeface="+mj-lt"/>
              </a:rPr>
              <a:t>La gestión de riesgos empresariales (BCM) considera un enfoque integral para estar preparado para lo inesperado:</a:t>
            </a:r>
          </a:p>
          <a:p>
            <a:pPr marL="285750" indent="-285750" algn="l">
              <a:lnSpc>
                <a:spcPct val="100000"/>
              </a:lnSpc>
              <a:spcBef>
                <a:spcPts val="600"/>
              </a:spcBef>
              <a:buFont typeface="Wingdings" panose="05000000000000000000" pitchFamily="2" charset="2"/>
              <a:buChar char="à"/>
            </a:pPr>
            <a:r>
              <a:rPr lang="en-GB" altLang="de-DE" sz="2200" dirty="0">
                <a:latin typeface="+mj-lt"/>
                <a:sym typeface="Wingdings" panose="05000000000000000000" pitchFamily="2" charset="2"/>
              </a:rPr>
              <a:t>Planos y planificación</a:t>
            </a:r>
            <a:endParaRPr lang="en-GB" altLang="de-DE" sz="2200" dirty="0">
              <a:latin typeface="+mj-lt"/>
            </a:endParaRPr>
          </a:p>
          <a:p>
            <a:pPr marL="285750" indent="-285750" algn="l">
              <a:lnSpc>
                <a:spcPct val="100000"/>
              </a:lnSpc>
              <a:spcBef>
                <a:spcPts val="600"/>
              </a:spcBef>
              <a:buFont typeface="Wingdings" panose="05000000000000000000" pitchFamily="2" charset="2"/>
              <a:buChar char="à"/>
            </a:pPr>
            <a:r>
              <a:rPr lang="en-GB" altLang="de-DE" sz="2200" dirty="0">
                <a:latin typeface="+mj-lt"/>
                <a:sym typeface="Wingdings" panose="05000000000000000000" pitchFamily="2" charset="2"/>
              </a:rPr>
              <a:t>Organismos y organizaciones externas</a:t>
            </a:r>
            <a:endParaRPr lang="en-GB" altLang="de-DE" sz="2200" dirty="0">
              <a:latin typeface="+mj-lt"/>
            </a:endParaRPr>
          </a:p>
          <a:p>
            <a:pPr marL="285750" indent="-285750" algn="l">
              <a:lnSpc>
                <a:spcPct val="100000"/>
              </a:lnSpc>
              <a:spcBef>
                <a:spcPts val="600"/>
              </a:spcBef>
              <a:buFont typeface="Wingdings" panose="05000000000000000000" pitchFamily="2" charset="2"/>
              <a:buChar char="à"/>
            </a:pPr>
            <a:r>
              <a:rPr lang="en-GB" altLang="de-DE" sz="2200" dirty="0">
                <a:latin typeface="+mj-lt"/>
                <a:sym typeface="Wingdings" panose="05000000000000000000" pitchFamily="2" charset="2"/>
              </a:rPr>
              <a:t>Gestión de eventos/incidentes de crisis/BSM</a:t>
            </a:r>
            <a:endParaRPr lang="en-GB" altLang="de-DE" sz="2200" dirty="0">
              <a:latin typeface="+mj-lt"/>
            </a:endParaRPr>
          </a:p>
          <a:p>
            <a:pPr marL="285750" indent="-285750" algn="l">
              <a:lnSpc>
                <a:spcPct val="100000"/>
              </a:lnSpc>
              <a:spcBef>
                <a:spcPts val="600"/>
              </a:spcBef>
              <a:buFont typeface="Wingdings" panose="05000000000000000000" pitchFamily="2" charset="2"/>
              <a:buChar char="à"/>
            </a:pPr>
            <a:r>
              <a:rPr lang="en-GB" altLang="de-DE" sz="2200" dirty="0">
                <a:latin typeface="+mj-lt"/>
                <a:sym typeface="Wingdings" panose="05000000000000000000" pitchFamily="2" charset="2"/>
              </a:rPr>
              <a:t>Respuesta y operaciones de emergencia</a:t>
            </a:r>
            <a:endParaRPr lang="en-GB" altLang="de-DE" sz="2200" dirty="0">
              <a:latin typeface="+mj-lt"/>
            </a:endParaRPr>
          </a:p>
          <a:p>
            <a:pPr marL="285750" indent="-285750" algn="l">
              <a:lnSpc>
                <a:spcPct val="100000"/>
              </a:lnSpc>
              <a:spcBef>
                <a:spcPts val="600"/>
              </a:spcBef>
              <a:buFont typeface="Wingdings" panose="05000000000000000000" pitchFamily="2" charset="2"/>
              <a:buChar char="à"/>
            </a:pPr>
            <a:r>
              <a:rPr lang="en-GB" altLang="de-DE" sz="2200" dirty="0">
                <a:latin typeface="+mj-lt"/>
                <a:sym typeface="Wingdings" panose="05000000000000000000" pitchFamily="2" charset="2"/>
              </a:rPr>
              <a:t>Comunicaciones</a:t>
            </a:r>
            <a:endParaRPr lang="en-GB" altLang="de-DE" sz="2200" dirty="0">
              <a:latin typeface="+mj-lt"/>
            </a:endParaRPr>
          </a:p>
          <a:p>
            <a:pPr marL="285750" indent="-285750" algn="l">
              <a:lnSpc>
                <a:spcPct val="100000"/>
              </a:lnSpc>
              <a:spcBef>
                <a:spcPts val="600"/>
              </a:spcBef>
              <a:buFont typeface="Wingdings" panose="05000000000000000000" pitchFamily="2" charset="2"/>
              <a:buChar char="à"/>
            </a:pPr>
            <a:r>
              <a:rPr lang="en-GB" altLang="de-DE" sz="2200" dirty="0">
                <a:latin typeface="+mj-lt"/>
                <a:sym typeface="Wingdings" panose="05000000000000000000" pitchFamily="2" charset="2"/>
              </a:rPr>
              <a:t>Relaciones públicas y medios de comunicación</a:t>
            </a:r>
            <a:endParaRPr lang="en-GB" altLang="de-DE" sz="2200" dirty="0">
              <a:latin typeface="+mj-lt"/>
            </a:endParaRPr>
          </a:p>
          <a:p>
            <a:pPr algn="l">
              <a:lnSpc>
                <a:spcPct val="100000"/>
              </a:lnSpc>
              <a:spcBef>
                <a:spcPts val="600"/>
              </a:spcBef>
            </a:pPr>
            <a:endParaRPr lang="en-GB" altLang="de-DE" sz="2200" dirty="0">
              <a:latin typeface="+mj-lt"/>
            </a:endParaRPr>
          </a:p>
        </p:txBody>
      </p:sp>
      <p:grpSp>
        <p:nvGrpSpPr>
          <p:cNvPr id="7" name="Gruppieren 6">
            <a:extLst>
              <a:ext uri="{FF2B5EF4-FFF2-40B4-BE49-F238E27FC236}">
                <a16:creationId xmlns:a16="http://schemas.microsoft.com/office/drawing/2014/main" xmlns="" id="{6BAA9461-0926-4338-9034-AFB36BD5DDE1}"/>
              </a:ext>
            </a:extLst>
          </p:cNvPr>
          <p:cNvGrpSpPr>
            <a:grpSpLocks noChangeAspect="1"/>
          </p:cNvGrpSpPr>
          <p:nvPr/>
        </p:nvGrpSpPr>
        <p:grpSpPr>
          <a:xfrm>
            <a:off x="464898" y="5265865"/>
            <a:ext cx="1425467" cy="1441525"/>
            <a:chOff x="5230592" y="1881035"/>
            <a:chExt cx="4175999" cy="4223040"/>
          </a:xfrm>
        </p:grpSpPr>
        <p:grpSp>
          <p:nvGrpSpPr>
            <p:cNvPr id="24" name="Gruppieren 23">
              <a:extLst>
                <a:ext uri="{FF2B5EF4-FFF2-40B4-BE49-F238E27FC236}">
                  <a16:creationId xmlns:a16="http://schemas.microsoft.com/office/drawing/2014/main" xmlns="" id="{272239DA-1B06-425C-A5B2-EC9059DF8DDC}"/>
                </a:ext>
              </a:extLst>
            </p:cNvPr>
            <p:cNvGrpSpPr>
              <a:grpSpLocks noChangeAspect="1"/>
            </p:cNvGrpSpPr>
            <p:nvPr/>
          </p:nvGrpSpPr>
          <p:grpSpPr>
            <a:xfrm>
              <a:off x="5230592" y="1881035"/>
              <a:ext cx="4175999" cy="4176000"/>
              <a:chOff x="5230592" y="1881035"/>
              <a:chExt cx="4175999" cy="4176000"/>
            </a:xfrm>
          </p:grpSpPr>
          <p:sp>
            <p:nvSpPr>
              <p:cNvPr id="305" name="Freeform 48">
                <a:extLst>
                  <a:ext uri="{FF2B5EF4-FFF2-40B4-BE49-F238E27FC236}">
                    <a16:creationId xmlns:a16="http://schemas.microsoft.com/office/drawing/2014/main" xmlns="" id="{8E41C000-1DB8-4A00-8679-35E2EAD75C91}"/>
                  </a:ext>
                </a:extLst>
              </p:cNvPr>
              <p:cNvSpPr/>
              <p:nvPr/>
            </p:nvSpPr>
            <p:spPr>
              <a:xfrm>
                <a:off x="6412947" y="1881035"/>
                <a:ext cx="1814615" cy="1603190"/>
              </a:xfrm>
              <a:custGeom>
                <a:avLst/>
                <a:gdLst>
                  <a:gd name="connsiteX0" fmla="*/ 2167432 w 4342825"/>
                  <a:gd name="connsiteY0" fmla="*/ 0 h 3836832"/>
                  <a:gd name="connsiteX1" fmla="*/ 4342825 w 4342825"/>
                  <a:gd name="connsiteY1" fmla="*/ 2179445 h 3836832"/>
                  <a:gd name="connsiteX2" fmla="*/ 3196076 w 4342825"/>
                  <a:gd name="connsiteY2" fmla="*/ 3836832 h 3836832"/>
                  <a:gd name="connsiteX3" fmla="*/ 3130926 w 4342825"/>
                  <a:gd name="connsiteY3" fmla="*/ 3797252 h 3836832"/>
                  <a:gd name="connsiteX4" fmla="*/ 2167432 w 4342825"/>
                  <a:gd name="connsiteY4" fmla="*/ 3553287 h 3836832"/>
                  <a:gd name="connsiteX5" fmla="*/ 1203938 w 4342825"/>
                  <a:gd name="connsiteY5" fmla="*/ 3797252 h 3836832"/>
                  <a:gd name="connsiteX6" fmla="*/ 1143466 w 4342825"/>
                  <a:gd name="connsiteY6" fmla="*/ 3833990 h 3836832"/>
                  <a:gd name="connsiteX7" fmla="*/ 0 w 4342825"/>
                  <a:gd name="connsiteY7" fmla="*/ 2171469 h 3836832"/>
                  <a:gd name="connsiteX8" fmla="*/ 2167432 w 4342825"/>
                  <a:gd name="connsiteY8" fmla="*/ 0 h 383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42825" h="3836832">
                    <a:moveTo>
                      <a:pt x="2167432" y="0"/>
                    </a:moveTo>
                    <a:lnTo>
                      <a:pt x="4342825" y="2179445"/>
                    </a:lnTo>
                    <a:lnTo>
                      <a:pt x="3196076" y="3836832"/>
                    </a:lnTo>
                    <a:lnTo>
                      <a:pt x="3130926" y="3797252"/>
                    </a:lnTo>
                    <a:cubicBezTo>
                      <a:pt x="2844515" y="3641665"/>
                      <a:pt x="2516294" y="3553287"/>
                      <a:pt x="2167432" y="3553287"/>
                    </a:cubicBezTo>
                    <a:cubicBezTo>
                      <a:pt x="1818570" y="3553287"/>
                      <a:pt x="1490349" y="3641665"/>
                      <a:pt x="1203938" y="3797252"/>
                    </a:cubicBezTo>
                    <a:lnTo>
                      <a:pt x="1143466" y="3833990"/>
                    </a:lnTo>
                    <a:lnTo>
                      <a:pt x="0" y="2171469"/>
                    </a:lnTo>
                    <a:lnTo>
                      <a:pt x="2167432" y="0"/>
                    </a:lnTo>
                    <a:close/>
                  </a:path>
                </a:pathLst>
              </a:cu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08" name="Freeform 45">
                <a:extLst>
                  <a:ext uri="{FF2B5EF4-FFF2-40B4-BE49-F238E27FC236}">
                    <a16:creationId xmlns:a16="http://schemas.microsoft.com/office/drawing/2014/main" xmlns="" id="{64FE2D3D-2C89-4277-BA06-2C7443A0397E}"/>
                  </a:ext>
                </a:extLst>
              </p:cNvPr>
              <p:cNvSpPr/>
              <p:nvPr/>
            </p:nvSpPr>
            <p:spPr>
              <a:xfrm>
                <a:off x="5230592" y="2843454"/>
                <a:ext cx="1586881" cy="1816774"/>
              </a:xfrm>
              <a:custGeom>
                <a:avLst/>
                <a:gdLst>
                  <a:gd name="connsiteX0" fmla="*/ 2665085 w 3797804"/>
                  <a:gd name="connsiteY0" fmla="*/ 0 h 4347993"/>
                  <a:gd name="connsiteX1" fmla="*/ 3797804 w 3797804"/>
                  <a:gd name="connsiteY1" fmla="*/ 1646897 h 4347993"/>
                  <a:gd name="connsiteX2" fmla="*/ 3711341 w 3797804"/>
                  <a:gd name="connsiteY2" fmla="*/ 1711553 h 4347993"/>
                  <a:gd name="connsiteX3" fmla="*/ 2975759 w 3797804"/>
                  <a:gd name="connsiteY3" fmla="*/ 3271321 h 4347993"/>
                  <a:gd name="connsiteX4" fmla="*/ 3016826 w 3797804"/>
                  <a:gd name="connsiteY4" fmla="*/ 3678693 h 4347993"/>
                  <a:gd name="connsiteX5" fmla="*/ 3037068 w 3797804"/>
                  <a:gd name="connsiteY5" fmla="*/ 3757418 h 4347993"/>
                  <a:gd name="connsiteX6" fmla="*/ 1292243 w 3797804"/>
                  <a:gd name="connsiteY6" fmla="*/ 4347993 h 4347993"/>
                  <a:gd name="connsiteX7" fmla="*/ 0 w 3797804"/>
                  <a:gd name="connsiteY7" fmla="*/ 1514136 h 4347993"/>
                  <a:gd name="connsiteX8" fmla="*/ 2665085 w 3797804"/>
                  <a:gd name="connsiteY8" fmla="*/ 0 h 4347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7804" h="4347993">
                    <a:moveTo>
                      <a:pt x="2665085" y="0"/>
                    </a:moveTo>
                    <a:lnTo>
                      <a:pt x="3797804" y="1646897"/>
                    </a:lnTo>
                    <a:lnTo>
                      <a:pt x="3711341" y="1711553"/>
                    </a:lnTo>
                    <a:cubicBezTo>
                      <a:pt x="3262103" y="2082298"/>
                      <a:pt x="2975759" y="2643370"/>
                      <a:pt x="2975759" y="3271321"/>
                    </a:cubicBezTo>
                    <a:cubicBezTo>
                      <a:pt x="2975759" y="3410866"/>
                      <a:pt x="2989899" y="3547108"/>
                      <a:pt x="3016826" y="3678693"/>
                    </a:cubicBezTo>
                    <a:lnTo>
                      <a:pt x="3037068" y="3757418"/>
                    </a:lnTo>
                    <a:lnTo>
                      <a:pt x="1292243" y="4347993"/>
                    </a:lnTo>
                    <a:lnTo>
                      <a:pt x="0" y="1514136"/>
                    </a:lnTo>
                    <a:lnTo>
                      <a:pt x="2665085" y="0"/>
                    </a:lnTo>
                    <a:close/>
                  </a:path>
                </a:pathLst>
              </a:custGeom>
              <a:solidFill>
                <a:schemeClr val="accent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09" name="Freeform 44">
                <a:extLst>
                  <a:ext uri="{FF2B5EF4-FFF2-40B4-BE49-F238E27FC236}">
                    <a16:creationId xmlns:a16="http://schemas.microsoft.com/office/drawing/2014/main" xmlns="" id="{A06290DB-875E-435C-A978-748606C01266}"/>
                  </a:ext>
                </a:extLst>
              </p:cNvPr>
              <p:cNvSpPr/>
              <p:nvPr/>
            </p:nvSpPr>
            <p:spPr>
              <a:xfrm>
                <a:off x="7821542" y="2845743"/>
                <a:ext cx="1585049" cy="1814282"/>
              </a:xfrm>
              <a:custGeom>
                <a:avLst/>
                <a:gdLst>
                  <a:gd name="connsiteX0" fmla="*/ 1137971 w 3793416"/>
                  <a:gd name="connsiteY0" fmla="*/ 0 h 4342028"/>
                  <a:gd name="connsiteX1" fmla="*/ 3793416 w 3793416"/>
                  <a:gd name="connsiteY1" fmla="*/ 1508659 h 4342028"/>
                  <a:gd name="connsiteX2" fmla="*/ 2501395 w 3793416"/>
                  <a:gd name="connsiteY2" fmla="*/ 4342028 h 4342028"/>
                  <a:gd name="connsiteX3" fmla="*/ 756418 w 3793416"/>
                  <a:gd name="connsiteY3" fmla="*/ 3751669 h 4342028"/>
                  <a:gd name="connsiteX4" fmla="*/ 776590 w 3793416"/>
                  <a:gd name="connsiteY4" fmla="*/ 3673216 h 4342028"/>
                  <a:gd name="connsiteX5" fmla="*/ 817657 w 3793416"/>
                  <a:gd name="connsiteY5" fmla="*/ 3265844 h 4342028"/>
                  <a:gd name="connsiteX6" fmla="*/ 82075 w 3793416"/>
                  <a:gd name="connsiteY6" fmla="*/ 1706076 h 4342028"/>
                  <a:gd name="connsiteX7" fmla="*/ 0 w 3793416"/>
                  <a:gd name="connsiteY7" fmla="*/ 1644701 h 4342028"/>
                  <a:gd name="connsiteX8" fmla="*/ 1137971 w 3793416"/>
                  <a:gd name="connsiteY8" fmla="*/ 0 h 434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3416" h="4342028">
                    <a:moveTo>
                      <a:pt x="1137971" y="0"/>
                    </a:moveTo>
                    <a:lnTo>
                      <a:pt x="3793416" y="1508659"/>
                    </a:lnTo>
                    <a:lnTo>
                      <a:pt x="2501395" y="4342028"/>
                    </a:lnTo>
                    <a:lnTo>
                      <a:pt x="756418" y="3751669"/>
                    </a:lnTo>
                    <a:lnTo>
                      <a:pt x="776590" y="3673216"/>
                    </a:lnTo>
                    <a:cubicBezTo>
                      <a:pt x="803517" y="3541631"/>
                      <a:pt x="817657" y="3405389"/>
                      <a:pt x="817657" y="3265844"/>
                    </a:cubicBezTo>
                    <a:cubicBezTo>
                      <a:pt x="817657" y="2637893"/>
                      <a:pt x="531313" y="2076821"/>
                      <a:pt x="82075" y="1706076"/>
                    </a:cubicBezTo>
                    <a:lnTo>
                      <a:pt x="0" y="1644701"/>
                    </a:lnTo>
                    <a:lnTo>
                      <a:pt x="1137971" y="0"/>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0" name="Freeform 42">
                <a:extLst>
                  <a:ext uri="{FF2B5EF4-FFF2-40B4-BE49-F238E27FC236}">
                    <a16:creationId xmlns:a16="http://schemas.microsoft.com/office/drawing/2014/main" xmlns="" id="{284198C2-8F5D-46D6-BAA7-CA5105A2527A}"/>
                  </a:ext>
                </a:extLst>
              </p:cNvPr>
              <p:cNvSpPr/>
              <p:nvPr/>
            </p:nvSpPr>
            <p:spPr>
              <a:xfrm>
                <a:off x="7362530" y="4497487"/>
                <a:ext cx="1475499" cy="1559547"/>
              </a:xfrm>
              <a:custGeom>
                <a:avLst/>
                <a:gdLst>
                  <a:gd name="connsiteX0" fmla="*/ 1793799 w 3531238"/>
                  <a:gd name="connsiteY0" fmla="*/ 0 h 3732384"/>
                  <a:gd name="connsiteX1" fmla="*/ 3531238 w 3531238"/>
                  <a:gd name="connsiteY1" fmla="*/ 587808 h 3732384"/>
                  <a:gd name="connsiteX2" fmla="*/ 2983224 w 3531238"/>
                  <a:gd name="connsiteY2" fmla="*/ 3732384 h 3732384"/>
                  <a:gd name="connsiteX3" fmla="*/ 0 w 3531238"/>
                  <a:gd name="connsiteY3" fmla="*/ 3312947 h 3732384"/>
                  <a:gd name="connsiteX4" fmla="*/ 0 w 3531238"/>
                  <a:gd name="connsiteY4" fmla="*/ 1328844 h 3732384"/>
                  <a:gd name="connsiteX5" fmla="*/ 101514 w 3531238"/>
                  <a:gd name="connsiteY5" fmla="*/ 1323718 h 3732384"/>
                  <a:gd name="connsiteX6" fmla="*/ 1757342 w 3531238"/>
                  <a:gd name="connsiteY6" fmla="*/ 99608 h 3732384"/>
                  <a:gd name="connsiteX7" fmla="*/ 1793799 w 3531238"/>
                  <a:gd name="connsiteY7" fmla="*/ 0 h 373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238" h="3732384">
                    <a:moveTo>
                      <a:pt x="1793799" y="0"/>
                    </a:moveTo>
                    <a:lnTo>
                      <a:pt x="3531238" y="587808"/>
                    </a:lnTo>
                    <a:lnTo>
                      <a:pt x="2983224" y="3732384"/>
                    </a:lnTo>
                    <a:lnTo>
                      <a:pt x="0" y="3312947"/>
                    </a:lnTo>
                    <a:lnTo>
                      <a:pt x="0" y="1328844"/>
                    </a:lnTo>
                    <a:lnTo>
                      <a:pt x="101514" y="1323718"/>
                    </a:lnTo>
                    <a:cubicBezTo>
                      <a:pt x="848983" y="1247808"/>
                      <a:pt x="1476056" y="764641"/>
                      <a:pt x="1757342" y="99608"/>
                    </a:cubicBezTo>
                    <a:lnTo>
                      <a:pt x="1793799"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1" name="Freeform 41">
                <a:extLst>
                  <a:ext uri="{FF2B5EF4-FFF2-40B4-BE49-F238E27FC236}">
                    <a16:creationId xmlns:a16="http://schemas.microsoft.com/office/drawing/2014/main" xmlns="" id="{5A2FBDAA-AB2E-4318-B3E6-2D62021619C3}"/>
                  </a:ext>
                </a:extLst>
              </p:cNvPr>
              <p:cNvSpPr/>
              <p:nvPr/>
            </p:nvSpPr>
            <p:spPr>
              <a:xfrm>
                <a:off x="5799193" y="4497599"/>
                <a:ext cx="1475461" cy="1559436"/>
              </a:xfrm>
              <a:custGeom>
                <a:avLst/>
                <a:gdLst>
                  <a:gd name="connsiteX0" fmla="*/ 1737443 w 3531147"/>
                  <a:gd name="connsiteY0" fmla="*/ 0 h 3732119"/>
                  <a:gd name="connsiteX1" fmla="*/ 1773803 w 3531147"/>
                  <a:gd name="connsiteY1" fmla="*/ 99343 h 3732119"/>
                  <a:gd name="connsiteX2" fmla="*/ 3429631 w 3531147"/>
                  <a:gd name="connsiteY2" fmla="*/ 1323453 h 3732119"/>
                  <a:gd name="connsiteX3" fmla="*/ 3531147 w 3531147"/>
                  <a:gd name="connsiteY3" fmla="*/ 1328579 h 3732119"/>
                  <a:gd name="connsiteX4" fmla="*/ 3531147 w 3531147"/>
                  <a:gd name="connsiteY4" fmla="*/ 3312682 h 3732119"/>
                  <a:gd name="connsiteX5" fmla="*/ 547921 w 3531147"/>
                  <a:gd name="connsiteY5" fmla="*/ 3732119 h 3732119"/>
                  <a:gd name="connsiteX6" fmla="*/ 0 w 3531147"/>
                  <a:gd name="connsiteY6" fmla="*/ 588077 h 3732119"/>
                  <a:gd name="connsiteX7" fmla="*/ 1737443 w 3531147"/>
                  <a:gd name="connsiteY7" fmla="*/ 0 h 373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147" h="3732119">
                    <a:moveTo>
                      <a:pt x="1737443" y="0"/>
                    </a:moveTo>
                    <a:lnTo>
                      <a:pt x="1773803" y="99343"/>
                    </a:lnTo>
                    <a:cubicBezTo>
                      <a:pt x="2055089" y="764376"/>
                      <a:pt x="2682162" y="1247543"/>
                      <a:pt x="3429631" y="1323453"/>
                    </a:cubicBezTo>
                    <a:lnTo>
                      <a:pt x="3531147" y="1328579"/>
                    </a:lnTo>
                    <a:lnTo>
                      <a:pt x="3531147" y="3312682"/>
                    </a:lnTo>
                    <a:lnTo>
                      <a:pt x="547921" y="3732119"/>
                    </a:lnTo>
                    <a:lnTo>
                      <a:pt x="0" y="588077"/>
                    </a:lnTo>
                    <a:lnTo>
                      <a:pt x="1737443" y="0"/>
                    </a:lnTo>
                    <a:close/>
                  </a:path>
                </a:pathLst>
              </a:custGeom>
              <a:solidFill>
                <a:scrgbClr r="0" g="0" b="0">
                  <a:alpha val="30000"/>
                </a:sc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grpSp>
        <p:sp>
          <p:nvSpPr>
            <p:cNvPr id="22" name="Ellipse 21">
              <a:extLst>
                <a:ext uri="{FF2B5EF4-FFF2-40B4-BE49-F238E27FC236}">
                  <a16:creationId xmlns:a16="http://schemas.microsoft.com/office/drawing/2014/main" xmlns="" id="{DF4A991F-96D6-4A69-9300-C89426EC4D70}"/>
                </a:ext>
              </a:extLst>
            </p:cNvPr>
            <p:cNvSpPr/>
            <p:nvPr/>
          </p:nvSpPr>
          <p:spPr>
            <a:xfrm>
              <a:off x="8434064" y="5744076"/>
              <a:ext cx="360000" cy="35999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t>3 </a:t>
              </a:r>
              <a:endParaRPr lang="en-GB" sz="1200" dirty="0"/>
            </a:p>
          </p:txBody>
        </p:sp>
      </p:grpSp>
      <p:sp>
        <p:nvSpPr>
          <p:cNvPr id="41" name="Textplatzhalter 1">
            <a:extLst>
              <a:ext uri="{FF2B5EF4-FFF2-40B4-BE49-F238E27FC236}">
                <a16:creationId xmlns:a16="http://schemas.microsoft.com/office/drawing/2014/main" xmlns="" id="{7A1600A2-C58E-42AD-B86F-5A4EF6A570AB}"/>
              </a:ext>
            </a:extLst>
          </p:cNvPr>
          <p:cNvSpPr txBox="1">
            <a:spLocks/>
          </p:cNvSpPr>
          <p:nvPr/>
        </p:nvSpPr>
        <p:spPr>
          <a:xfrm>
            <a:off x="4328103" y="1124471"/>
            <a:ext cx="8852375" cy="33078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a:buNone/>
              <a:defRPr sz="3600" kern="1200">
                <a:solidFill>
                  <a:srgbClr val="245473"/>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GB" sz="2400" dirty="0">
                <a:solidFill>
                  <a:srgbClr val="E53292"/>
                </a:solidFill>
              </a:rPr>
              <a:t>Etapa 3: Desarrollar e implementar una respuesta de BCM</a:t>
            </a:r>
          </a:p>
        </p:txBody>
      </p:sp>
      <p:sp>
        <p:nvSpPr>
          <p:cNvPr id="17" name="Freeform 2">
            <a:extLst>
              <a:ext uri="{FF2B5EF4-FFF2-40B4-BE49-F238E27FC236}">
                <a16:creationId xmlns:a16="http://schemas.microsoft.com/office/drawing/2014/main" xmlns="" id="{3D995078-5C3A-434C-8044-59452370E8E7}"/>
              </a:ext>
            </a:extLst>
          </p:cNvPr>
          <p:cNvSpPr>
            <a:spLocks noChangeArrowheads="1"/>
          </p:cNvSpPr>
          <p:nvPr/>
        </p:nvSpPr>
        <p:spPr bwMode="auto">
          <a:xfrm>
            <a:off x="6750669" y="3525322"/>
            <a:ext cx="1285071" cy="1285071"/>
          </a:xfrm>
          <a:custGeom>
            <a:avLst/>
            <a:gdLst>
              <a:gd name="T0" fmla="*/ 1377 w 2753"/>
              <a:gd name="T1" fmla="*/ 0 h 2752"/>
              <a:gd name="T2" fmla="*/ 1377 w 2753"/>
              <a:gd name="T3" fmla="*/ 0 h 2752"/>
              <a:gd name="T4" fmla="*/ 2752 w 2753"/>
              <a:gd name="T5" fmla="*/ 1376 h 2752"/>
              <a:gd name="T6" fmla="*/ 2752 w 2753"/>
              <a:gd name="T7" fmla="*/ 1376 h 2752"/>
              <a:gd name="T8" fmla="*/ 1377 w 2753"/>
              <a:gd name="T9" fmla="*/ 2751 h 2752"/>
              <a:gd name="T10" fmla="*/ 1377 w 2753"/>
              <a:gd name="T11" fmla="*/ 2751 h 2752"/>
              <a:gd name="T12" fmla="*/ 0 w 2753"/>
              <a:gd name="T13" fmla="*/ 1376 h 2752"/>
              <a:gd name="T14" fmla="*/ 0 w 2753"/>
              <a:gd name="T15" fmla="*/ 1376 h 2752"/>
              <a:gd name="T16" fmla="*/ 1377 w 2753"/>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3" h="2752">
                <a:moveTo>
                  <a:pt x="1377" y="0"/>
                </a:moveTo>
                <a:lnTo>
                  <a:pt x="1377" y="0"/>
                </a:lnTo>
                <a:cubicBezTo>
                  <a:pt x="2137" y="0"/>
                  <a:pt x="2752" y="616"/>
                  <a:pt x="2752" y="1376"/>
                </a:cubicBezTo>
                <a:lnTo>
                  <a:pt x="2752" y="1376"/>
                </a:lnTo>
                <a:cubicBezTo>
                  <a:pt x="2752" y="2135"/>
                  <a:pt x="2137" y="2751"/>
                  <a:pt x="1377" y="2751"/>
                </a:cubicBezTo>
                <a:lnTo>
                  <a:pt x="1377" y="2751"/>
                </a:lnTo>
                <a:cubicBezTo>
                  <a:pt x="616" y="2751"/>
                  <a:pt x="0" y="2135"/>
                  <a:pt x="0" y="1376"/>
                </a:cubicBezTo>
                <a:lnTo>
                  <a:pt x="0" y="1376"/>
                </a:lnTo>
                <a:cubicBezTo>
                  <a:pt x="0" y="616"/>
                  <a:pt x="616" y="0"/>
                  <a:pt x="1377" y="0"/>
                </a:cubicBezTo>
              </a:path>
            </a:pathLst>
          </a:custGeom>
          <a:solidFill>
            <a:schemeClr val="accent1"/>
          </a:solidFill>
          <a:ln>
            <a:noFill/>
          </a:ln>
          <a:effectLst/>
        </p:spPr>
        <p:txBody>
          <a:bodyPr wrap="none" anchor="ctr"/>
          <a:lstStyle/>
          <a:p>
            <a:endParaRPr lang="en-GB" sz="1600" dirty="0">
              <a:latin typeface="+mj-lt"/>
            </a:endParaRPr>
          </a:p>
        </p:txBody>
      </p:sp>
      <p:sp>
        <p:nvSpPr>
          <p:cNvPr id="18" name="Freeform 3">
            <a:extLst>
              <a:ext uri="{FF2B5EF4-FFF2-40B4-BE49-F238E27FC236}">
                <a16:creationId xmlns:a16="http://schemas.microsoft.com/office/drawing/2014/main" xmlns="" id="{05964768-527E-4FE5-9060-988FA2DE2414}"/>
              </a:ext>
            </a:extLst>
          </p:cNvPr>
          <p:cNvSpPr>
            <a:spLocks noChangeArrowheads="1"/>
          </p:cNvSpPr>
          <p:nvPr/>
        </p:nvSpPr>
        <p:spPr bwMode="auto">
          <a:xfrm>
            <a:off x="6942015" y="3679747"/>
            <a:ext cx="875248" cy="998814"/>
          </a:xfrm>
          <a:custGeom>
            <a:avLst/>
            <a:gdLst>
              <a:gd name="T0" fmla="*/ 885 w 1872"/>
              <a:gd name="T1" fmla="*/ 18 h 2138"/>
              <a:gd name="T2" fmla="*/ 885 w 1872"/>
              <a:gd name="T3" fmla="*/ 18 h 2138"/>
              <a:gd name="T4" fmla="*/ 986 w 1872"/>
              <a:gd name="T5" fmla="*/ 18 h 2138"/>
              <a:gd name="T6" fmla="*/ 1820 w 1872"/>
              <a:gd name="T7" fmla="*/ 500 h 2138"/>
              <a:gd name="T8" fmla="*/ 1820 w 1872"/>
              <a:gd name="T9" fmla="*/ 500 h 2138"/>
              <a:gd name="T10" fmla="*/ 1871 w 1872"/>
              <a:gd name="T11" fmla="*/ 588 h 2138"/>
              <a:gd name="T12" fmla="*/ 1871 w 1872"/>
              <a:gd name="T13" fmla="*/ 1549 h 2138"/>
              <a:gd name="T14" fmla="*/ 1871 w 1872"/>
              <a:gd name="T15" fmla="*/ 1549 h 2138"/>
              <a:gd name="T16" fmla="*/ 1820 w 1872"/>
              <a:gd name="T17" fmla="*/ 1637 h 2138"/>
              <a:gd name="T18" fmla="*/ 986 w 1872"/>
              <a:gd name="T19" fmla="*/ 2119 h 2138"/>
              <a:gd name="T20" fmla="*/ 986 w 1872"/>
              <a:gd name="T21" fmla="*/ 2119 h 2138"/>
              <a:gd name="T22" fmla="*/ 885 w 1872"/>
              <a:gd name="T23" fmla="*/ 2119 h 2138"/>
              <a:gd name="T24" fmla="*/ 50 w 1872"/>
              <a:gd name="T25" fmla="*/ 1637 h 2138"/>
              <a:gd name="T26" fmla="*/ 50 w 1872"/>
              <a:gd name="T27" fmla="*/ 1637 h 2138"/>
              <a:gd name="T28" fmla="*/ 0 w 1872"/>
              <a:gd name="T29" fmla="*/ 1549 h 2138"/>
              <a:gd name="T30" fmla="*/ 0 w 1872"/>
              <a:gd name="T31" fmla="*/ 588 h 2138"/>
              <a:gd name="T32" fmla="*/ 0 w 1872"/>
              <a:gd name="T33" fmla="*/ 588 h 2138"/>
              <a:gd name="T34" fmla="*/ 50 w 1872"/>
              <a:gd name="T35" fmla="*/ 500 h 2138"/>
              <a:gd name="T36" fmla="*/ 885 w 1872"/>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2" h="2138">
                <a:moveTo>
                  <a:pt x="885" y="18"/>
                </a:moveTo>
                <a:lnTo>
                  <a:pt x="885" y="18"/>
                </a:lnTo>
                <a:cubicBezTo>
                  <a:pt x="916" y="0"/>
                  <a:pt x="955" y="0"/>
                  <a:pt x="986" y="18"/>
                </a:cubicBezTo>
                <a:lnTo>
                  <a:pt x="1820" y="500"/>
                </a:lnTo>
                <a:lnTo>
                  <a:pt x="1820" y="500"/>
                </a:lnTo>
                <a:cubicBezTo>
                  <a:pt x="1851" y="517"/>
                  <a:pt x="1871" y="551"/>
                  <a:pt x="1871" y="588"/>
                </a:cubicBezTo>
                <a:lnTo>
                  <a:pt x="1871" y="1549"/>
                </a:lnTo>
                <a:lnTo>
                  <a:pt x="1871" y="1549"/>
                </a:lnTo>
                <a:cubicBezTo>
                  <a:pt x="1871" y="1586"/>
                  <a:pt x="1851" y="1620"/>
                  <a:pt x="1820" y="1637"/>
                </a:cubicBezTo>
                <a:lnTo>
                  <a:pt x="986" y="2119"/>
                </a:lnTo>
                <a:lnTo>
                  <a:pt x="986" y="2119"/>
                </a:lnTo>
                <a:cubicBezTo>
                  <a:pt x="955" y="2137"/>
                  <a:pt x="916" y="2137"/>
                  <a:pt x="885" y="2119"/>
                </a:cubicBezTo>
                <a:lnTo>
                  <a:pt x="50" y="1637"/>
                </a:lnTo>
                <a:lnTo>
                  <a:pt x="50" y="1637"/>
                </a:lnTo>
                <a:cubicBezTo>
                  <a:pt x="19" y="1620"/>
                  <a:pt x="0" y="1586"/>
                  <a:pt x="0" y="1549"/>
                </a:cubicBezTo>
                <a:lnTo>
                  <a:pt x="0" y="588"/>
                </a:lnTo>
                <a:lnTo>
                  <a:pt x="0" y="588"/>
                </a:lnTo>
                <a:cubicBezTo>
                  <a:pt x="0" y="551"/>
                  <a:pt x="19" y="517"/>
                  <a:pt x="50"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3350" dirty="0">
              <a:latin typeface="+mj-lt"/>
            </a:endParaRPr>
          </a:p>
        </p:txBody>
      </p:sp>
      <p:sp>
        <p:nvSpPr>
          <p:cNvPr id="19" name="Freeform 5">
            <a:extLst>
              <a:ext uri="{FF2B5EF4-FFF2-40B4-BE49-F238E27FC236}">
                <a16:creationId xmlns:a16="http://schemas.microsoft.com/office/drawing/2014/main" xmlns="" id="{99814CB9-1F95-4B6A-98EF-814657BAD560}"/>
              </a:ext>
            </a:extLst>
          </p:cNvPr>
          <p:cNvSpPr>
            <a:spLocks noChangeArrowheads="1"/>
          </p:cNvSpPr>
          <p:nvPr/>
        </p:nvSpPr>
        <p:spPr bwMode="auto">
          <a:xfrm>
            <a:off x="8310689" y="3525322"/>
            <a:ext cx="1285071" cy="1285071"/>
          </a:xfrm>
          <a:custGeom>
            <a:avLst/>
            <a:gdLst>
              <a:gd name="T0" fmla="*/ 1376 w 2753"/>
              <a:gd name="T1" fmla="*/ 0 h 2752"/>
              <a:gd name="T2" fmla="*/ 1376 w 2753"/>
              <a:gd name="T3" fmla="*/ 0 h 2752"/>
              <a:gd name="T4" fmla="*/ 2752 w 2753"/>
              <a:gd name="T5" fmla="*/ 1376 h 2752"/>
              <a:gd name="T6" fmla="*/ 2752 w 2753"/>
              <a:gd name="T7" fmla="*/ 1376 h 2752"/>
              <a:gd name="T8" fmla="*/ 1376 w 2753"/>
              <a:gd name="T9" fmla="*/ 2751 h 2752"/>
              <a:gd name="T10" fmla="*/ 1376 w 2753"/>
              <a:gd name="T11" fmla="*/ 2751 h 2752"/>
              <a:gd name="T12" fmla="*/ 0 w 2753"/>
              <a:gd name="T13" fmla="*/ 1376 h 2752"/>
              <a:gd name="T14" fmla="*/ 0 w 2753"/>
              <a:gd name="T15" fmla="*/ 1376 h 2752"/>
              <a:gd name="T16" fmla="*/ 1376 w 2753"/>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3" h="2752">
                <a:moveTo>
                  <a:pt x="1376" y="0"/>
                </a:moveTo>
                <a:lnTo>
                  <a:pt x="1376" y="0"/>
                </a:lnTo>
                <a:cubicBezTo>
                  <a:pt x="2137" y="0"/>
                  <a:pt x="2752" y="616"/>
                  <a:pt x="2752" y="1376"/>
                </a:cubicBezTo>
                <a:lnTo>
                  <a:pt x="2752" y="1376"/>
                </a:lnTo>
                <a:cubicBezTo>
                  <a:pt x="2752" y="2135"/>
                  <a:pt x="2137" y="2751"/>
                  <a:pt x="1376" y="2751"/>
                </a:cubicBezTo>
                <a:lnTo>
                  <a:pt x="1376" y="2751"/>
                </a:lnTo>
                <a:cubicBezTo>
                  <a:pt x="616" y="2751"/>
                  <a:pt x="0" y="2135"/>
                  <a:pt x="0" y="1376"/>
                </a:cubicBezTo>
                <a:lnTo>
                  <a:pt x="0" y="1376"/>
                </a:lnTo>
                <a:cubicBezTo>
                  <a:pt x="0" y="616"/>
                  <a:pt x="616" y="0"/>
                  <a:pt x="1376" y="0"/>
                </a:cubicBezTo>
              </a:path>
            </a:pathLst>
          </a:custGeom>
          <a:solidFill>
            <a:schemeClr val="accent2"/>
          </a:solidFill>
          <a:ln>
            <a:noFill/>
          </a:ln>
          <a:effectLst/>
        </p:spPr>
        <p:txBody>
          <a:bodyPr wrap="none" anchor="ctr"/>
          <a:lstStyle/>
          <a:p>
            <a:endParaRPr lang="en-GB" sz="1600" dirty="0">
              <a:latin typeface="+mj-lt"/>
            </a:endParaRPr>
          </a:p>
        </p:txBody>
      </p:sp>
      <p:sp>
        <p:nvSpPr>
          <p:cNvPr id="20" name="Freeform 6">
            <a:extLst>
              <a:ext uri="{FF2B5EF4-FFF2-40B4-BE49-F238E27FC236}">
                <a16:creationId xmlns:a16="http://schemas.microsoft.com/office/drawing/2014/main" xmlns="" id="{E2CFCDB4-07A4-4B96-8440-254994C4D1BC}"/>
              </a:ext>
            </a:extLst>
          </p:cNvPr>
          <p:cNvSpPr>
            <a:spLocks noChangeArrowheads="1"/>
          </p:cNvSpPr>
          <p:nvPr/>
        </p:nvSpPr>
        <p:spPr bwMode="auto">
          <a:xfrm>
            <a:off x="8516631" y="3669480"/>
            <a:ext cx="875249" cy="998814"/>
          </a:xfrm>
          <a:custGeom>
            <a:avLst/>
            <a:gdLst>
              <a:gd name="T0" fmla="*/ 885 w 1873"/>
              <a:gd name="T1" fmla="*/ 18 h 2138"/>
              <a:gd name="T2" fmla="*/ 885 w 1873"/>
              <a:gd name="T3" fmla="*/ 18 h 2138"/>
              <a:gd name="T4" fmla="*/ 987 w 1873"/>
              <a:gd name="T5" fmla="*/ 18 h 2138"/>
              <a:gd name="T6" fmla="*/ 1821 w 1873"/>
              <a:gd name="T7" fmla="*/ 500 h 2138"/>
              <a:gd name="T8" fmla="*/ 1821 w 1873"/>
              <a:gd name="T9" fmla="*/ 500 h 2138"/>
              <a:gd name="T10" fmla="*/ 1872 w 1873"/>
              <a:gd name="T11" fmla="*/ 588 h 2138"/>
              <a:gd name="T12" fmla="*/ 1872 w 1873"/>
              <a:gd name="T13" fmla="*/ 1549 h 2138"/>
              <a:gd name="T14" fmla="*/ 1872 w 1873"/>
              <a:gd name="T15" fmla="*/ 1549 h 2138"/>
              <a:gd name="T16" fmla="*/ 1821 w 1873"/>
              <a:gd name="T17" fmla="*/ 1637 h 2138"/>
              <a:gd name="T18" fmla="*/ 987 w 1873"/>
              <a:gd name="T19" fmla="*/ 2119 h 2138"/>
              <a:gd name="T20" fmla="*/ 987 w 1873"/>
              <a:gd name="T21" fmla="*/ 2119 h 2138"/>
              <a:gd name="T22" fmla="*/ 885 w 1873"/>
              <a:gd name="T23" fmla="*/ 2119 h 2138"/>
              <a:gd name="T24" fmla="*/ 51 w 1873"/>
              <a:gd name="T25" fmla="*/ 1637 h 2138"/>
              <a:gd name="T26" fmla="*/ 51 w 1873"/>
              <a:gd name="T27" fmla="*/ 1637 h 2138"/>
              <a:gd name="T28" fmla="*/ 0 w 1873"/>
              <a:gd name="T29" fmla="*/ 1549 h 2138"/>
              <a:gd name="T30" fmla="*/ 0 w 1873"/>
              <a:gd name="T31" fmla="*/ 588 h 2138"/>
              <a:gd name="T32" fmla="*/ 0 w 1873"/>
              <a:gd name="T33" fmla="*/ 588 h 2138"/>
              <a:gd name="T34" fmla="*/ 51 w 1873"/>
              <a:gd name="T35" fmla="*/ 500 h 2138"/>
              <a:gd name="T36" fmla="*/ 885 w 1873"/>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3" h="2138">
                <a:moveTo>
                  <a:pt x="885" y="18"/>
                </a:moveTo>
                <a:lnTo>
                  <a:pt x="885" y="18"/>
                </a:lnTo>
                <a:cubicBezTo>
                  <a:pt x="917" y="0"/>
                  <a:pt x="956" y="0"/>
                  <a:pt x="987" y="18"/>
                </a:cubicBezTo>
                <a:lnTo>
                  <a:pt x="1821" y="500"/>
                </a:lnTo>
                <a:lnTo>
                  <a:pt x="1821" y="500"/>
                </a:lnTo>
                <a:cubicBezTo>
                  <a:pt x="1852" y="517"/>
                  <a:pt x="1872" y="551"/>
                  <a:pt x="1872" y="588"/>
                </a:cubicBezTo>
                <a:lnTo>
                  <a:pt x="1872" y="1549"/>
                </a:lnTo>
                <a:lnTo>
                  <a:pt x="1872" y="1549"/>
                </a:lnTo>
                <a:cubicBezTo>
                  <a:pt x="1872" y="1586"/>
                  <a:pt x="1852" y="1620"/>
                  <a:pt x="1821" y="1637"/>
                </a:cubicBezTo>
                <a:lnTo>
                  <a:pt x="987" y="2119"/>
                </a:lnTo>
                <a:lnTo>
                  <a:pt x="987" y="2119"/>
                </a:lnTo>
                <a:cubicBezTo>
                  <a:pt x="956" y="2137"/>
                  <a:pt x="917" y="2137"/>
                  <a:pt x="885" y="2119"/>
                </a:cubicBezTo>
                <a:lnTo>
                  <a:pt x="51" y="1637"/>
                </a:lnTo>
                <a:lnTo>
                  <a:pt x="51" y="1637"/>
                </a:lnTo>
                <a:cubicBezTo>
                  <a:pt x="20" y="1620"/>
                  <a:pt x="0" y="1586"/>
                  <a:pt x="0" y="1549"/>
                </a:cubicBezTo>
                <a:lnTo>
                  <a:pt x="0" y="588"/>
                </a:lnTo>
                <a:lnTo>
                  <a:pt x="0" y="588"/>
                </a:lnTo>
                <a:cubicBezTo>
                  <a:pt x="0" y="551"/>
                  <a:pt x="20" y="517"/>
                  <a:pt x="51"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3350" dirty="0">
              <a:latin typeface="+mj-lt"/>
            </a:endParaRPr>
          </a:p>
        </p:txBody>
      </p:sp>
      <p:sp>
        <p:nvSpPr>
          <p:cNvPr id="21" name="Freeform 8">
            <a:extLst>
              <a:ext uri="{FF2B5EF4-FFF2-40B4-BE49-F238E27FC236}">
                <a16:creationId xmlns:a16="http://schemas.microsoft.com/office/drawing/2014/main" xmlns="" id="{F4E711F3-7B30-463F-BE0F-9502EBE6CD8B}"/>
              </a:ext>
            </a:extLst>
          </p:cNvPr>
          <p:cNvSpPr>
            <a:spLocks noChangeArrowheads="1"/>
          </p:cNvSpPr>
          <p:nvPr/>
        </p:nvSpPr>
        <p:spPr bwMode="auto">
          <a:xfrm>
            <a:off x="9870710" y="3525322"/>
            <a:ext cx="1285071" cy="1285071"/>
          </a:xfrm>
          <a:custGeom>
            <a:avLst/>
            <a:gdLst>
              <a:gd name="T0" fmla="*/ 1376 w 2752"/>
              <a:gd name="T1" fmla="*/ 0 h 2752"/>
              <a:gd name="T2" fmla="*/ 1376 w 2752"/>
              <a:gd name="T3" fmla="*/ 0 h 2752"/>
              <a:gd name="T4" fmla="*/ 2751 w 2752"/>
              <a:gd name="T5" fmla="*/ 1376 h 2752"/>
              <a:gd name="T6" fmla="*/ 2751 w 2752"/>
              <a:gd name="T7" fmla="*/ 1376 h 2752"/>
              <a:gd name="T8" fmla="*/ 1376 w 2752"/>
              <a:gd name="T9" fmla="*/ 2751 h 2752"/>
              <a:gd name="T10" fmla="*/ 1376 w 2752"/>
              <a:gd name="T11" fmla="*/ 2751 h 2752"/>
              <a:gd name="T12" fmla="*/ 0 w 2752"/>
              <a:gd name="T13" fmla="*/ 1376 h 2752"/>
              <a:gd name="T14" fmla="*/ 0 w 2752"/>
              <a:gd name="T15" fmla="*/ 1376 h 2752"/>
              <a:gd name="T16" fmla="*/ 1376 w 2752"/>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2" h="2752">
                <a:moveTo>
                  <a:pt x="1376" y="0"/>
                </a:moveTo>
                <a:lnTo>
                  <a:pt x="1376" y="0"/>
                </a:lnTo>
                <a:cubicBezTo>
                  <a:pt x="2135" y="0"/>
                  <a:pt x="2751" y="616"/>
                  <a:pt x="2751" y="1376"/>
                </a:cubicBezTo>
                <a:lnTo>
                  <a:pt x="2751" y="1376"/>
                </a:lnTo>
                <a:cubicBezTo>
                  <a:pt x="2751" y="2135"/>
                  <a:pt x="2135" y="2751"/>
                  <a:pt x="1376" y="2751"/>
                </a:cubicBezTo>
                <a:lnTo>
                  <a:pt x="1376" y="2751"/>
                </a:lnTo>
                <a:cubicBezTo>
                  <a:pt x="616" y="2751"/>
                  <a:pt x="0" y="2135"/>
                  <a:pt x="0" y="1376"/>
                </a:cubicBezTo>
                <a:lnTo>
                  <a:pt x="0" y="1376"/>
                </a:lnTo>
                <a:cubicBezTo>
                  <a:pt x="0" y="616"/>
                  <a:pt x="616" y="0"/>
                  <a:pt x="1376" y="0"/>
                </a:cubicBezTo>
              </a:path>
            </a:pathLst>
          </a:custGeom>
          <a:solidFill>
            <a:schemeClr val="accent3"/>
          </a:solidFill>
          <a:ln>
            <a:noFill/>
          </a:ln>
          <a:effectLst/>
        </p:spPr>
        <p:txBody>
          <a:bodyPr wrap="none" anchor="ctr"/>
          <a:lstStyle/>
          <a:p>
            <a:endParaRPr lang="en-GB" sz="1600" dirty="0">
              <a:latin typeface="+mj-lt"/>
            </a:endParaRPr>
          </a:p>
        </p:txBody>
      </p:sp>
      <p:sp>
        <p:nvSpPr>
          <p:cNvPr id="23" name="Freeform 9">
            <a:extLst>
              <a:ext uri="{FF2B5EF4-FFF2-40B4-BE49-F238E27FC236}">
                <a16:creationId xmlns:a16="http://schemas.microsoft.com/office/drawing/2014/main" xmlns="" id="{7D3592B3-7658-4E2E-A8EE-67A2EF5A3D27}"/>
              </a:ext>
            </a:extLst>
          </p:cNvPr>
          <p:cNvSpPr>
            <a:spLocks noChangeArrowheads="1"/>
          </p:cNvSpPr>
          <p:nvPr/>
        </p:nvSpPr>
        <p:spPr bwMode="auto">
          <a:xfrm>
            <a:off x="10076651" y="3669480"/>
            <a:ext cx="875249" cy="998814"/>
          </a:xfrm>
          <a:custGeom>
            <a:avLst/>
            <a:gdLst>
              <a:gd name="T0" fmla="*/ 885 w 1872"/>
              <a:gd name="T1" fmla="*/ 18 h 2138"/>
              <a:gd name="T2" fmla="*/ 885 w 1872"/>
              <a:gd name="T3" fmla="*/ 18 h 2138"/>
              <a:gd name="T4" fmla="*/ 986 w 1872"/>
              <a:gd name="T5" fmla="*/ 18 h 2138"/>
              <a:gd name="T6" fmla="*/ 1820 w 1872"/>
              <a:gd name="T7" fmla="*/ 500 h 2138"/>
              <a:gd name="T8" fmla="*/ 1820 w 1872"/>
              <a:gd name="T9" fmla="*/ 500 h 2138"/>
              <a:gd name="T10" fmla="*/ 1871 w 1872"/>
              <a:gd name="T11" fmla="*/ 588 h 2138"/>
              <a:gd name="T12" fmla="*/ 1871 w 1872"/>
              <a:gd name="T13" fmla="*/ 1549 h 2138"/>
              <a:gd name="T14" fmla="*/ 1871 w 1872"/>
              <a:gd name="T15" fmla="*/ 1549 h 2138"/>
              <a:gd name="T16" fmla="*/ 1820 w 1872"/>
              <a:gd name="T17" fmla="*/ 1637 h 2138"/>
              <a:gd name="T18" fmla="*/ 986 w 1872"/>
              <a:gd name="T19" fmla="*/ 2119 h 2138"/>
              <a:gd name="T20" fmla="*/ 986 w 1872"/>
              <a:gd name="T21" fmla="*/ 2119 h 2138"/>
              <a:gd name="T22" fmla="*/ 885 w 1872"/>
              <a:gd name="T23" fmla="*/ 2119 h 2138"/>
              <a:gd name="T24" fmla="*/ 51 w 1872"/>
              <a:gd name="T25" fmla="*/ 1637 h 2138"/>
              <a:gd name="T26" fmla="*/ 51 w 1872"/>
              <a:gd name="T27" fmla="*/ 1637 h 2138"/>
              <a:gd name="T28" fmla="*/ 0 w 1872"/>
              <a:gd name="T29" fmla="*/ 1549 h 2138"/>
              <a:gd name="T30" fmla="*/ 0 w 1872"/>
              <a:gd name="T31" fmla="*/ 588 h 2138"/>
              <a:gd name="T32" fmla="*/ 0 w 1872"/>
              <a:gd name="T33" fmla="*/ 588 h 2138"/>
              <a:gd name="T34" fmla="*/ 51 w 1872"/>
              <a:gd name="T35" fmla="*/ 500 h 2138"/>
              <a:gd name="T36" fmla="*/ 885 w 1872"/>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2" h="2138">
                <a:moveTo>
                  <a:pt x="885" y="18"/>
                </a:moveTo>
                <a:lnTo>
                  <a:pt x="885" y="18"/>
                </a:lnTo>
                <a:cubicBezTo>
                  <a:pt x="917" y="0"/>
                  <a:pt x="955" y="0"/>
                  <a:pt x="986" y="18"/>
                </a:cubicBezTo>
                <a:lnTo>
                  <a:pt x="1820" y="500"/>
                </a:lnTo>
                <a:lnTo>
                  <a:pt x="1820" y="500"/>
                </a:lnTo>
                <a:cubicBezTo>
                  <a:pt x="1851" y="517"/>
                  <a:pt x="1871" y="551"/>
                  <a:pt x="1871" y="588"/>
                </a:cubicBezTo>
                <a:lnTo>
                  <a:pt x="1871" y="1549"/>
                </a:lnTo>
                <a:lnTo>
                  <a:pt x="1871" y="1549"/>
                </a:lnTo>
                <a:cubicBezTo>
                  <a:pt x="1871" y="1586"/>
                  <a:pt x="1851" y="1620"/>
                  <a:pt x="1820" y="1637"/>
                </a:cubicBezTo>
                <a:lnTo>
                  <a:pt x="986" y="2119"/>
                </a:lnTo>
                <a:lnTo>
                  <a:pt x="986" y="2119"/>
                </a:lnTo>
                <a:cubicBezTo>
                  <a:pt x="955" y="2137"/>
                  <a:pt x="917" y="2137"/>
                  <a:pt x="885" y="2119"/>
                </a:cubicBezTo>
                <a:lnTo>
                  <a:pt x="51" y="1637"/>
                </a:lnTo>
                <a:lnTo>
                  <a:pt x="51" y="1637"/>
                </a:lnTo>
                <a:cubicBezTo>
                  <a:pt x="20" y="1620"/>
                  <a:pt x="0" y="1586"/>
                  <a:pt x="0" y="1549"/>
                </a:cubicBezTo>
                <a:lnTo>
                  <a:pt x="0" y="588"/>
                </a:lnTo>
                <a:lnTo>
                  <a:pt x="0" y="588"/>
                </a:lnTo>
                <a:cubicBezTo>
                  <a:pt x="0" y="551"/>
                  <a:pt x="20" y="517"/>
                  <a:pt x="51"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3350" dirty="0">
              <a:latin typeface="+mj-lt"/>
            </a:endParaRPr>
          </a:p>
        </p:txBody>
      </p:sp>
      <p:sp>
        <p:nvSpPr>
          <p:cNvPr id="26" name="TextBox 37">
            <a:extLst>
              <a:ext uri="{FF2B5EF4-FFF2-40B4-BE49-F238E27FC236}">
                <a16:creationId xmlns:a16="http://schemas.microsoft.com/office/drawing/2014/main" xmlns="" id="{F122EBBB-BE47-44F2-BDB0-D564B59A715E}"/>
              </a:ext>
            </a:extLst>
          </p:cNvPr>
          <p:cNvSpPr txBox="1"/>
          <p:nvPr/>
        </p:nvSpPr>
        <p:spPr>
          <a:xfrm>
            <a:off x="9645996" y="4881296"/>
            <a:ext cx="1734514" cy="584775"/>
          </a:xfrm>
          <a:prstGeom prst="rect">
            <a:avLst/>
          </a:prstGeom>
          <a:noFill/>
        </p:spPr>
        <p:txBody>
          <a:bodyPr wrap="none" rtlCol="0" anchor="t" anchorCtr="0">
            <a:spAutoFit/>
          </a:bodyPr>
          <a:lstStyle/>
          <a:p>
            <a:pPr algn="ctr"/>
            <a:r>
              <a:rPr lang="en-GB" sz="1600" b="1">
                <a:solidFill>
                  <a:schemeClr val="tx2"/>
                </a:solidFill>
                <a:latin typeface="+mj-lt"/>
                <a:ea typeface="League Spartan" charset="0"/>
                <a:cs typeface="Poppins" pitchFamily="2" charset="77"/>
              </a:rPr>
              <a:t>Gestión de crisis</a:t>
            </a:r>
            <a:br>
              <a:rPr lang="en-GB" sz="1600" b="1">
                <a:solidFill>
                  <a:schemeClr val="tx2"/>
                </a:solidFill>
                <a:latin typeface="+mj-lt"/>
                <a:ea typeface="League Spartan" charset="0"/>
                <a:cs typeface="Poppins" pitchFamily="2" charset="77"/>
              </a:rPr>
            </a:br>
            <a:r>
              <a:rPr lang="en-GB" sz="1600" b="1">
                <a:solidFill>
                  <a:schemeClr val="tx2"/>
                </a:solidFill>
                <a:latin typeface="+mj-lt"/>
                <a:ea typeface="League Spartan" charset="0"/>
                <a:cs typeface="Poppins" pitchFamily="2" charset="77"/>
              </a:rPr>
              <a:t>Plan</a:t>
            </a:r>
            <a:endParaRPr lang="en-GB" sz="1600" b="1" dirty="0">
              <a:solidFill>
                <a:schemeClr val="tx2"/>
              </a:solidFill>
              <a:latin typeface="+mj-lt"/>
              <a:ea typeface="League Spartan" charset="0"/>
              <a:cs typeface="Poppins" pitchFamily="2" charset="77"/>
            </a:endParaRPr>
          </a:p>
        </p:txBody>
      </p:sp>
      <p:sp>
        <p:nvSpPr>
          <p:cNvPr id="28" name="TextBox 19">
            <a:extLst>
              <a:ext uri="{FF2B5EF4-FFF2-40B4-BE49-F238E27FC236}">
                <a16:creationId xmlns:a16="http://schemas.microsoft.com/office/drawing/2014/main" xmlns="" id="{C3EB7AEC-8673-47A3-B23D-113D2232EF5D}"/>
              </a:ext>
            </a:extLst>
          </p:cNvPr>
          <p:cNvSpPr txBox="1"/>
          <p:nvPr/>
        </p:nvSpPr>
        <p:spPr>
          <a:xfrm>
            <a:off x="6884288" y="4881296"/>
            <a:ext cx="1017844" cy="830997"/>
          </a:xfrm>
          <a:prstGeom prst="rect">
            <a:avLst/>
          </a:prstGeom>
          <a:noFill/>
        </p:spPr>
        <p:txBody>
          <a:bodyPr wrap="none" rtlCol="0" anchor="t" anchorCtr="0">
            <a:spAutoFit/>
          </a:bodyPr>
          <a:lstStyle/>
          <a:p>
            <a:pPr algn="ctr"/>
            <a:r>
              <a:rPr lang="en-GB" sz="1600" b="1">
                <a:solidFill>
                  <a:schemeClr val="tx2"/>
                </a:solidFill>
                <a:latin typeface="+mj-lt"/>
                <a:ea typeface="League Spartan" charset="0"/>
                <a:cs typeface="Poppins" pitchFamily="2" charset="77"/>
              </a:rPr>
              <a:t>Empresa</a:t>
            </a:r>
            <a:br>
              <a:rPr lang="en-GB" sz="1600" b="1">
                <a:solidFill>
                  <a:schemeClr val="tx2"/>
                </a:solidFill>
                <a:latin typeface="+mj-lt"/>
                <a:ea typeface="League Spartan" charset="0"/>
                <a:cs typeface="Poppins" pitchFamily="2" charset="77"/>
              </a:rPr>
            </a:br>
            <a:r>
              <a:rPr lang="en-GB" sz="1600" b="1">
                <a:solidFill>
                  <a:schemeClr val="tx2"/>
                </a:solidFill>
                <a:latin typeface="+mj-lt"/>
                <a:ea typeface="League Spartan" charset="0"/>
                <a:cs typeface="Poppins" pitchFamily="2" charset="77"/>
              </a:rPr>
              <a:t>Continuidad</a:t>
            </a:r>
            <a:br>
              <a:rPr lang="en-GB" sz="1600" b="1">
                <a:solidFill>
                  <a:schemeClr val="tx2"/>
                </a:solidFill>
                <a:latin typeface="+mj-lt"/>
                <a:ea typeface="League Spartan" charset="0"/>
                <a:cs typeface="Poppins" pitchFamily="2" charset="77"/>
              </a:rPr>
            </a:br>
            <a:r>
              <a:rPr lang="en-GB" sz="1600" b="1">
                <a:solidFill>
                  <a:schemeClr val="tx2"/>
                </a:solidFill>
                <a:latin typeface="+mj-lt"/>
                <a:ea typeface="League Spartan" charset="0"/>
                <a:cs typeface="Poppins" pitchFamily="2" charset="77"/>
              </a:rPr>
              <a:t>Planes</a:t>
            </a:r>
            <a:endParaRPr lang="en-GB" sz="1600" b="1" dirty="0">
              <a:solidFill>
                <a:schemeClr val="tx2"/>
              </a:solidFill>
              <a:latin typeface="+mj-lt"/>
              <a:ea typeface="League Spartan" charset="0"/>
              <a:cs typeface="Poppins" pitchFamily="2" charset="77"/>
            </a:endParaRPr>
          </a:p>
        </p:txBody>
      </p:sp>
      <p:sp>
        <p:nvSpPr>
          <p:cNvPr id="30" name="TextBox 43">
            <a:extLst>
              <a:ext uri="{FF2B5EF4-FFF2-40B4-BE49-F238E27FC236}">
                <a16:creationId xmlns:a16="http://schemas.microsoft.com/office/drawing/2014/main" xmlns="" id="{045778D2-140D-49F9-8CB8-190045EA7B0C}"/>
              </a:ext>
            </a:extLst>
          </p:cNvPr>
          <p:cNvSpPr txBox="1"/>
          <p:nvPr/>
        </p:nvSpPr>
        <p:spPr>
          <a:xfrm>
            <a:off x="8085048" y="2759266"/>
            <a:ext cx="1736373" cy="584775"/>
          </a:xfrm>
          <a:prstGeom prst="rect">
            <a:avLst/>
          </a:prstGeom>
          <a:noFill/>
        </p:spPr>
        <p:txBody>
          <a:bodyPr wrap="none" rtlCol="0" anchor="b" anchorCtr="0">
            <a:spAutoFit/>
          </a:bodyPr>
          <a:lstStyle/>
          <a:p>
            <a:pPr algn="ctr"/>
            <a:r>
              <a:rPr lang="en-GB" sz="1600" b="1">
                <a:solidFill>
                  <a:schemeClr val="tx2"/>
                </a:solidFill>
                <a:latin typeface="+mj-lt"/>
                <a:ea typeface="League Spartan" charset="0"/>
                <a:cs typeface="Poppins" pitchFamily="2" charset="77"/>
              </a:rPr>
              <a:t>Recuperación de recursos</a:t>
            </a:r>
            <a:br>
              <a:rPr lang="en-GB" sz="1600" b="1">
                <a:solidFill>
                  <a:schemeClr val="tx2"/>
                </a:solidFill>
                <a:latin typeface="+mj-lt"/>
                <a:ea typeface="League Spartan" charset="0"/>
                <a:cs typeface="Poppins" pitchFamily="2" charset="77"/>
              </a:rPr>
            </a:br>
            <a:r>
              <a:rPr lang="en-GB" sz="1600" b="1">
                <a:solidFill>
                  <a:schemeClr val="tx2"/>
                </a:solidFill>
                <a:latin typeface="+mj-lt"/>
                <a:ea typeface="League Spartan" charset="0"/>
                <a:cs typeface="Poppins" pitchFamily="2" charset="77"/>
              </a:rPr>
              <a:t>soluciones y planes</a:t>
            </a:r>
            <a:endParaRPr lang="en-GB" sz="1600" b="1" dirty="0">
              <a:solidFill>
                <a:schemeClr val="tx2"/>
              </a:solidFill>
              <a:latin typeface="+mj-lt"/>
              <a:ea typeface="League Spartan" charset="0"/>
              <a:cs typeface="Poppins" pitchFamily="2" charset="77"/>
            </a:endParaRPr>
          </a:p>
        </p:txBody>
      </p:sp>
      <p:sp>
        <p:nvSpPr>
          <p:cNvPr id="31" name="TextBox 48">
            <a:extLst>
              <a:ext uri="{FF2B5EF4-FFF2-40B4-BE49-F238E27FC236}">
                <a16:creationId xmlns:a16="http://schemas.microsoft.com/office/drawing/2014/main" xmlns="" id="{D9CE3E7D-97C1-434F-A676-6D8A6A436A90}"/>
              </a:ext>
            </a:extLst>
          </p:cNvPr>
          <p:cNvSpPr txBox="1"/>
          <p:nvPr/>
        </p:nvSpPr>
        <p:spPr>
          <a:xfrm>
            <a:off x="7194270" y="3863927"/>
            <a:ext cx="397866" cy="607859"/>
          </a:xfrm>
          <a:prstGeom prst="rect">
            <a:avLst/>
          </a:prstGeom>
          <a:noFill/>
        </p:spPr>
        <p:txBody>
          <a:bodyPr wrap="none" rtlCol="0" anchor="ctr">
            <a:spAutoFit/>
          </a:bodyPr>
          <a:lstStyle/>
          <a:p>
            <a:pPr algn="ctr"/>
            <a:r>
              <a:rPr lang="en-GB" sz="3350" b="1">
                <a:solidFill>
                  <a:schemeClr val="accent1"/>
                </a:solidFill>
                <a:latin typeface="+mj-lt"/>
                <a:cs typeface="Poppins" pitchFamily="2" charset="77"/>
              </a:rPr>
              <a:t>1</a:t>
            </a:r>
            <a:endParaRPr lang="en-GB" sz="3350" b="1" dirty="0">
              <a:solidFill>
                <a:schemeClr val="accent1"/>
              </a:solidFill>
              <a:latin typeface="+mj-lt"/>
              <a:cs typeface="Poppins" pitchFamily="2" charset="77"/>
            </a:endParaRPr>
          </a:p>
        </p:txBody>
      </p:sp>
      <p:sp>
        <p:nvSpPr>
          <p:cNvPr id="32" name="TextBox 49">
            <a:extLst>
              <a:ext uri="{FF2B5EF4-FFF2-40B4-BE49-F238E27FC236}">
                <a16:creationId xmlns:a16="http://schemas.microsoft.com/office/drawing/2014/main" xmlns="" id="{B1EA253C-EEF4-4941-9456-E959421FF7BC}"/>
              </a:ext>
            </a:extLst>
          </p:cNvPr>
          <p:cNvSpPr txBox="1"/>
          <p:nvPr/>
        </p:nvSpPr>
        <p:spPr>
          <a:xfrm>
            <a:off x="8754291" y="3863927"/>
            <a:ext cx="397866" cy="607859"/>
          </a:xfrm>
          <a:prstGeom prst="rect">
            <a:avLst/>
          </a:prstGeom>
          <a:noFill/>
        </p:spPr>
        <p:txBody>
          <a:bodyPr wrap="none" rtlCol="0" anchor="ctr">
            <a:spAutoFit/>
          </a:bodyPr>
          <a:lstStyle/>
          <a:p>
            <a:pPr algn="ctr"/>
            <a:r>
              <a:rPr lang="en-GB" sz="3350" b="1">
                <a:solidFill>
                  <a:schemeClr val="accent2"/>
                </a:solidFill>
                <a:latin typeface="+mj-lt"/>
                <a:cs typeface="Poppins" pitchFamily="2" charset="77"/>
              </a:rPr>
              <a:t>2</a:t>
            </a:r>
            <a:endParaRPr lang="en-GB" sz="3350" b="1" dirty="0">
              <a:solidFill>
                <a:schemeClr val="accent2"/>
              </a:solidFill>
              <a:latin typeface="+mj-lt"/>
              <a:cs typeface="Poppins" pitchFamily="2" charset="77"/>
            </a:endParaRPr>
          </a:p>
        </p:txBody>
      </p:sp>
      <p:sp>
        <p:nvSpPr>
          <p:cNvPr id="33" name="TextBox 50">
            <a:extLst>
              <a:ext uri="{FF2B5EF4-FFF2-40B4-BE49-F238E27FC236}">
                <a16:creationId xmlns:a16="http://schemas.microsoft.com/office/drawing/2014/main" xmlns="" id="{8FEE6A9F-C610-4C96-9051-718A698EA8FA}"/>
              </a:ext>
            </a:extLst>
          </p:cNvPr>
          <p:cNvSpPr txBox="1"/>
          <p:nvPr/>
        </p:nvSpPr>
        <p:spPr>
          <a:xfrm>
            <a:off x="10314311" y="3863927"/>
            <a:ext cx="397866" cy="607859"/>
          </a:xfrm>
          <a:prstGeom prst="rect">
            <a:avLst/>
          </a:prstGeom>
          <a:noFill/>
        </p:spPr>
        <p:txBody>
          <a:bodyPr wrap="none" rtlCol="0" anchor="ctr">
            <a:spAutoFit/>
          </a:bodyPr>
          <a:lstStyle/>
          <a:p>
            <a:pPr algn="ctr"/>
            <a:r>
              <a:rPr lang="en-GB" sz="3350" b="1">
                <a:solidFill>
                  <a:schemeClr val="accent3"/>
                </a:solidFill>
                <a:latin typeface="+mj-lt"/>
                <a:cs typeface="Poppins" pitchFamily="2" charset="77"/>
              </a:rPr>
              <a:t>3</a:t>
            </a:r>
            <a:endParaRPr lang="en-GB" sz="3350" b="1" dirty="0">
              <a:solidFill>
                <a:schemeClr val="accent3"/>
              </a:solidFill>
              <a:latin typeface="+mj-lt"/>
              <a:cs typeface="Poppins" pitchFamily="2" charset="77"/>
            </a:endParaRPr>
          </a:p>
        </p:txBody>
      </p:sp>
      <p:sp>
        <p:nvSpPr>
          <p:cNvPr id="34" name="Gleichschenkliges Dreieck 33">
            <a:extLst>
              <a:ext uri="{FF2B5EF4-FFF2-40B4-BE49-F238E27FC236}">
                <a16:creationId xmlns:a16="http://schemas.microsoft.com/office/drawing/2014/main" xmlns="" id="{DB826488-6585-4BA3-BBCE-202A1FFF150F}"/>
              </a:ext>
            </a:extLst>
          </p:cNvPr>
          <p:cNvSpPr/>
          <p:nvPr/>
        </p:nvSpPr>
        <p:spPr>
          <a:xfrm rot="5400000">
            <a:off x="7898674" y="4097738"/>
            <a:ext cx="547902" cy="160824"/>
          </a:xfrm>
          <a:prstGeom prst="triangle">
            <a:avLst/>
          </a:prstGeom>
          <a:solidFill>
            <a:srgbClr val="E94EA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350" dirty="0"/>
          </a:p>
        </p:txBody>
      </p:sp>
      <p:sp>
        <p:nvSpPr>
          <p:cNvPr id="35" name="Gleichschenkliges Dreieck 34">
            <a:extLst>
              <a:ext uri="{FF2B5EF4-FFF2-40B4-BE49-F238E27FC236}">
                <a16:creationId xmlns:a16="http://schemas.microsoft.com/office/drawing/2014/main" xmlns="" id="{ED58E4BC-4409-4B4B-8B9C-3ADF5D94B693}"/>
              </a:ext>
            </a:extLst>
          </p:cNvPr>
          <p:cNvSpPr/>
          <p:nvPr/>
        </p:nvSpPr>
        <p:spPr>
          <a:xfrm rot="5400000">
            <a:off x="9438679" y="4087444"/>
            <a:ext cx="547902" cy="160824"/>
          </a:xfrm>
          <a:prstGeom prst="triangle">
            <a:avLst/>
          </a:prstGeom>
          <a:solidFill>
            <a:srgbClr val="E94EA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350" dirty="0"/>
          </a:p>
        </p:txBody>
      </p:sp>
    </p:spTree>
    <p:extLst>
      <p:ext uri="{BB962C8B-B14F-4D97-AF65-F5344CB8AC3E}">
        <p14:creationId xmlns:p14="http://schemas.microsoft.com/office/powerpoint/2010/main" val="23066916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2356645" y="396349"/>
            <a:ext cx="8852375" cy="697353"/>
          </a:xfrm>
        </p:spPr>
        <p:txBody>
          <a:bodyPr>
            <a:normAutofit/>
          </a:bodyPr>
          <a:lstStyle/>
          <a:p>
            <a:r>
              <a:rPr lang="en-GB" dirty="0"/>
              <a:t>El ciclo de gestión de la continuidad de las actividade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50277" y="2142491"/>
            <a:ext cx="3620279" cy="2944699"/>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latin typeface="+mj-lt"/>
              </a:rPr>
              <a:t>Para llegar a una fase de resiliencia efectiva ante las crisis, es importante implantar y "vivir" una cultura del riesgo: </a:t>
            </a:r>
            <a:endParaRPr lang="en-US" dirty="0"/>
          </a:p>
          <a:p>
            <a:pPr marL="285750" indent="-285750" algn="l">
              <a:lnSpc>
                <a:spcPct val="100000"/>
              </a:lnSpc>
              <a:spcBef>
                <a:spcPts val="600"/>
              </a:spcBef>
              <a:buFont typeface="Wingdings" panose="05000000000000000000" pitchFamily="2" charset="2"/>
              <a:buChar char="à"/>
            </a:pPr>
            <a:r>
              <a:rPr lang="en-GB" altLang="de-DE" sz="2200" dirty="0">
                <a:latin typeface="+mj-lt"/>
                <a:sym typeface="Wingdings" panose="05000000000000000000" pitchFamily="2" charset="2"/>
              </a:rPr>
              <a:t>Un programa continuo de educación, concienciación y formación</a:t>
            </a:r>
            <a:endParaRPr lang="en-GB" altLang="de-DE" sz="2200" dirty="0">
              <a:latin typeface="+mj-lt"/>
            </a:endParaRPr>
          </a:p>
          <a:p>
            <a:pPr algn="l">
              <a:lnSpc>
                <a:spcPct val="100000"/>
              </a:lnSpc>
              <a:spcBef>
                <a:spcPts val="600"/>
              </a:spcBef>
            </a:pPr>
            <a:endParaRPr lang="en-GB" altLang="de-DE" sz="2200" dirty="0">
              <a:latin typeface="+mj-lt"/>
            </a:endParaRPr>
          </a:p>
        </p:txBody>
      </p:sp>
      <p:grpSp>
        <p:nvGrpSpPr>
          <p:cNvPr id="7" name="Gruppieren 6">
            <a:extLst>
              <a:ext uri="{FF2B5EF4-FFF2-40B4-BE49-F238E27FC236}">
                <a16:creationId xmlns:a16="http://schemas.microsoft.com/office/drawing/2014/main" xmlns="" id="{6BAA9461-0926-4338-9034-AFB36BD5DDE1}"/>
              </a:ext>
            </a:extLst>
          </p:cNvPr>
          <p:cNvGrpSpPr>
            <a:grpSpLocks noChangeAspect="1"/>
          </p:cNvGrpSpPr>
          <p:nvPr/>
        </p:nvGrpSpPr>
        <p:grpSpPr>
          <a:xfrm>
            <a:off x="464898" y="5265865"/>
            <a:ext cx="1425467" cy="1437004"/>
            <a:chOff x="5230592" y="1881035"/>
            <a:chExt cx="4175999" cy="4209794"/>
          </a:xfrm>
        </p:grpSpPr>
        <p:grpSp>
          <p:nvGrpSpPr>
            <p:cNvPr id="24" name="Gruppieren 23">
              <a:extLst>
                <a:ext uri="{FF2B5EF4-FFF2-40B4-BE49-F238E27FC236}">
                  <a16:creationId xmlns:a16="http://schemas.microsoft.com/office/drawing/2014/main" xmlns="" id="{272239DA-1B06-425C-A5B2-EC9059DF8DDC}"/>
                </a:ext>
              </a:extLst>
            </p:cNvPr>
            <p:cNvGrpSpPr>
              <a:grpSpLocks noChangeAspect="1"/>
            </p:cNvGrpSpPr>
            <p:nvPr/>
          </p:nvGrpSpPr>
          <p:grpSpPr>
            <a:xfrm>
              <a:off x="5230592" y="1881035"/>
              <a:ext cx="4175999" cy="4176000"/>
              <a:chOff x="5230592" y="1881035"/>
              <a:chExt cx="4175999" cy="4176000"/>
            </a:xfrm>
          </p:grpSpPr>
          <p:sp>
            <p:nvSpPr>
              <p:cNvPr id="305" name="Freeform 48">
                <a:extLst>
                  <a:ext uri="{FF2B5EF4-FFF2-40B4-BE49-F238E27FC236}">
                    <a16:creationId xmlns:a16="http://schemas.microsoft.com/office/drawing/2014/main" xmlns="" id="{8E41C000-1DB8-4A00-8679-35E2EAD75C91}"/>
                  </a:ext>
                </a:extLst>
              </p:cNvPr>
              <p:cNvSpPr/>
              <p:nvPr/>
            </p:nvSpPr>
            <p:spPr>
              <a:xfrm>
                <a:off x="6412947" y="1881035"/>
                <a:ext cx="1814615" cy="1603190"/>
              </a:xfrm>
              <a:custGeom>
                <a:avLst/>
                <a:gdLst>
                  <a:gd name="connsiteX0" fmla="*/ 2167432 w 4342825"/>
                  <a:gd name="connsiteY0" fmla="*/ 0 h 3836832"/>
                  <a:gd name="connsiteX1" fmla="*/ 4342825 w 4342825"/>
                  <a:gd name="connsiteY1" fmla="*/ 2179445 h 3836832"/>
                  <a:gd name="connsiteX2" fmla="*/ 3196076 w 4342825"/>
                  <a:gd name="connsiteY2" fmla="*/ 3836832 h 3836832"/>
                  <a:gd name="connsiteX3" fmla="*/ 3130926 w 4342825"/>
                  <a:gd name="connsiteY3" fmla="*/ 3797252 h 3836832"/>
                  <a:gd name="connsiteX4" fmla="*/ 2167432 w 4342825"/>
                  <a:gd name="connsiteY4" fmla="*/ 3553287 h 3836832"/>
                  <a:gd name="connsiteX5" fmla="*/ 1203938 w 4342825"/>
                  <a:gd name="connsiteY5" fmla="*/ 3797252 h 3836832"/>
                  <a:gd name="connsiteX6" fmla="*/ 1143466 w 4342825"/>
                  <a:gd name="connsiteY6" fmla="*/ 3833990 h 3836832"/>
                  <a:gd name="connsiteX7" fmla="*/ 0 w 4342825"/>
                  <a:gd name="connsiteY7" fmla="*/ 2171469 h 3836832"/>
                  <a:gd name="connsiteX8" fmla="*/ 2167432 w 4342825"/>
                  <a:gd name="connsiteY8" fmla="*/ 0 h 383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42825" h="3836832">
                    <a:moveTo>
                      <a:pt x="2167432" y="0"/>
                    </a:moveTo>
                    <a:lnTo>
                      <a:pt x="4342825" y="2179445"/>
                    </a:lnTo>
                    <a:lnTo>
                      <a:pt x="3196076" y="3836832"/>
                    </a:lnTo>
                    <a:lnTo>
                      <a:pt x="3130926" y="3797252"/>
                    </a:lnTo>
                    <a:cubicBezTo>
                      <a:pt x="2844515" y="3641665"/>
                      <a:pt x="2516294" y="3553287"/>
                      <a:pt x="2167432" y="3553287"/>
                    </a:cubicBezTo>
                    <a:cubicBezTo>
                      <a:pt x="1818570" y="3553287"/>
                      <a:pt x="1490349" y="3641665"/>
                      <a:pt x="1203938" y="3797252"/>
                    </a:cubicBezTo>
                    <a:lnTo>
                      <a:pt x="1143466" y="3833990"/>
                    </a:lnTo>
                    <a:lnTo>
                      <a:pt x="0" y="2171469"/>
                    </a:lnTo>
                    <a:lnTo>
                      <a:pt x="2167432" y="0"/>
                    </a:lnTo>
                    <a:close/>
                  </a:path>
                </a:pathLst>
              </a:cu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08" name="Freeform 45">
                <a:extLst>
                  <a:ext uri="{FF2B5EF4-FFF2-40B4-BE49-F238E27FC236}">
                    <a16:creationId xmlns:a16="http://schemas.microsoft.com/office/drawing/2014/main" xmlns="" id="{64FE2D3D-2C89-4277-BA06-2C7443A0397E}"/>
                  </a:ext>
                </a:extLst>
              </p:cNvPr>
              <p:cNvSpPr/>
              <p:nvPr/>
            </p:nvSpPr>
            <p:spPr>
              <a:xfrm>
                <a:off x="5230592" y="2843454"/>
                <a:ext cx="1586881" cy="1816774"/>
              </a:xfrm>
              <a:custGeom>
                <a:avLst/>
                <a:gdLst>
                  <a:gd name="connsiteX0" fmla="*/ 2665085 w 3797804"/>
                  <a:gd name="connsiteY0" fmla="*/ 0 h 4347993"/>
                  <a:gd name="connsiteX1" fmla="*/ 3797804 w 3797804"/>
                  <a:gd name="connsiteY1" fmla="*/ 1646897 h 4347993"/>
                  <a:gd name="connsiteX2" fmla="*/ 3711341 w 3797804"/>
                  <a:gd name="connsiteY2" fmla="*/ 1711553 h 4347993"/>
                  <a:gd name="connsiteX3" fmla="*/ 2975759 w 3797804"/>
                  <a:gd name="connsiteY3" fmla="*/ 3271321 h 4347993"/>
                  <a:gd name="connsiteX4" fmla="*/ 3016826 w 3797804"/>
                  <a:gd name="connsiteY4" fmla="*/ 3678693 h 4347993"/>
                  <a:gd name="connsiteX5" fmla="*/ 3037068 w 3797804"/>
                  <a:gd name="connsiteY5" fmla="*/ 3757418 h 4347993"/>
                  <a:gd name="connsiteX6" fmla="*/ 1292243 w 3797804"/>
                  <a:gd name="connsiteY6" fmla="*/ 4347993 h 4347993"/>
                  <a:gd name="connsiteX7" fmla="*/ 0 w 3797804"/>
                  <a:gd name="connsiteY7" fmla="*/ 1514136 h 4347993"/>
                  <a:gd name="connsiteX8" fmla="*/ 2665085 w 3797804"/>
                  <a:gd name="connsiteY8" fmla="*/ 0 h 4347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7804" h="4347993">
                    <a:moveTo>
                      <a:pt x="2665085" y="0"/>
                    </a:moveTo>
                    <a:lnTo>
                      <a:pt x="3797804" y="1646897"/>
                    </a:lnTo>
                    <a:lnTo>
                      <a:pt x="3711341" y="1711553"/>
                    </a:lnTo>
                    <a:cubicBezTo>
                      <a:pt x="3262103" y="2082298"/>
                      <a:pt x="2975759" y="2643370"/>
                      <a:pt x="2975759" y="3271321"/>
                    </a:cubicBezTo>
                    <a:cubicBezTo>
                      <a:pt x="2975759" y="3410866"/>
                      <a:pt x="2989899" y="3547108"/>
                      <a:pt x="3016826" y="3678693"/>
                    </a:cubicBezTo>
                    <a:lnTo>
                      <a:pt x="3037068" y="3757418"/>
                    </a:lnTo>
                    <a:lnTo>
                      <a:pt x="1292243" y="4347993"/>
                    </a:lnTo>
                    <a:lnTo>
                      <a:pt x="0" y="1514136"/>
                    </a:lnTo>
                    <a:lnTo>
                      <a:pt x="2665085" y="0"/>
                    </a:lnTo>
                    <a:close/>
                  </a:path>
                </a:pathLst>
              </a:custGeom>
              <a:solidFill>
                <a:schemeClr val="accent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09" name="Freeform 44">
                <a:extLst>
                  <a:ext uri="{FF2B5EF4-FFF2-40B4-BE49-F238E27FC236}">
                    <a16:creationId xmlns:a16="http://schemas.microsoft.com/office/drawing/2014/main" xmlns="" id="{A06290DB-875E-435C-A978-748606C01266}"/>
                  </a:ext>
                </a:extLst>
              </p:cNvPr>
              <p:cNvSpPr/>
              <p:nvPr/>
            </p:nvSpPr>
            <p:spPr>
              <a:xfrm>
                <a:off x="7821542" y="2845743"/>
                <a:ext cx="1585049" cy="1814282"/>
              </a:xfrm>
              <a:custGeom>
                <a:avLst/>
                <a:gdLst>
                  <a:gd name="connsiteX0" fmla="*/ 1137971 w 3793416"/>
                  <a:gd name="connsiteY0" fmla="*/ 0 h 4342028"/>
                  <a:gd name="connsiteX1" fmla="*/ 3793416 w 3793416"/>
                  <a:gd name="connsiteY1" fmla="*/ 1508659 h 4342028"/>
                  <a:gd name="connsiteX2" fmla="*/ 2501395 w 3793416"/>
                  <a:gd name="connsiteY2" fmla="*/ 4342028 h 4342028"/>
                  <a:gd name="connsiteX3" fmla="*/ 756418 w 3793416"/>
                  <a:gd name="connsiteY3" fmla="*/ 3751669 h 4342028"/>
                  <a:gd name="connsiteX4" fmla="*/ 776590 w 3793416"/>
                  <a:gd name="connsiteY4" fmla="*/ 3673216 h 4342028"/>
                  <a:gd name="connsiteX5" fmla="*/ 817657 w 3793416"/>
                  <a:gd name="connsiteY5" fmla="*/ 3265844 h 4342028"/>
                  <a:gd name="connsiteX6" fmla="*/ 82075 w 3793416"/>
                  <a:gd name="connsiteY6" fmla="*/ 1706076 h 4342028"/>
                  <a:gd name="connsiteX7" fmla="*/ 0 w 3793416"/>
                  <a:gd name="connsiteY7" fmla="*/ 1644701 h 4342028"/>
                  <a:gd name="connsiteX8" fmla="*/ 1137971 w 3793416"/>
                  <a:gd name="connsiteY8" fmla="*/ 0 h 434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3416" h="4342028">
                    <a:moveTo>
                      <a:pt x="1137971" y="0"/>
                    </a:moveTo>
                    <a:lnTo>
                      <a:pt x="3793416" y="1508659"/>
                    </a:lnTo>
                    <a:lnTo>
                      <a:pt x="2501395" y="4342028"/>
                    </a:lnTo>
                    <a:lnTo>
                      <a:pt x="756418" y="3751669"/>
                    </a:lnTo>
                    <a:lnTo>
                      <a:pt x="776590" y="3673216"/>
                    </a:lnTo>
                    <a:cubicBezTo>
                      <a:pt x="803517" y="3541631"/>
                      <a:pt x="817657" y="3405389"/>
                      <a:pt x="817657" y="3265844"/>
                    </a:cubicBezTo>
                    <a:cubicBezTo>
                      <a:pt x="817657" y="2637893"/>
                      <a:pt x="531313" y="2076821"/>
                      <a:pt x="82075" y="1706076"/>
                    </a:cubicBezTo>
                    <a:lnTo>
                      <a:pt x="0" y="1644701"/>
                    </a:lnTo>
                    <a:lnTo>
                      <a:pt x="1137971" y="0"/>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0" name="Freeform 42">
                <a:extLst>
                  <a:ext uri="{FF2B5EF4-FFF2-40B4-BE49-F238E27FC236}">
                    <a16:creationId xmlns:a16="http://schemas.microsoft.com/office/drawing/2014/main" xmlns="" id="{284198C2-8F5D-46D6-BAA7-CA5105A2527A}"/>
                  </a:ext>
                </a:extLst>
              </p:cNvPr>
              <p:cNvSpPr/>
              <p:nvPr/>
            </p:nvSpPr>
            <p:spPr>
              <a:xfrm>
                <a:off x="7362530" y="4497487"/>
                <a:ext cx="1475499" cy="1559547"/>
              </a:xfrm>
              <a:custGeom>
                <a:avLst/>
                <a:gdLst>
                  <a:gd name="connsiteX0" fmla="*/ 1793799 w 3531238"/>
                  <a:gd name="connsiteY0" fmla="*/ 0 h 3732384"/>
                  <a:gd name="connsiteX1" fmla="*/ 3531238 w 3531238"/>
                  <a:gd name="connsiteY1" fmla="*/ 587808 h 3732384"/>
                  <a:gd name="connsiteX2" fmla="*/ 2983224 w 3531238"/>
                  <a:gd name="connsiteY2" fmla="*/ 3732384 h 3732384"/>
                  <a:gd name="connsiteX3" fmla="*/ 0 w 3531238"/>
                  <a:gd name="connsiteY3" fmla="*/ 3312947 h 3732384"/>
                  <a:gd name="connsiteX4" fmla="*/ 0 w 3531238"/>
                  <a:gd name="connsiteY4" fmla="*/ 1328844 h 3732384"/>
                  <a:gd name="connsiteX5" fmla="*/ 101514 w 3531238"/>
                  <a:gd name="connsiteY5" fmla="*/ 1323718 h 3732384"/>
                  <a:gd name="connsiteX6" fmla="*/ 1757342 w 3531238"/>
                  <a:gd name="connsiteY6" fmla="*/ 99608 h 3732384"/>
                  <a:gd name="connsiteX7" fmla="*/ 1793799 w 3531238"/>
                  <a:gd name="connsiteY7" fmla="*/ 0 h 373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238" h="3732384">
                    <a:moveTo>
                      <a:pt x="1793799" y="0"/>
                    </a:moveTo>
                    <a:lnTo>
                      <a:pt x="3531238" y="587808"/>
                    </a:lnTo>
                    <a:lnTo>
                      <a:pt x="2983224" y="3732384"/>
                    </a:lnTo>
                    <a:lnTo>
                      <a:pt x="0" y="3312947"/>
                    </a:lnTo>
                    <a:lnTo>
                      <a:pt x="0" y="1328844"/>
                    </a:lnTo>
                    <a:lnTo>
                      <a:pt x="101514" y="1323718"/>
                    </a:lnTo>
                    <a:cubicBezTo>
                      <a:pt x="848983" y="1247808"/>
                      <a:pt x="1476056" y="764641"/>
                      <a:pt x="1757342" y="99608"/>
                    </a:cubicBezTo>
                    <a:lnTo>
                      <a:pt x="1793799" y="0"/>
                    </a:lnTo>
                    <a:close/>
                  </a:path>
                </a:pathLst>
              </a:custGeom>
              <a:solidFill>
                <a:schemeClr val="accent5">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1" name="Freeform 41">
                <a:extLst>
                  <a:ext uri="{FF2B5EF4-FFF2-40B4-BE49-F238E27FC236}">
                    <a16:creationId xmlns:a16="http://schemas.microsoft.com/office/drawing/2014/main" xmlns="" id="{5A2FBDAA-AB2E-4318-B3E6-2D62021619C3}"/>
                  </a:ext>
                </a:extLst>
              </p:cNvPr>
              <p:cNvSpPr/>
              <p:nvPr/>
            </p:nvSpPr>
            <p:spPr>
              <a:xfrm>
                <a:off x="5799193" y="4497599"/>
                <a:ext cx="1475461" cy="1559436"/>
              </a:xfrm>
              <a:custGeom>
                <a:avLst/>
                <a:gdLst>
                  <a:gd name="connsiteX0" fmla="*/ 1737443 w 3531147"/>
                  <a:gd name="connsiteY0" fmla="*/ 0 h 3732119"/>
                  <a:gd name="connsiteX1" fmla="*/ 1773803 w 3531147"/>
                  <a:gd name="connsiteY1" fmla="*/ 99343 h 3732119"/>
                  <a:gd name="connsiteX2" fmla="*/ 3429631 w 3531147"/>
                  <a:gd name="connsiteY2" fmla="*/ 1323453 h 3732119"/>
                  <a:gd name="connsiteX3" fmla="*/ 3531147 w 3531147"/>
                  <a:gd name="connsiteY3" fmla="*/ 1328579 h 3732119"/>
                  <a:gd name="connsiteX4" fmla="*/ 3531147 w 3531147"/>
                  <a:gd name="connsiteY4" fmla="*/ 3312682 h 3732119"/>
                  <a:gd name="connsiteX5" fmla="*/ 547921 w 3531147"/>
                  <a:gd name="connsiteY5" fmla="*/ 3732119 h 3732119"/>
                  <a:gd name="connsiteX6" fmla="*/ 0 w 3531147"/>
                  <a:gd name="connsiteY6" fmla="*/ 588077 h 3732119"/>
                  <a:gd name="connsiteX7" fmla="*/ 1737443 w 3531147"/>
                  <a:gd name="connsiteY7" fmla="*/ 0 h 373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147" h="3732119">
                    <a:moveTo>
                      <a:pt x="1737443" y="0"/>
                    </a:moveTo>
                    <a:lnTo>
                      <a:pt x="1773803" y="99343"/>
                    </a:lnTo>
                    <a:cubicBezTo>
                      <a:pt x="2055089" y="764376"/>
                      <a:pt x="2682162" y="1247543"/>
                      <a:pt x="3429631" y="1323453"/>
                    </a:cubicBezTo>
                    <a:lnTo>
                      <a:pt x="3531147" y="1328579"/>
                    </a:lnTo>
                    <a:lnTo>
                      <a:pt x="3531147" y="3312682"/>
                    </a:lnTo>
                    <a:lnTo>
                      <a:pt x="547921" y="3732119"/>
                    </a:lnTo>
                    <a:lnTo>
                      <a:pt x="0" y="588077"/>
                    </a:lnTo>
                    <a:lnTo>
                      <a:pt x="1737443"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grpSp>
        <p:sp>
          <p:nvSpPr>
            <p:cNvPr id="22" name="Ellipse 21">
              <a:extLst>
                <a:ext uri="{FF2B5EF4-FFF2-40B4-BE49-F238E27FC236}">
                  <a16:creationId xmlns:a16="http://schemas.microsoft.com/office/drawing/2014/main" xmlns="" id="{DF4A991F-96D6-4A69-9300-C89426EC4D70}"/>
                </a:ext>
              </a:extLst>
            </p:cNvPr>
            <p:cNvSpPr/>
            <p:nvPr/>
          </p:nvSpPr>
          <p:spPr>
            <a:xfrm>
              <a:off x="5961396" y="5730830"/>
              <a:ext cx="360000" cy="35999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t>4 </a:t>
              </a:r>
              <a:endParaRPr lang="en-GB" sz="1200" dirty="0"/>
            </a:p>
          </p:txBody>
        </p:sp>
      </p:grpSp>
      <p:sp>
        <p:nvSpPr>
          <p:cNvPr id="41" name="Textplatzhalter 1">
            <a:extLst>
              <a:ext uri="{FF2B5EF4-FFF2-40B4-BE49-F238E27FC236}">
                <a16:creationId xmlns:a16="http://schemas.microsoft.com/office/drawing/2014/main" xmlns="" id="{7A1600A2-C58E-42AD-B86F-5A4EF6A570AB}"/>
              </a:ext>
            </a:extLst>
          </p:cNvPr>
          <p:cNvSpPr txBox="1">
            <a:spLocks/>
          </p:cNvSpPr>
          <p:nvPr/>
        </p:nvSpPr>
        <p:spPr>
          <a:xfrm>
            <a:off x="3126623" y="960257"/>
            <a:ext cx="8852375" cy="33078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a:buNone/>
              <a:defRPr sz="3600" kern="1200">
                <a:solidFill>
                  <a:srgbClr val="245473"/>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GB" sz="2800" dirty="0">
                <a:solidFill>
                  <a:srgbClr val="E53292"/>
                </a:solidFill>
              </a:rPr>
              <a:t>Etapa 4: Creación e integración de una cultura de GCN</a:t>
            </a:r>
          </a:p>
        </p:txBody>
      </p:sp>
      <p:sp>
        <p:nvSpPr>
          <p:cNvPr id="17" name="Freeform 2">
            <a:extLst>
              <a:ext uri="{FF2B5EF4-FFF2-40B4-BE49-F238E27FC236}">
                <a16:creationId xmlns:a16="http://schemas.microsoft.com/office/drawing/2014/main" xmlns="" id="{3D995078-5C3A-434C-8044-59452370E8E7}"/>
              </a:ext>
            </a:extLst>
          </p:cNvPr>
          <p:cNvSpPr>
            <a:spLocks noChangeArrowheads="1"/>
          </p:cNvSpPr>
          <p:nvPr/>
        </p:nvSpPr>
        <p:spPr bwMode="auto">
          <a:xfrm>
            <a:off x="5016871" y="3525322"/>
            <a:ext cx="1285071" cy="1285071"/>
          </a:xfrm>
          <a:custGeom>
            <a:avLst/>
            <a:gdLst>
              <a:gd name="T0" fmla="*/ 1377 w 2753"/>
              <a:gd name="T1" fmla="*/ 0 h 2752"/>
              <a:gd name="T2" fmla="*/ 1377 w 2753"/>
              <a:gd name="T3" fmla="*/ 0 h 2752"/>
              <a:gd name="T4" fmla="*/ 2752 w 2753"/>
              <a:gd name="T5" fmla="*/ 1376 h 2752"/>
              <a:gd name="T6" fmla="*/ 2752 w 2753"/>
              <a:gd name="T7" fmla="*/ 1376 h 2752"/>
              <a:gd name="T8" fmla="*/ 1377 w 2753"/>
              <a:gd name="T9" fmla="*/ 2751 h 2752"/>
              <a:gd name="T10" fmla="*/ 1377 w 2753"/>
              <a:gd name="T11" fmla="*/ 2751 h 2752"/>
              <a:gd name="T12" fmla="*/ 0 w 2753"/>
              <a:gd name="T13" fmla="*/ 1376 h 2752"/>
              <a:gd name="T14" fmla="*/ 0 w 2753"/>
              <a:gd name="T15" fmla="*/ 1376 h 2752"/>
              <a:gd name="T16" fmla="*/ 1377 w 2753"/>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3" h="2752">
                <a:moveTo>
                  <a:pt x="1377" y="0"/>
                </a:moveTo>
                <a:lnTo>
                  <a:pt x="1377" y="0"/>
                </a:lnTo>
                <a:cubicBezTo>
                  <a:pt x="2137" y="0"/>
                  <a:pt x="2752" y="616"/>
                  <a:pt x="2752" y="1376"/>
                </a:cubicBezTo>
                <a:lnTo>
                  <a:pt x="2752" y="1376"/>
                </a:lnTo>
                <a:cubicBezTo>
                  <a:pt x="2752" y="2135"/>
                  <a:pt x="2137" y="2751"/>
                  <a:pt x="1377" y="2751"/>
                </a:cubicBezTo>
                <a:lnTo>
                  <a:pt x="1377" y="2751"/>
                </a:lnTo>
                <a:cubicBezTo>
                  <a:pt x="616" y="2751"/>
                  <a:pt x="0" y="2135"/>
                  <a:pt x="0" y="1376"/>
                </a:cubicBezTo>
                <a:lnTo>
                  <a:pt x="0" y="1376"/>
                </a:lnTo>
                <a:cubicBezTo>
                  <a:pt x="0" y="616"/>
                  <a:pt x="616" y="0"/>
                  <a:pt x="1377" y="0"/>
                </a:cubicBezTo>
              </a:path>
            </a:pathLst>
          </a:custGeom>
          <a:solidFill>
            <a:schemeClr val="accent1"/>
          </a:solidFill>
          <a:ln>
            <a:noFill/>
          </a:ln>
          <a:effectLst/>
        </p:spPr>
        <p:txBody>
          <a:bodyPr wrap="none" anchor="ctr"/>
          <a:lstStyle/>
          <a:p>
            <a:endParaRPr lang="en-GB" sz="2450" dirty="0">
              <a:latin typeface="+mj-lt"/>
            </a:endParaRPr>
          </a:p>
        </p:txBody>
      </p:sp>
      <p:sp>
        <p:nvSpPr>
          <p:cNvPr id="18" name="Freeform 3">
            <a:extLst>
              <a:ext uri="{FF2B5EF4-FFF2-40B4-BE49-F238E27FC236}">
                <a16:creationId xmlns:a16="http://schemas.microsoft.com/office/drawing/2014/main" xmlns="" id="{05964768-527E-4FE5-9060-988FA2DE2414}"/>
              </a:ext>
            </a:extLst>
          </p:cNvPr>
          <p:cNvSpPr>
            <a:spLocks noChangeArrowheads="1"/>
          </p:cNvSpPr>
          <p:nvPr/>
        </p:nvSpPr>
        <p:spPr bwMode="auto">
          <a:xfrm>
            <a:off x="5208217" y="3679747"/>
            <a:ext cx="875248" cy="998814"/>
          </a:xfrm>
          <a:custGeom>
            <a:avLst/>
            <a:gdLst>
              <a:gd name="T0" fmla="*/ 885 w 1872"/>
              <a:gd name="T1" fmla="*/ 18 h 2138"/>
              <a:gd name="T2" fmla="*/ 885 w 1872"/>
              <a:gd name="T3" fmla="*/ 18 h 2138"/>
              <a:gd name="T4" fmla="*/ 986 w 1872"/>
              <a:gd name="T5" fmla="*/ 18 h 2138"/>
              <a:gd name="T6" fmla="*/ 1820 w 1872"/>
              <a:gd name="T7" fmla="*/ 500 h 2138"/>
              <a:gd name="T8" fmla="*/ 1820 w 1872"/>
              <a:gd name="T9" fmla="*/ 500 h 2138"/>
              <a:gd name="T10" fmla="*/ 1871 w 1872"/>
              <a:gd name="T11" fmla="*/ 588 h 2138"/>
              <a:gd name="T12" fmla="*/ 1871 w 1872"/>
              <a:gd name="T13" fmla="*/ 1549 h 2138"/>
              <a:gd name="T14" fmla="*/ 1871 w 1872"/>
              <a:gd name="T15" fmla="*/ 1549 h 2138"/>
              <a:gd name="T16" fmla="*/ 1820 w 1872"/>
              <a:gd name="T17" fmla="*/ 1637 h 2138"/>
              <a:gd name="T18" fmla="*/ 986 w 1872"/>
              <a:gd name="T19" fmla="*/ 2119 h 2138"/>
              <a:gd name="T20" fmla="*/ 986 w 1872"/>
              <a:gd name="T21" fmla="*/ 2119 h 2138"/>
              <a:gd name="T22" fmla="*/ 885 w 1872"/>
              <a:gd name="T23" fmla="*/ 2119 h 2138"/>
              <a:gd name="T24" fmla="*/ 50 w 1872"/>
              <a:gd name="T25" fmla="*/ 1637 h 2138"/>
              <a:gd name="T26" fmla="*/ 50 w 1872"/>
              <a:gd name="T27" fmla="*/ 1637 h 2138"/>
              <a:gd name="T28" fmla="*/ 0 w 1872"/>
              <a:gd name="T29" fmla="*/ 1549 h 2138"/>
              <a:gd name="T30" fmla="*/ 0 w 1872"/>
              <a:gd name="T31" fmla="*/ 588 h 2138"/>
              <a:gd name="T32" fmla="*/ 0 w 1872"/>
              <a:gd name="T33" fmla="*/ 588 h 2138"/>
              <a:gd name="T34" fmla="*/ 50 w 1872"/>
              <a:gd name="T35" fmla="*/ 500 h 2138"/>
              <a:gd name="T36" fmla="*/ 885 w 1872"/>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2" h="2138">
                <a:moveTo>
                  <a:pt x="885" y="18"/>
                </a:moveTo>
                <a:lnTo>
                  <a:pt x="885" y="18"/>
                </a:lnTo>
                <a:cubicBezTo>
                  <a:pt x="916" y="0"/>
                  <a:pt x="955" y="0"/>
                  <a:pt x="986" y="18"/>
                </a:cubicBezTo>
                <a:lnTo>
                  <a:pt x="1820" y="500"/>
                </a:lnTo>
                <a:lnTo>
                  <a:pt x="1820" y="500"/>
                </a:lnTo>
                <a:cubicBezTo>
                  <a:pt x="1851" y="517"/>
                  <a:pt x="1871" y="551"/>
                  <a:pt x="1871" y="588"/>
                </a:cubicBezTo>
                <a:lnTo>
                  <a:pt x="1871" y="1549"/>
                </a:lnTo>
                <a:lnTo>
                  <a:pt x="1871" y="1549"/>
                </a:lnTo>
                <a:cubicBezTo>
                  <a:pt x="1871" y="1586"/>
                  <a:pt x="1851" y="1620"/>
                  <a:pt x="1820" y="1637"/>
                </a:cubicBezTo>
                <a:lnTo>
                  <a:pt x="986" y="2119"/>
                </a:lnTo>
                <a:lnTo>
                  <a:pt x="986" y="2119"/>
                </a:lnTo>
                <a:cubicBezTo>
                  <a:pt x="955" y="2137"/>
                  <a:pt x="916" y="2137"/>
                  <a:pt x="885" y="2119"/>
                </a:cubicBezTo>
                <a:lnTo>
                  <a:pt x="50" y="1637"/>
                </a:lnTo>
                <a:lnTo>
                  <a:pt x="50" y="1637"/>
                </a:lnTo>
                <a:cubicBezTo>
                  <a:pt x="19" y="1620"/>
                  <a:pt x="0" y="1586"/>
                  <a:pt x="0" y="1549"/>
                </a:cubicBezTo>
                <a:lnTo>
                  <a:pt x="0" y="588"/>
                </a:lnTo>
                <a:lnTo>
                  <a:pt x="0" y="588"/>
                </a:lnTo>
                <a:cubicBezTo>
                  <a:pt x="0" y="551"/>
                  <a:pt x="19" y="517"/>
                  <a:pt x="50"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19" name="Freeform 5">
            <a:extLst>
              <a:ext uri="{FF2B5EF4-FFF2-40B4-BE49-F238E27FC236}">
                <a16:creationId xmlns:a16="http://schemas.microsoft.com/office/drawing/2014/main" xmlns="" id="{99814CB9-1F95-4B6A-98EF-814657BAD560}"/>
              </a:ext>
            </a:extLst>
          </p:cNvPr>
          <p:cNvSpPr>
            <a:spLocks noChangeArrowheads="1"/>
          </p:cNvSpPr>
          <p:nvPr/>
        </p:nvSpPr>
        <p:spPr bwMode="auto">
          <a:xfrm>
            <a:off x="6576891" y="3525322"/>
            <a:ext cx="1285071" cy="1285071"/>
          </a:xfrm>
          <a:custGeom>
            <a:avLst/>
            <a:gdLst>
              <a:gd name="T0" fmla="*/ 1376 w 2753"/>
              <a:gd name="T1" fmla="*/ 0 h 2752"/>
              <a:gd name="T2" fmla="*/ 1376 w 2753"/>
              <a:gd name="T3" fmla="*/ 0 h 2752"/>
              <a:gd name="T4" fmla="*/ 2752 w 2753"/>
              <a:gd name="T5" fmla="*/ 1376 h 2752"/>
              <a:gd name="T6" fmla="*/ 2752 w 2753"/>
              <a:gd name="T7" fmla="*/ 1376 h 2752"/>
              <a:gd name="T8" fmla="*/ 1376 w 2753"/>
              <a:gd name="T9" fmla="*/ 2751 h 2752"/>
              <a:gd name="T10" fmla="*/ 1376 w 2753"/>
              <a:gd name="T11" fmla="*/ 2751 h 2752"/>
              <a:gd name="T12" fmla="*/ 0 w 2753"/>
              <a:gd name="T13" fmla="*/ 1376 h 2752"/>
              <a:gd name="T14" fmla="*/ 0 w 2753"/>
              <a:gd name="T15" fmla="*/ 1376 h 2752"/>
              <a:gd name="T16" fmla="*/ 1376 w 2753"/>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3" h="2752">
                <a:moveTo>
                  <a:pt x="1376" y="0"/>
                </a:moveTo>
                <a:lnTo>
                  <a:pt x="1376" y="0"/>
                </a:lnTo>
                <a:cubicBezTo>
                  <a:pt x="2137" y="0"/>
                  <a:pt x="2752" y="616"/>
                  <a:pt x="2752" y="1376"/>
                </a:cubicBezTo>
                <a:lnTo>
                  <a:pt x="2752" y="1376"/>
                </a:lnTo>
                <a:cubicBezTo>
                  <a:pt x="2752" y="2135"/>
                  <a:pt x="2137" y="2751"/>
                  <a:pt x="1376" y="2751"/>
                </a:cubicBezTo>
                <a:lnTo>
                  <a:pt x="1376" y="2751"/>
                </a:lnTo>
                <a:cubicBezTo>
                  <a:pt x="616" y="2751"/>
                  <a:pt x="0" y="2135"/>
                  <a:pt x="0" y="1376"/>
                </a:cubicBezTo>
                <a:lnTo>
                  <a:pt x="0" y="1376"/>
                </a:lnTo>
                <a:cubicBezTo>
                  <a:pt x="0" y="616"/>
                  <a:pt x="616" y="0"/>
                  <a:pt x="1376" y="0"/>
                </a:cubicBezTo>
              </a:path>
            </a:pathLst>
          </a:custGeom>
          <a:solidFill>
            <a:schemeClr val="accent2"/>
          </a:solidFill>
          <a:ln>
            <a:noFill/>
          </a:ln>
          <a:effectLst/>
        </p:spPr>
        <p:txBody>
          <a:bodyPr wrap="none" anchor="ctr"/>
          <a:lstStyle/>
          <a:p>
            <a:endParaRPr lang="en-GB" sz="2450" dirty="0">
              <a:latin typeface="+mj-lt"/>
            </a:endParaRPr>
          </a:p>
        </p:txBody>
      </p:sp>
      <p:sp>
        <p:nvSpPr>
          <p:cNvPr id="20" name="Freeform 6">
            <a:extLst>
              <a:ext uri="{FF2B5EF4-FFF2-40B4-BE49-F238E27FC236}">
                <a16:creationId xmlns:a16="http://schemas.microsoft.com/office/drawing/2014/main" xmlns="" id="{E2CFCDB4-07A4-4B96-8440-254994C4D1BC}"/>
              </a:ext>
            </a:extLst>
          </p:cNvPr>
          <p:cNvSpPr>
            <a:spLocks noChangeArrowheads="1"/>
          </p:cNvSpPr>
          <p:nvPr/>
        </p:nvSpPr>
        <p:spPr bwMode="auto">
          <a:xfrm>
            <a:off x="6782833" y="3669480"/>
            <a:ext cx="875249" cy="998814"/>
          </a:xfrm>
          <a:custGeom>
            <a:avLst/>
            <a:gdLst>
              <a:gd name="T0" fmla="*/ 885 w 1873"/>
              <a:gd name="T1" fmla="*/ 18 h 2138"/>
              <a:gd name="T2" fmla="*/ 885 w 1873"/>
              <a:gd name="T3" fmla="*/ 18 h 2138"/>
              <a:gd name="T4" fmla="*/ 987 w 1873"/>
              <a:gd name="T5" fmla="*/ 18 h 2138"/>
              <a:gd name="T6" fmla="*/ 1821 w 1873"/>
              <a:gd name="T7" fmla="*/ 500 h 2138"/>
              <a:gd name="T8" fmla="*/ 1821 w 1873"/>
              <a:gd name="T9" fmla="*/ 500 h 2138"/>
              <a:gd name="T10" fmla="*/ 1872 w 1873"/>
              <a:gd name="T11" fmla="*/ 588 h 2138"/>
              <a:gd name="T12" fmla="*/ 1872 w 1873"/>
              <a:gd name="T13" fmla="*/ 1549 h 2138"/>
              <a:gd name="T14" fmla="*/ 1872 w 1873"/>
              <a:gd name="T15" fmla="*/ 1549 h 2138"/>
              <a:gd name="T16" fmla="*/ 1821 w 1873"/>
              <a:gd name="T17" fmla="*/ 1637 h 2138"/>
              <a:gd name="T18" fmla="*/ 987 w 1873"/>
              <a:gd name="T19" fmla="*/ 2119 h 2138"/>
              <a:gd name="T20" fmla="*/ 987 w 1873"/>
              <a:gd name="T21" fmla="*/ 2119 h 2138"/>
              <a:gd name="T22" fmla="*/ 885 w 1873"/>
              <a:gd name="T23" fmla="*/ 2119 h 2138"/>
              <a:gd name="T24" fmla="*/ 51 w 1873"/>
              <a:gd name="T25" fmla="*/ 1637 h 2138"/>
              <a:gd name="T26" fmla="*/ 51 w 1873"/>
              <a:gd name="T27" fmla="*/ 1637 h 2138"/>
              <a:gd name="T28" fmla="*/ 0 w 1873"/>
              <a:gd name="T29" fmla="*/ 1549 h 2138"/>
              <a:gd name="T30" fmla="*/ 0 w 1873"/>
              <a:gd name="T31" fmla="*/ 588 h 2138"/>
              <a:gd name="T32" fmla="*/ 0 w 1873"/>
              <a:gd name="T33" fmla="*/ 588 h 2138"/>
              <a:gd name="T34" fmla="*/ 51 w 1873"/>
              <a:gd name="T35" fmla="*/ 500 h 2138"/>
              <a:gd name="T36" fmla="*/ 885 w 1873"/>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3" h="2138">
                <a:moveTo>
                  <a:pt x="885" y="18"/>
                </a:moveTo>
                <a:lnTo>
                  <a:pt x="885" y="18"/>
                </a:lnTo>
                <a:cubicBezTo>
                  <a:pt x="917" y="0"/>
                  <a:pt x="956" y="0"/>
                  <a:pt x="987" y="18"/>
                </a:cubicBezTo>
                <a:lnTo>
                  <a:pt x="1821" y="500"/>
                </a:lnTo>
                <a:lnTo>
                  <a:pt x="1821" y="500"/>
                </a:lnTo>
                <a:cubicBezTo>
                  <a:pt x="1852" y="517"/>
                  <a:pt x="1872" y="551"/>
                  <a:pt x="1872" y="588"/>
                </a:cubicBezTo>
                <a:lnTo>
                  <a:pt x="1872" y="1549"/>
                </a:lnTo>
                <a:lnTo>
                  <a:pt x="1872" y="1549"/>
                </a:lnTo>
                <a:cubicBezTo>
                  <a:pt x="1872" y="1586"/>
                  <a:pt x="1852" y="1620"/>
                  <a:pt x="1821" y="1637"/>
                </a:cubicBezTo>
                <a:lnTo>
                  <a:pt x="987" y="2119"/>
                </a:lnTo>
                <a:lnTo>
                  <a:pt x="987" y="2119"/>
                </a:lnTo>
                <a:cubicBezTo>
                  <a:pt x="956" y="2137"/>
                  <a:pt x="917" y="2137"/>
                  <a:pt x="885" y="2119"/>
                </a:cubicBezTo>
                <a:lnTo>
                  <a:pt x="51" y="1637"/>
                </a:lnTo>
                <a:lnTo>
                  <a:pt x="51" y="1637"/>
                </a:lnTo>
                <a:cubicBezTo>
                  <a:pt x="20" y="1620"/>
                  <a:pt x="0" y="1586"/>
                  <a:pt x="0" y="1549"/>
                </a:cubicBezTo>
                <a:lnTo>
                  <a:pt x="0" y="588"/>
                </a:lnTo>
                <a:lnTo>
                  <a:pt x="0" y="588"/>
                </a:lnTo>
                <a:cubicBezTo>
                  <a:pt x="0" y="551"/>
                  <a:pt x="20" y="517"/>
                  <a:pt x="51"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21" name="Freeform 8">
            <a:extLst>
              <a:ext uri="{FF2B5EF4-FFF2-40B4-BE49-F238E27FC236}">
                <a16:creationId xmlns:a16="http://schemas.microsoft.com/office/drawing/2014/main" xmlns="" id="{F4E711F3-7B30-463F-BE0F-9502EBE6CD8B}"/>
              </a:ext>
            </a:extLst>
          </p:cNvPr>
          <p:cNvSpPr>
            <a:spLocks noChangeArrowheads="1"/>
          </p:cNvSpPr>
          <p:nvPr/>
        </p:nvSpPr>
        <p:spPr bwMode="auto">
          <a:xfrm>
            <a:off x="8136912" y="3525322"/>
            <a:ext cx="1285071" cy="1285071"/>
          </a:xfrm>
          <a:custGeom>
            <a:avLst/>
            <a:gdLst>
              <a:gd name="T0" fmla="*/ 1376 w 2752"/>
              <a:gd name="T1" fmla="*/ 0 h 2752"/>
              <a:gd name="T2" fmla="*/ 1376 w 2752"/>
              <a:gd name="T3" fmla="*/ 0 h 2752"/>
              <a:gd name="T4" fmla="*/ 2751 w 2752"/>
              <a:gd name="T5" fmla="*/ 1376 h 2752"/>
              <a:gd name="T6" fmla="*/ 2751 w 2752"/>
              <a:gd name="T7" fmla="*/ 1376 h 2752"/>
              <a:gd name="T8" fmla="*/ 1376 w 2752"/>
              <a:gd name="T9" fmla="*/ 2751 h 2752"/>
              <a:gd name="T10" fmla="*/ 1376 w 2752"/>
              <a:gd name="T11" fmla="*/ 2751 h 2752"/>
              <a:gd name="T12" fmla="*/ 0 w 2752"/>
              <a:gd name="T13" fmla="*/ 1376 h 2752"/>
              <a:gd name="T14" fmla="*/ 0 w 2752"/>
              <a:gd name="T15" fmla="*/ 1376 h 2752"/>
              <a:gd name="T16" fmla="*/ 1376 w 2752"/>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2" h="2752">
                <a:moveTo>
                  <a:pt x="1376" y="0"/>
                </a:moveTo>
                <a:lnTo>
                  <a:pt x="1376" y="0"/>
                </a:lnTo>
                <a:cubicBezTo>
                  <a:pt x="2135" y="0"/>
                  <a:pt x="2751" y="616"/>
                  <a:pt x="2751" y="1376"/>
                </a:cubicBezTo>
                <a:lnTo>
                  <a:pt x="2751" y="1376"/>
                </a:lnTo>
                <a:cubicBezTo>
                  <a:pt x="2751" y="2135"/>
                  <a:pt x="2135" y="2751"/>
                  <a:pt x="1376" y="2751"/>
                </a:cubicBezTo>
                <a:lnTo>
                  <a:pt x="1376" y="2751"/>
                </a:lnTo>
                <a:cubicBezTo>
                  <a:pt x="616" y="2751"/>
                  <a:pt x="0" y="2135"/>
                  <a:pt x="0" y="1376"/>
                </a:cubicBezTo>
                <a:lnTo>
                  <a:pt x="0" y="1376"/>
                </a:lnTo>
                <a:cubicBezTo>
                  <a:pt x="0" y="616"/>
                  <a:pt x="616" y="0"/>
                  <a:pt x="1376" y="0"/>
                </a:cubicBezTo>
              </a:path>
            </a:pathLst>
          </a:custGeom>
          <a:solidFill>
            <a:schemeClr val="accent3"/>
          </a:solidFill>
          <a:ln>
            <a:noFill/>
          </a:ln>
          <a:effectLst/>
        </p:spPr>
        <p:txBody>
          <a:bodyPr wrap="none" anchor="ctr"/>
          <a:lstStyle/>
          <a:p>
            <a:endParaRPr lang="en-GB" sz="2450" dirty="0">
              <a:latin typeface="+mj-lt"/>
            </a:endParaRPr>
          </a:p>
        </p:txBody>
      </p:sp>
      <p:sp>
        <p:nvSpPr>
          <p:cNvPr id="23" name="Freeform 9">
            <a:extLst>
              <a:ext uri="{FF2B5EF4-FFF2-40B4-BE49-F238E27FC236}">
                <a16:creationId xmlns:a16="http://schemas.microsoft.com/office/drawing/2014/main" xmlns="" id="{7D3592B3-7658-4E2E-A8EE-67A2EF5A3D27}"/>
              </a:ext>
            </a:extLst>
          </p:cNvPr>
          <p:cNvSpPr>
            <a:spLocks noChangeArrowheads="1"/>
          </p:cNvSpPr>
          <p:nvPr/>
        </p:nvSpPr>
        <p:spPr bwMode="auto">
          <a:xfrm>
            <a:off x="8342853" y="3669480"/>
            <a:ext cx="875249" cy="998814"/>
          </a:xfrm>
          <a:custGeom>
            <a:avLst/>
            <a:gdLst>
              <a:gd name="T0" fmla="*/ 885 w 1872"/>
              <a:gd name="T1" fmla="*/ 18 h 2138"/>
              <a:gd name="T2" fmla="*/ 885 w 1872"/>
              <a:gd name="T3" fmla="*/ 18 h 2138"/>
              <a:gd name="T4" fmla="*/ 986 w 1872"/>
              <a:gd name="T5" fmla="*/ 18 h 2138"/>
              <a:gd name="T6" fmla="*/ 1820 w 1872"/>
              <a:gd name="T7" fmla="*/ 500 h 2138"/>
              <a:gd name="T8" fmla="*/ 1820 w 1872"/>
              <a:gd name="T9" fmla="*/ 500 h 2138"/>
              <a:gd name="T10" fmla="*/ 1871 w 1872"/>
              <a:gd name="T11" fmla="*/ 588 h 2138"/>
              <a:gd name="T12" fmla="*/ 1871 w 1872"/>
              <a:gd name="T13" fmla="*/ 1549 h 2138"/>
              <a:gd name="T14" fmla="*/ 1871 w 1872"/>
              <a:gd name="T15" fmla="*/ 1549 h 2138"/>
              <a:gd name="T16" fmla="*/ 1820 w 1872"/>
              <a:gd name="T17" fmla="*/ 1637 h 2138"/>
              <a:gd name="T18" fmla="*/ 986 w 1872"/>
              <a:gd name="T19" fmla="*/ 2119 h 2138"/>
              <a:gd name="T20" fmla="*/ 986 w 1872"/>
              <a:gd name="T21" fmla="*/ 2119 h 2138"/>
              <a:gd name="T22" fmla="*/ 885 w 1872"/>
              <a:gd name="T23" fmla="*/ 2119 h 2138"/>
              <a:gd name="T24" fmla="*/ 51 w 1872"/>
              <a:gd name="T25" fmla="*/ 1637 h 2138"/>
              <a:gd name="T26" fmla="*/ 51 w 1872"/>
              <a:gd name="T27" fmla="*/ 1637 h 2138"/>
              <a:gd name="T28" fmla="*/ 0 w 1872"/>
              <a:gd name="T29" fmla="*/ 1549 h 2138"/>
              <a:gd name="T30" fmla="*/ 0 w 1872"/>
              <a:gd name="T31" fmla="*/ 588 h 2138"/>
              <a:gd name="T32" fmla="*/ 0 w 1872"/>
              <a:gd name="T33" fmla="*/ 588 h 2138"/>
              <a:gd name="T34" fmla="*/ 51 w 1872"/>
              <a:gd name="T35" fmla="*/ 500 h 2138"/>
              <a:gd name="T36" fmla="*/ 885 w 1872"/>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2" h="2138">
                <a:moveTo>
                  <a:pt x="885" y="18"/>
                </a:moveTo>
                <a:lnTo>
                  <a:pt x="885" y="18"/>
                </a:lnTo>
                <a:cubicBezTo>
                  <a:pt x="917" y="0"/>
                  <a:pt x="955" y="0"/>
                  <a:pt x="986" y="18"/>
                </a:cubicBezTo>
                <a:lnTo>
                  <a:pt x="1820" y="500"/>
                </a:lnTo>
                <a:lnTo>
                  <a:pt x="1820" y="500"/>
                </a:lnTo>
                <a:cubicBezTo>
                  <a:pt x="1851" y="517"/>
                  <a:pt x="1871" y="551"/>
                  <a:pt x="1871" y="588"/>
                </a:cubicBezTo>
                <a:lnTo>
                  <a:pt x="1871" y="1549"/>
                </a:lnTo>
                <a:lnTo>
                  <a:pt x="1871" y="1549"/>
                </a:lnTo>
                <a:cubicBezTo>
                  <a:pt x="1871" y="1586"/>
                  <a:pt x="1851" y="1620"/>
                  <a:pt x="1820" y="1637"/>
                </a:cubicBezTo>
                <a:lnTo>
                  <a:pt x="986" y="2119"/>
                </a:lnTo>
                <a:lnTo>
                  <a:pt x="986" y="2119"/>
                </a:lnTo>
                <a:cubicBezTo>
                  <a:pt x="955" y="2137"/>
                  <a:pt x="917" y="2137"/>
                  <a:pt x="885" y="2119"/>
                </a:cubicBezTo>
                <a:lnTo>
                  <a:pt x="51" y="1637"/>
                </a:lnTo>
                <a:lnTo>
                  <a:pt x="51" y="1637"/>
                </a:lnTo>
                <a:cubicBezTo>
                  <a:pt x="20" y="1620"/>
                  <a:pt x="0" y="1586"/>
                  <a:pt x="0" y="1549"/>
                </a:cubicBezTo>
                <a:lnTo>
                  <a:pt x="0" y="588"/>
                </a:lnTo>
                <a:lnTo>
                  <a:pt x="0" y="588"/>
                </a:lnTo>
                <a:cubicBezTo>
                  <a:pt x="0" y="551"/>
                  <a:pt x="20" y="517"/>
                  <a:pt x="51"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26" name="TextBox 37">
            <a:extLst>
              <a:ext uri="{FF2B5EF4-FFF2-40B4-BE49-F238E27FC236}">
                <a16:creationId xmlns:a16="http://schemas.microsoft.com/office/drawing/2014/main" xmlns="" id="{F122EBBB-BE47-44F2-BDB0-D564B59A715E}"/>
              </a:ext>
            </a:extLst>
          </p:cNvPr>
          <p:cNvSpPr txBox="1"/>
          <p:nvPr/>
        </p:nvSpPr>
        <p:spPr>
          <a:xfrm>
            <a:off x="8343310" y="4881296"/>
            <a:ext cx="872291" cy="830997"/>
          </a:xfrm>
          <a:prstGeom prst="rect">
            <a:avLst/>
          </a:prstGeom>
          <a:noFill/>
        </p:spPr>
        <p:txBody>
          <a:bodyPr wrap="none" rtlCol="0" anchor="t" anchorCtr="0">
            <a:spAutoFit/>
          </a:bodyPr>
          <a:lstStyle/>
          <a:p>
            <a:pPr algn="ctr"/>
            <a:r>
              <a:rPr lang="en-GB" sz="1600" b="1">
                <a:solidFill>
                  <a:schemeClr val="tx2"/>
                </a:solidFill>
                <a:latin typeface="+mj-lt"/>
                <a:ea typeface="League Spartan" charset="0"/>
                <a:cs typeface="Poppins" pitchFamily="2" charset="77"/>
              </a:rPr>
              <a:t>BCM</a:t>
            </a:r>
            <a:br>
              <a:rPr lang="en-GB" sz="1600" b="1">
                <a:solidFill>
                  <a:schemeClr val="tx2"/>
                </a:solidFill>
                <a:latin typeface="+mj-lt"/>
                <a:ea typeface="League Spartan" charset="0"/>
                <a:cs typeface="Poppins" pitchFamily="2" charset="77"/>
              </a:rPr>
            </a:br>
            <a:r>
              <a:rPr lang="en-GB" sz="1600" b="1">
                <a:solidFill>
                  <a:schemeClr val="tx2"/>
                </a:solidFill>
                <a:latin typeface="+mj-lt"/>
                <a:ea typeface="League Spartan" charset="0"/>
                <a:cs typeface="Poppins" pitchFamily="2" charset="77"/>
              </a:rPr>
              <a:t>formación</a:t>
            </a:r>
            <a:br>
              <a:rPr lang="en-GB" sz="1600" b="1">
                <a:solidFill>
                  <a:schemeClr val="tx2"/>
                </a:solidFill>
                <a:latin typeface="+mj-lt"/>
                <a:ea typeface="League Spartan" charset="0"/>
                <a:cs typeface="Poppins" pitchFamily="2" charset="77"/>
              </a:rPr>
            </a:br>
            <a:r>
              <a:rPr lang="en-GB" sz="1600" b="1">
                <a:solidFill>
                  <a:schemeClr val="tx2"/>
                </a:solidFill>
                <a:latin typeface="+mj-lt"/>
                <a:ea typeface="League Spartan" charset="0"/>
                <a:cs typeface="Poppins" pitchFamily="2" charset="77"/>
              </a:rPr>
              <a:t>programa</a:t>
            </a:r>
            <a:endParaRPr lang="en-GB" sz="1600" b="1" dirty="0">
              <a:solidFill>
                <a:schemeClr val="tx2"/>
              </a:solidFill>
              <a:latin typeface="+mj-lt"/>
              <a:ea typeface="League Spartan" charset="0"/>
              <a:cs typeface="Poppins" pitchFamily="2" charset="77"/>
            </a:endParaRPr>
          </a:p>
        </p:txBody>
      </p:sp>
      <p:sp>
        <p:nvSpPr>
          <p:cNvPr id="28" name="TextBox 19">
            <a:extLst>
              <a:ext uri="{FF2B5EF4-FFF2-40B4-BE49-F238E27FC236}">
                <a16:creationId xmlns:a16="http://schemas.microsoft.com/office/drawing/2014/main" xmlns="" id="{C3EB7AEC-8673-47A3-B23D-113D2232EF5D}"/>
              </a:ext>
            </a:extLst>
          </p:cNvPr>
          <p:cNvSpPr txBox="1"/>
          <p:nvPr/>
        </p:nvSpPr>
        <p:spPr>
          <a:xfrm>
            <a:off x="4966820" y="4881296"/>
            <a:ext cx="1385187" cy="830997"/>
          </a:xfrm>
          <a:prstGeom prst="rect">
            <a:avLst/>
          </a:prstGeom>
          <a:noFill/>
        </p:spPr>
        <p:txBody>
          <a:bodyPr wrap="none" rtlCol="0" anchor="t" anchorCtr="0">
            <a:spAutoFit/>
          </a:bodyPr>
          <a:lstStyle/>
          <a:p>
            <a:pPr algn="ctr"/>
            <a:r>
              <a:rPr lang="en-GB" sz="1600" b="1">
                <a:solidFill>
                  <a:schemeClr val="tx2"/>
                </a:solidFill>
                <a:latin typeface="+mj-lt"/>
                <a:ea typeface="League Spartan" charset="0"/>
                <a:cs typeface="Poppins" pitchFamily="2" charset="77"/>
              </a:rPr>
              <a:t>La cultura de BCM</a:t>
            </a:r>
            <a:br>
              <a:rPr lang="en-GB" sz="1600" b="1">
                <a:solidFill>
                  <a:schemeClr val="tx2"/>
                </a:solidFill>
                <a:latin typeface="+mj-lt"/>
                <a:ea typeface="League Spartan" charset="0"/>
                <a:cs typeface="Poppins" pitchFamily="2" charset="77"/>
              </a:rPr>
            </a:br>
            <a:r>
              <a:rPr lang="en-GB" sz="1600" b="1">
                <a:solidFill>
                  <a:schemeClr val="tx2"/>
                </a:solidFill>
                <a:latin typeface="+mj-lt"/>
                <a:ea typeface="League Spartan" charset="0"/>
                <a:cs typeface="Poppins" pitchFamily="2" charset="77"/>
              </a:rPr>
              <a:t>y concienciación</a:t>
            </a:r>
            <a:br>
              <a:rPr lang="en-GB" sz="1600" b="1">
                <a:solidFill>
                  <a:schemeClr val="tx2"/>
                </a:solidFill>
                <a:latin typeface="+mj-lt"/>
                <a:ea typeface="League Spartan" charset="0"/>
                <a:cs typeface="Poppins" pitchFamily="2" charset="77"/>
              </a:rPr>
            </a:br>
            <a:r>
              <a:rPr lang="en-GB" sz="1600" b="1">
                <a:solidFill>
                  <a:schemeClr val="tx2"/>
                </a:solidFill>
                <a:latin typeface="+mj-lt"/>
                <a:ea typeface="League Spartan" charset="0"/>
                <a:cs typeface="Poppins" pitchFamily="2" charset="77"/>
              </a:rPr>
              <a:t>programa</a:t>
            </a:r>
            <a:endParaRPr lang="en-GB" sz="1600" b="1" dirty="0">
              <a:solidFill>
                <a:schemeClr val="tx2"/>
              </a:solidFill>
              <a:latin typeface="+mj-lt"/>
              <a:ea typeface="League Spartan" charset="0"/>
              <a:cs typeface="Poppins" pitchFamily="2" charset="77"/>
            </a:endParaRPr>
          </a:p>
        </p:txBody>
      </p:sp>
      <p:sp>
        <p:nvSpPr>
          <p:cNvPr id="30" name="TextBox 43">
            <a:extLst>
              <a:ext uri="{FF2B5EF4-FFF2-40B4-BE49-F238E27FC236}">
                <a16:creationId xmlns:a16="http://schemas.microsoft.com/office/drawing/2014/main" xmlns="" id="{045778D2-140D-49F9-8CB8-190045EA7B0C}"/>
              </a:ext>
            </a:extLst>
          </p:cNvPr>
          <p:cNvSpPr txBox="1"/>
          <p:nvPr/>
        </p:nvSpPr>
        <p:spPr>
          <a:xfrm>
            <a:off x="6474590" y="2513044"/>
            <a:ext cx="1489703" cy="830997"/>
          </a:xfrm>
          <a:prstGeom prst="rect">
            <a:avLst/>
          </a:prstGeom>
          <a:noFill/>
        </p:spPr>
        <p:txBody>
          <a:bodyPr wrap="none" lIns="91440" tIns="45720" rIns="91440" bIns="45720" rtlCol="0" anchor="b" anchorCtr="0">
            <a:spAutoFit/>
          </a:bodyPr>
          <a:lstStyle/>
          <a:p>
            <a:pPr algn="ctr"/>
            <a:r>
              <a:rPr lang="en-GB" sz="1600" b="1" dirty="0">
                <a:solidFill>
                  <a:schemeClr val="tx2"/>
                </a:solidFill>
                <a:latin typeface="+mj-lt"/>
                <a:ea typeface="League Spartan" charset="0"/>
                <a:cs typeface="Poppins" pitchFamily="2" charset="77"/>
              </a:rPr>
              <a:t>Educación y </a:t>
            </a:r>
            <a:r>
              <a:rPr lang="en-GB" sz="1600" b="1" dirty="0">
                <a:latin typeface="+mj-lt"/>
                <a:ea typeface="League Spartan" charset="0"/>
                <a:cs typeface="Poppins" pitchFamily="2" charset="77"/>
              </a:rPr>
              <a:t/>
            </a:r>
            <a:br>
              <a:rPr lang="en-GB" sz="1600" b="1" dirty="0">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construcción de la cultura </a:t>
            </a:r>
            <a:r>
              <a:rPr lang="en-GB" sz="1600" b="1" dirty="0">
                <a:latin typeface="+mj-lt"/>
                <a:ea typeface="League Spartan" charset="0"/>
                <a:cs typeface="Poppins" pitchFamily="2" charset="77"/>
              </a:rPr>
              <a:t/>
            </a:r>
            <a:br>
              <a:rPr lang="en-GB" sz="1600" b="1" dirty="0">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actividades</a:t>
            </a:r>
          </a:p>
        </p:txBody>
      </p:sp>
      <p:sp>
        <p:nvSpPr>
          <p:cNvPr id="31" name="TextBox 48">
            <a:extLst>
              <a:ext uri="{FF2B5EF4-FFF2-40B4-BE49-F238E27FC236}">
                <a16:creationId xmlns:a16="http://schemas.microsoft.com/office/drawing/2014/main" xmlns="" id="{D9CE3E7D-97C1-434F-A676-6D8A6A436A90}"/>
              </a:ext>
            </a:extLst>
          </p:cNvPr>
          <p:cNvSpPr txBox="1"/>
          <p:nvPr/>
        </p:nvSpPr>
        <p:spPr>
          <a:xfrm>
            <a:off x="5457265" y="3861939"/>
            <a:ext cx="404278" cy="611834"/>
          </a:xfrm>
          <a:prstGeom prst="rect">
            <a:avLst/>
          </a:prstGeom>
          <a:noFill/>
        </p:spPr>
        <p:txBody>
          <a:bodyPr wrap="none" rtlCol="0" anchor="ctr">
            <a:spAutoFit/>
          </a:bodyPr>
          <a:lstStyle/>
          <a:p>
            <a:pPr algn="ctr"/>
            <a:r>
              <a:rPr lang="en-GB" sz="3376" b="1">
                <a:solidFill>
                  <a:schemeClr val="accent1"/>
                </a:solidFill>
                <a:latin typeface="+mj-lt"/>
                <a:cs typeface="Poppins" pitchFamily="2" charset="77"/>
              </a:rPr>
              <a:t>1</a:t>
            </a:r>
            <a:endParaRPr lang="en-GB" sz="3376" b="1" dirty="0">
              <a:solidFill>
                <a:schemeClr val="accent1"/>
              </a:solidFill>
              <a:latin typeface="+mj-lt"/>
              <a:cs typeface="Poppins" pitchFamily="2" charset="77"/>
            </a:endParaRPr>
          </a:p>
        </p:txBody>
      </p:sp>
      <p:sp>
        <p:nvSpPr>
          <p:cNvPr id="32" name="TextBox 49">
            <a:extLst>
              <a:ext uri="{FF2B5EF4-FFF2-40B4-BE49-F238E27FC236}">
                <a16:creationId xmlns:a16="http://schemas.microsoft.com/office/drawing/2014/main" xmlns="" id="{B1EA253C-EEF4-4941-9456-E959421FF7BC}"/>
              </a:ext>
            </a:extLst>
          </p:cNvPr>
          <p:cNvSpPr txBox="1"/>
          <p:nvPr/>
        </p:nvSpPr>
        <p:spPr>
          <a:xfrm>
            <a:off x="7017286" y="3861939"/>
            <a:ext cx="404278" cy="611834"/>
          </a:xfrm>
          <a:prstGeom prst="rect">
            <a:avLst/>
          </a:prstGeom>
          <a:noFill/>
        </p:spPr>
        <p:txBody>
          <a:bodyPr wrap="none" rtlCol="0" anchor="ctr">
            <a:spAutoFit/>
          </a:bodyPr>
          <a:lstStyle/>
          <a:p>
            <a:pPr algn="ctr"/>
            <a:r>
              <a:rPr lang="en-GB" sz="3376" b="1">
                <a:solidFill>
                  <a:schemeClr val="accent2"/>
                </a:solidFill>
                <a:latin typeface="+mj-lt"/>
                <a:cs typeface="Poppins" pitchFamily="2" charset="77"/>
              </a:rPr>
              <a:t>2</a:t>
            </a:r>
            <a:endParaRPr lang="en-GB" sz="3376" b="1" dirty="0">
              <a:solidFill>
                <a:schemeClr val="accent2"/>
              </a:solidFill>
              <a:latin typeface="+mj-lt"/>
              <a:cs typeface="Poppins" pitchFamily="2" charset="77"/>
            </a:endParaRPr>
          </a:p>
        </p:txBody>
      </p:sp>
      <p:sp>
        <p:nvSpPr>
          <p:cNvPr id="33" name="TextBox 50">
            <a:extLst>
              <a:ext uri="{FF2B5EF4-FFF2-40B4-BE49-F238E27FC236}">
                <a16:creationId xmlns:a16="http://schemas.microsoft.com/office/drawing/2014/main" xmlns="" id="{8FEE6A9F-C610-4C96-9051-718A698EA8FA}"/>
              </a:ext>
            </a:extLst>
          </p:cNvPr>
          <p:cNvSpPr txBox="1"/>
          <p:nvPr/>
        </p:nvSpPr>
        <p:spPr>
          <a:xfrm>
            <a:off x="8577306" y="3861939"/>
            <a:ext cx="404278" cy="611834"/>
          </a:xfrm>
          <a:prstGeom prst="rect">
            <a:avLst/>
          </a:prstGeom>
          <a:noFill/>
        </p:spPr>
        <p:txBody>
          <a:bodyPr wrap="none" rtlCol="0" anchor="ctr">
            <a:spAutoFit/>
          </a:bodyPr>
          <a:lstStyle/>
          <a:p>
            <a:pPr algn="ctr"/>
            <a:r>
              <a:rPr lang="en-GB" sz="3376" b="1">
                <a:solidFill>
                  <a:schemeClr val="accent3"/>
                </a:solidFill>
                <a:latin typeface="+mj-lt"/>
                <a:cs typeface="Poppins" pitchFamily="2" charset="77"/>
              </a:rPr>
              <a:t>3</a:t>
            </a:r>
            <a:endParaRPr lang="en-GB" sz="3376" b="1" dirty="0">
              <a:solidFill>
                <a:schemeClr val="accent3"/>
              </a:solidFill>
              <a:latin typeface="+mj-lt"/>
              <a:cs typeface="Poppins" pitchFamily="2" charset="77"/>
            </a:endParaRPr>
          </a:p>
        </p:txBody>
      </p:sp>
      <p:sp>
        <p:nvSpPr>
          <p:cNvPr id="34" name="Gleichschenkliges Dreieck 33">
            <a:extLst>
              <a:ext uri="{FF2B5EF4-FFF2-40B4-BE49-F238E27FC236}">
                <a16:creationId xmlns:a16="http://schemas.microsoft.com/office/drawing/2014/main" xmlns="" id="{DB826488-6585-4BA3-BBCE-202A1FFF150F}"/>
              </a:ext>
            </a:extLst>
          </p:cNvPr>
          <p:cNvSpPr/>
          <p:nvPr/>
        </p:nvSpPr>
        <p:spPr>
          <a:xfrm rot="5400000">
            <a:off x="6164876" y="4097738"/>
            <a:ext cx="547902" cy="160824"/>
          </a:xfrm>
          <a:prstGeom prst="triangle">
            <a:avLst/>
          </a:prstGeom>
          <a:solidFill>
            <a:srgbClr val="E94EA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Gleichschenkliges Dreieck 34">
            <a:extLst>
              <a:ext uri="{FF2B5EF4-FFF2-40B4-BE49-F238E27FC236}">
                <a16:creationId xmlns:a16="http://schemas.microsoft.com/office/drawing/2014/main" xmlns="" id="{ED58E4BC-4409-4B4B-8B9C-3ADF5D94B693}"/>
              </a:ext>
            </a:extLst>
          </p:cNvPr>
          <p:cNvSpPr/>
          <p:nvPr/>
        </p:nvSpPr>
        <p:spPr>
          <a:xfrm rot="5400000">
            <a:off x="7704881" y="4087444"/>
            <a:ext cx="547902" cy="160824"/>
          </a:xfrm>
          <a:prstGeom prst="triangle">
            <a:avLst/>
          </a:prstGeom>
          <a:solidFill>
            <a:srgbClr val="E94EA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8051776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2169910" y="251240"/>
            <a:ext cx="8852375" cy="697353"/>
          </a:xfrm>
        </p:spPr>
        <p:txBody>
          <a:bodyPr>
            <a:normAutofit/>
          </a:bodyPr>
          <a:lstStyle/>
          <a:p>
            <a:r>
              <a:rPr lang="en-GB" dirty="0"/>
              <a:t>El ciclo de gestión de la continuidad de las actividade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56087" y="1829447"/>
            <a:ext cx="4459711" cy="3929584"/>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solidFill>
                  <a:srgbClr val="245473"/>
                </a:solidFill>
                <a:latin typeface="+mj-lt"/>
              </a:rPr>
              <a:t>Para estar preparados, hay que formar al personal y actualizar periódicamente los planes y sistemas:</a:t>
            </a:r>
            <a:endParaRPr lang="en-US" dirty="0">
              <a:solidFill>
                <a:srgbClr val="245473"/>
              </a:solidFill>
            </a:endParaRPr>
          </a:p>
          <a:p>
            <a:pPr marL="285750" indent="-285750" algn="l">
              <a:lnSpc>
                <a:spcPct val="100000"/>
              </a:lnSpc>
              <a:spcBef>
                <a:spcPts val="600"/>
              </a:spcBef>
              <a:buFont typeface="Wingdings" panose="05000000000000000000" pitchFamily="2" charset="2"/>
              <a:buChar char="à"/>
            </a:pPr>
            <a:r>
              <a:rPr lang="en-GB" altLang="de-DE" sz="2200" dirty="0">
                <a:solidFill>
                  <a:srgbClr val="245473"/>
                </a:solidFill>
                <a:latin typeface="+mj-lt"/>
                <a:sym typeface="Wingdings" panose="05000000000000000000" pitchFamily="2" charset="2"/>
              </a:rPr>
              <a:t>Ejercicio de los planes de BCM</a:t>
            </a:r>
            <a:endParaRPr lang="en-GB" altLang="de-DE" sz="2200" dirty="0">
              <a:solidFill>
                <a:srgbClr val="245473"/>
              </a:solidFill>
              <a:latin typeface="+mj-lt"/>
            </a:endParaRPr>
          </a:p>
          <a:p>
            <a:pPr marL="285750" indent="-285750" algn="l">
              <a:lnSpc>
                <a:spcPct val="100000"/>
              </a:lnSpc>
              <a:spcBef>
                <a:spcPts val="600"/>
              </a:spcBef>
              <a:buFont typeface="Wingdings" panose="05000000000000000000" pitchFamily="2" charset="2"/>
              <a:buChar char="à"/>
            </a:pPr>
            <a:r>
              <a:rPr lang="en-GB" altLang="de-DE" sz="2200" dirty="0">
                <a:solidFill>
                  <a:srgbClr val="245473"/>
                </a:solidFill>
                <a:latin typeface="+mj-lt"/>
                <a:sym typeface="Wingdings" panose="05000000000000000000" pitchFamily="2" charset="2"/>
              </a:rPr>
              <a:t>Ensayo del personal, equipos de BCM</a:t>
            </a:r>
            <a:endParaRPr lang="en-GB" altLang="de-DE" sz="2200" dirty="0">
              <a:solidFill>
                <a:srgbClr val="245473"/>
              </a:solidFill>
              <a:latin typeface="+mj-lt"/>
            </a:endParaRPr>
          </a:p>
          <a:p>
            <a:pPr marL="285750" indent="-285750" algn="l">
              <a:lnSpc>
                <a:spcPct val="100000"/>
              </a:lnSpc>
              <a:spcBef>
                <a:spcPts val="600"/>
              </a:spcBef>
              <a:buFont typeface="Wingdings" panose="05000000000000000000" pitchFamily="2" charset="2"/>
              <a:buChar char="à"/>
            </a:pPr>
            <a:r>
              <a:rPr lang="en-GB" altLang="de-DE" sz="2200" dirty="0">
                <a:solidFill>
                  <a:srgbClr val="245473"/>
                </a:solidFill>
                <a:latin typeface="+mj-lt"/>
                <a:sym typeface="Wingdings" panose="05000000000000000000" pitchFamily="2" charset="2"/>
              </a:rPr>
              <a:t>Pruebas de tecnología y sistemas de gestión de crisis</a:t>
            </a:r>
            <a:endParaRPr lang="en-GB" altLang="de-DE" sz="2200" dirty="0">
              <a:solidFill>
                <a:srgbClr val="245473"/>
              </a:solidFill>
              <a:latin typeface="+mj-lt"/>
            </a:endParaRPr>
          </a:p>
          <a:p>
            <a:pPr marL="285750" indent="-285750" algn="l">
              <a:lnSpc>
                <a:spcPct val="100000"/>
              </a:lnSpc>
              <a:spcBef>
                <a:spcPts val="600"/>
              </a:spcBef>
              <a:buFont typeface="Wingdings" panose="05000000000000000000" pitchFamily="2" charset="2"/>
              <a:buChar char="à"/>
            </a:pPr>
            <a:r>
              <a:rPr lang="en-GB" altLang="de-DE" sz="2200" dirty="0">
                <a:solidFill>
                  <a:srgbClr val="245473"/>
                </a:solidFill>
                <a:latin typeface="+mj-lt"/>
                <a:sym typeface="Wingdings" panose="05000000000000000000" pitchFamily="2" charset="2"/>
              </a:rPr>
              <a:t>Mantenimiento de la BCM</a:t>
            </a:r>
            <a:endParaRPr lang="en-GB" altLang="de-DE" sz="2200" dirty="0">
              <a:solidFill>
                <a:srgbClr val="245473"/>
              </a:solidFill>
              <a:latin typeface="+mj-lt"/>
            </a:endParaRPr>
          </a:p>
          <a:p>
            <a:pPr marL="285750" indent="-285750" algn="l">
              <a:lnSpc>
                <a:spcPct val="100000"/>
              </a:lnSpc>
              <a:spcBef>
                <a:spcPts val="600"/>
              </a:spcBef>
              <a:buFont typeface="Wingdings" panose="05000000000000000000" pitchFamily="2" charset="2"/>
              <a:buChar char="à"/>
            </a:pPr>
            <a:r>
              <a:rPr lang="en-GB" altLang="de-DE" sz="2200" dirty="0">
                <a:solidFill>
                  <a:srgbClr val="245473"/>
                </a:solidFill>
                <a:latin typeface="+mj-lt"/>
                <a:sym typeface="Wingdings" panose="05000000000000000000" pitchFamily="2" charset="2"/>
              </a:rPr>
              <a:t>Auditoría BCM</a:t>
            </a:r>
            <a:endParaRPr lang="en-GB" altLang="de-DE" sz="2200" dirty="0">
              <a:solidFill>
                <a:srgbClr val="245473"/>
              </a:solidFill>
              <a:latin typeface="+mj-lt"/>
            </a:endParaRPr>
          </a:p>
          <a:p>
            <a:pPr algn="l">
              <a:lnSpc>
                <a:spcPct val="100000"/>
              </a:lnSpc>
              <a:spcBef>
                <a:spcPts val="600"/>
              </a:spcBef>
            </a:pPr>
            <a:endParaRPr lang="en-GB" altLang="de-DE" sz="2200" dirty="0">
              <a:latin typeface="+mj-lt"/>
            </a:endParaRPr>
          </a:p>
        </p:txBody>
      </p:sp>
      <p:grpSp>
        <p:nvGrpSpPr>
          <p:cNvPr id="7" name="Gruppieren 6">
            <a:extLst>
              <a:ext uri="{FF2B5EF4-FFF2-40B4-BE49-F238E27FC236}">
                <a16:creationId xmlns:a16="http://schemas.microsoft.com/office/drawing/2014/main" xmlns="" id="{6BAA9461-0926-4338-9034-AFB36BD5DDE1}"/>
              </a:ext>
            </a:extLst>
          </p:cNvPr>
          <p:cNvGrpSpPr>
            <a:grpSpLocks noChangeAspect="1"/>
          </p:cNvGrpSpPr>
          <p:nvPr/>
        </p:nvGrpSpPr>
        <p:grpSpPr>
          <a:xfrm>
            <a:off x="433020" y="5265865"/>
            <a:ext cx="1457345" cy="1425468"/>
            <a:chOff x="5137203" y="1881035"/>
            <a:chExt cx="4269388" cy="4176000"/>
          </a:xfrm>
        </p:grpSpPr>
        <p:grpSp>
          <p:nvGrpSpPr>
            <p:cNvPr id="24" name="Gruppieren 23">
              <a:extLst>
                <a:ext uri="{FF2B5EF4-FFF2-40B4-BE49-F238E27FC236}">
                  <a16:creationId xmlns:a16="http://schemas.microsoft.com/office/drawing/2014/main" xmlns="" id="{272239DA-1B06-425C-A5B2-EC9059DF8DDC}"/>
                </a:ext>
              </a:extLst>
            </p:cNvPr>
            <p:cNvGrpSpPr>
              <a:grpSpLocks noChangeAspect="1"/>
            </p:cNvGrpSpPr>
            <p:nvPr/>
          </p:nvGrpSpPr>
          <p:grpSpPr>
            <a:xfrm>
              <a:off x="5230592" y="1881035"/>
              <a:ext cx="4175999" cy="4176000"/>
              <a:chOff x="5230592" y="1881035"/>
              <a:chExt cx="4175999" cy="4176000"/>
            </a:xfrm>
          </p:grpSpPr>
          <p:sp>
            <p:nvSpPr>
              <p:cNvPr id="305" name="Freeform 48">
                <a:extLst>
                  <a:ext uri="{FF2B5EF4-FFF2-40B4-BE49-F238E27FC236}">
                    <a16:creationId xmlns:a16="http://schemas.microsoft.com/office/drawing/2014/main" xmlns="" id="{8E41C000-1DB8-4A00-8679-35E2EAD75C91}"/>
                  </a:ext>
                </a:extLst>
              </p:cNvPr>
              <p:cNvSpPr/>
              <p:nvPr/>
            </p:nvSpPr>
            <p:spPr>
              <a:xfrm>
                <a:off x="6412947" y="1881035"/>
                <a:ext cx="1814615" cy="1603190"/>
              </a:xfrm>
              <a:custGeom>
                <a:avLst/>
                <a:gdLst>
                  <a:gd name="connsiteX0" fmla="*/ 2167432 w 4342825"/>
                  <a:gd name="connsiteY0" fmla="*/ 0 h 3836832"/>
                  <a:gd name="connsiteX1" fmla="*/ 4342825 w 4342825"/>
                  <a:gd name="connsiteY1" fmla="*/ 2179445 h 3836832"/>
                  <a:gd name="connsiteX2" fmla="*/ 3196076 w 4342825"/>
                  <a:gd name="connsiteY2" fmla="*/ 3836832 h 3836832"/>
                  <a:gd name="connsiteX3" fmla="*/ 3130926 w 4342825"/>
                  <a:gd name="connsiteY3" fmla="*/ 3797252 h 3836832"/>
                  <a:gd name="connsiteX4" fmla="*/ 2167432 w 4342825"/>
                  <a:gd name="connsiteY4" fmla="*/ 3553287 h 3836832"/>
                  <a:gd name="connsiteX5" fmla="*/ 1203938 w 4342825"/>
                  <a:gd name="connsiteY5" fmla="*/ 3797252 h 3836832"/>
                  <a:gd name="connsiteX6" fmla="*/ 1143466 w 4342825"/>
                  <a:gd name="connsiteY6" fmla="*/ 3833990 h 3836832"/>
                  <a:gd name="connsiteX7" fmla="*/ 0 w 4342825"/>
                  <a:gd name="connsiteY7" fmla="*/ 2171469 h 3836832"/>
                  <a:gd name="connsiteX8" fmla="*/ 2167432 w 4342825"/>
                  <a:gd name="connsiteY8" fmla="*/ 0 h 383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42825" h="3836832">
                    <a:moveTo>
                      <a:pt x="2167432" y="0"/>
                    </a:moveTo>
                    <a:lnTo>
                      <a:pt x="4342825" y="2179445"/>
                    </a:lnTo>
                    <a:lnTo>
                      <a:pt x="3196076" y="3836832"/>
                    </a:lnTo>
                    <a:lnTo>
                      <a:pt x="3130926" y="3797252"/>
                    </a:lnTo>
                    <a:cubicBezTo>
                      <a:pt x="2844515" y="3641665"/>
                      <a:pt x="2516294" y="3553287"/>
                      <a:pt x="2167432" y="3553287"/>
                    </a:cubicBezTo>
                    <a:cubicBezTo>
                      <a:pt x="1818570" y="3553287"/>
                      <a:pt x="1490349" y="3641665"/>
                      <a:pt x="1203938" y="3797252"/>
                    </a:cubicBezTo>
                    <a:lnTo>
                      <a:pt x="1143466" y="3833990"/>
                    </a:lnTo>
                    <a:lnTo>
                      <a:pt x="0" y="2171469"/>
                    </a:lnTo>
                    <a:lnTo>
                      <a:pt x="2167432" y="0"/>
                    </a:lnTo>
                    <a:close/>
                  </a:path>
                </a:pathLst>
              </a:cu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08" name="Freeform 45">
                <a:extLst>
                  <a:ext uri="{FF2B5EF4-FFF2-40B4-BE49-F238E27FC236}">
                    <a16:creationId xmlns:a16="http://schemas.microsoft.com/office/drawing/2014/main" xmlns="" id="{64FE2D3D-2C89-4277-BA06-2C7443A0397E}"/>
                  </a:ext>
                </a:extLst>
              </p:cNvPr>
              <p:cNvSpPr/>
              <p:nvPr/>
            </p:nvSpPr>
            <p:spPr>
              <a:xfrm>
                <a:off x="5230592" y="2843454"/>
                <a:ext cx="1586881" cy="1816774"/>
              </a:xfrm>
              <a:custGeom>
                <a:avLst/>
                <a:gdLst>
                  <a:gd name="connsiteX0" fmla="*/ 2665085 w 3797804"/>
                  <a:gd name="connsiteY0" fmla="*/ 0 h 4347993"/>
                  <a:gd name="connsiteX1" fmla="*/ 3797804 w 3797804"/>
                  <a:gd name="connsiteY1" fmla="*/ 1646897 h 4347993"/>
                  <a:gd name="connsiteX2" fmla="*/ 3711341 w 3797804"/>
                  <a:gd name="connsiteY2" fmla="*/ 1711553 h 4347993"/>
                  <a:gd name="connsiteX3" fmla="*/ 2975759 w 3797804"/>
                  <a:gd name="connsiteY3" fmla="*/ 3271321 h 4347993"/>
                  <a:gd name="connsiteX4" fmla="*/ 3016826 w 3797804"/>
                  <a:gd name="connsiteY4" fmla="*/ 3678693 h 4347993"/>
                  <a:gd name="connsiteX5" fmla="*/ 3037068 w 3797804"/>
                  <a:gd name="connsiteY5" fmla="*/ 3757418 h 4347993"/>
                  <a:gd name="connsiteX6" fmla="*/ 1292243 w 3797804"/>
                  <a:gd name="connsiteY6" fmla="*/ 4347993 h 4347993"/>
                  <a:gd name="connsiteX7" fmla="*/ 0 w 3797804"/>
                  <a:gd name="connsiteY7" fmla="*/ 1514136 h 4347993"/>
                  <a:gd name="connsiteX8" fmla="*/ 2665085 w 3797804"/>
                  <a:gd name="connsiteY8" fmla="*/ 0 h 4347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7804" h="4347993">
                    <a:moveTo>
                      <a:pt x="2665085" y="0"/>
                    </a:moveTo>
                    <a:lnTo>
                      <a:pt x="3797804" y="1646897"/>
                    </a:lnTo>
                    <a:lnTo>
                      <a:pt x="3711341" y="1711553"/>
                    </a:lnTo>
                    <a:cubicBezTo>
                      <a:pt x="3262103" y="2082298"/>
                      <a:pt x="2975759" y="2643370"/>
                      <a:pt x="2975759" y="3271321"/>
                    </a:cubicBezTo>
                    <a:cubicBezTo>
                      <a:pt x="2975759" y="3410866"/>
                      <a:pt x="2989899" y="3547108"/>
                      <a:pt x="3016826" y="3678693"/>
                    </a:cubicBezTo>
                    <a:lnTo>
                      <a:pt x="3037068" y="3757418"/>
                    </a:lnTo>
                    <a:lnTo>
                      <a:pt x="1292243" y="4347993"/>
                    </a:lnTo>
                    <a:lnTo>
                      <a:pt x="0" y="1514136"/>
                    </a:lnTo>
                    <a:lnTo>
                      <a:pt x="2665085"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09" name="Freeform 44">
                <a:extLst>
                  <a:ext uri="{FF2B5EF4-FFF2-40B4-BE49-F238E27FC236}">
                    <a16:creationId xmlns:a16="http://schemas.microsoft.com/office/drawing/2014/main" xmlns="" id="{A06290DB-875E-435C-A978-748606C01266}"/>
                  </a:ext>
                </a:extLst>
              </p:cNvPr>
              <p:cNvSpPr/>
              <p:nvPr/>
            </p:nvSpPr>
            <p:spPr>
              <a:xfrm>
                <a:off x="7821542" y="2845743"/>
                <a:ext cx="1585049" cy="1814282"/>
              </a:xfrm>
              <a:custGeom>
                <a:avLst/>
                <a:gdLst>
                  <a:gd name="connsiteX0" fmla="*/ 1137971 w 3793416"/>
                  <a:gd name="connsiteY0" fmla="*/ 0 h 4342028"/>
                  <a:gd name="connsiteX1" fmla="*/ 3793416 w 3793416"/>
                  <a:gd name="connsiteY1" fmla="*/ 1508659 h 4342028"/>
                  <a:gd name="connsiteX2" fmla="*/ 2501395 w 3793416"/>
                  <a:gd name="connsiteY2" fmla="*/ 4342028 h 4342028"/>
                  <a:gd name="connsiteX3" fmla="*/ 756418 w 3793416"/>
                  <a:gd name="connsiteY3" fmla="*/ 3751669 h 4342028"/>
                  <a:gd name="connsiteX4" fmla="*/ 776590 w 3793416"/>
                  <a:gd name="connsiteY4" fmla="*/ 3673216 h 4342028"/>
                  <a:gd name="connsiteX5" fmla="*/ 817657 w 3793416"/>
                  <a:gd name="connsiteY5" fmla="*/ 3265844 h 4342028"/>
                  <a:gd name="connsiteX6" fmla="*/ 82075 w 3793416"/>
                  <a:gd name="connsiteY6" fmla="*/ 1706076 h 4342028"/>
                  <a:gd name="connsiteX7" fmla="*/ 0 w 3793416"/>
                  <a:gd name="connsiteY7" fmla="*/ 1644701 h 4342028"/>
                  <a:gd name="connsiteX8" fmla="*/ 1137971 w 3793416"/>
                  <a:gd name="connsiteY8" fmla="*/ 0 h 434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3416" h="4342028">
                    <a:moveTo>
                      <a:pt x="1137971" y="0"/>
                    </a:moveTo>
                    <a:lnTo>
                      <a:pt x="3793416" y="1508659"/>
                    </a:lnTo>
                    <a:lnTo>
                      <a:pt x="2501395" y="4342028"/>
                    </a:lnTo>
                    <a:lnTo>
                      <a:pt x="756418" y="3751669"/>
                    </a:lnTo>
                    <a:lnTo>
                      <a:pt x="776590" y="3673216"/>
                    </a:lnTo>
                    <a:cubicBezTo>
                      <a:pt x="803517" y="3541631"/>
                      <a:pt x="817657" y="3405389"/>
                      <a:pt x="817657" y="3265844"/>
                    </a:cubicBezTo>
                    <a:cubicBezTo>
                      <a:pt x="817657" y="2637893"/>
                      <a:pt x="531313" y="2076821"/>
                      <a:pt x="82075" y="1706076"/>
                    </a:cubicBezTo>
                    <a:lnTo>
                      <a:pt x="0" y="1644701"/>
                    </a:lnTo>
                    <a:lnTo>
                      <a:pt x="1137971" y="0"/>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0" name="Freeform 42">
                <a:extLst>
                  <a:ext uri="{FF2B5EF4-FFF2-40B4-BE49-F238E27FC236}">
                    <a16:creationId xmlns:a16="http://schemas.microsoft.com/office/drawing/2014/main" xmlns="" id="{284198C2-8F5D-46D6-BAA7-CA5105A2527A}"/>
                  </a:ext>
                </a:extLst>
              </p:cNvPr>
              <p:cNvSpPr/>
              <p:nvPr/>
            </p:nvSpPr>
            <p:spPr>
              <a:xfrm>
                <a:off x="7362530" y="4497487"/>
                <a:ext cx="1475499" cy="1559547"/>
              </a:xfrm>
              <a:custGeom>
                <a:avLst/>
                <a:gdLst>
                  <a:gd name="connsiteX0" fmla="*/ 1793799 w 3531238"/>
                  <a:gd name="connsiteY0" fmla="*/ 0 h 3732384"/>
                  <a:gd name="connsiteX1" fmla="*/ 3531238 w 3531238"/>
                  <a:gd name="connsiteY1" fmla="*/ 587808 h 3732384"/>
                  <a:gd name="connsiteX2" fmla="*/ 2983224 w 3531238"/>
                  <a:gd name="connsiteY2" fmla="*/ 3732384 h 3732384"/>
                  <a:gd name="connsiteX3" fmla="*/ 0 w 3531238"/>
                  <a:gd name="connsiteY3" fmla="*/ 3312947 h 3732384"/>
                  <a:gd name="connsiteX4" fmla="*/ 0 w 3531238"/>
                  <a:gd name="connsiteY4" fmla="*/ 1328844 h 3732384"/>
                  <a:gd name="connsiteX5" fmla="*/ 101514 w 3531238"/>
                  <a:gd name="connsiteY5" fmla="*/ 1323718 h 3732384"/>
                  <a:gd name="connsiteX6" fmla="*/ 1757342 w 3531238"/>
                  <a:gd name="connsiteY6" fmla="*/ 99608 h 3732384"/>
                  <a:gd name="connsiteX7" fmla="*/ 1793799 w 3531238"/>
                  <a:gd name="connsiteY7" fmla="*/ 0 h 373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238" h="3732384">
                    <a:moveTo>
                      <a:pt x="1793799" y="0"/>
                    </a:moveTo>
                    <a:lnTo>
                      <a:pt x="3531238" y="587808"/>
                    </a:lnTo>
                    <a:lnTo>
                      <a:pt x="2983224" y="3732384"/>
                    </a:lnTo>
                    <a:lnTo>
                      <a:pt x="0" y="3312947"/>
                    </a:lnTo>
                    <a:lnTo>
                      <a:pt x="0" y="1328844"/>
                    </a:lnTo>
                    <a:lnTo>
                      <a:pt x="101514" y="1323718"/>
                    </a:lnTo>
                    <a:cubicBezTo>
                      <a:pt x="848983" y="1247808"/>
                      <a:pt x="1476056" y="764641"/>
                      <a:pt x="1757342" y="99608"/>
                    </a:cubicBezTo>
                    <a:lnTo>
                      <a:pt x="1793799" y="0"/>
                    </a:lnTo>
                    <a:close/>
                  </a:path>
                </a:pathLst>
              </a:custGeom>
              <a:solidFill>
                <a:schemeClr val="accent5">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1" name="Freeform 41">
                <a:extLst>
                  <a:ext uri="{FF2B5EF4-FFF2-40B4-BE49-F238E27FC236}">
                    <a16:creationId xmlns:a16="http://schemas.microsoft.com/office/drawing/2014/main" xmlns="" id="{5A2FBDAA-AB2E-4318-B3E6-2D62021619C3}"/>
                  </a:ext>
                </a:extLst>
              </p:cNvPr>
              <p:cNvSpPr/>
              <p:nvPr/>
            </p:nvSpPr>
            <p:spPr>
              <a:xfrm>
                <a:off x="5799193" y="4497599"/>
                <a:ext cx="1475461" cy="1559436"/>
              </a:xfrm>
              <a:custGeom>
                <a:avLst/>
                <a:gdLst>
                  <a:gd name="connsiteX0" fmla="*/ 1737443 w 3531147"/>
                  <a:gd name="connsiteY0" fmla="*/ 0 h 3732119"/>
                  <a:gd name="connsiteX1" fmla="*/ 1773803 w 3531147"/>
                  <a:gd name="connsiteY1" fmla="*/ 99343 h 3732119"/>
                  <a:gd name="connsiteX2" fmla="*/ 3429631 w 3531147"/>
                  <a:gd name="connsiteY2" fmla="*/ 1323453 h 3732119"/>
                  <a:gd name="connsiteX3" fmla="*/ 3531147 w 3531147"/>
                  <a:gd name="connsiteY3" fmla="*/ 1328579 h 3732119"/>
                  <a:gd name="connsiteX4" fmla="*/ 3531147 w 3531147"/>
                  <a:gd name="connsiteY4" fmla="*/ 3312682 h 3732119"/>
                  <a:gd name="connsiteX5" fmla="*/ 547921 w 3531147"/>
                  <a:gd name="connsiteY5" fmla="*/ 3732119 h 3732119"/>
                  <a:gd name="connsiteX6" fmla="*/ 0 w 3531147"/>
                  <a:gd name="connsiteY6" fmla="*/ 588077 h 3732119"/>
                  <a:gd name="connsiteX7" fmla="*/ 1737443 w 3531147"/>
                  <a:gd name="connsiteY7" fmla="*/ 0 h 373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147" h="3732119">
                    <a:moveTo>
                      <a:pt x="1737443" y="0"/>
                    </a:moveTo>
                    <a:lnTo>
                      <a:pt x="1773803" y="99343"/>
                    </a:lnTo>
                    <a:cubicBezTo>
                      <a:pt x="2055089" y="764376"/>
                      <a:pt x="2682162" y="1247543"/>
                      <a:pt x="3429631" y="1323453"/>
                    </a:cubicBezTo>
                    <a:lnTo>
                      <a:pt x="3531147" y="1328579"/>
                    </a:lnTo>
                    <a:lnTo>
                      <a:pt x="3531147" y="3312682"/>
                    </a:lnTo>
                    <a:lnTo>
                      <a:pt x="547921" y="3732119"/>
                    </a:lnTo>
                    <a:lnTo>
                      <a:pt x="0" y="588077"/>
                    </a:lnTo>
                    <a:lnTo>
                      <a:pt x="1737443" y="0"/>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grpSp>
        <p:sp>
          <p:nvSpPr>
            <p:cNvPr id="22" name="Ellipse 21">
              <a:extLst>
                <a:ext uri="{FF2B5EF4-FFF2-40B4-BE49-F238E27FC236}">
                  <a16:creationId xmlns:a16="http://schemas.microsoft.com/office/drawing/2014/main" xmlns="" id="{DF4A991F-96D6-4A69-9300-C89426EC4D70}"/>
                </a:ext>
              </a:extLst>
            </p:cNvPr>
            <p:cNvSpPr/>
            <p:nvPr/>
          </p:nvSpPr>
          <p:spPr>
            <a:xfrm>
              <a:off x="5137203" y="3304223"/>
              <a:ext cx="360000" cy="35999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t>5 </a:t>
              </a:r>
              <a:endParaRPr lang="en-GB" sz="1200" dirty="0"/>
            </a:p>
          </p:txBody>
        </p:sp>
      </p:grpSp>
      <p:sp>
        <p:nvSpPr>
          <p:cNvPr id="41" name="Textplatzhalter 1">
            <a:extLst>
              <a:ext uri="{FF2B5EF4-FFF2-40B4-BE49-F238E27FC236}">
                <a16:creationId xmlns:a16="http://schemas.microsoft.com/office/drawing/2014/main" xmlns="" id="{7A1600A2-C58E-42AD-B86F-5A4EF6A570AB}"/>
              </a:ext>
            </a:extLst>
          </p:cNvPr>
          <p:cNvSpPr txBox="1">
            <a:spLocks/>
          </p:cNvSpPr>
          <p:nvPr/>
        </p:nvSpPr>
        <p:spPr>
          <a:xfrm>
            <a:off x="4046714" y="937624"/>
            <a:ext cx="8852375" cy="33078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a:buNone/>
              <a:defRPr sz="3600" kern="1200">
                <a:solidFill>
                  <a:srgbClr val="245473"/>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GB" sz="2400" dirty="0">
                <a:solidFill>
                  <a:srgbClr val="E53292"/>
                </a:solidFill>
              </a:rPr>
              <a:t>Etapa 5: Ejercicio, mantenimiento y auditoría</a:t>
            </a:r>
          </a:p>
        </p:txBody>
      </p:sp>
      <p:sp>
        <p:nvSpPr>
          <p:cNvPr id="17" name="Freeform 2">
            <a:extLst>
              <a:ext uri="{FF2B5EF4-FFF2-40B4-BE49-F238E27FC236}">
                <a16:creationId xmlns:a16="http://schemas.microsoft.com/office/drawing/2014/main" xmlns="" id="{3D995078-5C3A-434C-8044-59452370E8E7}"/>
              </a:ext>
            </a:extLst>
          </p:cNvPr>
          <p:cNvSpPr>
            <a:spLocks noChangeArrowheads="1"/>
          </p:cNvSpPr>
          <p:nvPr/>
        </p:nvSpPr>
        <p:spPr bwMode="auto">
          <a:xfrm>
            <a:off x="5016871" y="3525322"/>
            <a:ext cx="1285071" cy="1285071"/>
          </a:xfrm>
          <a:custGeom>
            <a:avLst/>
            <a:gdLst>
              <a:gd name="T0" fmla="*/ 1377 w 2753"/>
              <a:gd name="T1" fmla="*/ 0 h 2752"/>
              <a:gd name="T2" fmla="*/ 1377 w 2753"/>
              <a:gd name="T3" fmla="*/ 0 h 2752"/>
              <a:gd name="T4" fmla="*/ 2752 w 2753"/>
              <a:gd name="T5" fmla="*/ 1376 h 2752"/>
              <a:gd name="T6" fmla="*/ 2752 w 2753"/>
              <a:gd name="T7" fmla="*/ 1376 h 2752"/>
              <a:gd name="T8" fmla="*/ 1377 w 2753"/>
              <a:gd name="T9" fmla="*/ 2751 h 2752"/>
              <a:gd name="T10" fmla="*/ 1377 w 2753"/>
              <a:gd name="T11" fmla="*/ 2751 h 2752"/>
              <a:gd name="T12" fmla="*/ 0 w 2753"/>
              <a:gd name="T13" fmla="*/ 1376 h 2752"/>
              <a:gd name="T14" fmla="*/ 0 w 2753"/>
              <a:gd name="T15" fmla="*/ 1376 h 2752"/>
              <a:gd name="T16" fmla="*/ 1377 w 2753"/>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3" h="2752">
                <a:moveTo>
                  <a:pt x="1377" y="0"/>
                </a:moveTo>
                <a:lnTo>
                  <a:pt x="1377" y="0"/>
                </a:lnTo>
                <a:cubicBezTo>
                  <a:pt x="2137" y="0"/>
                  <a:pt x="2752" y="616"/>
                  <a:pt x="2752" y="1376"/>
                </a:cubicBezTo>
                <a:lnTo>
                  <a:pt x="2752" y="1376"/>
                </a:lnTo>
                <a:cubicBezTo>
                  <a:pt x="2752" y="2135"/>
                  <a:pt x="2137" y="2751"/>
                  <a:pt x="1377" y="2751"/>
                </a:cubicBezTo>
                <a:lnTo>
                  <a:pt x="1377" y="2751"/>
                </a:lnTo>
                <a:cubicBezTo>
                  <a:pt x="616" y="2751"/>
                  <a:pt x="0" y="2135"/>
                  <a:pt x="0" y="1376"/>
                </a:cubicBezTo>
                <a:lnTo>
                  <a:pt x="0" y="1376"/>
                </a:lnTo>
                <a:cubicBezTo>
                  <a:pt x="0" y="616"/>
                  <a:pt x="616" y="0"/>
                  <a:pt x="1377" y="0"/>
                </a:cubicBezTo>
              </a:path>
            </a:pathLst>
          </a:custGeom>
          <a:solidFill>
            <a:schemeClr val="accent1"/>
          </a:solidFill>
          <a:ln>
            <a:noFill/>
          </a:ln>
          <a:effectLst/>
        </p:spPr>
        <p:txBody>
          <a:bodyPr wrap="none" anchor="ctr"/>
          <a:lstStyle/>
          <a:p>
            <a:endParaRPr lang="en-GB" sz="2450" dirty="0">
              <a:latin typeface="+mj-lt"/>
            </a:endParaRPr>
          </a:p>
        </p:txBody>
      </p:sp>
      <p:sp>
        <p:nvSpPr>
          <p:cNvPr id="18" name="Freeform 3">
            <a:extLst>
              <a:ext uri="{FF2B5EF4-FFF2-40B4-BE49-F238E27FC236}">
                <a16:creationId xmlns:a16="http://schemas.microsoft.com/office/drawing/2014/main" xmlns="" id="{05964768-527E-4FE5-9060-988FA2DE2414}"/>
              </a:ext>
            </a:extLst>
          </p:cNvPr>
          <p:cNvSpPr>
            <a:spLocks noChangeArrowheads="1"/>
          </p:cNvSpPr>
          <p:nvPr/>
        </p:nvSpPr>
        <p:spPr bwMode="auto">
          <a:xfrm>
            <a:off x="5208217" y="3679747"/>
            <a:ext cx="875248" cy="998814"/>
          </a:xfrm>
          <a:custGeom>
            <a:avLst/>
            <a:gdLst>
              <a:gd name="T0" fmla="*/ 885 w 1872"/>
              <a:gd name="T1" fmla="*/ 18 h 2138"/>
              <a:gd name="T2" fmla="*/ 885 w 1872"/>
              <a:gd name="T3" fmla="*/ 18 h 2138"/>
              <a:gd name="T4" fmla="*/ 986 w 1872"/>
              <a:gd name="T5" fmla="*/ 18 h 2138"/>
              <a:gd name="T6" fmla="*/ 1820 w 1872"/>
              <a:gd name="T7" fmla="*/ 500 h 2138"/>
              <a:gd name="T8" fmla="*/ 1820 w 1872"/>
              <a:gd name="T9" fmla="*/ 500 h 2138"/>
              <a:gd name="T10" fmla="*/ 1871 w 1872"/>
              <a:gd name="T11" fmla="*/ 588 h 2138"/>
              <a:gd name="T12" fmla="*/ 1871 w 1872"/>
              <a:gd name="T13" fmla="*/ 1549 h 2138"/>
              <a:gd name="T14" fmla="*/ 1871 w 1872"/>
              <a:gd name="T15" fmla="*/ 1549 h 2138"/>
              <a:gd name="T16" fmla="*/ 1820 w 1872"/>
              <a:gd name="T17" fmla="*/ 1637 h 2138"/>
              <a:gd name="T18" fmla="*/ 986 w 1872"/>
              <a:gd name="T19" fmla="*/ 2119 h 2138"/>
              <a:gd name="T20" fmla="*/ 986 w 1872"/>
              <a:gd name="T21" fmla="*/ 2119 h 2138"/>
              <a:gd name="T22" fmla="*/ 885 w 1872"/>
              <a:gd name="T23" fmla="*/ 2119 h 2138"/>
              <a:gd name="T24" fmla="*/ 50 w 1872"/>
              <a:gd name="T25" fmla="*/ 1637 h 2138"/>
              <a:gd name="T26" fmla="*/ 50 w 1872"/>
              <a:gd name="T27" fmla="*/ 1637 h 2138"/>
              <a:gd name="T28" fmla="*/ 0 w 1872"/>
              <a:gd name="T29" fmla="*/ 1549 h 2138"/>
              <a:gd name="T30" fmla="*/ 0 w 1872"/>
              <a:gd name="T31" fmla="*/ 588 h 2138"/>
              <a:gd name="T32" fmla="*/ 0 w 1872"/>
              <a:gd name="T33" fmla="*/ 588 h 2138"/>
              <a:gd name="T34" fmla="*/ 50 w 1872"/>
              <a:gd name="T35" fmla="*/ 500 h 2138"/>
              <a:gd name="T36" fmla="*/ 885 w 1872"/>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2" h="2138">
                <a:moveTo>
                  <a:pt x="885" y="18"/>
                </a:moveTo>
                <a:lnTo>
                  <a:pt x="885" y="18"/>
                </a:lnTo>
                <a:cubicBezTo>
                  <a:pt x="916" y="0"/>
                  <a:pt x="955" y="0"/>
                  <a:pt x="986" y="18"/>
                </a:cubicBezTo>
                <a:lnTo>
                  <a:pt x="1820" y="500"/>
                </a:lnTo>
                <a:lnTo>
                  <a:pt x="1820" y="500"/>
                </a:lnTo>
                <a:cubicBezTo>
                  <a:pt x="1851" y="517"/>
                  <a:pt x="1871" y="551"/>
                  <a:pt x="1871" y="588"/>
                </a:cubicBezTo>
                <a:lnTo>
                  <a:pt x="1871" y="1549"/>
                </a:lnTo>
                <a:lnTo>
                  <a:pt x="1871" y="1549"/>
                </a:lnTo>
                <a:cubicBezTo>
                  <a:pt x="1871" y="1586"/>
                  <a:pt x="1851" y="1620"/>
                  <a:pt x="1820" y="1637"/>
                </a:cubicBezTo>
                <a:lnTo>
                  <a:pt x="986" y="2119"/>
                </a:lnTo>
                <a:lnTo>
                  <a:pt x="986" y="2119"/>
                </a:lnTo>
                <a:cubicBezTo>
                  <a:pt x="955" y="2137"/>
                  <a:pt x="916" y="2137"/>
                  <a:pt x="885" y="2119"/>
                </a:cubicBezTo>
                <a:lnTo>
                  <a:pt x="50" y="1637"/>
                </a:lnTo>
                <a:lnTo>
                  <a:pt x="50" y="1637"/>
                </a:lnTo>
                <a:cubicBezTo>
                  <a:pt x="19" y="1620"/>
                  <a:pt x="0" y="1586"/>
                  <a:pt x="0" y="1549"/>
                </a:cubicBezTo>
                <a:lnTo>
                  <a:pt x="0" y="588"/>
                </a:lnTo>
                <a:lnTo>
                  <a:pt x="0" y="588"/>
                </a:lnTo>
                <a:cubicBezTo>
                  <a:pt x="0" y="551"/>
                  <a:pt x="19" y="517"/>
                  <a:pt x="50"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19" name="Freeform 5">
            <a:extLst>
              <a:ext uri="{FF2B5EF4-FFF2-40B4-BE49-F238E27FC236}">
                <a16:creationId xmlns:a16="http://schemas.microsoft.com/office/drawing/2014/main" xmlns="" id="{99814CB9-1F95-4B6A-98EF-814657BAD560}"/>
              </a:ext>
            </a:extLst>
          </p:cNvPr>
          <p:cNvSpPr>
            <a:spLocks noChangeArrowheads="1"/>
          </p:cNvSpPr>
          <p:nvPr/>
        </p:nvSpPr>
        <p:spPr bwMode="auto">
          <a:xfrm>
            <a:off x="6576891" y="3525322"/>
            <a:ext cx="1285071" cy="1285071"/>
          </a:xfrm>
          <a:custGeom>
            <a:avLst/>
            <a:gdLst>
              <a:gd name="T0" fmla="*/ 1376 w 2753"/>
              <a:gd name="T1" fmla="*/ 0 h 2752"/>
              <a:gd name="T2" fmla="*/ 1376 w 2753"/>
              <a:gd name="T3" fmla="*/ 0 h 2752"/>
              <a:gd name="T4" fmla="*/ 2752 w 2753"/>
              <a:gd name="T5" fmla="*/ 1376 h 2752"/>
              <a:gd name="T6" fmla="*/ 2752 w 2753"/>
              <a:gd name="T7" fmla="*/ 1376 h 2752"/>
              <a:gd name="T8" fmla="*/ 1376 w 2753"/>
              <a:gd name="T9" fmla="*/ 2751 h 2752"/>
              <a:gd name="T10" fmla="*/ 1376 w 2753"/>
              <a:gd name="T11" fmla="*/ 2751 h 2752"/>
              <a:gd name="T12" fmla="*/ 0 w 2753"/>
              <a:gd name="T13" fmla="*/ 1376 h 2752"/>
              <a:gd name="T14" fmla="*/ 0 w 2753"/>
              <a:gd name="T15" fmla="*/ 1376 h 2752"/>
              <a:gd name="T16" fmla="*/ 1376 w 2753"/>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3" h="2752">
                <a:moveTo>
                  <a:pt x="1376" y="0"/>
                </a:moveTo>
                <a:lnTo>
                  <a:pt x="1376" y="0"/>
                </a:lnTo>
                <a:cubicBezTo>
                  <a:pt x="2137" y="0"/>
                  <a:pt x="2752" y="616"/>
                  <a:pt x="2752" y="1376"/>
                </a:cubicBezTo>
                <a:lnTo>
                  <a:pt x="2752" y="1376"/>
                </a:lnTo>
                <a:cubicBezTo>
                  <a:pt x="2752" y="2135"/>
                  <a:pt x="2137" y="2751"/>
                  <a:pt x="1376" y="2751"/>
                </a:cubicBezTo>
                <a:lnTo>
                  <a:pt x="1376" y="2751"/>
                </a:lnTo>
                <a:cubicBezTo>
                  <a:pt x="616" y="2751"/>
                  <a:pt x="0" y="2135"/>
                  <a:pt x="0" y="1376"/>
                </a:cubicBezTo>
                <a:lnTo>
                  <a:pt x="0" y="1376"/>
                </a:lnTo>
                <a:cubicBezTo>
                  <a:pt x="0" y="616"/>
                  <a:pt x="616" y="0"/>
                  <a:pt x="1376" y="0"/>
                </a:cubicBezTo>
              </a:path>
            </a:pathLst>
          </a:custGeom>
          <a:solidFill>
            <a:schemeClr val="accent2"/>
          </a:solidFill>
          <a:ln>
            <a:noFill/>
          </a:ln>
          <a:effectLst/>
        </p:spPr>
        <p:txBody>
          <a:bodyPr wrap="none" anchor="ctr"/>
          <a:lstStyle/>
          <a:p>
            <a:endParaRPr lang="en-GB" sz="2450" dirty="0">
              <a:latin typeface="+mj-lt"/>
            </a:endParaRPr>
          </a:p>
        </p:txBody>
      </p:sp>
      <p:sp>
        <p:nvSpPr>
          <p:cNvPr id="20" name="Freeform 6">
            <a:extLst>
              <a:ext uri="{FF2B5EF4-FFF2-40B4-BE49-F238E27FC236}">
                <a16:creationId xmlns:a16="http://schemas.microsoft.com/office/drawing/2014/main" xmlns="" id="{E2CFCDB4-07A4-4B96-8440-254994C4D1BC}"/>
              </a:ext>
            </a:extLst>
          </p:cNvPr>
          <p:cNvSpPr>
            <a:spLocks noChangeArrowheads="1"/>
          </p:cNvSpPr>
          <p:nvPr/>
        </p:nvSpPr>
        <p:spPr bwMode="auto">
          <a:xfrm>
            <a:off x="6782833" y="3669480"/>
            <a:ext cx="875249" cy="998814"/>
          </a:xfrm>
          <a:custGeom>
            <a:avLst/>
            <a:gdLst>
              <a:gd name="T0" fmla="*/ 885 w 1873"/>
              <a:gd name="T1" fmla="*/ 18 h 2138"/>
              <a:gd name="T2" fmla="*/ 885 w 1873"/>
              <a:gd name="T3" fmla="*/ 18 h 2138"/>
              <a:gd name="T4" fmla="*/ 987 w 1873"/>
              <a:gd name="T5" fmla="*/ 18 h 2138"/>
              <a:gd name="T6" fmla="*/ 1821 w 1873"/>
              <a:gd name="T7" fmla="*/ 500 h 2138"/>
              <a:gd name="T8" fmla="*/ 1821 w 1873"/>
              <a:gd name="T9" fmla="*/ 500 h 2138"/>
              <a:gd name="T10" fmla="*/ 1872 w 1873"/>
              <a:gd name="T11" fmla="*/ 588 h 2138"/>
              <a:gd name="T12" fmla="*/ 1872 w 1873"/>
              <a:gd name="T13" fmla="*/ 1549 h 2138"/>
              <a:gd name="T14" fmla="*/ 1872 w 1873"/>
              <a:gd name="T15" fmla="*/ 1549 h 2138"/>
              <a:gd name="T16" fmla="*/ 1821 w 1873"/>
              <a:gd name="T17" fmla="*/ 1637 h 2138"/>
              <a:gd name="T18" fmla="*/ 987 w 1873"/>
              <a:gd name="T19" fmla="*/ 2119 h 2138"/>
              <a:gd name="T20" fmla="*/ 987 w 1873"/>
              <a:gd name="T21" fmla="*/ 2119 h 2138"/>
              <a:gd name="T22" fmla="*/ 885 w 1873"/>
              <a:gd name="T23" fmla="*/ 2119 h 2138"/>
              <a:gd name="T24" fmla="*/ 51 w 1873"/>
              <a:gd name="T25" fmla="*/ 1637 h 2138"/>
              <a:gd name="T26" fmla="*/ 51 w 1873"/>
              <a:gd name="T27" fmla="*/ 1637 h 2138"/>
              <a:gd name="T28" fmla="*/ 0 w 1873"/>
              <a:gd name="T29" fmla="*/ 1549 h 2138"/>
              <a:gd name="T30" fmla="*/ 0 w 1873"/>
              <a:gd name="T31" fmla="*/ 588 h 2138"/>
              <a:gd name="T32" fmla="*/ 0 w 1873"/>
              <a:gd name="T33" fmla="*/ 588 h 2138"/>
              <a:gd name="T34" fmla="*/ 51 w 1873"/>
              <a:gd name="T35" fmla="*/ 500 h 2138"/>
              <a:gd name="T36" fmla="*/ 885 w 1873"/>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3" h="2138">
                <a:moveTo>
                  <a:pt x="885" y="18"/>
                </a:moveTo>
                <a:lnTo>
                  <a:pt x="885" y="18"/>
                </a:lnTo>
                <a:cubicBezTo>
                  <a:pt x="917" y="0"/>
                  <a:pt x="956" y="0"/>
                  <a:pt x="987" y="18"/>
                </a:cubicBezTo>
                <a:lnTo>
                  <a:pt x="1821" y="500"/>
                </a:lnTo>
                <a:lnTo>
                  <a:pt x="1821" y="500"/>
                </a:lnTo>
                <a:cubicBezTo>
                  <a:pt x="1852" y="517"/>
                  <a:pt x="1872" y="551"/>
                  <a:pt x="1872" y="588"/>
                </a:cubicBezTo>
                <a:lnTo>
                  <a:pt x="1872" y="1549"/>
                </a:lnTo>
                <a:lnTo>
                  <a:pt x="1872" y="1549"/>
                </a:lnTo>
                <a:cubicBezTo>
                  <a:pt x="1872" y="1586"/>
                  <a:pt x="1852" y="1620"/>
                  <a:pt x="1821" y="1637"/>
                </a:cubicBezTo>
                <a:lnTo>
                  <a:pt x="987" y="2119"/>
                </a:lnTo>
                <a:lnTo>
                  <a:pt x="987" y="2119"/>
                </a:lnTo>
                <a:cubicBezTo>
                  <a:pt x="956" y="2137"/>
                  <a:pt x="917" y="2137"/>
                  <a:pt x="885" y="2119"/>
                </a:cubicBezTo>
                <a:lnTo>
                  <a:pt x="51" y="1637"/>
                </a:lnTo>
                <a:lnTo>
                  <a:pt x="51" y="1637"/>
                </a:lnTo>
                <a:cubicBezTo>
                  <a:pt x="20" y="1620"/>
                  <a:pt x="0" y="1586"/>
                  <a:pt x="0" y="1549"/>
                </a:cubicBezTo>
                <a:lnTo>
                  <a:pt x="0" y="588"/>
                </a:lnTo>
                <a:lnTo>
                  <a:pt x="0" y="588"/>
                </a:lnTo>
                <a:cubicBezTo>
                  <a:pt x="0" y="551"/>
                  <a:pt x="20" y="517"/>
                  <a:pt x="51"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21" name="Freeform 8">
            <a:extLst>
              <a:ext uri="{FF2B5EF4-FFF2-40B4-BE49-F238E27FC236}">
                <a16:creationId xmlns:a16="http://schemas.microsoft.com/office/drawing/2014/main" xmlns="" id="{F4E711F3-7B30-463F-BE0F-9502EBE6CD8B}"/>
              </a:ext>
            </a:extLst>
          </p:cNvPr>
          <p:cNvSpPr>
            <a:spLocks noChangeArrowheads="1"/>
          </p:cNvSpPr>
          <p:nvPr/>
        </p:nvSpPr>
        <p:spPr bwMode="auto">
          <a:xfrm>
            <a:off x="8136912" y="3525322"/>
            <a:ext cx="1285071" cy="1285071"/>
          </a:xfrm>
          <a:custGeom>
            <a:avLst/>
            <a:gdLst>
              <a:gd name="T0" fmla="*/ 1376 w 2752"/>
              <a:gd name="T1" fmla="*/ 0 h 2752"/>
              <a:gd name="T2" fmla="*/ 1376 w 2752"/>
              <a:gd name="T3" fmla="*/ 0 h 2752"/>
              <a:gd name="T4" fmla="*/ 2751 w 2752"/>
              <a:gd name="T5" fmla="*/ 1376 h 2752"/>
              <a:gd name="T6" fmla="*/ 2751 w 2752"/>
              <a:gd name="T7" fmla="*/ 1376 h 2752"/>
              <a:gd name="T8" fmla="*/ 1376 w 2752"/>
              <a:gd name="T9" fmla="*/ 2751 h 2752"/>
              <a:gd name="T10" fmla="*/ 1376 w 2752"/>
              <a:gd name="T11" fmla="*/ 2751 h 2752"/>
              <a:gd name="T12" fmla="*/ 0 w 2752"/>
              <a:gd name="T13" fmla="*/ 1376 h 2752"/>
              <a:gd name="T14" fmla="*/ 0 w 2752"/>
              <a:gd name="T15" fmla="*/ 1376 h 2752"/>
              <a:gd name="T16" fmla="*/ 1376 w 2752"/>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2" h="2752">
                <a:moveTo>
                  <a:pt x="1376" y="0"/>
                </a:moveTo>
                <a:lnTo>
                  <a:pt x="1376" y="0"/>
                </a:lnTo>
                <a:cubicBezTo>
                  <a:pt x="2135" y="0"/>
                  <a:pt x="2751" y="616"/>
                  <a:pt x="2751" y="1376"/>
                </a:cubicBezTo>
                <a:lnTo>
                  <a:pt x="2751" y="1376"/>
                </a:lnTo>
                <a:cubicBezTo>
                  <a:pt x="2751" y="2135"/>
                  <a:pt x="2135" y="2751"/>
                  <a:pt x="1376" y="2751"/>
                </a:cubicBezTo>
                <a:lnTo>
                  <a:pt x="1376" y="2751"/>
                </a:lnTo>
                <a:cubicBezTo>
                  <a:pt x="616" y="2751"/>
                  <a:pt x="0" y="2135"/>
                  <a:pt x="0" y="1376"/>
                </a:cubicBezTo>
                <a:lnTo>
                  <a:pt x="0" y="1376"/>
                </a:lnTo>
                <a:cubicBezTo>
                  <a:pt x="0" y="616"/>
                  <a:pt x="616" y="0"/>
                  <a:pt x="1376" y="0"/>
                </a:cubicBezTo>
              </a:path>
            </a:pathLst>
          </a:custGeom>
          <a:solidFill>
            <a:schemeClr val="accent3"/>
          </a:solidFill>
          <a:ln>
            <a:noFill/>
          </a:ln>
          <a:effectLst/>
        </p:spPr>
        <p:txBody>
          <a:bodyPr wrap="none" anchor="ctr"/>
          <a:lstStyle/>
          <a:p>
            <a:endParaRPr lang="en-GB" sz="2450" dirty="0">
              <a:latin typeface="+mj-lt"/>
            </a:endParaRPr>
          </a:p>
        </p:txBody>
      </p:sp>
      <p:sp>
        <p:nvSpPr>
          <p:cNvPr id="23" name="Freeform 9">
            <a:extLst>
              <a:ext uri="{FF2B5EF4-FFF2-40B4-BE49-F238E27FC236}">
                <a16:creationId xmlns:a16="http://schemas.microsoft.com/office/drawing/2014/main" xmlns="" id="{7D3592B3-7658-4E2E-A8EE-67A2EF5A3D27}"/>
              </a:ext>
            </a:extLst>
          </p:cNvPr>
          <p:cNvSpPr>
            <a:spLocks noChangeArrowheads="1"/>
          </p:cNvSpPr>
          <p:nvPr/>
        </p:nvSpPr>
        <p:spPr bwMode="auto">
          <a:xfrm>
            <a:off x="8342853" y="3669480"/>
            <a:ext cx="875249" cy="998814"/>
          </a:xfrm>
          <a:custGeom>
            <a:avLst/>
            <a:gdLst>
              <a:gd name="T0" fmla="*/ 885 w 1872"/>
              <a:gd name="T1" fmla="*/ 18 h 2138"/>
              <a:gd name="T2" fmla="*/ 885 w 1872"/>
              <a:gd name="T3" fmla="*/ 18 h 2138"/>
              <a:gd name="T4" fmla="*/ 986 w 1872"/>
              <a:gd name="T5" fmla="*/ 18 h 2138"/>
              <a:gd name="T6" fmla="*/ 1820 w 1872"/>
              <a:gd name="T7" fmla="*/ 500 h 2138"/>
              <a:gd name="T8" fmla="*/ 1820 w 1872"/>
              <a:gd name="T9" fmla="*/ 500 h 2138"/>
              <a:gd name="T10" fmla="*/ 1871 w 1872"/>
              <a:gd name="T11" fmla="*/ 588 h 2138"/>
              <a:gd name="T12" fmla="*/ 1871 w 1872"/>
              <a:gd name="T13" fmla="*/ 1549 h 2138"/>
              <a:gd name="T14" fmla="*/ 1871 w 1872"/>
              <a:gd name="T15" fmla="*/ 1549 h 2138"/>
              <a:gd name="T16" fmla="*/ 1820 w 1872"/>
              <a:gd name="T17" fmla="*/ 1637 h 2138"/>
              <a:gd name="T18" fmla="*/ 986 w 1872"/>
              <a:gd name="T19" fmla="*/ 2119 h 2138"/>
              <a:gd name="T20" fmla="*/ 986 w 1872"/>
              <a:gd name="T21" fmla="*/ 2119 h 2138"/>
              <a:gd name="T22" fmla="*/ 885 w 1872"/>
              <a:gd name="T23" fmla="*/ 2119 h 2138"/>
              <a:gd name="T24" fmla="*/ 51 w 1872"/>
              <a:gd name="T25" fmla="*/ 1637 h 2138"/>
              <a:gd name="T26" fmla="*/ 51 w 1872"/>
              <a:gd name="T27" fmla="*/ 1637 h 2138"/>
              <a:gd name="T28" fmla="*/ 0 w 1872"/>
              <a:gd name="T29" fmla="*/ 1549 h 2138"/>
              <a:gd name="T30" fmla="*/ 0 w 1872"/>
              <a:gd name="T31" fmla="*/ 588 h 2138"/>
              <a:gd name="T32" fmla="*/ 0 w 1872"/>
              <a:gd name="T33" fmla="*/ 588 h 2138"/>
              <a:gd name="T34" fmla="*/ 51 w 1872"/>
              <a:gd name="T35" fmla="*/ 500 h 2138"/>
              <a:gd name="T36" fmla="*/ 885 w 1872"/>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2" h="2138">
                <a:moveTo>
                  <a:pt x="885" y="18"/>
                </a:moveTo>
                <a:lnTo>
                  <a:pt x="885" y="18"/>
                </a:lnTo>
                <a:cubicBezTo>
                  <a:pt x="917" y="0"/>
                  <a:pt x="955" y="0"/>
                  <a:pt x="986" y="18"/>
                </a:cubicBezTo>
                <a:lnTo>
                  <a:pt x="1820" y="500"/>
                </a:lnTo>
                <a:lnTo>
                  <a:pt x="1820" y="500"/>
                </a:lnTo>
                <a:cubicBezTo>
                  <a:pt x="1851" y="517"/>
                  <a:pt x="1871" y="551"/>
                  <a:pt x="1871" y="588"/>
                </a:cubicBezTo>
                <a:lnTo>
                  <a:pt x="1871" y="1549"/>
                </a:lnTo>
                <a:lnTo>
                  <a:pt x="1871" y="1549"/>
                </a:lnTo>
                <a:cubicBezTo>
                  <a:pt x="1871" y="1586"/>
                  <a:pt x="1851" y="1620"/>
                  <a:pt x="1820" y="1637"/>
                </a:cubicBezTo>
                <a:lnTo>
                  <a:pt x="986" y="2119"/>
                </a:lnTo>
                <a:lnTo>
                  <a:pt x="986" y="2119"/>
                </a:lnTo>
                <a:cubicBezTo>
                  <a:pt x="955" y="2137"/>
                  <a:pt x="917" y="2137"/>
                  <a:pt x="885" y="2119"/>
                </a:cubicBezTo>
                <a:lnTo>
                  <a:pt x="51" y="1637"/>
                </a:lnTo>
                <a:lnTo>
                  <a:pt x="51" y="1637"/>
                </a:lnTo>
                <a:cubicBezTo>
                  <a:pt x="20" y="1620"/>
                  <a:pt x="0" y="1586"/>
                  <a:pt x="0" y="1549"/>
                </a:cubicBezTo>
                <a:lnTo>
                  <a:pt x="0" y="588"/>
                </a:lnTo>
                <a:lnTo>
                  <a:pt x="0" y="588"/>
                </a:lnTo>
                <a:cubicBezTo>
                  <a:pt x="0" y="551"/>
                  <a:pt x="20" y="517"/>
                  <a:pt x="51"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26" name="TextBox 37">
            <a:extLst>
              <a:ext uri="{FF2B5EF4-FFF2-40B4-BE49-F238E27FC236}">
                <a16:creationId xmlns:a16="http://schemas.microsoft.com/office/drawing/2014/main" xmlns="" id="{F122EBBB-BE47-44F2-BDB0-D564B59A715E}"/>
              </a:ext>
            </a:extLst>
          </p:cNvPr>
          <p:cNvSpPr txBox="1"/>
          <p:nvPr/>
        </p:nvSpPr>
        <p:spPr>
          <a:xfrm>
            <a:off x="8150120" y="4881296"/>
            <a:ext cx="1258678" cy="338554"/>
          </a:xfrm>
          <a:prstGeom prst="rect">
            <a:avLst/>
          </a:prstGeom>
          <a:noFill/>
        </p:spPr>
        <p:txBody>
          <a:bodyPr wrap="none" rtlCol="0" anchor="t" anchorCtr="0">
            <a:spAutoFit/>
          </a:bodyPr>
          <a:lstStyle/>
          <a:p>
            <a:pPr algn="ctr"/>
            <a:r>
              <a:rPr lang="en-GB" sz="1600" b="1">
                <a:solidFill>
                  <a:schemeClr val="tx2"/>
                </a:solidFill>
                <a:latin typeface="+mj-lt"/>
                <a:ea typeface="League Spartan" charset="0"/>
                <a:cs typeface="Poppins" pitchFamily="2" charset="77"/>
              </a:rPr>
              <a:t>Auditoría de BCM</a:t>
            </a:r>
            <a:endParaRPr lang="en-GB" sz="1600" b="1" dirty="0">
              <a:solidFill>
                <a:schemeClr val="tx2"/>
              </a:solidFill>
              <a:latin typeface="+mj-lt"/>
              <a:ea typeface="League Spartan" charset="0"/>
              <a:cs typeface="Poppins" pitchFamily="2" charset="77"/>
            </a:endParaRPr>
          </a:p>
        </p:txBody>
      </p:sp>
      <p:sp>
        <p:nvSpPr>
          <p:cNvPr id="28" name="TextBox 19">
            <a:extLst>
              <a:ext uri="{FF2B5EF4-FFF2-40B4-BE49-F238E27FC236}">
                <a16:creationId xmlns:a16="http://schemas.microsoft.com/office/drawing/2014/main" xmlns="" id="{C3EB7AEC-8673-47A3-B23D-113D2232EF5D}"/>
              </a:ext>
            </a:extLst>
          </p:cNvPr>
          <p:cNvSpPr txBox="1"/>
          <p:nvPr/>
        </p:nvSpPr>
        <p:spPr>
          <a:xfrm>
            <a:off x="5169793" y="4881296"/>
            <a:ext cx="979242" cy="584775"/>
          </a:xfrm>
          <a:prstGeom prst="rect">
            <a:avLst/>
          </a:prstGeom>
          <a:noFill/>
        </p:spPr>
        <p:txBody>
          <a:bodyPr wrap="none" rtlCol="0" anchor="t" anchorCtr="0">
            <a:spAutoFit/>
          </a:bodyPr>
          <a:lstStyle/>
          <a:p>
            <a:pPr algn="ctr"/>
            <a:r>
              <a:rPr lang="en-GB" sz="1600" b="1">
                <a:solidFill>
                  <a:schemeClr val="tx2"/>
                </a:solidFill>
                <a:latin typeface="+mj-lt"/>
                <a:ea typeface="League Spartan" charset="0"/>
                <a:cs typeface="Poppins" pitchFamily="2" charset="77"/>
              </a:rPr>
              <a:t>Ejerciendo</a:t>
            </a:r>
            <a:br>
              <a:rPr lang="en-GB" sz="1600" b="1">
                <a:solidFill>
                  <a:schemeClr val="tx2"/>
                </a:solidFill>
                <a:latin typeface="+mj-lt"/>
                <a:ea typeface="League Spartan" charset="0"/>
                <a:cs typeface="Poppins" pitchFamily="2" charset="77"/>
              </a:rPr>
            </a:br>
            <a:r>
              <a:rPr lang="en-GB" sz="1600" b="1">
                <a:solidFill>
                  <a:schemeClr val="tx2"/>
                </a:solidFill>
                <a:latin typeface="+mj-lt"/>
                <a:ea typeface="League Spartan" charset="0"/>
                <a:cs typeface="Poppins" pitchFamily="2" charset="77"/>
              </a:rPr>
              <a:t>de la BCM</a:t>
            </a:r>
            <a:endParaRPr lang="en-GB" sz="1600" b="1" dirty="0">
              <a:solidFill>
                <a:schemeClr val="tx2"/>
              </a:solidFill>
              <a:latin typeface="+mj-lt"/>
              <a:ea typeface="League Spartan" charset="0"/>
              <a:cs typeface="Poppins" pitchFamily="2" charset="77"/>
            </a:endParaRPr>
          </a:p>
        </p:txBody>
      </p:sp>
      <p:sp>
        <p:nvSpPr>
          <p:cNvPr id="30" name="TextBox 43">
            <a:extLst>
              <a:ext uri="{FF2B5EF4-FFF2-40B4-BE49-F238E27FC236}">
                <a16:creationId xmlns:a16="http://schemas.microsoft.com/office/drawing/2014/main" xmlns="" id="{045778D2-140D-49F9-8CB8-190045EA7B0C}"/>
              </a:ext>
            </a:extLst>
          </p:cNvPr>
          <p:cNvSpPr txBox="1"/>
          <p:nvPr/>
        </p:nvSpPr>
        <p:spPr>
          <a:xfrm>
            <a:off x="6596098" y="2759266"/>
            <a:ext cx="1246688" cy="584775"/>
          </a:xfrm>
          <a:prstGeom prst="rect">
            <a:avLst/>
          </a:prstGeom>
          <a:noFill/>
        </p:spPr>
        <p:txBody>
          <a:bodyPr wrap="none" lIns="91440" tIns="45720" rIns="91440" bIns="45720" rtlCol="0" anchor="b" anchorCtr="0">
            <a:spAutoFit/>
          </a:bodyPr>
          <a:lstStyle/>
          <a:p>
            <a:pPr algn="ctr"/>
            <a:r>
              <a:rPr lang="en-GB" sz="1600" b="1" dirty="0">
                <a:solidFill>
                  <a:schemeClr val="tx2"/>
                </a:solidFill>
                <a:latin typeface="+mj-lt"/>
                <a:ea typeface="League Spartan" charset="0"/>
                <a:cs typeface="Poppins" pitchFamily="2" charset="77"/>
              </a:rPr>
              <a:t>Mantenimiento</a:t>
            </a:r>
            <a:r>
              <a:rPr lang="en-GB" sz="1600" b="1" dirty="0">
                <a:latin typeface="+mj-lt"/>
                <a:ea typeface="League Spartan" charset="0"/>
                <a:cs typeface="Poppins" pitchFamily="2" charset="77"/>
              </a:rPr>
              <a:t/>
            </a:r>
            <a:br>
              <a:rPr lang="en-GB" sz="1600" b="1" dirty="0">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de la BCM</a:t>
            </a:r>
          </a:p>
        </p:txBody>
      </p:sp>
      <p:sp>
        <p:nvSpPr>
          <p:cNvPr id="31" name="TextBox 48">
            <a:extLst>
              <a:ext uri="{FF2B5EF4-FFF2-40B4-BE49-F238E27FC236}">
                <a16:creationId xmlns:a16="http://schemas.microsoft.com/office/drawing/2014/main" xmlns="" id="{D9CE3E7D-97C1-434F-A676-6D8A6A436A90}"/>
              </a:ext>
            </a:extLst>
          </p:cNvPr>
          <p:cNvSpPr txBox="1"/>
          <p:nvPr/>
        </p:nvSpPr>
        <p:spPr>
          <a:xfrm>
            <a:off x="5457265" y="3861939"/>
            <a:ext cx="404278" cy="611834"/>
          </a:xfrm>
          <a:prstGeom prst="rect">
            <a:avLst/>
          </a:prstGeom>
          <a:noFill/>
        </p:spPr>
        <p:txBody>
          <a:bodyPr wrap="none" rtlCol="0" anchor="ctr">
            <a:spAutoFit/>
          </a:bodyPr>
          <a:lstStyle/>
          <a:p>
            <a:pPr algn="ctr"/>
            <a:r>
              <a:rPr lang="en-GB" sz="3376" b="1">
                <a:solidFill>
                  <a:schemeClr val="accent1"/>
                </a:solidFill>
                <a:latin typeface="+mj-lt"/>
                <a:cs typeface="Poppins" pitchFamily="2" charset="77"/>
              </a:rPr>
              <a:t>1</a:t>
            </a:r>
            <a:endParaRPr lang="en-GB" sz="3376" b="1" dirty="0">
              <a:solidFill>
                <a:schemeClr val="accent1"/>
              </a:solidFill>
              <a:latin typeface="+mj-lt"/>
              <a:cs typeface="Poppins" pitchFamily="2" charset="77"/>
            </a:endParaRPr>
          </a:p>
        </p:txBody>
      </p:sp>
      <p:sp>
        <p:nvSpPr>
          <p:cNvPr id="32" name="TextBox 49">
            <a:extLst>
              <a:ext uri="{FF2B5EF4-FFF2-40B4-BE49-F238E27FC236}">
                <a16:creationId xmlns:a16="http://schemas.microsoft.com/office/drawing/2014/main" xmlns="" id="{B1EA253C-EEF4-4941-9456-E959421FF7BC}"/>
              </a:ext>
            </a:extLst>
          </p:cNvPr>
          <p:cNvSpPr txBox="1"/>
          <p:nvPr/>
        </p:nvSpPr>
        <p:spPr>
          <a:xfrm>
            <a:off x="7017286" y="3861939"/>
            <a:ext cx="404278" cy="611834"/>
          </a:xfrm>
          <a:prstGeom prst="rect">
            <a:avLst/>
          </a:prstGeom>
          <a:noFill/>
        </p:spPr>
        <p:txBody>
          <a:bodyPr wrap="none" rtlCol="0" anchor="ctr">
            <a:spAutoFit/>
          </a:bodyPr>
          <a:lstStyle/>
          <a:p>
            <a:pPr algn="ctr"/>
            <a:r>
              <a:rPr lang="en-GB" sz="3376" b="1">
                <a:solidFill>
                  <a:schemeClr val="accent2"/>
                </a:solidFill>
                <a:latin typeface="+mj-lt"/>
                <a:cs typeface="Poppins" pitchFamily="2" charset="77"/>
              </a:rPr>
              <a:t>2</a:t>
            </a:r>
            <a:endParaRPr lang="en-GB" sz="3376" b="1" dirty="0">
              <a:solidFill>
                <a:schemeClr val="accent2"/>
              </a:solidFill>
              <a:latin typeface="+mj-lt"/>
              <a:cs typeface="Poppins" pitchFamily="2" charset="77"/>
            </a:endParaRPr>
          </a:p>
        </p:txBody>
      </p:sp>
      <p:sp>
        <p:nvSpPr>
          <p:cNvPr id="33" name="TextBox 50">
            <a:extLst>
              <a:ext uri="{FF2B5EF4-FFF2-40B4-BE49-F238E27FC236}">
                <a16:creationId xmlns:a16="http://schemas.microsoft.com/office/drawing/2014/main" xmlns="" id="{8FEE6A9F-C610-4C96-9051-718A698EA8FA}"/>
              </a:ext>
            </a:extLst>
          </p:cNvPr>
          <p:cNvSpPr txBox="1"/>
          <p:nvPr/>
        </p:nvSpPr>
        <p:spPr>
          <a:xfrm>
            <a:off x="8577306" y="3861939"/>
            <a:ext cx="404278" cy="611834"/>
          </a:xfrm>
          <a:prstGeom prst="rect">
            <a:avLst/>
          </a:prstGeom>
          <a:noFill/>
        </p:spPr>
        <p:txBody>
          <a:bodyPr wrap="none" rtlCol="0" anchor="ctr">
            <a:spAutoFit/>
          </a:bodyPr>
          <a:lstStyle/>
          <a:p>
            <a:pPr algn="ctr"/>
            <a:r>
              <a:rPr lang="en-GB" sz="3376" b="1">
                <a:solidFill>
                  <a:schemeClr val="accent3"/>
                </a:solidFill>
                <a:latin typeface="+mj-lt"/>
                <a:cs typeface="Poppins" pitchFamily="2" charset="77"/>
              </a:rPr>
              <a:t>3</a:t>
            </a:r>
            <a:endParaRPr lang="en-GB" sz="3376" b="1" dirty="0">
              <a:solidFill>
                <a:schemeClr val="accent3"/>
              </a:solidFill>
              <a:latin typeface="+mj-lt"/>
              <a:cs typeface="Poppins" pitchFamily="2" charset="77"/>
            </a:endParaRPr>
          </a:p>
        </p:txBody>
      </p:sp>
      <p:sp>
        <p:nvSpPr>
          <p:cNvPr id="34" name="Gleichschenkliges Dreieck 33">
            <a:extLst>
              <a:ext uri="{FF2B5EF4-FFF2-40B4-BE49-F238E27FC236}">
                <a16:creationId xmlns:a16="http://schemas.microsoft.com/office/drawing/2014/main" xmlns="" id="{DB826488-6585-4BA3-BBCE-202A1FFF150F}"/>
              </a:ext>
            </a:extLst>
          </p:cNvPr>
          <p:cNvSpPr/>
          <p:nvPr/>
        </p:nvSpPr>
        <p:spPr>
          <a:xfrm rot="5400000">
            <a:off x="6164876" y="4097738"/>
            <a:ext cx="547902" cy="160824"/>
          </a:xfrm>
          <a:prstGeom prst="triangle">
            <a:avLst/>
          </a:prstGeom>
          <a:solidFill>
            <a:srgbClr val="E94EA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Gleichschenkliges Dreieck 34">
            <a:extLst>
              <a:ext uri="{FF2B5EF4-FFF2-40B4-BE49-F238E27FC236}">
                <a16:creationId xmlns:a16="http://schemas.microsoft.com/office/drawing/2014/main" xmlns="" id="{ED58E4BC-4409-4B4B-8B9C-3ADF5D94B693}"/>
              </a:ext>
            </a:extLst>
          </p:cNvPr>
          <p:cNvSpPr/>
          <p:nvPr/>
        </p:nvSpPr>
        <p:spPr>
          <a:xfrm rot="5400000">
            <a:off x="7704881" y="4087444"/>
            <a:ext cx="547902" cy="160824"/>
          </a:xfrm>
          <a:prstGeom prst="triangle">
            <a:avLst/>
          </a:prstGeom>
          <a:solidFill>
            <a:srgbClr val="E94EA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9949492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extLst>
              <p:ext uri="{D42A27DB-BD31-4B8C-83A1-F6EECF244321}">
                <p14:modId xmlns:p14="http://schemas.microsoft.com/office/powerpoint/2010/main" val="995365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2087649" y="329688"/>
            <a:ext cx="8852375" cy="697353"/>
          </a:xfrm>
        </p:spPr>
        <p:txBody>
          <a:bodyPr>
            <a:normAutofit/>
          </a:bodyPr>
          <a:lstStyle/>
          <a:p>
            <a:r>
              <a:rPr lang="en-GB" dirty="0"/>
              <a:t>El ciclo de gestión de la continuidad de las actividades</a:t>
            </a:r>
          </a:p>
        </p:txBody>
      </p:sp>
      <p:grpSp>
        <p:nvGrpSpPr>
          <p:cNvPr id="7" name="Gruppieren 6">
            <a:extLst>
              <a:ext uri="{FF2B5EF4-FFF2-40B4-BE49-F238E27FC236}">
                <a16:creationId xmlns:a16="http://schemas.microsoft.com/office/drawing/2014/main" xmlns="" id="{6BAA9461-0926-4338-9034-AFB36BD5DDE1}"/>
              </a:ext>
            </a:extLst>
          </p:cNvPr>
          <p:cNvGrpSpPr>
            <a:grpSpLocks noChangeAspect="1"/>
          </p:cNvGrpSpPr>
          <p:nvPr/>
        </p:nvGrpSpPr>
        <p:grpSpPr>
          <a:xfrm>
            <a:off x="464898" y="5265865"/>
            <a:ext cx="1425467" cy="1425468"/>
            <a:chOff x="5230592" y="1881035"/>
            <a:chExt cx="4175999" cy="4176000"/>
          </a:xfrm>
        </p:grpSpPr>
        <p:grpSp>
          <p:nvGrpSpPr>
            <p:cNvPr id="24" name="Gruppieren 23">
              <a:extLst>
                <a:ext uri="{FF2B5EF4-FFF2-40B4-BE49-F238E27FC236}">
                  <a16:creationId xmlns:a16="http://schemas.microsoft.com/office/drawing/2014/main" xmlns="" id="{272239DA-1B06-425C-A5B2-EC9059DF8DDC}"/>
                </a:ext>
              </a:extLst>
            </p:cNvPr>
            <p:cNvGrpSpPr>
              <a:grpSpLocks noChangeAspect="1"/>
            </p:cNvGrpSpPr>
            <p:nvPr/>
          </p:nvGrpSpPr>
          <p:grpSpPr>
            <a:xfrm>
              <a:off x="5230592" y="1881035"/>
              <a:ext cx="4175999" cy="4176000"/>
              <a:chOff x="5230592" y="1881035"/>
              <a:chExt cx="4175999" cy="4176000"/>
            </a:xfrm>
          </p:grpSpPr>
          <p:sp>
            <p:nvSpPr>
              <p:cNvPr id="305" name="Freeform 48">
                <a:extLst>
                  <a:ext uri="{FF2B5EF4-FFF2-40B4-BE49-F238E27FC236}">
                    <a16:creationId xmlns:a16="http://schemas.microsoft.com/office/drawing/2014/main" xmlns="" id="{8E41C000-1DB8-4A00-8679-35E2EAD75C91}"/>
                  </a:ext>
                </a:extLst>
              </p:cNvPr>
              <p:cNvSpPr/>
              <p:nvPr/>
            </p:nvSpPr>
            <p:spPr>
              <a:xfrm>
                <a:off x="6412947" y="1881035"/>
                <a:ext cx="1814615" cy="1603190"/>
              </a:xfrm>
              <a:custGeom>
                <a:avLst/>
                <a:gdLst>
                  <a:gd name="connsiteX0" fmla="*/ 2167432 w 4342825"/>
                  <a:gd name="connsiteY0" fmla="*/ 0 h 3836832"/>
                  <a:gd name="connsiteX1" fmla="*/ 4342825 w 4342825"/>
                  <a:gd name="connsiteY1" fmla="*/ 2179445 h 3836832"/>
                  <a:gd name="connsiteX2" fmla="*/ 3196076 w 4342825"/>
                  <a:gd name="connsiteY2" fmla="*/ 3836832 h 3836832"/>
                  <a:gd name="connsiteX3" fmla="*/ 3130926 w 4342825"/>
                  <a:gd name="connsiteY3" fmla="*/ 3797252 h 3836832"/>
                  <a:gd name="connsiteX4" fmla="*/ 2167432 w 4342825"/>
                  <a:gd name="connsiteY4" fmla="*/ 3553287 h 3836832"/>
                  <a:gd name="connsiteX5" fmla="*/ 1203938 w 4342825"/>
                  <a:gd name="connsiteY5" fmla="*/ 3797252 h 3836832"/>
                  <a:gd name="connsiteX6" fmla="*/ 1143466 w 4342825"/>
                  <a:gd name="connsiteY6" fmla="*/ 3833990 h 3836832"/>
                  <a:gd name="connsiteX7" fmla="*/ 0 w 4342825"/>
                  <a:gd name="connsiteY7" fmla="*/ 2171469 h 3836832"/>
                  <a:gd name="connsiteX8" fmla="*/ 2167432 w 4342825"/>
                  <a:gd name="connsiteY8" fmla="*/ 0 h 383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42825" h="3836832">
                    <a:moveTo>
                      <a:pt x="2167432" y="0"/>
                    </a:moveTo>
                    <a:lnTo>
                      <a:pt x="4342825" y="2179445"/>
                    </a:lnTo>
                    <a:lnTo>
                      <a:pt x="3196076" y="3836832"/>
                    </a:lnTo>
                    <a:lnTo>
                      <a:pt x="3130926" y="3797252"/>
                    </a:lnTo>
                    <a:cubicBezTo>
                      <a:pt x="2844515" y="3641665"/>
                      <a:pt x="2516294" y="3553287"/>
                      <a:pt x="2167432" y="3553287"/>
                    </a:cubicBezTo>
                    <a:cubicBezTo>
                      <a:pt x="1818570" y="3553287"/>
                      <a:pt x="1490349" y="3641665"/>
                      <a:pt x="1203938" y="3797252"/>
                    </a:cubicBezTo>
                    <a:lnTo>
                      <a:pt x="1143466" y="3833990"/>
                    </a:lnTo>
                    <a:lnTo>
                      <a:pt x="0" y="2171469"/>
                    </a:lnTo>
                    <a:lnTo>
                      <a:pt x="2167432" y="0"/>
                    </a:lnTo>
                    <a:close/>
                  </a:path>
                </a:pathLst>
              </a:custGeom>
              <a:solidFill>
                <a:schemeClr val="accent3">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08" name="Freeform 45">
                <a:extLst>
                  <a:ext uri="{FF2B5EF4-FFF2-40B4-BE49-F238E27FC236}">
                    <a16:creationId xmlns:a16="http://schemas.microsoft.com/office/drawing/2014/main" xmlns="" id="{64FE2D3D-2C89-4277-BA06-2C7443A0397E}"/>
                  </a:ext>
                </a:extLst>
              </p:cNvPr>
              <p:cNvSpPr/>
              <p:nvPr/>
            </p:nvSpPr>
            <p:spPr>
              <a:xfrm>
                <a:off x="5230592" y="2843454"/>
                <a:ext cx="1586881" cy="1816774"/>
              </a:xfrm>
              <a:custGeom>
                <a:avLst/>
                <a:gdLst>
                  <a:gd name="connsiteX0" fmla="*/ 2665085 w 3797804"/>
                  <a:gd name="connsiteY0" fmla="*/ 0 h 4347993"/>
                  <a:gd name="connsiteX1" fmla="*/ 3797804 w 3797804"/>
                  <a:gd name="connsiteY1" fmla="*/ 1646897 h 4347993"/>
                  <a:gd name="connsiteX2" fmla="*/ 3711341 w 3797804"/>
                  <a:gd name="connsiteY2" fmla="*/ 1711553 h 4347993"/>
                  <a:gd name="connsiteX3" fmla="*/ 2975759 w 3797804"/>
                  <a:gd name="connsiteY3" fmla="*/ 3271321 h 4347993"/>
                  <a:gd name="connsiteX4" fmla="*/ 3016826 w 3797804"/>
                  <a:gd name="connsiteY4" fmla="*/ 3678693 h 4347993"/>
                  <a:gd name="connsiteX5" fmla="*/ 3037068 w 3797804"/>
                  <a:gd name="connsiteY5" fmla="*/ 3757418 h 4347993"/>
                  <a:gd name="connsiteX6" fmla="*/ 1292243 w 3797804"/>
                  <a:gd name="connsiteY6" fmla="*/ 4347993 h 4347993"/>
                  <a:gd name="connsiteX7" fmla="*/ 0 w 3797804"/>
                  <a:gd name="connsiteY7" fmla="*/ 1514136 h 4347993"/>
                  <a:gd name="connsiteX8" fmla="*/ 2665085 w 3797804"/>
                  <a:gd name="connsiteY8" fmla="*/ 0 h 4347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7804" h="4347993">
                    <a:moveTo>
                      <a:pt x="2665085" y="0"/>
                    </a:moveTo>
                    <a:lnTo>
                      <a:pt x="3797804" y="1646897"/>
                    </a:lnTo>
                    <a:lnTo>
                      <a:pt x="3711341" y="1711553"/>
                    </a:lnTo>
                    <a:cubicBezTo>
                      <a:pt x="3262103" y="2082298"/>
                      <a:pt x="2975759" y="2643370"/>
                      <a:pt x="2975759" y="3271321"/>
                    </a:cubicBezTo>
                    <a:cubicBezTo>
                      <a:pt x="2975759" y="3410866"/>
                      <a:pt x="2989899" y="3547108"/>
                      <a:pt x="3016826" y="3678693"/>
                    </a:cubicBezTo>
                    <a:lnTo>
                      <a:pt x="3037068" y="3757418"/>
                    </a:lnTo>
                    <a:lnTo>
                      <a:pt x="1292243" y="4347993"/>
                    </a:lnTo>
                    <a:lnTo>
                      <a:pt x="0" y="1514136"/>
                    </a:lnTo>
                    <a:lnTo>
                      <a:pt x="2665085" y="0"/>
                    </a:lnTo>
                    <a:close/>
                  </a:path>
                </a:pathLst>
              </a:custGeom>
              <a:solidFill>
                <a:schemeClr val="accent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09" name="Freeform 44">
                <a:extLst>
                  <a:ext uri="{FF2B5EF4-FFF2-40B4-BE49-F238E27FC236}">
                    <a16:creationId xmlns:a16="http://schemas.microsoft.com/office/drawing/2014/main" xmlns="" id="{A06290DB-875E-435C-A978-748606C01266}"/>
                  </a:ext>
                </a:extLst>
              </p:cNvPr>
              <p:cNvSpPr/>
              <p:nvPr/>
            </p:nvSpPr>
            <p:spPr>
              <a:xfrm>
                <a:off x="7821542" y="2845743"/>
                <a:ext cx="1585049" cy="1814282"/>
              </a:xfrm>
              <a:custGeom>
                <a:avLst/>
                <a:gdLst>
                  <a:gd name="connsiteX0" fmla="*/ 1137971 w 3793416"/>
                  <a:gd name="connsiteY0" fmla="*/ 0 h 4342028"/>
                  <a:gd name="connsiteX1" fmla="*/ 3793416 w 3793416"/>
                  <a:gd name="connsiteY1" fmla="*/ 1508659 h 4342028"/>
                  <a:gd name="connsiteX2" fmla="*/ 2501395 w 3793416"/>
                  <a:gd name="connsiteY2" fmla="*/ 4342028 h 4342028"/>
                  <a:gd name="connsiteX3" fmla="*/ 756418 w 3793416"/>
                  <a:gd name="connsiteY3" fmla="*/ 3751669 h 4342028"/>
                  <a:gd name="connsiteX4" fmla="*/ 776590 w 3793416"/>
                  <a:gd name="connsiteY4" fmla="*/ 3673216 h 4342028"/>
                  <a:gd name="connsiteX5" fmla="*/ 817657 w 3793416"/>
                  <a:gd name="connsiteY5" fmla="*/ 3265844 h 4342028"/>
                  <a:gd name="connsiteX6" fmla="*/ 82075 w 3793416"/>
                  <a:gd name="connsiteY6" fmla="*/ 1706076 h 4342028"/>
                  <a:gd name="connsiteX7" fmla="*/ 0 w 3793416"/>
                  <a:gd name="connsiteY7" fmla="*/ 1644701 h 4342028"/>
                  <a:gd name="connsiteX8" fmla="*/ 1137971 w 3793416"/>
                  <a:gd name="connsiteY8" fmla="*/ 0 h 434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3416" h="4342028">
                    <a:moveTo>
                      <a:pt x="1137971" y="0"/>
                    </a:moveTo>
                    <a:lnTo>
                      <a:pt x="3793416" y="1508659"/>
                    </a:lnTo>
                    <a:lnTo>
                      <a:pt x="2501395" y="4342028"/>
                    </a:lnTo>
                    <a:lnTo>
                      <a:pt x="756418" y="3751669"/>
                    </a:lnTo>
                    <a:lnTo>
                      <a:pt x="776590" y="3673216"/>
                    </a:lnTo>
                    <a:cubicBezTo>
                      <a:pt x="803517" y="3541631"/>
                      <a:pt x="817657" y="3405389"/>
                      <a:pt x="817657" y="3265844"/>
                    </a:cubicBezTo>
                    <a:cubicBezTo>
                      <a:pt x="817657" y="2637893"/>
                      <a:pt x="531313" y="2076821"/>
                      <a:pt x="82075" y="1706076"/>
                    </a:cubicBezTo>
                    <a:lnTo>
                      <a:pt x="0" y="1644701"/>
                    </a:lnTo>
                    <a:lnTo>
                      <a:pt x="1137971" y="0"/>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0" name="Freeform 42">
                <a:extLst>
                  <a:ext uri="{FF2B5EF4-FFF2-40B4-BE49-F238E27FC236}">
                    <a16:creationId xmlns:a16="http://schemas.microsoft.com/office/drawing/2014/main" xmlns="" id="{284198C2-8F5D-46D6-BAA7-CA5105A2527A}"/>
                  </a:ext>
                </a:extLst>
              </p:cNvPr>
              <p:cNvSpPr/>
              <p:nvPr/>
            </p:nvSpPr>
            <p:spPr>
              <a:xfrm>
                <a:off x="7362530" y="4497487"/>
                <a:ext cx="1475499" cy="1559547"/>
              </a:xfrm>
              <a:custGeom>
                <a:avLst/>
                <a:gdLst>
                  <a:gd name="connsiteX0" fmla="*/ 1793799 w 3531238"/>
                  <a:gd name="connsiteY0" fmla="*/ 0 h 3732384"/>
                  <a:gd name="connsiteX1" fmla="*/ 3531238 w 3531238"/>
                  <a:gd name="connsiteY1" fmla="*/ 587808 h 3732384"/>
                  <a:gd name="connsiteX2" fmla="*/ 2983224 w 3531238"/>
                  <a:gd name="connsiteY2" fmla="*/ 3732384 h 3732384"/>
                  <a:gd name="connsiteX3" fmla="*/ 0 w 3531238"/>
                  <a:gd name="connsiteY3" fmla="*/ 3312947 h 3732384"/>
                  <a:gd name="connsiteX4" fmla="*/ 0 w 3531238"/>
                  <a:gd name="connsiteY4" fmla="*/ 1328844 h 3732384"/>
                  <a:gd name="connsiteX5" fmla="*/ 101514 w 3531238"/>
                  <a:gd name="connsiteY5" fmla="*/ 1323718 h 3732384"/>
                  <a:gd name="connsiteX6" fmla="*/ 1757342 w 3531238"/>
                  <a:gd name="connsiteY6" fmla="*/ 99608 h 3732384"/>
                  <a:gd name="connsiteX7" fmla="*/ 1793799 w 3531238"/>
                  <a:gd name="connsiteY7" fmla="*/ 0 h 373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238" h="3732384">
                    <a:moveTo>
                      <a:pt x="1793799" y="0"/>
                    </a:moveTo>
                    <a:lnTo>
                      <a:pt x="3531238" y="587808"/>
                    </a:lnTo>
                    <a:lnTo>
                      <a:pt x="2983224" y="3732384"/>
                    </a:lnTo>
                    <a:lnTo>
                      <a:pt x="0" y="3312947"/>
                    </a:lnTo>
                    <a:lnTo>
                      <a:pt x="0" y="1328844"/>
                    </a:lnTo>
                    <a:lnTo>
                      <a:pt x="101514" y="1323718"/>
                    </a:lnTo>
                    <a:cubicBezTo>
                      <a:pt x="848983" y="1247808"/>
                      <a:pt x="1476056" y="764641"/>
                      <a:pt x="1757342" y="99608"/>
                    </a:cubicBezTo>
                    <a:lnTo>
                      <a:pt x="1793799" y="0"/>
                    </a:lnTo>
                    <a:close/>
                  </a:path>
                </a:pathLst>
              </a:custGeom>
              <a:solidFill>
                <a:schemeClr val="accent5">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1" name="Freeform 41">
                <a:extLst>
                  <a:ext uri="{FF2B5EF4-FFF2-40B4-BE49-F238E27FC236}">
                    <a16:creationId xmlns:a16="http://schemas.microsoft.com/office/drawing/2014/main" xmlns="" id="{5A2FBDAA-AB2E-4318-B3E6-2D62021619C3}"/>
                  </a:ext>
                </a:extLst>
              </p:cNvPr>
              <p:cNvSpPr/>
              <p:nvPr/>
            </p:nvSpPr>
            <p:spPr>
              <a:xfrm>
                <a:off x="5799193" y="4497599"/>
                <a:ext cx="1475461" cy="1559436"/>
              </a:xfrm>
              <a:custGeom>
                <a:avLst/>
                <a:gdLst>
                  <a:gd name="connsiteX0" fmla="*/ 1737443 w 3531147"/>
                  <a:gd name="connsiteY0" fmla="*/ 0 h 3732119"/>
                  <a:gd name="connsiteX1" fmla="*/ 1773803 w 3531147"/>
                  <a:gd name="connsiteY1" fmla="*/ 99343 h 3732119"/>
                  <a:gd name="connsiteX2" fmla="*/ 3429631 w 3531147"/>
                  <a:gd name="connsiteY2" fmla="*/ 1323453 h 3732119"/>
                  <a:gd name="connsiteX3" fmla="*/ 3531147 w 3531147"/>
                  <a:gd name="connsiteY3" fmla="*/ 1328579 h 3732119"/>
                  <a:gd name="connsiteX4" fmla="*/ 3531147 w 3531147"/>
                  <a:gd name="connsiteY4" fmla="*/ 3312682 h 3732119"/>
                  <a:gd name="connsiteX5" fmla="*/ 547921 w 3531147"/>
                  <a:gd name="connsiteY5" fmla="*/ 3732119 h 3732119"/>
                  <a:gd name="connsiteX6" fmla="*/ 0 w 3531147"/>
                  <a:gd name="connsiteY6" fmla="*/ 588077 h 3732119"/>
                  <a:gd name="connsiteX7" fmla="*/ 1737443 w 3531147"/>
                  <a:gd name="connsiteY7" fmla="*/ 0 h 373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147" h="3732119">
                    <a:moveTo>
                      <a:pt x="1737443" y="0"/>
                    </a:moveTo>
                    <a:lnTo>
                      <a:pt x="1773803" y="99343"/>
                    </a:lnTo>
                    <a:cubicBezTo>
                      <a:pt x="2055089" y="764376"/>
                      <a:pt x="2682162" y="1247543"/>
                      <a:pt x="3429631" y="1323453"/>
                    </a:cubicBezTo>
                    <a:lnTo>
                      <a:pt x="3531147" y="1328579"/>
                    </a:lnTo>
                    <a:lnTo>
                      <a:pt x="3531147" y="3312682"/>
                    </a:lnTo>
                    <a:lnTo>
                      <a:pt x="547921" y="3732119"/>
                    </a:lnTo>
                    <a:lnTo>
                      <a:pt x="0" y="588077"/>
                    </a:lnTo>
                    <a:lnTo>
                      <a:pt x="1737443" y="0"/>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grpSp>
        <p:sp>
          <p:nvSpPr>
            <p:cNvPr id="22" name="Ellipse 21">
              <a:extLst>
                <a:ext uri="{FF2B5EF4-FFF2-40B4-BE49-F238E27FC236}">
                  <a16:creationId xmlns:a16="http://schemas.microsoft.com/office/drawing/2014/main" xmlns="" id="{DF4A991F-96D6-4A69-9300-C89426EC4D70}"/>
                </a:ext>
              </a:extLst>
            </p:cNvPr>
            <p:cNvSpPr/>
            <p:nvPr/>
          </p:nvSpPr>
          <p:spPr>
            <a:xfrm>
              <a:off x="7156234" y="4022998"/>
              <a:ext cx="360000" cy="35999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t>6 </a:t>
              </a:r>
              <a:endParaRPr lang="en-GB" sz="1200" dirty="0"/>
            </a:p>
          </p:txBody>
        </p:sp>
      </p:grpSp>
      <p:sp>
        <p:nvSpPr>
          <p:cNvPr id="41" name="Textplatzhalter 1">
            <a:extLst>
              <a:ext uri="{FF2B5EF4-FFF2-40B4-BE49-F238E27FC236}">
                <a16:creationId xmlns:a16="http://schemas.microsoft.com/office/drawing/2014/main" xmlns="" id="{7A1600A2-C58E-42AD-B86F-5A4EF6A570AB}"/>
              </a:ext>
            </a:extLst>
          </p:cNvPr>
          <p:cNvSpPr txBox="1">
            <a:spLocks/>
          </p:cNvSpPr>
          <p:nvPr/>
        </p:nvSpPr>
        <p:spPr>
          <a:xfrm>
            <a:off x="4953816" y="1061141"/>
            <a:ext cx="8852375" cy="33078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a:buNone/>
              <a:defRPr sz="3600" kern="1200">
                <a:solidFill>
                  <a:srgbClr val="245473"/>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GB" sz="2400" dirty="0">
                <a:solidFill>
                  <a:srgbClr val="E53292"/>
                </a:solidFill>
              </a:rPr>
              <a:t>Etapa 6: El programa BCM</a:t>
            </a:r>
          </a:p>
        </p:txBody>
      </p:sp>
      <p:sp>
        <p:nvSpPr>
          <p:cNvPr id="17" name="Freeform 2">
            <a:extLst>
              <a:ext uri="{FF2B5EF4-FFF2-40B4-BE49-F238E27FC236}">
                <a16:creationId xmlns:a16="http://schemas.microsoft.com/office/drawing/2014/main" xmlns="" id="{3D995078-5C3A-434C-8044-59452370E8E7}"/>
              </a:ext>
            </a:extLst>
          </p:cNvPr>
          <p:cNvSpPr>
            <a:spLocks noChangeArrowheads="1"/>
          </p:cNvSpPr>
          <p:nvPr/>
        </p:nvSpPr>
        <p:spPr bwMode="auto">
          <a:xfrm>
            <a:off x="6738793" y="3525322"/>
            <a:ext cx="1285071" cy="1285071"/>
          </a:xfrm>
          <a:custGeom>
            <a:avLst/>
            <a:gdLst>
              <a:gd name="T0" fmla="*/ 1377 w 2753"/>
              <a:gd name="T1" fmla="*/ 0 h 2752"/>
              <a:gd name="T2" fmla="*/ 1377 w 2753"/>
              <a:gd name="T3" fmla="*/ 0 h 2752"/>
              <a:gd name="T4" fmla="*/ 2752 w 2753"/>
              <a:gd name="T5" fmla="*/ 1376 h 2752"/>
              <a:gd name="T6" fmla="*/ 2752 w 2753"/>
              <a:gd name="T7" fmla="*/ 1376 h 2752"/>
              <a:gd name="T8" fmla="*/ 1377 w 2753"/>
              <a:gd name="T9" fmla="*/ 2751 h 2752"/>
              <a:gd name="T10" fmla="*/ 1377 w 2753"/>
              <a:gd name="T11" fmla="*/ 2751 h 2752"/>
              <a:gd name="T12" fmla="*/ 0 w 2753"/>
              <a:gd name="T13" fmla="*/ 1376 h 2752"/>
              <a:gd name="T14" fmla="*/ 0 w 2753"/>
              <a:gd name="T15" fmla="*/ 1376 h 2752"/>
              <a:gd name="T16" fmla="*/ 1377 w 2753"/>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3" h="2752">
                <a:moveTo>
                  <a:pt x="1377" y="0"/>
                </a:moveTo>
                <a:lnTo>
                  <a:pt x="1377" y="0"/>
                </a:lnTo>
                <a:cubicBezTo>
                  <a:pt x="2137" y="0"/>
                  <a:pt x="2752" y="616"/>
                  <a:pt x="2752" y="1376"/>
                </a:cubicBezTo>
                <a:lnTo>
                  <a:pt x="2752" y="1376"/>
                </a:lnTo>
                <a:cubicBezTo>
                  <a:pt x="2752" y="2135"/>
                  <a:pt x="2137" y="2751"/>
                  <a:pt x="1377" y="2751"/>
                </a:cubicBezTo>
                <a:lnTo>
                  <a:pt x="1377" y="2751"/>
                </a:lnTo>
                <a:cubicBezTo>
                  <a:pt x="616" y="2751"/>
                  <a:pt x="0" y="2135"/>
                  <a:pt x="0" y="1376"/>
                </a:cubicBezTo>
                <a:lnTo>
                  <a:pt x="0" y="1376"/>
                </a:lnTo>
                <a:cubicBezTo>
                  <a:pt x="0" y="616"/>
                  <a:pt x="616" y="0"/>
                  <a:pt x="1377" y="0"/>
                </a:cubicBezTo>
              </a:path>
            </a:pathLst>
          </a:custGeom>
          <a:solidFill>
            <a:schemeClr val="accent1"/>
          </a:solidFill>
          <a:ln>
            <a:noFill/>
          </a:ln>
          <a:effectLst/>
        </p:spPr>
        <p:txBody>
          <a:bodyPr wrap="none" anchor="ctr"/>
          <a:lstStyle/>
          <a:p>
            <a:endParaRPr lang="en-GB" sz="2450" dirty="0">
              <a:latin typeface="+mj-lt"/>
            </a:endParaRPr>
          </a:p>
        </p:txBody>
      </p:sp>
      <p:sp>
        <p:nvSpPr>
          <p:cNvPr id="18" name="Freeform 3">
            <a:extLst>
              <a:ext uri="{FF2B5EF4-FFF2-40B4-BE49-F238E27FC236}">
                <a16:creationId xmlns:a16="http://schemas.microsoft.com/office/drawing/2014/main" xmlns="" id="{05964768-527E-4FE5-9060-988FA2DE2414}"/>
              </a:ext>
            </a:extLst>
          </p:cNvPr>
          <p:cNvSpPr>
            <a:spLocks noChangeArrowheads="1"/>
          </p:cNvSpPr>
          <p:nvPr/>
        </p:nvSpPr>
        <p:spPr bwMode="auto">
          <a:xfrm>
            <a:off x="6930139" y="3679747"/>
            <a:ext cx="875248" cy="998814"/>
          </a:xfrm>
          <a:custGeom>
            <a:avLst/>
            <a:gdLst>
              <a:gd name="T0" fmla="*/ 885 w 1872"/>
              <a:gd name="T1" fmla="*/ 18 h 2138"/>
              <a:gd name="T2" fmla="*/ 885 w 1872"/>
              <a:gd name="T3" fmla="*/ 18 h 2138"/>
              <a:gd name="T4" fmla="*/ 986 w 1872"/>
              <a:gd name="T5" fmla="*/ 18 h 2138"/>
              <a:gd name="T6" fmla="*/ 1820 w 1872"/>
              <a:gd name="T7" fmla="*/ 500 h 2138"/>
              <a:gd name="T8" fmla="*/ 1820 w 1872"/>
              <a:gd name="T9" fmla="*/ 500 h 2138"/>
              <a:gd name="T10" fmla="*/ 1871 w 1872"/>
              <a:gd name="T11" fmla="*/ 588 h 2138"/>
              <a:gd name="T12" fmla="*/ 1871 w 1872"/>
              <a:gd name="T13" fmla="*/ 1549 h 2138"/>
              <a:gd name="T14" fmla="*/ 1871 w 1872"/>
              <a:gd name="T15" fmla="*/ 1549 h 2138"/>
              <a:gd name="T16" fmla="*/ 1820 w 1872"/>
              <a:gd name="T17" fmla="*/ 1637 h 2138"/>
              <a:gd name="T18" fmla="*/ 986 w 1872"/>
              <a:gd name="T19" fmla="*/ 2119 h 2138"/>
              <a:gd name="T20" fmla="*/ 986 w 1872"/>
              <a:gd name="T21" fmla="*/ 2119 h 2138"/>
              <a:gd name="T22" fmla="*/ 885 w 1872"/>
              <a:gd name="T23" fmla="*/ 2119 h 2138"/>
              <a:gd name="T24" fmla="*/ 50 w 1872"/>
              <a:gd name="T25" fmla="*/ 1637 h 2138"/>
              <a:gd name="T26" fmla="*/ 50 w 1872"/>
              <a:gd name="T27" fmla="*/ 1637 h 2138"/>
              <a:gd name="T28" fmla="*/ 0 w 1872"/>
              <a:gd name="T29" fmla="*/ 1549 h 2138"/>
              <a:gd name="T30" fmla="*/ 0 w 1872"/>
              <a:gd name="T31" fmla="*/ 588 h 2138"/>
              <a:gd name="T32" fmla="*/ 0 w 1872"/>
              <a:gd name="T33" fmla="*/ 588 h 2138"/>
              <a:gd name="T34" fmla="*/ 50 w 1872"/>
              <a:gd name="T35" fmla="*/ 500 h 2138"/>
              <a:gd name="T36" fmla="*/ 885 w 1872"/>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2" h="2138">
                <a:moveTo>
                  <a:pt x="885" y="18"/>
                </a:moveTo>
                <a:lnTo>
                  <a:pt x="885" y="18"/>
                </a:lnTo>
                <a:cubicBezTo>
                  <a:pt x="916" y="0"/>
                  <a:pt x="955" y="0"/>
                  <a:pt x="986" y="18"/>
                </a:cubicBezTo>
                <a:lnTo>
                  <a:pt x="1820" y="500"/>
                </a:lnTo>
                <a:lnTo>
                  <a:pt x="1820" y="500"/>
                </a:lnTo>
                <a:cubicBezTo>
                  <a:pt x="1851" y="517"/>
                  <a:pt x="1871" y="551"/>
                  <a:pt x="1871" y="588"/>
                </a:cubicBezTo>
                <a:lnTo>
                  <a:pt x="1871" y="1549"/>
                </a:lnTo>
                <a:lnTo>
                  <a:pt x="1871" y="1549"/>
                </a:lnTo>
                <a:cubicBezTo>
                  <a:pt x="1871" y="1586"/>
                  <a:pt x="1851" y="1620"/>
                  <a:pt x="1820" y="1637"/>
                </a:cubicBezTo>
                <a:lnTo>
                  <a:pt x="986" y="2119"/>
                </a:lnTo>
                <a:lnTo>
                  <a:pt x="986" y="2119"/>
                </a:lnTo>
                <a:cubicBezTo>
                  <a:pt x="955" y="2137"/>
                  <a:pt x="916" y="2137"/>
                  <a:pt x="885" y="2119"/>
                </a:cubicBezTo>
                <a:lnTo>
                  <a:pt x="50" y="1637"/>
                </a:lnTo>
                <a:lnTo>
                  <a:pt x="50" y="1637"/>
                </a:lnTo>
                <a:cubicBezTo>
                  <a:pt x="19" y="1620"/>
                  <a:pt x="0" y="1586"/>
                  <a:pt x="0" y="1549"/>
                </a:cubicBezTo>
                <a:lnTo>
                  <a:pt x="0" y="588"/>
                </a:lnTo>
                <a:lnTo>
                  <a:pt x="0" y="588"/>
                </a:lnTo>
                <a:cubicBezTo>
                  <a:pt x="0" y="551"/>
                  <a:pt x="19" y="517"/>
                  <a:pt x="50"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19" name="Freeform 5">
            <a:extLst>
              <a:ext uri="{FF2B5EF4-FFF2-40B4-BE49-F238E27FC236}">
                <a16:creationId xmlns:a16="http://schemas.microsoft.com/office/drawing/2014/main" xmlns="" id="{99814CB9-1F95-4B6A-98EF-814657BAD560}"/>
              </a:ext>
            </a:extLst>
          </p:cNvPr>
          <p:cNvSpPr>
            <a:spLocks noChangeArrowheads="1"/>
          </p:cNvSpPr>
          <p:nvPr/>
        </p:nvSpPr>
        <p:spPr bwMode="auto">
          <a:xfrm>
            <a:off x="8298813" y="3525322"/>
            <a:ext cx="1285071" cy="1285071"/>
          </a:xfrm>
          <a:custGeom>
            <a:avLst/>
            <a:gdLst>
              <a:gd name="T0" fmla="*/ 1376 w 2753"/>
              <a:gd name="T1" fmla="*/ 0 h 2752"/>
              <a:gd name="T2" fmla="*/ 1376 w 2753"/>
              <a:gd name="T3" fmla="*/ 0 h 2752"/>
              <a:gd name="T4" fmla="*/ 2752 w 2753"/>
              <a:gd name="T5" fmla="*/ 1376 h 2752"/>
              <a:gd name="T6" fmla="*/ 2752 w 2753"/>
              <a:gd name="T7" fmla="*/ 1376 h 2752"/>
              <a:gd name="T8" fmla="*/ 1376 w 2753"/>
              <a:gd name="T9" fmla="*/ 2751 h 2752"/>
              <a:gd name="T10" fmla="*/ 1376 w 2753"/>
              <a:gd name="T11" fmla="*/ 2751 h 2752"/>
              <a:gd name="T12" fmla="*/ 0 w 2753"/>
              <a:gd name="T13" fmla="*/ 1376 h 2752"/>
              <a:gd name="T14" fmla="*/ 0 w 2753"/>
              <a:gd name="T15" fmla="*/ 1376 h 2752"/>
              <a:gd name="T16" fmla="*/ 1376 w 2753"/>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3" h="2752">
                <a:moveTo>
                  <a:pt x="1376" y="0"/>
                </a:moveTo>
                <a:lnTo>
                  <a:pt x="1376" y="0"/>
                </a:lnTo>
                <a:cubicBezTo>
                  <a:pt x="2137" y="0"/>
                  <a:pt x="2752" y="616"/>
                  <a:pt x="2752" y="1376"/>
                </a:cubicBezTo>
                <a:lnTo>
                  <a:pt x="2752" y="1376"/>
                </a:lnTo>
                <a:cubicBezTo>
                  <a:pt x="2752" y="2135"/>
                  <a:pt x="2137" y="2751"/>
                  <a:pt x="1376" y="2751"/>
                </a:cubicBezTo>
                <a:lnTo>
                  <a:pt x="1376" y="2751"/>
                </a:lnTo>
                <a:cubicBezTo>
                  <a:pt x="616" y="2751"/>
                  <a:pt x="0" y="2135"/>
                  <a:pt x="0" y="1376"/>
                </a:cubicBezTo>
                <a:lnTo>
                  <a:pt x="0" y="1376"/>
                </a:lnTo>
                <a:cubicBezTo>
                  <a:pt x="0" y="616"/>
                  <a:pt x="616" y="0"/>
                  <a:pt x="1376" y="0"/>
                </a:cubicBezTo>
              </a:path>
            </a:pathLst>
          </a:custGeom>
          <a:solidFill>
            <a:schemeClr val="accent2"/>
          </a:solidFill>
          <a:ln>
            <a:noFill/>
          </a:ln>
          <a:effectLst/>
        </p:spPr>
        <p:txBody>
          <a:bodyPr wrap="none" anchor="ctr"/>
          <a:lstStyle/>
          <a:p>
            <a:endParaRPr lang="en-GB" sz="2450" dirty="0">
              <a:latin typeface="+mj-lt"/>
            </a:endParaRPr>
          </a:p>
        </p:txBody>
      </p:sp>
      <p:sp>
        <p:nvSpPr>
          <p:cNvPr id="20" name="Freeform 6">
            <a:extLst>
              <a:ext uri="{FF2B5EF4-FFF2-40B4-BE49-F238E27FC236}">
                <a16:creationId xmlns:a16="http://schemas.microsoft.com/office/drawing/2014/main" xmlns="" id="{E2CFCDB4-07A4-4B96-8440-254994C4D1BC}"/>
              </a:ext>
            </a:extLst>
          </p:cNvPr>
          <p:cNvSpPr>
            <a:spLocks noChangeArrowheads="1"/>
          </p:cNvSpPr>
          <p:nvPr/>
        </p:nvSpPr>
        <p:spPr bwMode="auto">
          <a:xfrm>
            <a:off x="8504755" y="3669480"/>
            <a:ext cx="875249" cy="998814"/>
          </a:xfrm>
          <a:custGeom>
            <a:avLst/>
            <a:gdLst>
              <a:gd name="T0" fmla="*/ 885 w 1873"/>
              <a:gd name="T1" fmla="*/ 18 h 2138"/>
              <a:gd name="T2" fmla="*/ 885 w 1873"/>
              <a:gd name="T3" fmla="*/ 18 h 2138"/>
              <a:gd name="T4" fmla="*/ 987 w 1873"/>
              <a:gd name="T5" fmla="*/ 18 h 2138"/>
              <a:gd name="T6" fmla="*/ 1821 w 1873"/>
              <a:gd name="T7" fmla="*/ 500 h 2138"/>
              <a:gd name="T8" fmla="*/ 1821 w 1873"/>
              <a:gd name="T9" fmla="*/ 500 h 2138"/>
              <a:gd name="T10" fmla="*/ 1872 w 1873"/>
              <a:gd name="T11" fmla="*/ 588 h 2138"/>
              <a:gd name="T12" fmla="*/ 1872 w 1873"/>
              <a:gd name="T13" fmla="*/ 1549 h 2138"/>
              <a:gd name="T14" fmla="*/ 1872 w 1873"/>
              <a:gd name="T15" fmla="*/ 1549 h 2138"/>
              <a:gd name="T16" fmla="*/ 1821 w 1873"/>
              <a:gd name="T17" fmla="*/ 1637 h 2138"/>
              <a:gd name="T18" fmla="*/ 987 w 1873"/>
              <a:gd name="T19" fmla="*/ 2119 h 2138"/>
              <a:gd name="T20" fmla="*/ 987 w 1873"/>
              <a:gd name="T21" fmla="*/ 2119 h 2138"/>
              <a:gd name="T22" fmla="*/ 885 w 1873"/>
              <a:gd name="T23" fmla="*/ 2119 h 2138"/>
              <a:gd name="T24" fmla="*/ 51 w 1873"/>
              <a:gd name="T25" fmla="*/ 1637 h 2138"/>
              <a:gd name="T26" fmla="*/ 51 w 1873"/>
              <a:gd name="T27" fmla="*/ 1637 h 2138"/>
              <a:gd name="T28" fmla="*/ 0 w 1873"/>
              <a:gd name="T29" fmla="*/ 1549 h 2138"/>
              <a:gd name="T30" fmla="*/ 0 w 1873"/>
              <a:gd name="T31" fmla="*/ 588 h 2138"/>
              <a:gd name="T32" fmla="*/ 0 w 1873"/>
              <a:gd name="T33" fmla="*/ 588 h 2138"/>
              <a:gd name="T34" fmla="*/ 51 w 1873"/>
              <a:gd name="T35" fmla="*/ 500 h 2138"/>
              <a:gd name="T36" fmla="*/ 885 w 1873"/>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3" h="2138">
                <a:moveTo>
                  <a:pt x="885" y="18"/>
                </a:moveTo>
                <a:lnTo>
                  <a:pt x="885" y="18"/>
                </a:lnTo>
                <a:cubicBezTo>
                  <a:pt x="917" y="0"/>
                  <a:pt x="956" y="0"/>
                  <a:pt x="987" y="18"/>
                </a:cubicBezTo>
                <a:lnTo>
                  <a:pt x="1821" y="500"/>
                </a:lnTo>
                <a:lnTo>
                  <a:pt x="1821" y="500"/>
                </a:lnTo>
                <a:cubicBezTo>
                  <a:pt x="1852" y="517"/>
                  <a:pt x="1872" y="551"/>
                  <a:pt x="1872" y="588"/>
                </a:cubicBezTo>
                <a:lnTo>
                  <a:pt x="1872" y="1549"/>
                </a:lnTo>
                <a:lnTo>
                  <a:pt x="1872" y="1549"/>
                </a:lnTo>
                <a:cubicBezTo>
                  <a:pt x="1872" y="1586"/>
                  <a:pt x="1852" y="1620"/>
                  <a:pt x="1821" y="1637"/>
                </a:cubicBezTo>
                <a:lnTo>
                  <a:pt x="987" y="2119"/>
                </a:lnTo>
                <a:lnTo>
                  <a:pt x="987" y="2119"/>
                </a:lnTo>
                <a:cubicBezTo>
                  <a:pt x="956" y="2137"/>
                  <a:pt x="917" y="2137"/>
                  <a:pt x="885" y="2119"/>
                </a:cubicBezTo>
                <a:lnTo>
                  <a:pt x="51" y="1637"/>
                </a:lnTo>
                <a:lnTo>
                  <a:pt x="51" y="1637"/>
                </a:lnTo>
                <a:cubicBezTo>
                  <a:pt x="20" y="1620"/>
                  <a:pt x="0" y="1586"/>
                  <a:pt x="0" y="1549"/>
                </a:cubicBezTo>
                <a:lnTo>
                  <a:pt x="0" y="588"/>
                </a:lnTo>
                <a:lnTo>
                  <a:pt x="0" y="588"/>
                </a:lnTo>
                <a:cubicBezTo>
                  <a:pt x="0" y="551"/>
                  <a:pt x="20" y="517"/>
                  <a:pt x="51"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21" name="Freeform 8">
            <a:extLst>
              <a:ext uri="{FF2B5EF4-FFF2-40B4-BE49-F238E27FC236}">
                <a16:creationId xmlns:a16="http://schemas.microsoft.com/office/drawing/2014/main" xmlns="" id="{F4E711F3-7B30-463F-BE0F-9502EBE6CD8B}"/>
              </a:ext>
            </a:extLst>
          </p:cNvPr>
          <p:cNvSpPr>
            <a:spLocks noChangeArrowheads="1"/>
          </p:cNvSpPr>
          <p:nvPr/>
        </p:nvSpPr>
        <p:spPr bwMode="auto">
          <a:xfrm>
            <a:off x="9858834" y="3525322"/>
            <a:ext cx="1285071" cy="1285071"/>
          </a:xfrm>
          <a:custGeom>
            <a:avLst/>
            <a:gdLst>
              <a:gd name="T0" fmla="*/ 1376 w 2752"/>
              <a:gd name="T1" fmla="*/ 0 h 2752"/>
              <a:gd name="T2" fmla="*/ 1376 w 2752"/>
              <a:gd name="T3" fmla="*/ 0 h 2752"/>
              <a:gd name="T4" fmla="*/ 2751 w 2752"/>
              <a:gd name="T5" fmla="*/ 1376 h 2752"/>
              <a:gd name="T6" fmla="*/ 2751 w 2752"/>
              <a:gd name="T7" fmla="*/ 1376 h 2752"/>
              <a:gd name="T8" fmla="*/ 1376 w 2752"/>
              <a:gd name="T9" fmla="*/ 2751 h 2752"/>
              <a:gd name="T10" fmla="*/ 1376 w 2752"/>
              <a:gd name="T11" fmla="*/ 2751 h 2752"/>
              <a:gd name="T12" fmla="*/ 0 w 2752"/>
              <a:gd name="T13" fmla="*/ 1376 h 2752"/>
              <a:gd name="T14" fmla="*/ 0 w 2752"/>
              <a:gd name="T15" fmla="*/ 1376 h 2752"/>
              <a:gd name="T16" fmla="*/ 1376 w 2752"/>
              <a:gd name="T17" fmla="*/ 0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2" h="2752">
                <a:moveTo>
                  <a:pt x="1376" y="0"/>
                </a:moveTo>
                <a:lnTo>
                  <a:pt x="1376" y="0"/>
                </a:lnTo>
                <a:cubicBezTo>
                  <a:pt x="2135" y="0"/>
                  <a:pt x="2751" y="616"/>
                  <a:pt x="2751" y="1376"/>
                </a:cubicBezTo>
                <a:lnTo>
                  <a:pt x="2751" y="1376"/>
                </a:lnTo>
                <a:cubicBezTo>
                  <a:pt x="2751" y="2135"/>
                  <a:pt x="2135" y="2751"/>
                  <a:pt x="1376" y="2751"/>
                </a:cubicBezTo>
                <a:lnTo>
                  <a:pt x="1376" y="2751"/>
                </a:lnTo>
                <a:cubicBezTo>
                  <a:pt x="616" y="2751"/>
                  <a:pt x="0" y="2135"/>
                  <a:pt x="0" y="1376"/>
                </a:cubicBezTo>
                <a:lnTo>
                  <a:pt x="0" y="1376"/>
                </a:lnTo>
                <a:cubicBezTo>
                  <a:pt x="0" y="616"/>
                  <a:pt x="616" y="0"/>
                  <a:pt x="1376" y="0"/>
                </a:cubicBezTo>
              </a:path>
            </a:pathLst>
          </a:custGeom>
          <a:solidFill>
            <a:schemeClr val="accent3"/>
          </a:solidFill>
          <a:ln>
            <a:noFill/>
          </a:ln>
          <a:effectLst/>
        </p:spPr>
        <p:txBody>
          <a:bodyPr wrap="none" anchor="ctr"/>
          <a:lstStyle/>
          <a:p>
            <a:endParaRPr lang="en-GB" sz="2450" dirty="0">
              <a:latin typeface="+mj-lt"/>
            </a:endParaRPr>
          </a:p>
        </p:txBody>
      </p:sp>
      <p:sp>
        <p:nvSpPr>
          <p:cNvPr id="23" name="Freeform 9">
            <a:extLst>
              <a:ext uri="{FF2B5EF4-FFF2-40B4-BE49-F238E27FC236}">
                <a16:creationId xmlns:a16="http://schemas.microsoft.com/office/drawing/2014/main" xmlns="" id="{7D3592B3-7658-4E2E-A8EE-67A2EF5A3D27}"/>
              </a:ext>
            </a:extLst>
          </p:cNvPr>
          <p:cNvSpPr>
            <a:spLocks noChangeArrowheads="1"/>
          </p:cNvSpPr>
          <p:nvPr/>
        </p:nvSpPr>
        <p:spPr bwMode="auto">
          <a:xfrm>
            <a:off x="10064775" y="3669480"/>
            <a:ext cx="875249" cy="998814"/>
          </a:xfrm>
          <a:custGeom>
            <a:avLst/>
            <a:gdLst>
              <a:gd name="T0" fmla="*/ 885 w 1872"/>
              <a:gd name="T1" fmla="*/ 18 h 2138"/>
              <a:gd name="T2" fmla="*/ 885 w 1872"/>
              <a:gd name="T3" fmla="*/ 18 h 2138"/>
              <a:gd name="T4" fmla="*/ 986 w 1872"/>
              <a:gd name="T5" fmla="*/ 18 h 2138"/>
              <a:gd name="T6" fmla="*/ 1820 w 1872"/>
              <a:gd name="T7" fmla="*/ 500 h 2138"/>
              <a:gd name="T8" fmla="*/ 1820 w 1872"/>
              <a:gd name="T9" fmla="*/ 500 h 2138"/>
              <a:gd name="T10" fmla="*/ 1871 w 1872"/>
              <a:gd name="T11" fmla="*/ 588 h 2138"/>
              <a:gd name="T12" fmla="*/ 1871 w 1872"/>
              <a:gd name="T13" fmla="*/ 1549 h 2138"/>
              <a:gd name="T14" fmla="*/ 1871 w 1872"/>
              <a:gd name="T15" fmla="*/ 1549 h 2138"/>
              <a:gd name="T16" fmla="*/ 1820 w 1872"/>
              <a:gd name="T17" fmla="*/ 1637 h 2138"/>
              <a:gd name="T18" fmla="*/ 986 w 1872"/>
              <a:gd name="T19" fmla="*/ 2119 h 2138"/>
              <a:gd name="T20" fmla="*/ 986 w 1872"/>
              <a:gd name="T21" fmla="*/ 2119 h 2138"/>
              <a:gd name="T22" fmla="*/ 885 w 1872"/>
              <a:gd name="T23" fmla="*/ 2119 h 2138"/>
              <a:gd name="T24" fmla="*/ 51 w 1872"/>
              <a:gd name="T25" fmla="*/ 1637 h 2138"/>
              <a:gd name="T26" fmla="*/ 51 w 1872"/>
              <a:gd name="T27" fmla="*/ 1637 h 2138"/>
              <a:gd name="T28" fmla="*/ 0 w 1872"/>
              <a:gd name="T29" fmla="*/ 1549 h 2138"/>
              <a:gd name="T30" fmla="*/ 0 w 1872"/>
              <a:gd name="T31" fmla="*/ 588 h 2138"/>
              <a:gd name="T32" fmla="*/ 0 w 1872"/>
              <a:gd name="T33" fmla="*/ 588 h 2138"/>
              <a:gd name="T34" fmla="*/ 51 w 1872"/>
              <a:gd name="T35" fmla="*/ 500 h 2138"/>
              <a:gd name="T36" fmla="*/ 885 w 1872"/>
              <a:gd name="T37" fmla="*/ 18 h 2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2" h="2138">
                <a:moveTo>
                  <a:pt x="885" y="18"/>
                </a:moveTo>
                <a:lnTo>
                  <a:pt x="885" y="18"/>
                </a:lnTo>
                <a:cubicBezTo>
                  <a:pt x="917" y="0"/>
                  <a:pt x="955" y="0"/>
                  <a:pt x="986" y="18"/>
                </a:cubicBezTo>
                <a:lnTo>
                  <a:pt x="1820" y="500"/>
                </a:lnTo>
                <a:lnTo>
                  <a:pt x="1820" y="500"/>
                </a:lnTo>
                <a:cubicBezTo>
                  <a:pt x="1851" y="517"/>
                  <a:pt x="1871" y="551"/>
                  <a:pt x="1871" y="588"/>
                </a:cubicBezTo>
                <a:lnTo>
                  <a:pt x="1871" y="1549"/>
                </a:lnTo>
                <a:lnTo>
                  <a:pt x="1871" y="1549"/>
                </a:lnTo>
                <a:cubicBezTo>
                  <a:pt x="1871" y="1586"/>
                  <a:pt x="1851" y="1620"/>
                  <a:pt x="1820" y="1637"/>
                </a:cubicBezTo>
                <a:lnTo>
                  <a:pt x="986" y="2119"/>
                </a:lnTo>
                <a:lnTo>
                  <a:pt x="986" y="2119"/>
                </a:lnTo>
                <a:cubicBezTo>
                  <a:pt x="955" y="2137"/>
                  <a:pt x="917" y="2137"/>
                  <a:pt x="885" y="2119"/>
                </a:cubicBezTo>
                <a:lnTo>
                  <a:pt x="51" y="1637"/>
                </a:lnTo>
                <a:lnTo>
                  <a:pt x="51" y="1637"/>
                </a:lnTo>
                <a:cubicBezTo>
                  <a:pt x="20" y="1620"/>
                  <a:pt x="0" y="1586"/>
                  <a:pt x="0" y="1549"/>
                </a:cubicBezTo>
                <a:lnTo>
                  <a:pt x="0" y="588"/>
                </a:lnTo>
                <a:lnTo>
                  <a:pt x="0" y="588"/>
                </a:lnTo>
                <a:cubicBezTo>
                  <a:pt x="0" y="551"/>
                  <a:pt x="20" y="517"/>
                  <a:pt x="51" y="500"/>
                </a:cubicBezTo>
                <a:lnTo>
                  <a:pt x="885" y="18"/>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26" name="TextBox 37">
            <a:extLst>
              <a:ext uri="{FF2B5EF4-FFF2-40B4-BE49-F238E27FC236}">
                <a16:creationId xmlns:a16="http://schemas.microsoft.com/office/drawing/2014/main" xmlns="" id="{F122EBBB-BE47-44F2-BDB0-D564B59A715E}"/>
              </a:ext>
            </a:extLst>
          </p:cNvPr>
          <p:cNvSpPr txBox="1"/>
          <p:nvPr/>
        </p:nvSpPr>
        <p:spPr>
          <a:xfrm>
            <a:off x="9868166" y="4881296"/>
            <a:ext cx="1266437" cy="584775"/>
          </a:xfrm>
          <a:prstGeom prst="rect">
            <a:avLst/>
          </a:prstGeom>
          <a:noFill/>
        </p:spPr>
        <p:txBody>
          <a:bodyPr wrap="none" rtlCol="0" anchor="t" anchorCtr="0">
            <a:spAutoFit/>
          </a:bodyPr>
          <a:lstStyle/>
          <a:p>
            <a:pPr algn="ctr"/>
            <a:r>
              <a:rPr lang="en-GB" sz="1600" b="1">
                <a:solidFill>
                  <a:schemeClr val="tx2"/>
                </a:solidFill>
                <a:latin typeface="+mj-lt"/>
                <a:ea typeface="League Spartan" charset="0"/>
                <a:cs typeface="Poppins" pitchFamily="2" charset="77"/>
              </a:rPr>
              <a:t>Gestión del cambio de BCM</a:t>
            </a:r>
            <a:br>
              <a:rPr lang="en-GB" sz="1600" b="1">
                <a:solidFill>
                  <a:schemeClr val="tx2"/>
                </a:solidFill>
                <a:latin typeface="+mj-lt"/>
                <a:ea typeface="League Spartan" charset="0"/>
                <a:cs typeface="Poppins" pitchFamily="2" charset="77"/>
              </a:rPr>
            </a:br>
            <a:r>
              <a:rPr lang="en-GB" sz="1600" b="1">
                <a:solidFill>
                  <a:schemeClr val="tx2"/>
                </a:solidFill>
                <a:latin typeface="+mj-lt"/>
                <a:ea typeface="League Spartan" charset="0"/>
                <a:cs typeface="Poppins" pitchFamily="2" charset="77"/>
              </a:rPr>
              <a:t>Gestión del cambio</a:t>
            </a:r>
            <a:endParaRPr lang="en-GB" sz="1600" b="1" dirty="0">
              <a:solidFill>
                <a:schemeClr val="tx2"/>
              </a:solidFill>
              <a:latin typeface="+mj-lt"/>
              <a:ea typeface="League Spartan" charset="0"/>
              <a:cs typeface="Poppins" pitchFamily="2" charset="77"/>
            </a:endParaRPr>
          </a:p>
        </p:txBody>
      </p:sp>
      <p:sp>
        <p:nvSpPr>
          <p:cNvPr id="28" name="TextBox 19">
            <a:extLst>
              <a:ext uri="{FF2B5EF4-FFF2-40B4-BE49-F238E27FC236}">
                <a16:creationId xmlns:a16="http://schemas.microsoft.com/office/drawing/2014/main" xmlns="" id="{C3EB7AEC-8673-47A3-B23D-113D2232EF5D}"/>
              </a:ext>
            </a:extLst>
          </p:cNvPr>
          <p:cNvSpPr txBox="1"/>
          <p:nvPr/>
        </p:nvSpPr>
        <p:spPr>
          <a:xfrm>
            <a:off x="6732185" y="4881296"/>
            <a:ext cx="1298305" cy="584775"/>
          </a:xfrm>
          <a:prstGeom prst="rect">
            <a:avLst/>
          </a:prstGeom>
          <a:noFill/>
        </p:spPr>
        <p:txBody>
          <a:bodyPr wrap="none" rtlCol="0" anchor="t" anchorCtr="0">
            <a:spAutoFit/>
          </a:bodyPr>
          <a:lstStyle/>
          <a:p>
            <a:pPr algn="ctr"/>
            <a:r>
              <a:rPr lang="en-GB" sz="1600" b="1">
                <a:solidFill>
                  <a:schemeClr val="tx2"/>
                </a:solidFill>
                <a:latin typeface="+mj-lt"/>
                <a:ea typeface="League Spartan" charset="0"/>
                <a:cs typeface="Poppins" pitchFamily="2" charset="77"/>
              </a:rPr>
              <a:t>Programa BCM</a:t>
            </a:r>
            <a:br>
              <a:rPr lang="en-GB" sz="1600" b="1">
                <a:solidFill>
                  <a:schemeClr val="tx2"/>
                </a:solidFill>
                <a:latin typeface="+mj-lt"/>
                <a:ea typeface="League Spartan" charset="0"/>
                <a:cs typeface="Poppins" pitchFamily="2" charset="77"/>
              </a:rPr>
            </a:br>
            <a:r>
              <a:rPr lang="en-GB" sz="1600" b="1">
                <a:solidFill>
                  <a:schemeClr val="tx2"/>
                </a:solidFill>
                <a:latin typeface="+mj-lt"/>
                <a:ea typeface="League Spartan" charset="0"/>
                <a:cs typeface="Poppins" pitchFamily="2" charset="77"/>
              </a:rPr>
              <a:t>Gestión</a:t>
            </a:r>
            <a:endParaRPr lang="en-GB" sz="1600" b="1" dirty="0">
              <a:solidFill>
                <a:schemeClr val="tx2"/>
              </a:solidFill>
              <a:latin typeface="+mj-lt"/>
              <a:ea typeface="League Spartan" charset="0"/>
              <a:cs typeface="Poppins" pitchFamily="2" charset="77"/>
            </a:endParaRPr>
          </a:p>
        </p:txBody>
      </p:sp>
      <p:sp>
        <p:nvSpPr>
          <p:cNvPr id="30" name="TextBox 43">
            <a:extLst>
              <a:ext uri="{FF2B5EF4-FFF2-40B4-BE49-F238E27FC236}">
                <a16:creationId xmlns:a16="http://schemas.microsoft.com/office/drawing/2014/main" xmlns="" id="{045778D2-140D-49F9-8CB8-190045EA7B0C}"/>
              </a:ext>
            </a:extLst>
          </p:cNvPr>
          <p:cNvSpPr txBox="1"/>
          <p:nvPr/>
        </p:nvSpPr>
        <p:spPr>
          <a:xfrm>
            <a:off x="8400834" y="3005487"/>
            <a:ext cx="1081065" cy="338554"/>
          </a:xfrm>
          <a:prstGeom prst="rect">
            <a:avLst/>
          </a:prstGeom>
          <a:noFill/>
        </p:spPr>
        <p:txBody>
          <a:bodyPr wrap="none" lIns="91440" tIns="45720" rIns="91440" bIns="45720" rtlCol="0" anchor="b" anchorCtr="0">
            <a:spAutoFit/>
          </a:bodyPr>
          <a:lstStyle/>
          <a:p>
            <a:pPr algn="ctr"/>
            <a:r>
              <a:rPr lang="en-GB" sz="1600" b="1" dirty="0">
                <a:solidFill>
                  <a:schemeClr val="tx2"/>
                </a:solidFill>
                <a:latin typeface="+mj-lt"/>
                <a:ea typeface="League Spartan" charset="0"/>
                <a:cs typeface="Poppins" pitchFamily="2" charset="77"/>
              </a:rPr>
              <a:t>Política de BCM</a:t>
            </a:r>
          </a:p>
        </p:txBody>
      </p:sp>
      <p:sp>
        <p:nvSpPr>
          <p:cNvPr id="31" name="TextBox 48">
            <a:extLst>
              <a:ext uri="{FF2B5EF4-FFF2-40B4-BE49-F238E27FC236}">
                <a16:creationId xmlns:a16="http://schemas.microsoft.com/office/drawing/2014/main" xmlns="" id="{D9CE3E7D-97C1-434F-A676-6D8A6A436A90}"/>
              </a:ext>
            </a:extLst>
          </p:cNvPr>
          <p:cNvSpPr txBox="1"/>
          <p:nvPr/>
        </p:nvSpPr>
        <p:spPr>
          <a:xfrm>
            <a:off x="7179187" y="3861939"/>
            <a:ext cx="404278" cy="611834"/>
          </a:xfrm>
          <a:prstGeom prst="rect">
            <a:avLst/>
          </a:prstGeom>
          <a:noFill/>
        </p:spPr>
        <p:txBody>
          <a:bodyPr wrap="none" rtlCol="0" anchor="ctr">
            <a:spAutoFit/>
          </a:bodyPr>
          <a:lstStyle/>
          <a:p>
            <a:pPr algn="ctr"/>
            <a:r>
              <a:rPr lang="en-GB" sz="3376" b="1">
                <a:solidFill>
                  <a:schemeClr val="accent1"/>
                </a:solidFill>
                <a:latin typeface="+mj-lt"/>
                <a:cs typeface="Poppins" pitchFamily="2" charset="77"/>
              </a:rPr>
              <a:t>1</a:t>
            </a:r>
            <a:endParaRPr lang="en-GB" sz="3376" b="1" dirty="0">
              <a:solidFill>
                <a:schemeClr val="accent1"/>
              </a:solidFill>
              <a:latin typeface="+mj-lt"/>
              <a:cs typeface="Poppins" pitchFamily="2" charset="77"/>
            </a:endParaRPr>
          </a:p>
        </p:txBody>
      </p:sp>
      <p:sp>
        <p:nvSpPr>
          <p:cNvPr id="32" name="TextBox 49">
            <a:extLst>
              <a:ext uri="{FF2B5EF4-FFF2-40B4-BE49-F238E27FC236}">
                <a16:creationId xmlns:a16="http://schemas.microsoft.com/office/drawing/2014/main" xmlns="" id="{B1EA253C-EEF4-4941-9456-E959421FF7BC}"/>
              </a:ext>
            </a:extLst>
          </p:cNvPr>
          <p:cNvSpPr txBox="1"/>
          <p:nvPr/>
        </p:nvSpPr>
        <p:spPr>
          <a:xfrm>
            <a:off x="8739208" y="3861939"/>
            <a:ext cx="404278" cy="611834"/>
          </a:xfrm>
          <a:prstGeom prst="rect">
            <a:avLst/>
          </a:prstGeom>
          <a:noFill/>
        </p:spPr>
        <p:txBody>
          <a:bodyPr wrap="none" rtlCol="0" anchor="ctr">
            <a:spAutoFit/>
          </a:bodyPr>
          <a:lstStyle/>
          <a:p>
            <a:pPr algn="ctr"/>
            <a:r>
              <a:rPr lang="en-GB" sz="3376" b="1">
                <a:solidFill>
                  <a:schemeClr val="accent2"/>
                </a:solidFill>
                <a:latin typeface="+mj-lt"/>
                <a:cs typeface="Poppins" pitchFamily="2" charset="77"/>
              </a:rPr>
              <a:t>2</a:t>
            </a:r>
            <a:endParaRPr lang="en-GB" sz="3376" b="1" dirty="0">
              <a:solidFill>
                <a:schemeClr val="accent2"/>
              </a:solidFill>
              <a:latin typeface="+mj-lt"/>
              <a:cs typeface="Poppins" pitchFamily="2" charset="77"/>
            </a:endParaRPr>
          </a:p>
        </p:txBody>
      </p:sp>
      <p:sp>
        <p:nvSpPr>
          <p:cNvPr id="33" name="TextBox 50">
            <a:extLst>
              <a:ext uri="{FF2B5EF4-FFF2-40B4-BE49-F238E27FC236}">
                <a16:creationId xmlns:a16="http://schemas.microsoft.com/office/drawing/2014/main" xmlns="" id="{8FEE6A9F-C610-4C96-9051-718A698EA8FA}"/>
              </a:ext>
            </a:extLst>
          </p:cNvPr>
          <p:cNvSpPr txBox="1"/>
          <p:nvPr/>
        </p:nvSpPr>
        <p:spPr>
          <a:xfrm>
            <a:off x="10299228" y="3861939"/>
            <a:ext cx="404278" cy="611834"/>
          </a:xfrm>
          <a:prstGeom prst="rect">
            <a:avLst/>
          </a:prstGeom>
          <a:noFill/>
        </p:spPr>
        <p:txBody>
          <a:bodyPr wrap="none" rtlCol="0" anchor="ctr">
            <a:spAutoFit/>
          </a:bodyPr>
          <a:lstStyle/>
          <a:p>
            <a:pPr algn="ctr"/>
            <a:r>
              <a:rPr lang="en-GB" sz="3376" b="1">
                <a:solidFill>
                  <a:schemeClr val="accent3"/>
                </a:solidFill>
                <a:latin typeface="+mj-lt"/>
                <a:cs typeface="Poppins" pitchFamily="2" charset="77"/>
              </a:rPr>
              <a:t>3</a:t>
            </a:r>
            <a:endParaRPr lang="en-GB" sz="3376" b="1" dirty="0">
              <a:solidFill>
                <a:schemeClr val="accent3"/>
              </a:solidFill>
              <a:latin typeface="+mj-lt"/>
              <a:cs typeface="Poppins" pitchFamily="2" charset="77"/>
            </a:endParaRPr>
          </a:p>
        </p:txBody>
      </p:sp>
      <p:sp>
        <p:nvSpPr>
          <p:cNvPr id="34" name="Gleichschenkliges Dreieck 33">
            <a:extLst>
              <a:ext uri="{FF2B5EF4-FFF2-40B4-BE49-F238E27FC236}">
                <a16:creationId xmlns:a16="http://schemas.microsoft.com/office/drawing/2014/main" xmlns="" id="{DB826488-6585-4BA3-BBCE-202A1FFF150F}"/>
              </a:ext>
            </a:extLst>
          </p:cNvPr>
          <p:cNvSpPr/>
          <p:nvPr/>
        </p:nvSpPr>
        <p:spPr>
          <a:xfrm rot="5400000">
            <a:off x="7886798" y="4097738"/>
            <a:ext cx="547902" cy="160824"/>
          </a:xfrm>
          <a:prstGeom prst="triangle">
            <a:avLst/>
          </a:prstGeom>
          <a:solidFill>
            <a:srgbClr val="E94EA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5" name="Gleichschenkliges Dreieck 34">
            <a:extLst>
              <a:ext uri="{FF2B5EF4-FFF2-40B4-BE49-F238E27FC236}">
                <a16:creationId xmlns:a16="http://schemas.microsoft.com/office/drawing/2014/main" xmlns="" id="{ED58E4BC-4409-4B4B-8B9C-3ADF5D94B693}"/>
              </a:ext>
            </a:extLst>
          </p:cNvPr>
          <p:cNvSpPr/>
          <p:nvPr/>
        </p:nvSpPr>
        <p:spPr>
          <a:xfrm rot="5400000">
            <a:off x="9426803" y="4087444"/>
            <a:ext cx="547902" cy="160824"/>
          </a:xfrm>
          <a:prstGeom prst="triangle">
            <a:avLst/>
          </a:prstGeom>
          <a:solidFill>
            <a:srgbClr val="E94EA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649943" y="1875831"/>
            <a:ext cx="5062087" cy="5129912"/>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1900" dirty="0">
                <a:latin typeface="+mj-lt"/>
              </a:rPr>
              <a:t>La gestión de la BCM debe estar respaldada por la alta dirección: </a:t>
            </a:r>
            <a:endParaRPr lang="en-US" sz="1900" dirty="0"/>
          </a:p>
          <a:p>
            <a:pPr marL="1373386" lvl="1" indent="-285750" algn="l">
              <a:lnSpc>
                <a:spcPct val="100000"/>
              </a:lnSpc>
              <a:spcBef>
                <a:spcPts val="600"/>
              </a:spcBef>
              <a:buFont typeface="Wingdings" panose="05000000000000000000" pitchFamily="2" charset="2"/>
              <a:buChar char="à"/>
            </a:pPr>
            <a:r>
              <a:rPr lang="en-GB" altLang="de-DE" sz="1800" dirty="0">
                <a:solidFill>
                  <a:schemeClr val="tx2"/>
                </a:solidFill>
                <a:latin typeface="+mj-lt"/>
                <a:sym typeface="Wingdings" panose="05000000000000000000" pitchFamily="2" charset="2"/>
              </a:rPr>
              <a:t>Compromiso del Consejo y participación proactiva</a:t>
            </a:r>
            <a:endParaRPr lang="en-GB" altLang="de-DE" sz="1800" dirty="0">
              <a:solidFill>
                <a:schemeClr val="tx2"/>
              </a:solidFill>
              <a:latin typeface="+mj-lt"/>
            </a:endParaRPr>
          </a:p>
          <a:p>
            <a:pPr marL="1373386" lvl="1" indent="-285750" algn="l">
              <a:lnSpc>
                <a:spcPct val="100000"/>
              </a:lnSpc>
              <a:spcBef>
                <a:spcPts val="600"/>
              </a:spcBef>
              <a:buFont typeface="Wingdings" panose="05000000000000000000" pitchFamily="2" charset="2"/>
              <a:buChar char="à"/>
            </a:pPr>
            <a:r>
              <a:rPr lang="en-GB" altLang="de-DE" sz="1800" dirty="0">
                <a:solidFill>
                  <a:schemeClr val="tx2"/>
                </a:solidFill>
                <a:latin typeface="+mj-lt"/>
                <a:sym typeface="Wingdings" panose="05000000000000000000" pitchFamily="2" charset="2"/>
              </a:rPr>
              <a:t>Estrategia de BCM</a:t>
            </a:r>
            <a:endParaRPr lang="en-GB" altLang="de-DE" sz="1800" dirty="0">
              <a:solidFill>
                <a:schemeClr val="tx2"/>
              </a:solidFill>
              <a:latin typeface="+mj-lt"/>
            </a:endParaRPr>
          </a:p>
          <a:p>
            <a:pPr marL="1373386" lvl="1" indent="-285750" algn="l">
              <a:lnSpc>
                <a:spcPct val="100000"/>
              </a:lnSpc>
              <a:spcBef>
                <a:spcPts val="600"/>
              </a:spcBef>
              <a:buFont typeface="Wingdings" panose="05000000000000000000" pitchFamily="2" charset="2"/>
              <a:buChar char="à"/>
            </a:pPr>
            <a:r>
              <a:rPr lang="en-GB" altLang="de-DE" sz="1800" dirty="0">
                <a:solidFill>
                  <a:schemeClr val="tx2"/>
                </a:solidFill>
                <a:latin typeface="+mj-lt"/>
                <a:sym typeface="Wingdings" panose="05000000000000000000" pitchFamily="2" charset="2"/>
              </a:rPr>
              <a:t>Política de BCM</a:t>
            </a:r>
            <a:endParaRPr lang="en-GB" altLang="de-DE" sz="1800" dirty="0">
              <a:solidFill>
                <a:schemeClr val="tx2"/>
              </a:solidFill>
              <a:latin typeface="+mj-lt"/>
            </a:endParaRPr>
          </a:p>
          <a:p>
            <a:pPr marL="1373386" lvl="1" indent="-285750" algn="l">
              <a:lnSpc>
                <a:spcPct val="100000"/>
              </a:lnSpc>
              <a:spcBef>
                <a:spcPts val="600"/>
              </a:spcBef>
              <a:buFont typeface="Wingdings" panose="05000000000000000000" pitchFamily="2" charset="2"/>
              <a:buChar char="à"/>
            </a:pPr>
            <a:r>
              <a:rPr lang="en-GB" altLang="de-DE" sz="1800" dirty="0">
                <a:solidFill>
                  <a:schemeClr val="tx2"/>
                </a:solidFill>
                <a:latin typeface="+mj-lt"/>
                <a:sym typeface="Wingdings" panose="05000000000000000000" pitchFamily="2" charset="2"/>
              </a:rPr>
              <a:t>Marco de la gestión de la cadena de suministro (BCM)</a:t>
            </a:r>
            <a:endParaRPr lang="en-GB" altLang="de-DE" sz="1800" dirty="0">
              <a:solidFill>
                <a:schemeClr val="tx2"/>
              </a:solidFill>
              <a:latin typeface="+mj-lt"/>
            </a:endParaRPr>
          </a:p>
          <a:p>
            <a:pPr marL="1373386" lvl="1" indent="-285750" algn="l">
              <a:lnSpc>
                <a:spcPct val="100000"/>
              </a:lnSpc>
              <a:spcBef>
                <a:spcPts val="600"/>
              </a:spcBef>
              <a:buFont typeface="Wingdings" panose="05000000000000000000" pitchFamily="2" charset="2"/>
              <a:buChar char="à"/>
            </a:pPr>
            <a:r>
              <a:rPr lang="en-GB" altLang="de-DE" sz="1800" dirty="0">
                <a:solidFill>
                  <a:schemeClr val="tx2"/>
                </a:solidFill>
                <a:latin typeface="+mj-lt"/>
                <a:sym typeface="Wingdings" panose="05000000000000000000" pitchFamily="2" charset="2"/>
              </a:rPr>
              <a:t>Funciones, responsabilidad y autoridad</a:t>
            </a:r>
            <a:endParaRPr lang="en-GB" altLang="de-DE" sz="1800" dirty="0">
              <a:solidFill>
                <a:schemeClr val="tx2"/>
              </a:solidFill>
              <a:latin typeface="+mj-lt"/>
            </a:endParaRPr>
          </a:p>
          <a:p>
            <a:pPr marL="1373386" lvl="1" indent="-285750" algn="l">
              <a:lnSpc>
                <a:spcPct val="100000"/>
              </a:lnSpc>
              <a:spcBef>
                <a:spcPts val="600"/>
              </a:spcBef>
              <a:buFont typeface="Wingdings" panose="05000000000000000000" pitchFamily="2" charset="2"/>
              <a:buChar char="à"/>
            </a:pPr>
            <a:r>
              <a:rPr lang="en-GB" altLang="de-DE" sz="1800" dirty="0">
                <a:solidFill>
                  <a:schemeClr val="tx2"/>
                </a:solidFill>
                <a:latin typeface="+mj-lt"/>
                <a:sym typeface="Wingdings" panose="05000000000000000000" pitchFamily="2" charset="2"/>
              </a:rPr>
              <a:t>Finanzas</a:t>
            </a:r>
            <a:endParaRPr lang="en-GB" altLang="de-DE" sz="1800" dirty="0">
              <a:solidFill>
                <a:schemeClr val="tx2"/>
              </a:solidFill>
              <a:latin typeface="+mj-lt"/>
            </a:endParaRPr>
          </a:p>
          <a:p>
            <a:pPr marL="1373386" lvl="1" indent="-285750" algn="l">
              <a:lnSpc>
                <a:spcPct val="100000"/>
              </a:lnSpc>
              <a:spcBef>
                <a:spcPts val="600"/>
              </a:spcBef>
              <a:buFont typeface="Wingdings" panose="05000000000000000000" pitchFamily="2" charset="2"/>
              <a:buChar char="à"/>
            </a:pPr>
            <a:r>
              <a:rPr lang="en-GB" altLang="de-DE" sz="1800" dirty="0">
                <a:solidFill>
                  <a:schemeClr val="tx2"/>
                </a:solidFill>
                <a:latin typeface="+mj-lt"/>
                <a:sym typeface="Wingdings" panose="05000000000000000000" pitchFamily="2" charset="2"/>
              </a:rPr>
              <a:t>Recursos</a:t>
            </a:r>
            <a:endParaRPr lang="en-GB" altLang="de-DE" sz="1800" dirty="0">
              <a:solidFill>
                <a:schemeClr val="tx2"/>
              </a:solidFill>
              <a:latin typeface="+mj-lt"/>
            </a:endParaRPr>
          </a:p>
          <a:p>
            <a:pPr marL="1373386" lvl="1" indent="-285750" algn="l">
              <a:lnSpc>
                <a:spcPct val="100000"/>
              </a:lnSpc>
              <a:spcBef>
                <a:spcPts val="600"/>
              </a:spcBef>
              <a:buFont typeface="Wingdings" panose="05000000000000000000" pitchFamily="2" charset="2"/>
              <a:buChar char="à"/>
            </a:pPr>
            <a:r>
              <a:rPr lang="en-GB" altLang="de-DE" sz="1800" dirty="0">
                <a:solidFill>
                  <a:schemeClr val="tx2"/>
                </a:solidFill>
                <a:latin typeface="+mj-lt"/>
                <a:sym typeface="Wingdings" panose="05000000000000000000" pitchFamily="2" charset="2"/>
              </a:rPr>
              <a:t>Garantía</a:t>
            </a:r>
            <a:endParaRPr lang="en-GB" altLang="de-DE" sz="1800" dirty="0">
              <a:solidFill>
                <a:schemeClr val="tx2"/>
              </a:solidFill>
              <a:latin typeface="+mj-lt"/>
            </a:endParaRPr>
          </a:p>
          <a:p>
            <a:pPr marL="1373386" lvl="1" indent="-285750" algn="l">
              <a:lnSpc>
                <a:spcPct val="100000"/>
              </a:lnSpc>
              <a:spcBef>
                <a:spcPts val="600"/>
              </a:spcBef>
              <a:buFont typeface="Wingdings" panose="05000000000000000000" pitchFamily="2" charset="2"/>
              <a:buChar char="à"/>
            </a:pPr>
            <a:r>
              <a:rPr lang="en-GB" altLang="de-DE" sz="1800" dirty="0">
                <a:solidFill>
                  <a:schemeClr val="tx2"/>
                </a:solidFill>
                <a:latin typeface="+mj-lt"/>
                <a:sym typeface="Wingdings" panose="05000000000000000000" pitchFamily="2" charset="2"/>
              </a:rPr>
              <a:t>Gestión del cambio</a:t>
            </a:r>
            <a:endParaRPr lang="en-GB" altLang="de-DE" sz="1800" dirty="0">
              <a:solidFill>
                <a:schemeClr val="tx2"/>
              </a:solidFill>
              <a:latin typeface="+mj-lt"/>
            </a:endParaRPr>
          </a:p>
          <a:p>
            <a:pPr marL="1373386" lvl="1" indent="-285750" algn="l">
              <a:lnSpc>
                <a:spcPct val="100000"/>
              </a:lnSpc>
              <a:spcBef>
                <a:spcPts val="600"/>
              </a:spcBef>
              <a:buFont typeface="Wingdings" panose="05000000000000000000" pitchFamily="2" charset="2"/>
              <a:buChar char="à"/>
            </a:pPr>
            <a:r>
              <a:rPr lang="en-GB" altLang="de-DE" sz="1800" dirty="0">
                <a:solidFill>
                  <a:schemeClr val="tx2"/>
                </a:solidFill>
                <a:latin typeface="+mj-lt"/>
                <a:sym typeface="Wingdings" panose="05000000000000000000" pitchFamily="2" charset="2"/>
              </a:rPr>
              <a:t>Información de gestión / Métricas</a:t>
            </a:r>
            <a:endParaRPr lang="en-GB" altLang="de-DE" sz="1800" dirty="0">
              <a:solidFill>
                <a:schemeClr val="tx2"/>
              </a:solidFill>
              <a:latin typeface="+mj-lt"/>
            </a:endParaRPr>
          </a:p>
          <a:p>
            <a:pPr algn="l">
              <a:lnSpc>
                <a:spcPct val="100000"/>
              </a:lnSpc>
              <a:spcBef>
                <a:spcPts val="600"/>
              </a:spcBef>
            </a:pPr>
            <a:endParaRPr lang="en-GB" altLang="de-DE" sz="1900" dirty="0">
              <a:latin typeface="+mj-lt"/>
            </a:endParaRPr>
          </a:p>
        </p:txBody>
      </p:sp>
    </p:spTree>
    <p:extLst>
      <p:ext uri="{BB962C8B-B14F-4D97-AF65-F5344CB8AC3E}">
        <p14:creationId xmlns:p14="http://schemas.microsoft.com/office/powerpoint/2010/main" val="21836624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427461" y="1832508"/>
            <a:ext cx="3497767" cy="697353"/>
          </a:xfrm>
        </p:spPr>
        <p:txBody>
          <a:bodyPr/>
          <a:lstStyle/>
          <a:p>
            <a:r>
              <a:rPr lang="en-GB" sz="2800" dirty="0">
                <a:latin typeface="+mj-lt"/>
              </a:rPr>
              <a:t>Ahora que ha completado nuestro viaje de aprendizaje, le deseamos lo mejor en el futuro. </a:t>
            </a:r>
          </a:p>
          <a:p>
            <a:r>
              <a:rPr lang="en-GB" sz="2800" dirty="0">
                <a:latin typeface="+mj-lt"/>
              </a:rPr>
              <a:t>Por favor, comparta este curso con sus homólogos y dentro de su red.</a:t>
            </a:r>
          </a:p>
        </p:txBody>
      </p:sp>
    </p:spTree>
    <p:extLst>
      <p:ext uri="{BB962C8B-B14F-4D97-AF65-F5344CB8AC3E}">
        <p14:creationId xmlns:p14="http://schemas.microsoft.com/office/powerpoint/2010/main" val="4333665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BD5919DC-C58D-48A1-A188-CD53E0218471}"/>
              </a:ext>
            </a:extLst>
          </p:cNvPr>
          <p:cNvSpPr>
            <a:spLocks noGrp="1"/>
          </p:cNvSpPr>
          <p:nvPr>
            <p:ph type="body" sz="quarter" idx="11"/>
          </p:nvPr>
        </p:nvSpPr>
        <p:spPr>
          <a:xfrm>
            <a:off x="363783" y="2723027"/>
            <a:ext cx="9821959" cy="1582271"/>
          </a:xfrm>
        </p:spPr>
        <p:txBody>
          <a:bodyPr/>
          <a:lstStyle/>
          <a:p>
            <a:r>
              <a:rPr lang="en-GB" dirty="0"/>
              <a:t>Resistencia a las crisis - Continuidad de las actividades </a:t>
            </a:r>
          </a:p>
        </p:txBody>
      </p:sp>
    </p:spTree>
    <p:extLst>
      <p:ext uri="{BB962C8B-B14F-4D97-AF65-F5344CB8AC3E}">
        <p14:creationId xmlns:p14="http://schemas.microsoft.com/office/powerpoint/2010/main" val="40174888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D826129A-702D-4A96-87C5-ABC7105668F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050"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a16="http://schemas.microsoft.com/office/drawing/2014/main" xmlns=""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33487" y="526914"/>
            <a:ext cx="8852375" cy="697353"/>
          </a:xfrm>
        </p:spPr>
        <p:txBody>
          <a:bodyPr>
            <a:normAutofit/>
          </a:bodyPr>
          <a:lstStyle/>
          <a:p>
            <a:r>
              <a:rPr lang="en-GB" dirty="0"/>
              <a:t>La dura realidad de las crisis</a:t>
            </a:r>
          </a:p>
        </p:txBody>
      </p:sp>
      <p:sp>
        <p:nvSpPr>
          <p:cNvPr id="95" name="Subtitle 2">
            <a:extLst>
              <a:ext uri="{FF2B5EF4-FFF2-40B4-BE49-F238E27FC236}">
                <a16:creationId xmlns:a16="http://schemas.microsoft.com/office/drawing/2014/main" xmlns="" id="{80CD9C37-64A6-4D5D-8180-A277C0BF7767}"/>
              </a:ext>
            </a:extLst>
          </p:cNvPr>
          <p:cNvSpPr txBox="1">
            <a:spLocks/>
          </p:cNvSpPr>
          <p:nvPr/>
        </p:nvSpPr>
        <p:spPr>
          <a:xfrm>
            <a:off x="259555" y="2079821"/>
            <a:ext cx="2784260" cy="3806475"/>
          </a:xfrm>
          <a:prstGeom prst="rect">
            <a:avLst/>
          </a:prstGeom>
        </p:spPr>
        <p:txBody>
          <a:bodyPr vert="horz" wrap="square" lIns="81580" tIns="40791" rIns="81580" bIns="4079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sz="2200" dirty="0">
                <a:latin typeface="+mj-lt"/>
                <a:ea typeface="Open Sans Light" panose="020B0306030504020204" pitchFamily="34" charset="0"/>
                <a:cs typeface="Open Sans Light" panose="020B0306030504020204" pitchFamily="34" charset="0"/>
              </a:rPr>
              <a:t>La dura verdad sobre las crisis empresariales es que, en casi todos los casos, podrían haberse evitado. La mayoría de las situaciones pueden predecirse, y si se pueden predecir, se pueden evitar, o al menos minimizar sus efectos. </a:t>
            </a:r>
            <a:endParaRPr lang="en-GB" sz="2200" dirty="0">
              <a:latin typeface="+mj-lt"/>
              <a:ea typeface="Open Sans Light" panose="020B0306030504020204" pitchFamily="34" charset="0"/>
              <a:cs typeface="Open Sans Light" panose="020B0306030504020204" pitchFamily="34" charset="0"/>
            </a:endParaRPr>
          </a:p>
        </p:txBody>
      </p:sp>
      <p:sp>
        <p:nvSpPr>
          <p:cNvPr id="41" name="Rectangle 3">
            <a:extLst>
              <a:ext uri="{FF2B5EF4-FFF2-40B4-BE49-F238E27FC236}">
                <a16:creationId xmlns:a16="http://schemas.microsoft.com/office/drawing/2014/main" xmlns="" id="{B539AA11-91F1-491D-A2BC-2EA7CE318D36}"/>
              </a:ext>
            </a:extLst>
          </p:cNvPr>
          <p:cNvSpPr/>
          <p:nvPr/>
        </p:nvSpPr>
        <p:spPr>
          <a:xfrm>
            <a:off x="9376619" y="4268134"/>
            <a:ext cx="428040" cy="4280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Roboto Bold" charset="0"/>
            </a:endParaRPr>
          </a:p>
        </p:txBody>
      </p:sp>
      <p:sp>
        <p:nvSpPr>
          <p:cNvPr id="43" name="TextBox 5">
            <a:extLst>
              <a:ext uri="{FF2B5EF4-FFF2-40B4-BE49-F238E27FC236}">
                <a16:creationId xmlns:a16="http://schemas.microsoft.com/office/drawing/2014/main" xmlns="" id="{1AC21BAA-1520-480F-83E2-57CE88C23D40}"/>
              </a:ext>
            </a:extLst>
          </p:cNvPr>
          <p:cNvSpPr txBox="1"/>
          <p:nvPr/>
        </p:nvSpPr>
        <p:spPr>
          <a:xfrm>
            <a:off x="10006208" y="4199734"/>
            <a:ext cx="1975966" cy="1477328"/>
          </a:xfrm>
          <a:prstGeom prst="rect">
            <a:avLst/>
          </a:prstGeom>
          <a:noFill/>
        </p:spPr>
        <p:txBody>
          <a:bodyPr wrap="square" rtlCol="0">
            <a:spAutoFit/>
          </a:bodyPr>
          <a:lstStyle>
            <a:defPPr>
              <a:defRPr lang="en-US"/>
            </a:defPPr>
            <a:lvl1pPr>
              <a:defRPr sz="1313">
                <a:latin typeface="+mj-lt"/>
                <a:ea typeface="Lato Light" charset="0"/>
                <a:cs typeface="Lato Light" charset="0"/>
              </a:defRPr>
            </a:lvl1pPr>
          </a:lstStyle>
          <a:p>
            <a:r>
              <a:rPr lang="en-GB" sz="1800" dirty="0"/>
              <a:t>LA NEGACIÓN DE LA GESTIÓN es el mayor obstáculo para una gestión eficaz de las crisis</a:t>
            </a:r>
          </a:p>
        </p:txBody>
      </p:sp>
      <p:sp>
        <p:nvSpPr>
          <p:cNvPr id="50" name="Rectangle 6">
            <a:extLst>
              <a:ext uri="{FF2B5EF4-FFF2-40B4-BE49-F238E27FC236}">
                <a16:creationId xmlns:a16="http://schemas.microsoft.com/office/drawing/2014/main" xmlns="" id="{A274DE0E-7F97-48F1-8F7D-D51F79CE4156}"/>
              </a:ext>
            </a:extLst>
          </p:cNvPr>
          <p:cNvSpPr/>
          <p:nvPr/>
        </p:nvSpPr>
        <p:spPr>
          <a:xfrm>
            <a:off x="9376619" y="2289553"/>
            <a:ext cx="428040" cy="428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Roboto Bold" charset="0"/>
            </a:endParaRPr>
          </a:p>
        </p:txBody>
      </p:sp>
      <p:sp>
        <p:nvSpPr>
          <p:cNvPr id="52" name="TextBox 8">
            <a:extLst>
              <a:ext uri="{FF2B5EF4-FFF2-40B4-BE49-F238E27FC236}">
                <a16:creationId xmlns:a16="http://schemas.microsoft.com/office/drawing/2014/main" xmlns="" id="{C74C5934-CCD7-43E4-9DC3-6AF7375AFCCD}"/>
              </a:ext>
            </a:extLst>
          </p:cNvPr>
          <p:cNvSpPr txBox="1"/>
          <p:nvPr/>
        </p:nvSpPr>
        <p:spPr>
          <a:xfrm>
            <a:off x="9955723" y="2212182"/>
            <a:ext cx="2076935" cy="1754326"/>
          </a:xfrm>
          <a:prstGeom prst="rect">
            <a:avLst/>
          </a:prstGeom>
          <a:noFill/>
        </p:spPr>
        <p:txBody>
          <a:bodyPr wrap="square" rtlCol="0">
            <a:spAutoFit/>
          </a:bodyPr>
          <a:lstStyle>
            <a:defPPr>
              <a:defRPr lang="en-US"/>
            </a:defPPr>
            <a:lvl1pPr>
              <a:defRPr sz="1313">
                <a:latin typeface="+mj-lt"/>
                <a:ea typeface="Lato Light" charset="0"/>
                <a:cs typeface="Lato Light" charset="0"/>
              </a:defRPr>
            </a:lvl1pPr>
          </a:lstStyle>
          <a:p>
            <a:r>
              <a:rPr lang="en-GB" sz="1800" dirty="0">
                <a:solidFill>
                  <a:schemeClr val="accent2">
                    <a:lumMod val="75000"/>
                  </a:schemeClr>
                </a:solidFill>
              </a:rPr>
              <a:t>Los problemas graves no se convierten en "crisis" hasta que el PROBLEMA "ESCAPA" DE LA GESTIÓN</a:t>
            </a:r>
          </a:p>
        </p:txBody>
      </p:sp>
      <p:sp>
        <p:nvSpPr>
          <p:cNvPr id="53" name="Rectangle 9">
            <a:extLst>
              <a:ext uri="{FF2B5EF4-FFF2-40B4-BE49-F238E27FC236}">
                <a16:creationId xmlns:a16="http://schemas.microsoft.com/office/drawing/2014/main" xmlns="" id="{E34AB1B9-A13B-46C4-954B-E611529E963E}"/>
              </a:ext>
            </a:extLst>
          </p:cNvPr>
          <p:cNvSpPr/>
          <p:nvPr/>
        </p:nvSpPr>
        <p:spPr>
          <a:xfrm>
            <a:off x="3673518" y="4268134"/>
            <a:ext cx="428040" cy="4280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Roboto Bold" charset="0"/>
            </a:endParaRPr>
          </a:p>
        </p:txBody>
      </p:sp>
      <p:sp>
        <p:nvSpPr>
          <p:cNvPr id="55" name="TextBox 11">
            <a:extLst>
              <a:ext uri="{FF2B5EF4-FFF2-40B4-BE49-F238E27FC236}">
                <a16:creationId xmlns:a16="http://schemas.microsoft.com/office/drawing/2014/main" xmlns="" id="{D599777F-ACEB-4DC9-B4EF-B3601DEB238F}"/>
              </a:ext>
            </a:extLst>
          </p:cNvPr>
          <p:cNvSpPr txBox="1"/>
          <p:nvPr/>
        </p:nvSpPr>
        <p:spPr>
          <a:xfrm>
            <a:off x="4210875" y="4122790"/>
            <a:ext cx="2208010" cy="2308324"/>
          </a:xfrm>
          <a:prstGeom prst="rect">
            <a:avLst/>
          </a:prstGeom>
          <a:noFill/>
        </p:spPr>
        <p:txBody>
          <a:bodyPr wrap="square" rtlCol="0">
            <a:spAutoFit/>
          </a:bodyPr>
          <a:lstStyle>
            <a:defPPr>
              <a:defRPr lang="en-US"/>
            </a:defPPr>
            <a:lvl1pPr>
              <a:defRPr sz="1313">
                <a:latin typeface="+mj-lt"/>
                <a:ea typeface="Lato Light" charset="0"/>
                <a:cs typeface="Lato Light" charset="0"/>
              </a:defRPr>
            </a:lvl1pPr>
          </a:lstStyle>
          <a:p>
            <a:r>
              <a:rPr lang="en-GB" sz="1800" dirty="0">
                <a:solidFill>
                  <a:schemeClr val="accent4">
                    <a:lumMod val="75000"/>
                  </a:schemeClr>
                </a:solidFill>
              </a:rPr>
              <a:t>Cuanto más tiempo se prolongue una crisis, MÁS DAÑO sufrirá la asistencia, los beneficios, la cotización en bolsa, la moral, la posición competitiva y la confianza en la dirección</a:t>
            </a:r>
          </a:p>
        </p:txBody>
      </p:sp>
      <p:sp>
        <p:nvSpPr>
          <p:cNvPr id="56" name="Rectangle 12">
            <a:extLst>
              <a:ext uri="{FF2B5EF4-FFF2-40B4-BE49-F238E27FC236}">
                <a16:creationId xmlns:a16="http://schemas.microsoft.com/office/drawing/2014/main" xmlns="" id="{5D198D0A-20E8-4AA3-9F23-1E1642FDDFFB}"/>
              </a:ext>
            </a:extLst>
          </p:cNvPr>
          <p:cNvSpPr/>
          <p:nvPr/>
        </p:nvSpPr>
        <p:spPr>
          <a:xfrm>
            <a:off x="3673518" y="2289553"/>
            <a:ext cx="428040" cy="4280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Roboto Bold" charset="0"/>
            </a:endParaRPr>
          </a:p>
        </p:txBody>
      </p:sp>
      <p:sp>
        <p:nvSpPr>
          <p:cNvPr id="58" name="TextBox 14">
            <a:extLst>
              <a:ext uri="{FF2B5EF4-FFF2-40B4-BE49-F238E27FC236}">
                <a16:creationId xmlns:a16="http://schemas.microsoft.com/office/drawing/2014/main" xmlns="" id="{D763D76E-3438-40E1-97DC-943C7E8C743F}"/>
              </a:ext>
            </a:extLst>
          </p:cNvPr>
          <p:cNvSpPr txBox="1"/>
          <p:nvPr/>
        </p:nvSpPr>
        <p:spPr>
          <a:xfrm>
            <a:off x="4303107" y="1978839"/>
            <a:ext cx="1975966" cy="2031325"/>
          </a:xfrm>
          <a:prstGeom prst="rect">
            <a:avLst/>
          </a:prstGeom>
          <a:noFill/>
        </p:spPr>
        <p:txBody>
          <a:bodyPr wrap="square" rtlCol="0">
            <a:spAutoFit/>
          </a:bodyPr>
          <a:lstStyle/>
          <a:p>
            <a:r>
              <a:rPr lang="en-GB" dirty="0">
                <a:solidFill>
                  <a:srgbClr val="0070C0"/>
                </a:solidFill>
                <a:latin typeface="+mj-lt"/>
                <a:ea typeface="Lato Light" charset="0"/>
                <a:cs typeface="Lato Light" charset="0"/>
              </a:rPr>
              <a:t>La mayoría de las situaciones de crisis se pueden PREDECIR y PREVENIR; las que no se pueden evitar se pueden minimizar</a:t>
            </a:r>
          </a:p>
        </p:txBody>
      </p:sp>
      <p:grpSp>
        <p:nvGrpSpPr>
          <p:cNvPr id="63" name="Group 19">
            <a:extLst>
              <a:ext uri="{FF2B5EF4-FFF2-40B4-BE49-F238E27FC236}">
                <a16:creationId xmlns:a16="http://schemas.microsoft.com/office/drawing/2014/main" xmlns="" id="{B1B0889B-6B0E-4DC3-A067-00059C7DEAB2}"/>
              </a:ext>
            </a:extLst>
          </p:cNvPr>
          <p:cNvGrpSpPr/>
          <p:nvPr/>
        </p:nvGrpSpPr>
        <p:grpSpPr>
          <a:xfrm>
            <a:off x="6631138" y="1786510"/>
            <a:ext cx="2038007" cy="2909664"/>
            <a:chOff x="4949891" y="7807875"/>
            <a:chExt cx="2085433" cy="2977376"/>
          </a:xfrm>
        </p:grpSpPr>
        <p:sp>
          <p:nvSpPr>
            <p:cNvPr id="64" name="Freeform 25">
              <a:extLst>
                <a:ext uri="{FF2B5EF4-FFF2-40B4-BE49-F238E27FC236}">
                  <a16:creationId xmlns:a16="http://schemas.microsoft.com/office/drawing/2014/main" xmlns="" id="{AD609CC2-5CD0-4B45-9602-D739F799FE02}"/>
                </a:ext>
              </a:extLst>
            </p:cNvPr>
            <p:cNvSpPr>
              <a:spLocks/>
            </p:cNvSpPr>
            <p:nvPr/>
          </p:nvSpPr>
          <p:spPr bwMode="auto">
            <a:xfrm>
              <a:off x="4949891" y="8042765"/>
              <a:ext cx="2021949" cy="2599649"/>
            </a:xfrm>
            <a:custGeom>
              <a:avLst/>
              <a:gdLst>
                <a:gd name="T0" fmla="*/ 552 w 552"/>
                <a:gd name="T1" fmla="*/ 701 h 708"/>
                <a:gd name="T2" fmla="*/ 545 w 552"/>
                <a:gd name="T3" fmla="*/ 708 h 708"/>
                <a:gd name="T4" fmla="*/ 7 w 552"/>
                <a:gd name="T5" fmla="*/ 708 h 708"/>
                <a:gd name="T6" fmla="*/ 0 w 552"/>
                <a:gd name="T7" fmla="*/ 701 h 708"/>
                <a:gd name="T8" fmla="*/ 0 w 552"/>
                <a:gd name="T9" fmla="*/ 7 h 708"/>
                <a:gd name="T10" fmla="*/ 7 w 552"/>
                <a:gd name="T11" fmla="*/ 0 h 708"/>
                <a:gd name="T12" fmla="*/ 545 w 552"/>
                <a:gd name="T13" fmla="*/ 0 h 708"/>
                <a:gd name="T14" fmla="*/ 552 w 552"/>
                <a:gd name="T15" fmla="*/ 7 h 708"/>
                <a:gd name="T16" fmla="*/ 552 w 552"/>
                <a:gd name="T17" fmla="*/ 701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2" h="708">
                  <a:moveTo>
                    <a:pt x="552" y="701"/>
                  </a:moveTo>
                  <a:cubicBezTo>
                    <a:pt x="552" y="705"/>
                    <a:pt x="549" y="708"/>
                    <a:pt x="545" y="708"/>
                  </a:cubicBezTo>
                  <a:cubicBezTo>
                    <a:pt x="7" y="708"/>
                    <a:pt x="7" y="708"/>
                    <a:pt x="7" y="708"/>
                  </a:cubicBezTo>
                  <a:cubicBezTo>
                    <a:pt x="3" y="708"/>
                    <a:pt x="0" y="705"/>
                    <a:pt x="0" y="701"/>
                  </a:cubicBezTo>
                  <a:cubicBezTo>
                    <a:pt x="0" y="7"/>
                    <a:pt x="0" y="7"/>
                    <a:pt x="0" y="7"/>
                  </a:cubicBezTo>
                  <a:cubicBezTo>
                    <a:pt x="0" y="3"/>
                    <a:pt x="3" y="0"/>
                    <a:pt x="7" y="0"/>
                  </a:cubicBezTo>
                  <a:cubicBezTo>
                    <a:pt x="545" y="0"/>
                    <a:pt x="545" y="0"/>
                    <a:pt x="545" y="0"/>
                  </a:cubicBezTo>
                  <a:cubicBezTo>
                    <a:pt x="549" y="0"/>
                    <a:pt x="552" y="3"/>
                    <a:pt x="552" y="7"/>
                  </a:cubicBezTo>
                  <a:lnTo>
                    <a:pt x="552" y="701"/>
                  </a:lnTo>
                  <a:close/>
                </a:path>
              </a:pathLst>
            </a:custGeom>
            <a:solidFill>
              <a:srgbClr val="F15B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65" name="Rectangle 26">
              <a:extLst>
                <a:ext uri="{FF2B5EF4-FFF2-40B4-BE49-F238E27FC236}">
                  <a16:creationId xmlns:a16="http://schemas.microsoft.com/office/drawing/2014/main" xmlns="" id="{AA8CFB47-0154-4658-952A-7C61EA59913F}"/>
                </a:ext>
              </a:extLst>
            </p:cNvPr>
            <p:cNvSpPr>
              <a:spLocks noChangeArrowheads="1"/>
            </p:cNvSpPr>
            <p:nvPr/>
          </p:nvSpPr>
          <p:spPr bwMode="auto">
            <a:xfrm>
              <a:off x="5108601" y="8204648"/>
              <a:ext cx="1707705" cy="2275883"/>
            </a:xfrm>
            <a:prstGeom prst="rect">
              <a:avLst/>
            </a:prstGeom>
            <a:solidFill>
              <a:srgbClr val="F9F9F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66" name="Freeform 27">
              <a:extLst>
                <a:ext uri="{FF2B5EF4-FFF2-40B4-BE49-F238E27FC236}">
                  <a16:creationId xmlns:a16="http://schemas.microsoft.com/office/drawing/2014/main" xmlns="" id="{2A6389A4-E087-4544-8D22-C159A3AA3C42}"/>
                </a:ext>
              </a:extLst>
            </p:cNvPr>
            <p:cNvSpPr>
              <a:spLocks noEditPoints="1"/>
            </p:cNvSpPr>
            <p:nvPr/>
          </p:nvSpPr>
          <p:spPr bwMode="auto">
            <a:xfrm>
              <a:off x="5514895" y="7807875"/>
              <a:ext cx="895117" cy="282502"/>
            </a:xfrm>
            <a:custGeom>
              <a:avLst/>
              <a:gdLst>
                <a:gd name="T0" fmla="*/ 237 w 244"/>
                <a:gd name="T1" fmla="*/ 38 h 77"/>
                <a:gd name="T2" fmla="*/ 154 w 244"/>
                <a:gd name="T3" fmla="*/ 38 h 77"/>
                <a:gd name="T4" fmla="*/ 154 w 244"/>
                <a:gd name="T5" fmla="*/ 33 h 77"/>
                <a:gd name="T6" fmla="*/ 122 w 244"/>
                <a:gd name="T7" fmla="*/ 0 h 77"/>
                <a:gd name="T8" fmla="*/ 89 w 244"/>
                <a:gd name="T9" fmla="*/ 33 h 77"/>
                <a:gd name="T10" fmla="*/ 90 w 244"/>
                <a:gd name="T11" fmla="*/ 38 h 77"/>
                <a:gd name="T12" fmla="*/ 6 w 244"/>
                <a:gd name="T13" fmla="*/ 38 h 77"/>
                <a:gd name="T14" fmla="*/ 0 w 244"/>
                <a:gd name="T15" fmla="*/ 44 h 77"/>
                <a:gd name="T16" fmla="*/ 0 w 244"/>
                <a:gd name="T17" fmla="*/ 71 h 77"/>
                <a:gd name="T18" fmla="*/ 6 w 244"/>
                <a:gd name="T19" fmla="*/ 77 h 77"/>
                <a:gd name="T20" fmla="*/ 237 w 244"/>
                <a:gd name="T21" fmla="*/ 77 h 77"/>
                <a:gd name="T22" fmla="*/ 244 w 244"/>
                <a:gd name="T23" fmla="*/ 71 h 77"/>
                <a:gd name="T24" fmla="*/ 244 w 244"/>
                <a:gd name="T25" fmla="*/ 44 h 77"/>
                <a:gd name="T26" fmla="*/ 237 w 244"/>
                <a:gd name="T27" fmla="*/ 38 h 77"/>
                <a:gd name="T28" fmla="*/ 122 w 244"/>
                <a:gd name="T29" fmla="*/ 48 h 77"/>
                <a:gd name="T30" fmla="*/ 106 w 244"/>
                <a:gd name="T31" fmla="*/ 32 h 77"/>
                <a:gd name="T32" fmla="*/ 122 w 244"/>
                <a:gd name="T33" fmla="*/ 16 h 77"/>
                <a:gd name="T34" fmla="*/ 138 w 244"/>
                <a:gd name="T35" fmla="*/ 32 h 77"/>
                <a:gd name="T36" fmla="*/ 122 w 244"/>
                <a:gd name="T37" fmla="*/ 4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77">
                  <a:moveTo>
                    <a:pt x="237" y="38"/>
                  </a:moveTo>
                  <a:cubicBezTo>
                    <a:pt x="154" y="38"/>
                    <a:pt x="154" y="38"/>
                    <a:pt x="154" y="38"/>
                  </a:cubicBezTo>
                  <a:cubicBezTo>
                    <a:pt x="154" y="36"/>
                    <a:pt x="154" y="34"/>
                    <a:pt x="154" y="33"/>
                  </a:cubicBezTo>
                  <a:cubicBezTo>
                    <a:pt x="154" y="15"/>
                    <a:pt x="140" y="0"/>
                    <a:pt x="122" y="0"/>
                  </a:cubicBezTo>
                  <a:cubicBezTo>
                    <a:pt x="104" y="0"/>
                    <a:pt x="89" y="15"/>
                    <a:pt x="89" y="33"/>
                  </a:cubicBezTo>
                  <a:cubicBezTo>
                    <a:pt x="89" y="34"/>
                    <a:pt x="89" y="36"/>
                    <a:pt x="90" y="38"/>
                  </a:cubicBezTo>
                  <a:cubicBezTo>
                    <a:pt x="6" y="38"/>
                    <a:pt x="6" y="38"/>
                    <a:pt x="6" y="38"/>
                  </a:cubicBezTo>
                  <a:cubicBezTo>
                    <a:pt x="3" y="38"/>
                    <a:pt x="0" y="41"/>
                    <a:pt x="0" y="44"/>
                  </a:cubicBezTo>
                  <a:cubicBezTo>
                    <a:pt x="0" y="71"/>
                    <a:pt x="0" y="71"/>
                    <a:pt x="0" y="71"/>
                  </a:cubicBezTo>
                  <a:cubicBezTo>
                    <a:pt x="0" y="74"/>
                    <a:pt x="3" y="77"/>
                    <a:pt x="6" y="77"/>
                  </a:cubicBezTo>
                  <a:cubicBezTo>
                    <a:pt x="237" y="77"/>
                    <a:pt x="237" y="77"/>
                    <a:pt x="237" y="77"/>
                  </a:cubicBezTo>
                  <a:cubicBezTo>
                    <a:pt x="241" y="77"/>
                    <a:pt x="244" y="74"/>
                    <a:pt x="244" y="71"/>
                  </a:cubicBezTo>
                  <a:cubicBezTo>
                    <a:pt x="244" y="44"/>
                    <a:pt x="244" y="44"/>
                    <a:pt x="244" y="44"/>
                  </a:cubicBezTo>
                  <a:cubicBezTo>
                    <a:pt x="244" y="41"/>
                    <a:pt x="241" y="38"/>
                    <a:pt x="237" y="38"/>
                  </a:cubicBezTo>
                  <a:close/>
                  <a:moveTo>
                    <a:pt x="122" y="48"/>
                  </a:moveTo>
                  <a:cubicBezTo>
                    <a:pt x="113" y="48"/>
                    <a:pt x="106" y="40"/>
                    <a:pt x="106" y="32"/>
                  </a:cubicBezTo>
                  <a:cubicBezTo>
                    <a:pt x="106" y="23"/>
                    <a:pt x="113" y="16"/>
                    <a:pt x="122" y="16"/>
                  </a:cubicBezTo>
                  <a:cubicBezTo>
                    <a:pt x="131" y="16"/>
                    <a:pt x="138" y="23"/>
                    <a:pt x="138" y="32"/>
                  </a:cubicBezTo>
                  <a:cubicBezTo>
                    <a:pt x="138" y="40"/>
                    <a:pt x="131" y="48"/>
                    <a:pt x="122" y="48"/>
                  </a:cubicBezTo>
                  <a:close/>
                </a:path>
              </a:pathLst>
            </a:custGeom>
            <a:solidFill>
              <a:srgbClr val="355A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67" name="Freeform 28">
              <a:extLst>
                <a:ext uri="{FF2B5EF4-FFF2-40B4-BE49-F238E27FC236}">
                  <a16:creationId xmlns:a16="http://schemas.microsoft.com/office/drawing/2014/main" xmlns="" id="{D7BB94CE-4F13-43DA-973C-999C6F3331F1}"/>
                </a:ext>
              </a:extLst>
            </p:cNvPr>
            <p:cNvSpPr>
              <a:spLocks/>
            </p:cNvSpPr>
            <p:nvPr/>
          </p:nvSpPr>
          <p:spPr bwMode="auto">
            <a:xfrm>
              <a:off x="6270347" y="8344312"/>
              <a:ext cx="279327" cy="279327"/>
            </a:xfrm>
            <a:custGeom>
              <a:avLst/>
              <a:gdLst>
                <a:gd name="T0" fmla="*/ 72 w 76"/>
                <a:gd name="T1" fmla="*/ 27 h 76"/>
                <a:gd name="T2" fmla="*/ 49 w 76"/>
                <a:gd name="T3" fmla="*/ 27 h 76"/>
                <a:gd name="T4" fmla="*/ 49 w 76"/>
                <a:gd name="T5" fmla="*/ 4 h 76"/>
                <a:gd name="T6" fmla="*/ 46 w 76"/>
                <a:gd name="T7" fmla="*/ 0 h 76"/>
                <a:gd name="T8" fmla="*/ 30 w 76"/>
                <a:gd name="T9" fmla="*/ 0 h 76"/>
                <a:gd name="T10" fmla="*/ 26 w 76"/>
                <a:gd name="T11" fmla="*/ 4 h 76"/>
                <a:gd name="T12" fmla="*/ 26 w 76"/>
                <a:gd name="T13" fmla="*/ 27 h 76"/>
                <a:gd name="T14" fmla="*/ 3 w 76"/>
                <a:gd name="T15" fmla="*/ 27 h 76"/>
                <a:gd name="T16" fmla="*/ 0 w 76"/>
                <a:gd name="T17" fmla="*/ 30 h 76"/>
                <a:gd name="T18" fmla="*/ 0 w 76"/>
                <a:gd name="T19" fmla="*/ 46 h 76"/>
                <a:gd name="T20" fmla="*/ 3 w 76"/>
                <a:gd name="T21" fmla="*/ 50 h 76"/>
                <a:gd name="T22" fmla="*/ 26 w 76"/>
                <a:gd name="T23" fmla="*/ 50 h 76"/>
                <a:gd name="T24" fmla="*/ 26 w 76"/>
                <a:gd name="T25" fmla="*/ 73 h 76"/>
                <a:gd name="T26" fmla="*/ 30 w 76"/>
                <a:gd name="T27" fmla="*/ 76 h 76"/>
                <a:gd name="T28" fmla="*/ 46 w 76"/>
                <a:gd name="T29" fmla="*/ 76 h 76"/>
                <a:gd name="T30" fmla="*/ 49 w 76"/>
                <a:gd name="T31" fmla="*/ 73 h 76"/>
                <a:gd name="T32" fmla="*/ 49 w 76"/>
                <a:gd name="T33" fmla="*/ 50 h 76"/>
                <a:gd name="T34" fmla="*/ 72 w 76"/>
                <a:gd name="T35" fmla="*/ 50 h 76"/>
                <a:gd name="T36" fmla="*/ 76 w 76"/>
                <a:gd name="T37" fmla="*/ 46 h 76"/>
                <a:gd name="T38" fmla="*/ 76 w 76"/>
                <a:gd name="T39" fmla="*/ 30 h 76"/>
                <a:gd name="T40" fmla="*/ 72 w 76"/>
                <a:gd name="T41" fmla="*/ 2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76">
                  <a:moveTo>
                    <a:pt x="72" y="27"/>
                  </a:moveTo>
                  <a:cubicBezTo>
                    <a:pt x="49" y="27"/>
                    <a:pt x="49" y="27"/>
                    <a:pt x="49" y="27"/>
                  </a:cubicBezTo>
                  <a:cubicBezTo>
                    <a:pt x="49" y="4"/>
                    <a:pt x="49" y="4"/>
                    <a:pt x="49" y="4"/>
                  </a:cubicBezTo>
                  <a:cubicBezTo>
                    <a:pt x="49" y="2"/>
                    <a:pt x="48" y="0"/>
                    <a:pt x="46" y="0"/>
                  </a:cubicBezTo>
                  <a:cubicBezTo>
                    <a:pt x="30" y="0"/>
                    <a:pt x="30" y="0"/>
                    <a:pt x="30" y="0"/>
                  </a:cubicBezTo>
                  <a:cubicBezTo>
                    <a:pt x="28" y="0"/>
                    <a:pt x="26" y="2"/>
                    <a:pt x="26" y="4"/>
                  </a:cubicBezTo>
                  <a:cubicBezTo>
                    <a:pt x="26" y="27"/>
                    <a:pt x="26" y="27"/>
                    <a:pt x="26" y="27"/>
                  </a:cubicBezTo>
                  <a:cubicBezTo>
                    <a:pt x="3" y="27"/>
                    <a:pt x="3" y="27"/>
                    <a:pt x="3" y="27"/>
                  </a:cubicBezTo>
                  <a:cubicBezTo>
                    <a:pt x="1" y="27"/>
                    <a:pt x="0" y="28"/>
                    <a:pt x="0" y="30"/>
                  </a:cubicBezTo>
                  <a:cubicBezTo>
                    <a:pt x="0" y="46"/>
                    <a:pt x="0" y="46"/>
                    <a:pt x="0" y="46"/>
                  </a:cubicBezTo>
                  <a:cubicBezTo>
                    <a:pt x="0" y="48"/>
                    <a:pt x="1" y="50"/>
                    <a:pt x="3" y="50"/>
                  </a:cubicBezTo>
                  <a:cubicBezTo>
                    <a:pt x="26" y="50"/>
                    <a:pt x="26" y="50"/>
                    <a:pt x="26" y="50"/>
                  </a:cubicBezTo>
                  <a:cubicBezTo>
                    <a:pt x="26" y="73"/>
                    <a:pt x="26" y="73"/>
                    <a:pt x="26" y="73"/>
                  </a:cubicBezTo>
                  <a:cubicBezTo>
                    <a:pt x="26" y="75"/>
                    <a:pt x="28" y="76"/>
                    <a:pt x="30" y="76"/>
                  </a:cubicBezTo>
                  <a:cubicBezTo>
                    <a:pt x="46" y="76"/>
                    <a:pt x="46" y="76"/>
                    <a:pt x="46" y="76"/>
                  </a:cubicBezTo>
                  <a:cubicBezTo>
                    <a:pt x="48" y="76"/>
                    <a:pt x="49" y="75"/>
                    <a:pt x="49" y="73"/>
                  </a:cubicBezTo>
                  <a:cubicBezTo>
                    <a:pt x="49" y="50"/>
                    <a:pt x="49" y="50"/>
                    <a:pt x="49" y="50"/>
                  </a:cubicBezTo>
                  <a:cubicBezTo>
                    <a:pt x="72" y="50"/>
                    <a:pt x="72" y="50"/>
                    <a:pt x="72" y="50"/>
                  </a:cubicBezTo>
                  <a:cubicBezTo>
                    <a:pt x="74" y="50"/>
                    <a:pt x="76" y="48"/>
                    <a:pt x="76" y="46"/>
                  </a:cubicBezTo>
                  <a:cubicBezTo>
                    <a:pt x="76" y="30"/>
                    <a:pt x="76" y="30"/>
                    <a:pt x="76" y="30"/>
                  </a:cubicBezTo>
                  <a:cubicBezTo>
                    <a:pt x="76" y="28"/>
                    <a:pt x="74" y="27"/>
                    <a:pt x="72" y="27"/>
                  </a:cubicBezTo>
                  <a:close/>
                </a:path>
              </a:pathLst>
            </a:custGeom>
            <a:solidFill>
              <a:srgbClr val="F15B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69" name="Rectangle 29">
              <a:extLst>
                <a:ext uri="{FF2B5EF4-FFF2-40B4-BE49-F238E27FC236}">
                  <a16:creationId xmlns:a16="http://schemas.microsoft.com/office/drawing/2014/main" xmlns="" id="{54CC5CFC-700E-4CAE-9FF5-E9F1315FFF7B}"/>
                </a:ext>
              </a:extLst>
            </p:cNvPr>
            <p:cNvSpPr>
              <a:spLocks noChangeArrowheads="1"/>
            </p:cNvSpPr>
            <p:nvPr/>
          </p:nvSpPr>
          <p:spPr bwMode="auto">
            <a:xfrm>
              <a:off x="6137033" y="8693471"/>
              <a:ext cx="542785" cy="79355"/>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70" name="Rectangle 30">
              <a:extLst>
                <a:ext uri="{FF2B5EF4-FFF2-40B4-BE49-F238E27FC236}">
                  <a16:creationId xmlns:a16="http://schemas.microsoft.com/office/drawing/2014/main" xmlns="" id="{01FD99B6-DA9B-45CB-8500-66E69829FCF7}"/>
                </a:ext>
              </a:extLst>
            </p:cNvPr>
            <p:cNvSpPr>
              <a:spLocks noChangeArrowheads="1"/>
            </p:cNvSpPr>
            <p:nvPr/>
          </p:nvSpPr>
          <p:spPr bwMode="auto">
            <a:xfrm>
              <a:off x="5245088" y="9064848"/>
              <a:ext cx="1434726" cy="76180"/>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75" name="Rectangle 31">
              <a:extLst>
                <a:ext uri="{FF2B5EF4-FFF2-40B4-BE49-F238E27FC236}">
                  <a16:creationId xmlns:a16="http://schemas.microsoft.com/office/drawing/2014/main" xmlns="" id="{71C1676D-FDC7-4DD3-9B29-B2DC84D1809C}"/>
                </a:ext>
              </a:extLst>
            </p:cNvPr>
            <p:cNvSpPr>
              <a:spLocks noChangeArrowheads="1"/>
            </p:cNvSpPr>
            <p:nvPr/>
          </p:nvSpPr>
          <p:spPr bwMode="auto">
            <a:xfrm>
              <a:off x="5245088" y="9277518"/>
              <a:ext cx="1434726" cy="76180"/>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76" name="Rectangle 32">
              <a:extLst>
                <a:ext uri="{FF2B5EF4-FFF2-40B4-BE49-F238E27FC236}">
                  <a16:creationId xmlns:a16="http://schemas.microsoft.com/office/drawing/2014/main" xmlns="" id="{1A2FB049-CDD3-42A7-92A6-757C0F8DFB9B}"/>
                </a:ext>
              </a:extLst>
            </p:cNvPr>
            <p:cNvSpPr>
              <a:spLocks noChangeArrowheads="1"/>
            </p:cNvSpPr>
            <p:nvPr/>
          </p:nvSpPr>
          <p:spPr bwMode="auto">
            <a:xfrm>
              <a:off x="5245088" y="9490187"/>
              <a:ext cx="1434726" cy="76180"/>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77" name="Rectangle 33">
              <a:extLst>
                <a:ext uri="{FF2B5EF4-FFF2-40B4-BE49-F238E27FC236}">
                  <a16:creationId xmlns:a16="http://schemas.microsoft.com/office/drawing/2014/main" xmlns="" id="{B55C7927-C0C7-4817-B2F8-4A8516A1A577}"/>
                </a:ext>
              </a:extLst>
            </p:cNvPr>
            <p:cNvSpPr>
              <a:spLocks noChangeArrowheads="1"/>
            </p:cNvSpPr>
            <p:nvPr/>
          </p:nvSpPr>
          <p:spPr bwMode="auto">
            <a:xfrm>
              <a:off x="5245088" y="9702858"/>
              <a:ext cx="1434726" cy="79355"/>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78" name="Rectangle 34">
              <a:extLst>
                <a:ext uri="{FF2B5EF4-FFF2-40B4-BE49-F238E27FC236}">
                  <a16:creationId xmlns:a16="http://schemas.microsoft.com/office/drawing/2014/main" xmlns="" id="{0EA0D933-C2ED-412B-9E35-FA90131E9C53}"/>
                </a:ext>
              </a:extLst>
            </p:cNvPr>
            <p:cNvSpPr>
              <a:spLocks noChangeArrowheads="1"/>
            </p:cNvSpPr>
            <p:nvPr/>
          </p:nvSpPr>
          <p:spPr bwMode="auto">
            <a:xfrm>
              <a:off x="5245088" y="9918701"/>
              <a:ext cx="1434726" cy="76180"/>
            </a:xfrm>
            <a:prstGeom prst="rect">
              <a:avLst/>
            </a:prstGeom>
            <a:solidFill>
              <a:srgbClr val="D3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79" name="Freeform 35">
              <a:extLst>
                <a:ext uri="{FF2B5EF4-FFF2-40B4-BE49-F238E27FC236}">
                  <a16:creationId xmlns:a16="http://schemas.microsoft.com/office/drawing/2014/main" xmlns="" id="{8A7A6AFA-7899-47B4-92CA-2ADDDE739582}"/>
                </a:ext>
              </a:extLst>
            </p:cNvPr>
            <p:cNvSpPr>
              <a:spLocks/>
            </p:cNvSpPr>
            <p:nvPr/>
          </p:nvSpPr>
          <p:spPr bwMode="auto">
            <a:xfrm>
              <a:off x="6397315" y="9626677"/>
              <a:ext cx="565003" cy="1158574"/>
            </a:xfrm>
            <a:custGeom>
              <a:avLst/>
              <a:gdLst>
                <a:gd name="T0" fmla="*/ 27 w 154"/>
                <a:gd name="T1" fmla="*/ 311 h 316"/>
                <a:gd name="T2" fmla="*/ 19 w 154"/>
                <a:gd name="T3" fmla="*/ 314 h 316"/>
                <a:gd name="T4" fmla="*/ 5 w 154"/>
                <a:gd name="T5" fmla="*/ 309 h 316"/>
                <a:gd name="T6" fmla="*/ 2 w 154"/>
                <a:gd name="T7" fmla="*/ 300 h 316"/>
                <a:gd name="T8" fmla="*/ 127 w 154"/>
                <a:gd name="T9" fmla="*/ 5 h 316"/>
                <a:gd name="T10" fmla="*/ 135 w 154"/>
                <a:gd name="T11" fmla="*/ 2 h 316"/>
                <a:gd name="T12" fmla="*/ 149 w 154"/>
                <a:gd name="T13" fmla="*/ 7 h 316"/>
                <a:gd name="T14" fmla="*/ 152 w 154"/>
                <a:gd name="T15" fmla="*/ 16 h 316"/>
                <a:gd name="T16" fmla="*/ 27 w 154"/>
                <a:gd name="T17" fmla="*/ 311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 h="316">
                  <a:moveTo>
                    <a:pt x="27" y="311"/>
                  </a:moveTo>
                  <a:cubicBezTo>
                    <a:pt x="26" y="314"/>
                    <a:pt x="22" y="316"/>
                    <a:pt x="19" y="314"/>
                  </a:cubicBezTo>
                  <a:cubicBezTo>
                    <a:pt x="5" y="309"/>
                    <a:pt x="5" y="309"/>
                    <a:pt x="5" y="309"/>
                  </a:cubicBezTo>
                  <a:cubicBezTo>
                    <a:pt x="2" y="307"/>
                    <a:pt x="0" y="304"/>
                    <a:pt x="2" y="300"/>
                  </a:cubicBezTo>
                  <a:cubicBezTo>
                    <a:pt x="127" y="5"/>
                    <a:pt x="127" y="5"/>
                    <a:pt x="127" y="5"/>
                  </a:cubicBezTo>
                  <a:cubicBezTo>
                    <a:pt x="128" y="2"/>
                    <a:pt x="132" y="0"/>
                    <a:pt x="135" y="2"/>
                  </a:cubicBezTo>
                  <a:cubicBezTo>
                    <a:pt x="149" y="7"/>
                    <a:pt x="149" y="7"/>
                    <a:pt x="149" y="7"/>
                  </a:cubicBezTo>
                  <a:cubicBezTo>
                    <a:pt x="152" y="9"/>
                    <a:pt x="154" y="13"/>
                    <a:pt x="152" y="16"/>
                  </a:cubicBezTo>
                  <a:lnTo>
                    <a:pt x="27" y="311"/>
                  </a:lnTo>
                  <a:close/>
                </a:path>
              </a:pathLst>
            </a:custGeom>
            <a:solidFill>
              <a:srgbClr val="1631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80" name="Freeform 36">
              <a:extLst>
                <a:ext uri="{FF2B5EF4-FFF2-40B4-BE49-F238E27FC236}">
                  <a16:creationId xmlns:a16="http://schemas.microsoft.com/office/drawing/2014/main" xmlns="" id="{0DD1B481-53A5-4E09-9157-645DBB902A85}"/>
                </a:ext>
              </a:extLst>
            </p:cNvPr>
            <p:cNvSpPr>
              <a:spLocks/>
            </p:cNvSpPr>
            <p:nvPr/>
          </p:nvSpPr>
          <p:spPr bwMode="auto">
            <a:xfrm>
              <a:off x="6752822" y="9474317"/>
              <a:ext cx="282502" cy="447559"/>
            </a:xfrm>
            <a:custGeom>
              <a:avLst/>
              <a:gdLst>
                <a:gd name="T0" fmla="*/ 34 w 77"/>
                <a:gd name="T1" fmla="*/ 118 h 122"/>
                <a:gd name="T2" fmla="*/ 25 w 77"/>
                <a:gd name="T3" fmla="*/ 121 h 122"/>
                <a:gd name="T4" fmla="*/ 4 w 77"/>
                <a:gd name="T5" fmla="*/ 112 h 122"/>
                <a:gd name="T6" fmla="*/ 1 w 77"/>
                <a:gd name="T7" fmla="*/ 104 h 122"/>
                <a:gd name="T8" fmla="*/ 43 w 77"/>
                <a:gd name="T9" fmla="*/ 5 h 122"/>
                <a:gd name="T10" fmla="*/ 51 w 77"/>
                <a:gd name="T11" fmla="*/ 1 h 122"/>
                <a:gd name="T12" fmla="*/ 72 w 77"/>
                <a:gd name="T13" fmla="*/ 10 h 122"/>
                <a:gd name="T14" fmla="*/ 76 w 77"/>
                <a:gd name="T15" fmla="*/ 19 h 122"/>
                <a:gd name="T16" fmla="*/ 34 w 77"/>
                <a:gd name="T17" fmla="*/ 118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22">
                  <a:moveTo>
                    <a:pt x="34" y="118"/>
                  </a:moveTo>
                  <a:cubicBezTo>
                    <a:pt x="32" y="121"/>
                    <a:pt x="29" y="122"/>
                    <a:pt x="25" y="121"/>
                  </a:cubicBezTo>
                  <a:cubicBezTo>
                    <a:pt x="4" y="112"/>
                    <a:pt x="4" y="112"/>
                    <a:pt x="4" y="112"/>
                  </a:cubicBezTo>
                  <a:cubicBezTo>
                    <a:pt x="1" y="111"/>
                    <a:pt x="0" y="107"/>
                    <a:pt x="1" y="104"/>
                  </a:cubicBezTo>
                  <a:cubicBezTo>
                    <a:pt x="43" y="5"/>
                    <a:pt x="43" y="5"/>
                    <a:pt x="43" y="5"/>
                  </a:cubicBezTo>
                  <a:cubicBezTo>
                    <a:pt x="44" y="2"/>
                    <a:pt x="48" y="0"/>
                    <a:pt x="51" y="1"/>
                  </a:cubicBezTo>
                  <a:cubicBezTo>
                    <a:pt x="72" y="10"/>
                    <a:pt x="72" y="10"/>
                    <a:pt x="72" y="10"/>
                  </a:cubicBezTo>
                  <a:cubicBezTo>
                    <a:pt x="76" y="12"/>
                    <a:pt x="77" y="16"/>
                    <a:pt x="76" y="19"/>
                  </a:cubicBezTo>
                  <a:lnTo>
                    <a:pt x="34" y="118"/>
                  </a:lnTo>
                  <a:close/>
                </a:path>
              </a:pathLst>
            </a:custGeom>
            <a:solidFill>
              <a:srgbClr val="355A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grpSp>
      <p:sp>
        <p:nvSpPr>
          <p:cNvPr id="81" name="Rectangle 9">
            <a:extLst>
              <a:ext uri="{FF2B5EF4-FFF2-40B4-BE49-F238E27FC236}">
                <a16:creationId xmlns:a16="http://schemas.microsoft.com/office/drawing/2014/main" xmlns="" id="{69DBEFF0-FF74-4DC1-879D-BE53C3FE7CBA}"/>
              </a:ext>
            </a:extLst>
          </p:cNvPr>
          <p:cNvSpPr/>
          <p:nvPr/>
        </p:nvSpPr>
        <p:spPr>
          <a:xfrm>
            <a:off x="6662514" y="5062932"/>
            <a:ext cx="428040" cy="428040"/>
          </a:xfrm>
          <a:prstGeom prst="rect">
            <a:avLst/>
          </a:prstGeom>
          <a:solidFill>
            <a:srgbClr val="E94E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Roboto Bold" charset="0"/>
            </a:endParaRPr>
          </a:p>
        </p:txBody>
      </p:sp>
      <p:sp>
        <p:nvSpPr>
          <p:cNvPr id="82" name="TextBox 11">
            <a:extLst>
              <a:ext uri="{FF2B5EF4-FFF2-40B4-BE49-F238E27FC236}">
                <a16:creationId xmlns:a16="http://schemas.microsoft.com/office/drawing/2014/main" xmlns="" id="{172370D8-FB72-4EFA-BE6D-14411BC28BBD}"/>
              </a:ext>
            </a:extLst>
          </p:cNvPr>
          <p:cNvSpPr txBox="1"/>
          <p:nvPr/>
        </p:nvSpPr>
        <p:spPr>
          <a:xfrm>
            <a:off x="7058877" y="5003459"/>
            <a:ext cx="2861559" cy="1477328"/>
          </a:xfrm>
          <a:prstGeom prst="rect">
            <a:avLst/>
          </a:prstGeom>
          <a:noFill/>
        </p:spPr>
        <p:txBody>
          <a:bodyPr wrap="square" rtlCol="0">
            <a:spAutoFit/>
          </a:bodyPr>
          <a:lstStyle>
            <a:defPPr>
              <a:defRPr lang="en-US"/>
            </a:defPPr>
            <a:lvl1pPr>
              <a:defRPr sz="1313">
                <a:latin typeface="+mj-lt"/>
                <a:ea typeface="Lato Light" charset="0"/>
                <a:cs typeface="Lato Light" charset="0"/>
              </a:defRPr>
            </a:lvl1pPr>
          </a:lstStyle>
          <a:p>
            <a:r>
              <a:rPr lang="en-GB" sz="1800" dirty="0">
                <a:solidFill>
                  <a:srgbClr val="E53292"/>
                </a:solidFill>
              </a:rPr>
              <a:t>Para la resiliencia ante las crisis Las organizaciones deben aprender de lo que sale bien, y no sólo de lo que sale mal</a:t>
            </a:r>
          </a:p>
        </p:txBody>
      </p:sp>
    </p:spTree>
    <p:extLst>
      <p:ext uri="{BB962C8B-B14F-4D97-AF65-F5344CB8AC3E}">
        <p14:creationId xmlns:p14="http://schemas.microsoft.com/office/powerpoint/2010/main" val="1319617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D826129A-702D-4A96-87C5-ABC7105668F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074"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a16="http://schemas.microsoft.com/office/drawing/2014/main" xmlns=""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49089" y="446348"/>
            <a:ext cx="8852375" cy="697353"/>
          </a:xfrm>
        </p:spPr>
        <p:txBody>
          <a:bodyPr>
            <a:normAutofit/>
          </a:bodyPr>
          <a:lstStyle/>
          <a:p>
            <a:r>
              <a:rPr lang="en-GB" dirty="0"/>
              <a:t>La escalera de resistencia a la crisis</a:t>
            </a:r>
          </a:p>
        </p:txBody>
      </p:sp>
      <p:sp>
        <p:nvSpPr>
          <p:cNvPr id="95" name="Subtitle 2">
            <a:extLst>
              <a:ext uri="{FF2B5EF4-FFF2-40B4-BE49-F238E27FC236}">
                <a16:creationId xmlns:a16="http://schemas.microsoft.com/office/drawing/2014/main" xmlns="" id="{80CD9C37-64A6-4D5D-8180-A277C0BF7767}"/>
              </a:ext>
            </a:extLst>
          </p:cNvPr>
          <p:cNvSpPr txBox="1">
            <a:spLocks/>
          </p:cNvSpPr>
          <p:nvPr/>
        </p:nvSpPr>
        <p:spPr>
          <a:xfrm>
            <a:off x="188570" y="1896531"/>
            <a:ext cx="2340036" cy="4637472"/>
          </a:xfrm>
          <a:prstGeom prst="rect">
            <a:avLst/>
          </a:prstGeom>
        </p:spPr>
        <p:txBody>
          <a:bodyPr vert="horz" wrap="square" lIns="81580" tIns="40791" rIns="81580" bIns="4079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sz="2200" dirty="0">
                <a:latin typeface="+mj-lt"/>
                <a:ea typeface="Open Sans Light" panose="020B0306030504020204" pitchFamily="34" charset="0"/>
                <a:cs typeface="Open Sans Light" panose="020B0306030504020204" pitchFamily="34" charset="0"/>
              </a:rPr>
              <a:t>Existen diferentes niveles de resistencia a las crisis de las empresas. El objetivo debe ser no sólo reaccionar a las crisis cuando se producen, sino anticiparse a ellas antes de que ocurran. </a:t>
            </a:r>
            <a:endParaRPr lang="en-US" dirty="0"/>
          </a:p>
          <a:p>
            <a:pPr algn="l">
              <a:lnSpc>
                <a:spcPct val="100000"/>
              </a:lnSpc>
              <a:spcBef>
                <a:spcPts val="600"/>
              </a:spcBef>
            </a:pPr>
            <a:r>
              <a:rPr lang="en-US" sz="2200" dirty="0">
                <a:latin typeface="+mj-lt"/>
                <a:ea typeface="Open Sans Light" panose="020B0306030504020204" pitchFamily="34" charset="0"/>
                <a:cs typeface="Open Sans Light" panose="020B0306030504020204" pitchFamily="34" charset="0"/>
              </a:rPr>
              <a:t>Realmente </a:t>
            </a:r>
            <a:r>
              <a:rPr lang="en-US" sz="2200" b="1" dirty="0">
                <a:latin typeface="+mj-lt"/>
                <a:ea typeface="Open Sans Light" panose="020B0306030504020204" pitchFamily="34" charset="0"/>
                <a:cs typeface="Open Sans Light" panose="020B0306030504020204" pitchFamily="34" charset="0"/>
              </a:rPr>
              <a:t>hay </a:t>
            </a:r>
            <a:r>
              <a:rPr lang="en-US" sz="2200" dirty="0">
                <a:latin typeface="+mj-lt"/>
                <a:ea typeface="Open Sans Light" panose="020B0306030504020204" pitchFamily="34" charset="0"/>
                <a:cs typeface="Open Sans Light" panose="020B0306030504020204" pitchFamily="34" charset="0"/>
              </a:rPr>
              <a:t>gloria en la prevención</a:t>
            </a:r>
          </a:p>
          <a:p>
            <a:pPr algn="l">
              <a:lnSpc>
                <a:spcPct val="100000"/>
              </a:lnSpc>
              <a:spcBef>
                <a:spcPts val="600"/>
              </a:spcBef>
            </a:pPr>
            <a:endParaRPr lang="en-US" sz="2200" dirty="0">
              <a:latin typeface="+mj-lt"/>
              <a:ea typeface="Open Sans Light" panose="020B0306030504020204" pitchFamily="34" charset="0"/>
              <a:cs typeface="Open Sans Light" panose="020B0306030504020204" pitchFamily="34" charset="0"/>
            </a:endParaRPr>
          </a:p>
        </p:txBody>
      </p:sp>
      <p:sp>
        <p:nvSpPr>
          <p:cNvPr id="28" name="Freeform 6">
            <a:extLst>
              <a:ext uri="{FF2B5EF4-FFF2-40B4-BE49-F238E27FC236}">
                <a16:creationId xmlns:a16="http://schemas.microsoft.com/office/drawing/2014/main" xmlns="" id="{E26E0D75-0A1F-4C4B-B72F-F3395E1C72DB}"/>
              </a:ext>
            </a:extLst>
          </p:cNvPr>
          <p:cNvSpPr>
            <a:spLocks noChangeArrowheads="1"/>
          </p:cNvSpPr>
          <p:nvPr/>
        </p:nvSpPr>
        <p:spPr bwMode="auto">
          <a:xfrm>
            <a:off x="4571074" y="4287025"/>
            <a:ext cx="212228" cy="210987"/>
          </a:xfrm>
          <a:custGeom>
            <a:avLst/>
            <a:gdLst>
              <a:gd name="T0" fmla="*/ 0 w 753"/>
              <a:gd name="T1" fmla="*/ 750 h 751"/>
              <a:gd name="T2" fmla="*/ 752 w 753"/>
              <a:gd name="T3" fmla="*/ 750 h 751"/>
              <a:gd name="T4" fmla="*/ 752 w 753"/>
              <a:gd name="T5" fmla="*/ 0 h 751"/>
              <a:gd name="T6" fmla="*/ 749 w 753"/>
              <a:gd name="T7" fmla="*/ 0 h 751"/>
              <a:gd name="T8" fmla="*/ 0 w 753"/>
              <a:gd name="T9" fmla="*/ 750 h 751"/>
            </a:gdLst>
            <a:ahLst/>
            <a:cxnLst>
              <a:cxn ang="0">
                <a:pos x="T0" y="T1"/>
              </a:cxn>
              <a:cxn ang="0">
                <a:pos x="T2" y="T3"/>
              </a:cxn>
              <a:cxn ang="0">
                <a:pos x="T4" y="T5"/>
              </a:cxn>
              <a:cxn ang="0">
                <a:pos x="T6" y="T7"/>
              </a:cxn>
              <a:cxn ang="0">
                <a:pos x="T8" y="T9"/>
              </a:cxn>
            </a:cxnLst>
            <a:rect l="0" t="0" r="r" b="b"/>
            <a:pathLst>
              <a:path w="753" h="751">
                <a:moveTo>
                  <a:pt x="0" y="750"/>
                </a:moveTo>
                <a:lnTo>
                  <a:pt x="752" y="750"/>
                </a:lnTo>
                <a:lnTo>
                  <a:pt x="752" y="0"/>
                </a:lnTo>
                <a:lnTo>
                  <a:pt x="749" y="0"/>
                </a:lnTo>
                <a:lnTo>
                  <a:pt x="0" y="750"/>
                </a:lnTo>
              </a:path>
            </a:pathLst>
          </a:custGeom>
          <a:solidFill>
            <a:srgbClr val="E94EA1"/>
          </a:solidFill>
          <a:ln>
            <a:noFill/>
          </a:ln>
          <a:effectLst/>
        </p:spPr>
        <p:txBody>
          <a:bodyPr wrap="none" anchor="ctr"/>
          <a:lstStyle/>
          <a:p>
            <a:endParaRPr lang="en-GB" sz="1600" dirty="0">
              <a:latin typeface="+mj-lt"/>
            </a:endParaRPr>
          </a:p>
        </p:txBody>
      </p:sp>
      <p:sp>
        <p:nvSpPr>
          <p:cNvPr id="29" name="Freeform 7">
            <a:extLst>
              <a:ext uri="{FF2B5EF4-FFF2-40B4-BE49-F238E27FC236}">
                <a16:creationId xmlns:a16="http://schemas.microsoft.com/office/drawing/2014/main" xmlns="" id="{098B0517-E3A9-4F66-81F9-910AA9111569}"/>
              </a:ext>
            </a:extLst>
          </p:cNvPr>
          <p:cNvSpPr>
            <a:spLocks noChangeArrowheads="1"/>
          </p:cNvSpPr>
          <p:nvPr/>
        </p:nvSpPr>
        <p:spPr bwMode="auto">
          <a:xfrm>
            <a:off x="6229083" y="3935794"/>
            <a:ext cx="212229" cy="210987"/>
          </a:xfrm>
          <a:custGeom>
            <a:avLst/>
            <a:gdLst>
              <a:gd name="T0" fmla="*/ 0 w 755"/>
              <a:gd name="T1" fmla="*/ 750 h 751"/>
              <a:gd name="T2" fmla="*/ 754 w 755"/>
              <a:gd name="T3" fmla="*/ 750 h 751"/>
              <a:gd name="T4" fmla="*/ 754 w 755"/>
              <a:gd name="T5" fmla="*/ 0 h 751"/>
              <a:gd name="T6" fmla="*/ 750 w 755"/>
              <a:gd name="T7" fmla="*/ 0 h 751"/>
              <a:gd name="T8" fmla="*/ 0 w 755"/>
              <a:gd name="T9" fmla="*/ 750 h 751"/>
            </a:gdLst>
            <a:ahLst/>
            <a:cxnLst>
              <a:cxn ang="0">
                <a:pos x="T0" y="T1"/>
              </a:cxn>
              <a:cxn ang="0">
                <a:pos x="T2" y="T3"/>
              </a:cxn>
              <a:cxn ang="0">
                <a:pos x="T4" y="T5"/>
              </a:cxn>
              <a:cxn ang="0">
                <a:pos x="T6" y="T7"/>
              </a:cxn>
              <a:cxn ang="0">
                <a:pos x="T8" y="T9"/>
              </a:cxn>
            </a:cxnLst>
            <a:rect l="0" t="0" r="r" b="b"/>
            <a:pathLst>
              <a:path w="755" h="751">
                <a:moveTo>
                  <a:pt x="0" y="750"/>
                </a:moveTo>
                <a:lnTo>
                  <a:pt x="754" y="750"/>
                </a:lnTo>
                <a:lnTo>
                  <a:pt x="754" y="0"/>
                </a:lnTo>
                <a:lnTo>
                  <a:pt x="750" y="0"/>
                </a:lnTo>
                <a:lnTo>
                  <a:pt x="0" y="750"/>
                </a:lnTo>
              </a:path>
            </a:pathLst>
          </a:custGeom>
          <a:solidFill>
            <a:schemeClr val="accent2"/>
          </a:solidFill>
          <a:ln>
            <a:noFill/>
          </a:ln>
          <a:effectLst/>
        </p:spPr>
        <p:txBody>
          <a:bodyPr wrap="none" anchor="ctr"/>
          <a:lstStyle/>
          <a:p>
            <a:endParaRPr lang="en-GB" sz="1600" dirty="0">
              <a:latin typeface="+mj-lt"/>
            </a:endParaRPr>
          </a:p>
        </p:txBody>
      </p:sp>
      <p:sp>
        <p:nvSpPr>
          <p:cNvPr id="30" name="Freeform 8">
            <a:extLst>
              <a:ext uri="{FF2B5EF4-FFF2-40B4-BE49-F238E27FC236}">
                <a16:creationId xmlns:a16="http://schemas.microsoft.com/office/drawing/2014/main" xmlns="" id="{AE75622C-143C-4B50-93EB-C811994B19AE}"/>
              </a:ext>
            </a:extLst>
          </p:cNvPr>
          <p:cNvSpPr>
            <a:spLocks noChangeArrowheads="1"/>
          </p:cNvSpPr>
          <p:nvPr/>
        </p:nvSpPr>
        <p:spPr bwMode="auto">
          <a:xfrm>
            <a:off x="7847082" y="3610006"/>
            <a:ext cx="212228" cy="210987"/>
          </a:xfrm>
          <a:custGeom>
            <a:avLst/>
            <a:gdLst>
              <a:gd name="T0" fmla="*/ 0 w 753"/>
              <a:gd name="T1" fmla="*/ 750 h 751"/>
              <a:gd name="T2" fmla="*/ 752 w 753"/>
              <a:gd name="T3" fmla="*/ 750 h 751"/>
              <a:gd name="T4" fmla="*/ 752 w 753"/>
              <a:gd name="T5" fmla="*/ 0 h 751"/>
              <a:gd name="T6" fmla="*/ 749 w 753"/>
              <a:gd name="T7" fmla="*/ 0 h 751"/>
              <a:gd name="T8" fmla="*/ 0 w 753"/>
              <a:gd name="T9" fmla="*/ 750 h 751"/>
            </a:gdLst>
            <a:ahLst/>
            <a:cxnLst>
              <a:cxn ang="0">
                <a:pos x="T0" y="T1"/>
              </a:cxn>
              <a:cxn ang="0">
                <a:pos x="T2" y="T3"/>
              </a:cxn>
              <a:cxn ang="0">
                <a:pos x="T4" y="T5"/>
              </a:cxn>
              <a:cxn ang="0">
                <a:pos x="T6" y="T7"/>
              </a:cxn>
              <a:cxn ang="0">
                <a:pos x="T8" y="T9"/>
              </a:cxn>
            </a:cxnLst>
            <a:rect l="0" t="0" r="r" b="b"/>
            <a:pathLst>
              <a:path w="753" h="751">
                <a:moveTo>
                  <a:pt x="0" y="750"/>
                </a:moveTo>
                <a:lnTo>
                  <a:pt x="752" y="750"/>
                </a:lnTo>
                <a:lnTo>
                  <a:pt x="752" y="0"/>
                </a:lnTo>
                <a:lnTo>
                  <a:pt x="749" y="0"/>
                </a:lnTo>
                <a:lnTo>
                  <a:pt x="0" y="750"/>
                </a:lnTo>
              </a:path>
            </a:pathLst>
          </a:custGeom>
          <a:solidFill>
            <a:schemeClr val="accent3"/>
          </a:solidFill>
          <a:ln>
            <a:noFill/>
          </a:ln>
          <a:effectLst/>
        </p:spPr>
        <p:txBody>
          <a:bodyPr wrap="none" anchor="ctr"/>
          <a:lstStyle/>
          <a:p>
            <a:endParaRPr lang="en-GB" sz="1600" dirty="0">
              <a:latin typeface="+mj-lt"/>
            </a:endParaRPr>
          </a:p>
        </p:txBody>
      </p:sp>
      <p:sp>
        <p:nvSpPr>
          <p:cNvPr id="31" name="Freeform 77">
            <a:extLst>
              <a:ext uri="{FF2B5EF4-FFF2-40B4-BE49-F238E27FC236}">
                <a16:creationId xmlns:a16="http://schemas.microsoft.com/office/drawing/2014/main" xmlns="" id="{02EC414A-3974-4282-8310-1E217C95B8F1}"/>
              </a:ext>
            </a:extLst>
          </p:cNvPr>
          <p:cNvSpPr>
            <a:spLocks noChangeArrowheads="1"/>
          </p:cNvSpPr>
          <p:nvPr/>
        </p:nvSpPr>
        <p:spPr bwMode="auto">
          <a:xfrm>
            <a:off x="5334377" y="2901299"/>
            <a:ext cx="232808" cy="147772"/>
          </a:xfrm>
          <a:custGeom>
            <a:avLst/>
            <a:gdLst>
              <a:gd name="connsiteX0" fmla="*/ 408053 w 620659"/>
              <a:gd name="connsiteY0" fmla="*/ 0 h 393956"/>
              <a:gd name="connsiteX1" fmla="*/ 403544 w 620659"/>
              <a:gd name="connsiteY1" fmla="*/ 60159 h 393956"/>
              <a:gd name="connsiteX2" fmla="*/ 290070 w 620659"/>
              <a:gd name="connsiteY2" fmla="*/ 141373 h 393956"/>
              <a:gd name="connsiteX3" fmla="*/ 369751 w 620659"/>
              <a:gd name="connsiteY3" fmla="*/ 152477 h 393956"/>
              <a:gd name="connsiteX4" fmla="*/ 372034 w 620659"/>
              <a:gd name="connsiteY4" fmla="*/ 152509 h 393956"/>
              <a:gd name="connsiteX5" fmla="*/ 571766 w 620659"/>
              <a:gd name="connsiteY5" fmla="*/ 136109 h 393956"/>
              <a:gd name="connsiteX6" fmla="*/ 577036 w 620659"/>
              <a:gd name="connsiteY6" fmla="*/ 192508 h 393956"/>
              <a:gd name="connsiteX7" fmla="*/ 383978 w 620659"/>
              <a:gd name="connsiteY7" fmla="*/ 208361 h 393956"/>
              <a:gd name="connsiteX8" fmla="*/ 384005 w 620659"/>
              <a:gd name="connsiteY8" fmla="*/ 209417 h 393956"/>
              <a:gd name="connsiteX9" fmla="*/ 383837 w 620659"/>
              <a:gd name="connsiteY9" fmla="*/ 215064 h 393956"/>
              <a:gd name="connsiteX10" fmla="*/ 590715 w 620659"/>
              <a:gd name="connsiteY10" fmla="*/ 205889 h 393956"/>
              <a:gd name="connsiteX11" fmla="*/ 593716 w 620659"/>
              <a:gd name="connsiteY11" fmla="*/ 262672 h 393956"/>
              <a:gd name="connsiteX12" fmla="*/ 382070 w 620659"/>
              <a:gd name="connsiteY12" fmla="*/ 272745 h 393956"/>
              <a:gd name="connsiteX13" fmla="*/ 381393 w 620659"/>
              <a:gd name="connsiteY13" fmla="*/ 277934 h 393956"/>
              <a:gd name="connsiteX14" fmla="*/ 580287 w 620659"/>
              <a:gd name="connsiteY14" fmla="*/ 277934 h 393956"/>
              <a:gd name="connsiteX15" fmla="*/ 580287 w 620659"/>
              <a:gd name="connsiteY15" fmla="*/ 333444 h 393956"/>
              <a:gd name="connsiteX16" fmla="*/ 374150 w 620659"/>
              <a:gd name="connsiteY16" fmla="*/ 333444 h 393956"/>
              <a:gd name="connsiteX17" fmla="*/ 374048 w 620659"/>
              <a:gd name="connsiteY17" fmla="*/ 334223 h 393956"/>
              <a:gd name="connsiteX18" fmla="*/ 372905 w 620659"/>
              <a:gd name="connsiteY18" fmla="*/ 337820 h 393956"/>
              <a:gd name="connsiteX19" fmla="*/ 527826 w 620659"/>
              <a:gd name="connsiteY19" fmla="*/ 339683 h 393956"/>
              <a:gd name="connsiteX20" fmla="*/ 527826 w 620659"/>
              <a:gd name="connsiteY20" fmla="*/ 385665 h 393956"/>
              <a:gd name="connsiteX21" fmla="*/ 358134 w 620659"/>
              <a:gd name="connsiteY21" fmla="*/ 384306 h 393956"/>
              <a:gd name="connsiteX22" fmla="*/ 356952 w 620659"/>
              <a:gd name="connsiteY22" fmla="*/ 388026 h 393956"/>
              <a:gd name="connsiteX23" fmla="*/ 130757 w 620659"/>
              <a:gd name="connsiteY23" fmla="*/ 360954 h 393956"/>
              <a:gd name="connsiteX24" fmla="*/ 0 w 620659"/>
              <a:gd name="connsiteY24" fmla="*/ 360954 h 393956"/>
              <a:gd name="connsiteX25" fmla="*/ 12775 w 620659"/>
              <a:gd name="connsiteY25" fmla="*/ 170701 h 393956"/>
              <a:gd name="connsiteX26" fmla="*/ 136017 w 620659"/>
              <a:gd name="connsiteY26" fmla="*/ 157917 h 393956"/>
              <a:gd name="connsiteX27" fmla="*/ 350189 w 620659"/>
              <a:gd name="connsiteY27" fmla="*/ 30079 h 393956"/>
              <a:gd name="connsiteX28" fmla="*/ 408053 w 620659"/>
              <a:gd name="connsiteY28" fmla="*/ 0 h 393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20659" h="393956">
                <a:moveTo>
                  <a:pt x="408053" y="0"/>
                </a:moveTo>
                <a:cubicBezTo>
                  <a:pt x="408053" y="0"/>
                  <a:pt x="442621" y="27823"/>
                  <a:pt x="403544" y="60159"/>
                </a:cubicBezTo>
                <a:cubicBezTo>
                  <a:pt x="365970" y="93246"/>
                  <a:pt x="267526" y="120318"/>
                  <a:pt x="290070" y="141373"/>
                </a:cubicBezTo>
                <a:cubicBezTo>
                  <a:pt x="299088" y="149833"/>
                  <a:pt x="346573" y="151948"/>
                  <a:pt x="369751" y="152477"/>
                </a:cubicBezTo>
                <a:lnTo>
                  <a:pt x="372034" y="152509"/>
                </a:lnTo>
                <a:lnTo>
                  <a:pt x="571766" y="136109"/>
                </a:lnTo>
                <a:cubicBezTo>
                  <a:pt x="609403" y="132349"/>
                  <a:pt x="614672" y="189500"/>
                  <a:pt x="577036" y="192508"/>
                </a:cubicBezTo>
                <a:lnTo>
                  <a:pt x="383978" y="208361"/>
                </a:lnTo>
                <a:lnTo>
                  <a:pt x="384005" y="209417"/>
                </a:lnTo>
                <a:lnTo>
                  <a:pt x="383837" y="215064"/>
                </a:lnTo>
                <a:lnTo>
                  <a:pt x="590715" y="205889"/>
                </a:lnTo>
                <a:cubicBezTo>
                  <a:pt x="628970" y="205142"/>
                  <a:pt x="631220" y="261178"/>
                  <a:pt x="593716" y="262672"/>
                </a:cubicBezTo>
                <a:lnTo>
                  <a:pt x="382070" y="272745"/>
                </a:lnTo>
                <a:lnTo>
                  <a:pt x="381393" y="277934"/>
                </a:lnTo>
                <a:lnTo>
                  <a:pt x="580287" y="277934"/>
                </a:lnTo>
                <a:cubicBezTo>
                  <a:pt x="617981" y="277934"/>
                  <a:pt x="617981" y="333444"/>
                  <a:pt x="580287" y="333444"/>
                </a:cubicBezTo>
                <a:lnTo>
                  <a:pt x="374150" y="333444"/>
                </a:lnTo>
                <a:lnTo>
                  <a:pt x="374048" y="334223"/>
                </a:lnTo>
                <a:lnTo>
                  <a:pt x="372905" y="337820"/>
                </a:lnTo>
                <a:lnTo>
                  <a:pt x="527826" y="339683"/>
                </a:lnTo>
                <a:cubicBezTo>
                  <a:pt x="558432" y="339683"/>
                  <a:pt x="557685" y="386395"/>
                  <a:pt x="527826" y="385665"/>
                </a:cubicBezTo>
                <a:lnTo>
                  <a:pt x="358134" y="384306"/>
                </a:lnTo>
                <a:lnTo>
                  <a:pt x="356952" y="388026"/>
                </a:lnTo>
                <a:cubicBezTo>
                  <a:pt x="356952" y="388026"/>
                  <a:pt x="141278" y="412841"/>
                  <a:pt x="130757" y="360954"/>
                </a:cubicBezTo>
                <a:cubicBezTo>
                  <a:pt x="97692" y="360954"/>
                  <a:pt x="21793" y="360954"/>
                  <a:pt x="0" y="360954"/>
                </a:cubicBezTo>
                <a:lnTo>
                  <a:pt x="12775" y="170701"/>
                </a:lnTo>
                <a:cubicBezTo>
                  <a:pt x="59367" y="166189"/>
                  <a:pt x="99946" y="163181"/>
                  <a:pt x="136017" y="157917"/>
                </a:cubicBezTo>
                <a:cubicBezTo>
                  <a:pt x="168331" y="72191"/>
                  <a:pt x="284810" y="64671"/>
                  <a:pt x="350189" y="30079"/>
                </a:cubicBezTo>
                <a:cubicBezTo>
                  <a:pt x="382503" y="14288"/>
                  <a:pt x="408053" y="0"/>
                  <a:pt x="408053" y="0"/>
                </a:cubicBezTo>
                <a:close/>
              </a:path>
            </a:pathLst>
          </a:custGeom>
          <a:solidFill>
            <a:srgbClr val="F49D5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1600" dirty="0">
              <a:latin typeface="+mj-lt"/>
            </a:endParaRPr>
          </a:p>
        </p:txBody>
      </p:sp>
      <p:sp>
        <p:nvSpPr>
          <p:cNvPr id="32" name="Freeform 15">
            <a:extLst>
              <a:ext uri="{FF2B5EF4-FFF2-40B4-BE49-F238E27FC236}">
                <a16:creationId xmlns:a16="http://schemas.microsoft.com/office/drawing/2014/main" xmlns="" id="{3766BC47-A2BC-4126-BD94-44EDAFC1F9F7}"/>
              </a:ext>
            </a:extLst>
          </p:cNvPr>
          <p:cNvSpPr>
            <a:spLocks noChangeArrowheads="1"/>
          </p:cNvSpPr>
          <p:nvPr/>
        </p:nvSpPr>
        <p:spPr bwMode="auto">
          <a:xfrm>
            <a:off x="4870205" y="2710170"/>
            <a:ext cx="522504" cy="451760"/>
          </a:xfrm>
          <a:custGeom>
            <a:avLst/>
            <a:gdLst>
              <a:gd name="T0" fmla="*/ 283 w 1858"/>
              <a:gd name="T1" fmla="*/ 0 h 1605"/>
              <a:gd name="T2" fmla="*/ 753 w 1858"/>
              <a:gd name="T3" fmla="*/ 991 h 1605"/>
              <a:gd name="T4" fmla="*/ 1779 w 1858"/>
              <a:gd name="T5" fmla="*/ 805 h 1605"/>
              <a:gd name="T6" fmla="*/ 1857 w 1858"/>
              <a:gd name="T7" fmla="*/ 1258 h 1605"/>
              <a:gd name="T8" fmla="*/ 461 w 1858"/>
              <a:gd name="T9" fmla="*/ 1604 h 1605"/>
              <a:gd name="T10" fmla="*/ 0 w 1858"/>
              <a:gd name="T11" fmla="*/ 752 h 1605"/>
              <a:gd name="T12" fmla="*/ 283 w 1858"/>
              <a:gd name="T13" fmla="*/ 0 h 1605"/>
            </a:gdLst>
            <a:ahLst/>
            <a:cxnLst>
              <a:cxn ang="0">
                <a:pos x="T0" y="T1"/>
              </a:cxn>
              <a:cxn ang="0">
                <a:pos x="T2" y="T3"/>
              </a:cxn>
              <a:cxn ang="0">
                <a:pos x="T4" y="T5"/>
              </a:cxn>
              <a:cxn ang="0">
                <a:pos x="T6" y="T7"/>
              </a:cxn>
              <a:cxn ang="0">
                <a:pos x="T8" y="T9"/>
              </a:cxn>
              <a:cxn ang="0">
                <a:pos x="T10" y="T11"/>
              </a:cxn>
              <a:cxn ang="0">
                <a:pos x="T12" y="T13"/>
              </a:cxn>
            </a:cxnLst>
            <a:rect l="0" t="0" r="r" b="b"/>
            <a:pathLst>
              <a:path w="1858" h="1605">
                <a:moveTo>
                  <a:pt x="283" y="0"/>
                </a:moveTo>
                <a:lnTo>
                  <a:pt x="753" y="991"/>
                </a:lnTo>
                <a:lnTo>
                  <a:pt x="1779" y="805"/>
                </a:lnTo>
                <a:lnTo>
                  <a:pt x="1857" y="1258"/>
                </a:lnTo>
                <a:lnTo>
                  <a:pt x="461" y="1604"/>
                </a:lnTo>
                <a:lnTo>
                  <a:pt x="0" y="752"/>
                </a:lnTo>
                <a:lnTo>
                  <a:pt x="283" y="0"/>
                </a:lnTo>
              </a:path>
            </a:pathLst>
          </a:custGeom>
          <a:solidFill>
            <a:schemeClr val="bg1">
              <a:lumMod val="95000"/>
            </a:schemeClr>
          </a:solidFill>
          <a:ln>
            <a:noFill/>
          </a:ln>
          <a:effectLst/>
        </p:spPr>
        <p:txBody>
          <a:bodyPr wrap="none" anchor="ctr"/>
          <a:lstStyle/>
          <a:p>
            <a:endParaRPr lang="en-GB" sz="1600" dirty="0">
              <a:latin typeface="+mj-lt"/>
            </a:endParaRPr>
          </a:p>
        </p:txBody>
      </p:sp>
      <p:sp>
        <p:nvSpPr>
          <p:cNvPr id="33" name="Freeform 16">
            <a:extLst>
              <a:ext uri="{FF2B5EF4-FFF2-40B4-BE49-F238E27FC236}">
                <a16:creationId xmlns:a16="http://schemas.microsoft.com/office/drawing/2014/main" xmlns="" id="{B44856CA-CFB9-491E-A961-91BE25129ADF}"/>
              </a:ext>
            </a:extLst>
          </p:cNvPr>
          <p:cNvSpPr>
            <a:spLocks noChangeArrowheads="1"/>
          </p:cNvSpPr>
          <p:nvPr/>
        </p:nvSpPr>
        <p:spPr bwMode="auto">
          <a:xfrm>
            <a:off x="3538505" y="2932327"/>
            <a:ext cx="490235" cy="544842"/>
          </a:xfrm>
          <a:custGeom>
            <a:avLst/>
            <a:gdLst>
              <a:gd name="T0" fmla="*/ 1740 w 1741"/>
              <a:gd name="T1" fmla="*/ 1467 h 1936"/>
              <a:gd name="T2" fmla="*/ 1166 w 1741"/>
              <a:gd name="T3" fmla="*/ 1906 h 1936"/>
              <a:gd name="T4" fmla="*/ 1166 w 1741"/>
              <a:gd name="T5" fmla="*/ 1906 h 1936"/>
              <a:gd name="T6" fmla="*/ 1049 w 1741"/>
              <a:gd name="T7" fmla="*/ 1890 h 1936"/>
              <a:gd name="T8" fmla="*/ 29 w 1741"/>
              <a:gd name="T9" fmla="*/ 557 h 1936"/>
              <a:gd name="T10" fmla="*/ 29 w 1741"/>
              <a:gd name="T11" fmla="*/ 557 h 1936"/>
              <a:gd name="T12" fmla="*/ 45 w 1741"/>
              <a:gd name="T13" fmla="*/ 439 h 1936"/>
              <a:gd name="T14" fmla="*/ 619 w 1741"/>
              <a:gd name="T15" fmla="*/ 0 h 1936"/>
              <a:gd name="T16" fmla="*/ 619 w 1741"/>
              <a:gd name="T17" fmla="*/ 0 h 1936"/>
              <a:gd name="T18" fmla="*/ 603 w 1741"/>
              <a:gd name="T19" fmla="*/ 119 h 1936"/>
              <a:gd name="T20" fmla="*/ 1621 w 1741"/>
              <a:gd name="T21" fmla="*/ 1452 h 1936"/>
              <a:gd name="T22" fmla="*/ 1621 w 1741"/>
              <a:gd name="T23" fmla="*/ 1452 h 1936"/>
              <a:gd name="T24" fmla="*/ 1740 w 1741"/>
              <a:gd name="T25" fmla="*/ 1467 h 1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936">
                <a:moveTo>
                  <a:pt x="1740" y="1467"/>
                </a:moveTo>
                <a:lnTo>
                  <a:pt x="1166" y="1906"/>
                </a:lnTo>
                <a:lnTo>
                  <a:pt x="1166" y="1906"/>
                </a:lnTo>
                <a:cubicBezTo>
                  <a:pt x="1130" y="1935"/>
                  <a:pt x="1076" y="1928"/>
                  <a:pt x="1049" y="1890"/>
                </a:cubicBezTo>
                <a:lnTo>
                  <a:pt x="29" y="557"/>
                </a:lnTo>
                <a:lnTo>
                  <a:pt x="29" y="557"/>
                </a:lnTo>
                <a:cubicBezTo>
                  <a:pt x="0" y="520"/>
                  <a:pt x="8" y="468"/>
                  <a:pt x="45" y="439"/>
                </a:cubicBezTo>
                <a:lnTo>
                  <a:pt x="619" y="0"/>
                </a:lnTo>
                <a:lnTo>
                  <a:pt x="619" y="0"/>
                </a:lnTo>
                <a:cubicBezTo>
                  <a:pt x="582" y="29"/>
                  <a:pt x="574" y="82"/>
                  <a:pt x="603" y="119"/>
                </a:cubicBezTo>
                <a:lnTo>
                  <a:pt x="1621" y="1452"/>
                </a:lnTo>
                <a:lnTo>
                  <a:pt x="1621" y="1452"/>
                </a:lnTo>
                <a:cubicBezTo>
                  <a:pt x="1650" y="1489"/>
                  <a:pt x="1703" y="1496"/>
                  <a:pt x="1740" y="1467"/>
                </a:cubicBezTo>
              </a:path>
            </a:pathLst>
          </a:custGeom>
          <a:solidFill>
            <a:srgbClr val="28282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mj-lt"/>
            </a:endParaRPr>
          </a:p>
        </p:txBody>
      </p:sp>
      <p:sp>
        <p:nvSpPr>
          <p:cNvPr id="34" name="Freeform 78">
            <a:extLst>
              <a:ext uri="{FF2B5EF4-FFF2-40B4-BE49-F238E27FC236}">
                <a16:creationId xmlns:a16="http://schemas.microsoft.com/office/drawing/2014/main" xmlns="" id="{3B34E8B4-31AB-47EB-B087-59ACF919E2B6}"/>
              </a:ext>
            </a:extLst>
          </p:cNvPr>
          <p:cNvSpPr>
            <a:spLocks noChangeArrowheads="1"/>
          </p:cNvSpPr>
          <p:nvPr/>
        </p:nvSpPr>
        <p:spPr bwMode="auto">
          <a:xfrm>
            <a:off x="3703063" y="2832458"/>
            <a:ext cx="457564" cy="517207"/>
          </a:xfrm>
          <a:custGeom>
            <a:avLst/>
            <a:gdLst>
              <a:gd name="connsiteX0" fmla="*/ 827635 w 1219852"/>
              <a:gd name="connsiteY0" fmla="*/ 347519 h 1378859"/>
              <a:gd name="connsiteX1" fmla="*/ 811843 w 1219852"/>
              <a:gd name="connsiteY1" fmla="*/ 351753 h 1378859"/>
              <a:gd name="connsiteX2" fmla="*/ 736429 w 1219852"/>
              <a:gd name="connsiteY2" fmla="*/ 409315 h 1378859"/>
              <a:gd name="connsiteX3" fmla="*/ 914342 w 1219852"/>
              <a:gd name="connsiteY3" fmla="*/ 642867 h 1378859"/>
              <a:gd name="connsiteX4" fmla="*/ 990065 w 1219852"/>
              <a:gd name="connsiteY4" fmla="*/ 585069 h 1378859"/>
              <a:gd name="connsiteX5" fmla="*/ 994577 w 1219852"/>
              <a:gd name="connsiteY5" fmla="*/ 554964 h 1378859"/>
              <a:gd name="connsiteX6" fmla="*/ 841171 w 1219852"/>
              <a:gd name="connsiteY6" fmla="*/ 356269 h 1378859"/>
              <a:gd name="connsiteX7" fmla="*/ 827635 w 1219852"/>
              <a:gd name="connsiteY7" fmla="*/ 347519 h 1378859"/>
              <a:gd name="connsiteX8" fmla="*/ 400856 w 1219852"/>
              <a:gd name="connsiteY8" fmla="*/ 628 h 1378859"/>
              <a:gd name="connsiteX9" fmla="*/ 443392 w 1219852"/>
              <a:gd name="connsiteY9" fmla="*/ 24637 h 1378859"/>
              <a:gd name="connsiteX10" fmla="*/ 693116 w 1219852"/>
              <a:gd name="connsiteY10" fmla="*/ 352458 h 1378859"/>
              <a:gd name="connsiteX11" fmla="*/ 768980 w 1219852"/>
              <a:gd name="connsiteY11" fmla="*/ 294553 h 1378859"/>
              <a:gd name="connsiteX12" fmla="*/ 899074 w 1219852"/>
              <a:gd name="connsiteY12" fmla="*/ 311863 h 1378859"/>
              <a:gd name="connsiteX13" fmla="*/ 1052480 w 1219852"/>
              <a:gd name="connsiteY13" fmla="*/ 511311 h 1378859"/>
              <a:gd name="connsiteX14" fmla="*/ 1034432 w 1219852"/>
              <a:gd name="connsiteY14" fmla="*/ 643022 h 1378859"/>
              <a:gd name="connsiteX15" fmla="*/ 958570 w 1219852"/>
              <a:gd name="connsiteY15" fmla="*/ 700926 h 1378859"/>
              <a:gd name="connsiteX16" fmla="*/ 1206410 w 1219852"/>
              <a:gd name="connsiteY16" fmla="*/ 1026273 h 1378859"/>
              <a:gd name="connsiteX17" fmla="*/ 1195167 w 1219852"/>
              <a:gd name="connsiteY17" fmla="*/ 1113307 h 1378859"/>
              <a:gd name="connsiteX18" fmla="*/ 865376 w 1219852"/>
              <a:gd name="connsiteY18" fmla="*/ 1365404 h 1378859"/>
              <a:gd name="connsiteX19" fmla="*/ 776182 w 1219852"/>
              <a:gd name="connsiteY19" fmla="*/ 1354149 h 1378859"/>
              <a:gd name="connsiteX20" fmla="*/ 13163 w 1219852"/>
              <a:gd name="connsiteY20" fmla="*/ 354015 h 1378859"/>
              <a:gd name="connsiteX21" fmla="*/ 25156 w 1219852"/>
              <a:gd name="connsiteY21" fmla="*/ 264730 h 1378859"/>
              <a:gd name="connsiteX22" fmla="*/ 354947 w 1219852"/>
              <a:gd name="connsiteY22" fmla="*/ 12633 h 1378859"/>
              <a:gd name="connsiteX23" fmla="*/ 400856 w 1219852"/>
              <a:gd name="connsiteY23" fmla="*/ 628 h 1378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852" h="1378859">
                <a:moveTo>
                  <a:pt x="827635" y="347519"/>
                </a:moveTo>
                <a:cubicBezTo>
                  <a:pt x="822183" y="346673"/>
                  <a:pt x="816355" y="347990"/>
                  <a:pt x="811843" y="351753"/>
                </a:cubicBezTo>
                <a:lnTo>
                  <a:pt x="736429" y="409315"/>
                </a:lnTo>
                <a:lnTo>
                  <a:pt x="914342" y="642867"/>
                </a:lnTo>
                <a:lnTo>
                  <a:pt x="990065" y="585069"/>
                </a:lnTo>
                <a:cubicBezTo>
                  <a:pt x="999840" y="579048"/>
                  <a:pt x="1001344" y="564748"/>
                  <a:pt x="994577" y="554964"/>
                </a:cubicBezTo>
                <a:lnTo>
                  <a:pt x="841171" y="356269"/>
                </a:lnTo>
                <a:cubicBezTo>
                  <a:pt x="838163" y="351377"/>
                  <a:pt x="833087" y="348366"/>
                  <a:pt x="827635" y="347519"/>
                </a:cubicBezTo>
                <a:close/>
                <a:moveTo>
                  <a:pt x="400856" y="628"/>
                </a:moveTo>
                <a:cubicBezTo>
                  <a:pt x="416971" y="2879"/>
                  <a:pt x="432524" y="11132"/>
                  <a:pt x="443392" y="24637"/>
                </a:cubicBezTo>
                <a:lnTo>
                  <a:pt x="693116" y="352458"/>
                </a:lnTo>
                <a:lnTo>
                  <a:pt x="768980" y="294553"/>
                </a:lnTo>
                <a:cubicBezTo>
                  <a:pt x="809587" y="262942"/>
                  <a:pt x="867491" y="271221"/>
                  <a:pt x="899074" y="311863"/>
                </a:cubicBezTo>
                <a:lnTo>
                  <a:pt x="1052480" y="511311"/>
                </a:lnTo>
                <a:cubicBezTo>
                  <a:pt x="1082559" y="553458"/>
                  <a:pt x="1075039" y="610658"/>
                  <a:pt x="1034432" y="643022"/>
                </a:cubicBezTo>
                <a:lnTo>
                  <a:pt x="958570" y="700926"/>
                </a:lnTo>
                <a:lnTo>
                  <a:pt x="1206410" y="1026273"/>
                </a:lnTo>
                <a:cubicBezTo>
                  <a:pt x="1228147" y="1052533"/>
                  <a:pt x="1222900" y="1093049"/>
                  <a:pt x="1195167" y="1113307"/>
                </a:cubicBezTo>
                <a:lnTo>
                  <a:pt x="865376" y="1365404"/>
                </a:lnTo>
                <a:cubicBezTo>
                  <a:pt x="837643" y="1387162"/>
                  <a:pt x="797918" y="1381910"/>
                  <a:pt x="776182" y="1354149"/>
                </a:cubicBezTo>
                <a:lnTo>
                  <a:pt x="13163" y="354015"/>
                </a:lnTo>
                <a:cubicBezTo>
                  <a:pt x="-8573" y="326254"/>
                  <a:pt x="-2577" y="286489"/>
                  <a:pt x="25156" y="264730"/>
                </a:cubicBezTo>
                <a:lnTo>
                  <a:pt x="354947" y="12633"/>
                </a:lnTo>
                <a:cubicBezTo>
                  <a:pt x="368064" y="2129"/>
                  <a:pt x="384741" y="-1623"/>
                  <a:pt x="400856" y="628"/>
                </a:cubicBezTo>
                <a:close/>
              </a:path>
            </a:pathLst>
          </a:custGeom>
          <a:solidFill>
            <a:srgbClr val="3A3A3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1600" dirty="0">
              <a:latin typeface="+mj-lt"/>
            </a:endParaRPr>
          </a:p>
        </p:txBody>
      </p:sp>
      <p:sp>
        <p:nvSpPr>
          <p:cNvPr id="35" name="Freeform 76">
            <a:extLst>
              <a:ext uri="{FF2B5EF4-FFF2-40B4-BE49-F238E27FC236}">
                <a16:creationId xmlns:a16="http://schemas.microsoft.com/office/drawing/2014/main" xmlns="" id="{58D18075-C82F-4C43-8876-2ED4143ED46D}"/>
              </a:ext>
            </a:extLst>
          </p:cNvPr>
          <p:cNvSpPr>
            <a:spLocks noChangeArrowheads="1"/>
          </p:cNvSpPr>
          <p:nvPr/>
        </p:nvSpPr>
        <p:spPr bwMode="auto">
          <a:xfrm>
            <a:off x="3992202" y="2763538"/>
            <a:ext cx="423480" cy="293156"/>
          </a:xfrm>
          <a:custGeom>
            <a:avLst/>
            <a:gdLst>
              <a:gd name="connsiteX0" fmla="*/ 869451 w 1128985"/>
              <a:gd name="connsiteY0" fmla="*/ 0 h 781547"/>
              <a:gd name="connsiteX1" fmla="*/ 1128985 w 1128985"/>
              <a:gd name="connsiteY1" fmla="*/ 139041 h 781547"/>
              <a:gd name="connsiteX2" fmla="*/ 373635 w 1128985"/>
              <a:gd name="connsiteY2" fmla="*/ 541882 h 781547"/>
              <a:gd name="connsiteX3" fmla="*/ 372915 w 1128985"/>
              <a:gd name="connsiteY3" fmla="*/ 540159 h 781547"/>
              <a:gd name="connsiteX4" fmla="*/ 370525 w 1128985"/>
              <a:gd name="connsiteY4" fmla="*/ 541496 h 781547"/>
              <a:gd name="connsiteX5" fmla="*/ 308363 w 1128985"/>
              <a:gd name="connsiteY5" fmla="*/ 760258 h 781547"/>
              <a:gd name="connsiteX6" fmla="*/ 268576 w 1128985"/>
              <a:gd name="connsiteY6" fmla="*/ 736766 h 781547"/>
              <a:gd name="connsiteX7" fmla="*/ 260481 w 1128985"/>
              <a:gd name="connsiteY7" fmla="*/ 726745 h 781547"/>
              <a:gd name="connsiteX8" fmla="*/ 253821 w 1128985"/>
              <a:gd name="connsiteY8" fmla="*/ 732495 h 781547"/>
              <a:gd name="connsiteX9" fmla="*/ 178622 w 1128985"/>
              <a:gd name="connsiteY9" fmla="*/ 774827 h 781547"/>
              <a:gd name="connsiteX10" fmla="*/ 101002 w 1128985"/>
              <a:gd name="connsiteY10" fmla="*/ 716467 h 781547"/>
              <a:gd name="connsiteX11" fmla="*/ 101849 w 1128985"/>
              <a:gd name="connsiteY11" fmla="*/ 714699 h 781547"/>
              <a:gd name="connsiteX12" fmla="*/ 73316 w 1128985"/>
              <a:gd name="connsiteY12" fmla="*/ 690524 h 781547"/>
              <a:gd name="connsiteX13" fmla="*/ 67006 w 1128985"/>
              <a:gd name="connsiteY13" fmla="*/ 653281 h 781547"/>
              <a:gd name="connsiteX14" fmla="*/ 68249 w 1128985"/>
              <a:gd name="connsiteY14" fmla="*/ 650682 h 781547"/>
              <a:gd name="connsiteX15" fmla="*/ 41233 w 1128985"/>
              <a:gd name="connsiteY15" fmla="*/ 628118 h 781547"/>
              <a:gd name="connsiteX16" fmla="*/ 34504 w 1128985"/>
              <a:gd name="connsiteY16" fmla="*/ 590723 h 781547"/>
              <a:gd name="connsiteX17" fmla="*/ 35223 w 1128985"/>
              <a:gd name="connsiteY17" fmla="*/ 589185 h 781547"/>
              <a:gd name="connsiteX18" fmla="*/ 7701 w 1128985"/>
              <a:gd name="connsiteY18" fmla="*/ 566199 h 781547"/>
              <a:gd name="connsiteX19" fmla="*/ 27763 w 1128985"/>
              <a:gd name="connsiteY19" fmla="*/ 495873 h 781547"/>
              <a:gd name="connsiteX20" fmla="*/ 101664 w 1128985"/>
              <a:gd name="connsiteY20" fmla="*/ 455419 h 781547"/>
              <a:gd name="connsiteX21" fmla="*/ 112337 w 1128985"/>
              <a:gd name="connsiteY21" fmla="*/ 451846 h 781547"/>
              <a:gd name="connsiteX22" fmla="*/ 110643 w 1128985"/>
              <a:gd name="connsiteY22" fmla="*/ 448278 h 781547"/>
              <a:gd name="connsiteX23" fmla="*/ 305011 w 1128985"/>
              <a:gd name="connsiteY23" fmla="*/ 340504 h 78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28985" h="781547">
                <a:moveTo>
                  <a:pt x="869451" y="0"/>
                </a:moveTo>
                <a:lnTo>
                  <a:pt x="1128985" y="139041"/>
                </a:lnTo>
                <a:lnTo>
                  <a:pt x="373635" y="541882"/>
                </a:lnTo>
                <a:lnTo>
                  <a:pt x="372915" y="540159"/>
                </a:lnTo>
                <a:lnTo>
                  <a:pt x="370525" y="541496"/>
                </a:lnTo>
                <a:cubicBezTo>
                  <a:pt x="497845" y="675309"/>
                  <a:pt x="336074" y="744471"/>
                  <a:pt x="308363" y="760258"/>
                </a:cubicBezTo>
                <a:cubicBezTo>
                  <a:pt x="308363" y="760258"/>
                  <a:pt x="285520" y="750109"/>
                  <a:pt x="268576" y="736766"/>
                </a:cubicBezTo>
                <a:lnTo>
                  <a:pt x="260481" y="726745"/>
                </a:lnTo>
                <a:lnTo>
                  <a:pt x="253821" y="732495"/>
                </a:lnTo>
                <a:lnTo>
                  <a:pt x="178622" y="774827"/>
                </a:lnTo>
                <a:cubicBezTo>
                  <a:pt x="135194" y="798639"/>
                  <a:pt x="92613" y="754417"/>
                  <a:pt x="101002" y="716467"/>
                </a:cubicBezTo>
                <a:lnTo>
                  <a:pt x="101849" y="714699"/>
                </a:lnTo>
                <a:lnTo>
                  <a:pt x="73316" y="690524"/>
                </a:lnTo>
                <a:cubicBezTo>
                  <a:pt x="66831" y="679275"/>
                  <a:pt x="64148" y="665931"/>
                  <a:pt x="67006" y="653281"/>
                </a:cubicBezTo>
                <a:lnTo>
                  <a:pt x="68249" y="650682"/>
                </a:lnTo>
                <a:lnTo>
                  <a:pt x="41233" y="628118"/>
                </a:lnTo>
                <a:cubicBezTo>
                  <a:pt x="34586" y="616874"/>
                  <a:pt x="31734" y="603503"/>
                  <a:pt x="34504" y="590723"/>
                </a:cubicBezTo>
                <a:lnTo>
                  <a:pt x="35223" y="589185"/>
                </a:lnTo>
                <a:lnTo>
                  <a:pt x="7701" y="566199"/>
                </a:lnTo>
                <a:cubicBezTo>
                  <a:pt x="-5456" y="544006"/>
                  <a:pt x="-3590" y="513478"/>
                  <a:pt x="27763" y="495873"/>
                </a:cubicBezTo>
                <a:lnTo>
                  <a:pt x="101664" y="455419"/>
                </a:lnTo>
                <a:lnTo>
                  <a:pt x="112337" y="451846"/>
                </a:lnTo>
                <a:lnTo>
                  <a:pt x="110643" y="448278"/>
                </a:lnTo>
                <a:lnTo>
                  <a:pt x="305011" y="340504"/>
                </a:lnTo>
                <a:close/>
              </a:path>
            </a:pathLst>
          </a:custGeom>
          <a:solidFill>
            <a:srgbClr val="F49D5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1600" dirty="0">
              <a:latin typeface="+mj-lt"/>
            </a:endParaRPr>
          </a:p>
        </p:txBody>
      </p:sp>
      <p:sp>
        <p:nvSpPr>
          <p:cNvPr id="36" name="Freeform 21">
            <a:extLst>
              <a:ext uri="{FF2B5EF4-FFF2-40B4-BE49-F238E27FC236}">
                <a16:creationId xmlns:a16="http://schemas.microsoft.com/office/drawing/2014/main" xmlns="" id="{F6810D28-30B9-49D8-9B60-3A1C3931FE5D}"/>
              </a:ext>
            </a:extLst>
          </p:cNvPr>
          <p:cNvSpPr>
            <a:spLocks noChangeArrowheads="1"/>
          </p:cNvSpPr>
          <p:nvPr/>
        </p:nvSpPr>
        <p:spPr bwMode="auto">
          <a:xfrm>
            <a:off x="4384935" y="2592267"/>
            <a:ext cx="601934" cy="783133"/>
          </a:xfrm>
          <a:custGeom>
            <a:avLst/>
            <a:gdLst>
              <a:gd name="T0" fmla="*/ 0 w 2138"/>
              <a:gd name="T1" fmla="*/ 2511 h 2783"/>
              <a:gd name="T2" fmla="*/ 0 w 2138"/>
              <a:gd name="T3" fmla="*/ 2511 h 2783"/>
              <a:gd name="T4" fmla="*/ 1037 w 2138"/>
              <a:gd name="T5" fmla="*/ 311 h 2783"/>
              <a:gd name="T6" fmla="*/ 1688 w 2138"/>
              <a:gd name="T7" fmla="*/ 0 h 2783"/>
              <a:gd name="T8" fmla="*/ 2137 w 2138"/>
              <a:gd name="T9" fmla="*/ 396 h 2783"/>
              <a:gd name="T10" fmla="*/ 2137 w 2138"/>
              <a:gd name="T11" fmla="*/ 396 h 2783"/>
              <a:gd name="T12" fmla="*/ 1916 w 2138"/>
              <a:gd name="T13" fmla="*/ 1261 h 2783"/>
              <a:gd name="T14" fmla="*/ 1181 w 2138"/>
              <a:gd name="T15" fmla="*/ 2782 h 2783"/>
              <a:gd name="T16" fmla="*/ 0 w 2138"/>
              <a:gd name="T17" fmla="*/ 2511 h 2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8" h="2783">
                <a:moveTo>
                  <a:pt x="0" y="2511"/>
                </a:moveTo>
                <a:lnTo>
                  <a:pt x="0" y="2511"/>
                </a:lnTo>
                <a:cubicBezTo>
                  <a:pt x="0" y="2511"/>
                  <a:pt x="778" y="571"/>
                  <a:pt x="1037" y="311"/>
                </a:cubicBezTo>
                <a:lnTo>
                  <a:pt x="1688" y="0"/>
                </a:lnTo>
                <a:lnTo>
                  <a:pt x="2137" y="396"/>
                </a:lnTo>
                <a:lnTo>
                  <a:pt x="2137" y="396"/>
                </a:lnTo>
                <a:cubicBezTo>
                  <a:pt x="2137" y="396"/>
                  <a:pt x="2011" y="1066"/>
                  <a:pt x="1916" y="1261"/>
                </a:cubicBezTo>
                <a:lnTo>
                  <a:pt x="1181" y="2782"/>
                </a:lnTo>
                <a:lnTo>
                  <a:pt x="0" y="2511"/>
                </a:lnTo>
              </a:path>
            </a:pathLst>
          </a:custGeom>
          <a:solidFill>
            <a:schemeClr val="bg1">
              <a:lumMod val="75000"/>
            </a:schemeClr>
          </a:solidFill>
          <a:ln>
            <a:noFill/>
          </a:ln>
          <a:effectLst/>
        </p:spPr>
        <p:txBody>
          <a:bodyPr wrap="none" anchor="ctr"/>
          <a:lstStyle/>
          <a:p>
            <a:endParaRPr lang="en-GB" sz="1600" dirty="0">
              <a:latin typeface="+mj-lt"/>
            </a:endParaRPr>
          </a:p>
        </p:txBody>
      </p:sp>
      <p:sp>
        <p:nvSpPr>
          <p:cNvPr id="37" name="Freeform 27">
            <a:extLst>
              <a:ext uri="{FF2B5EF4-FFF2-40B4-BE49-F238E27FC236}">
                <a16:creationId xmlns:a16="http://schemas.microsoft.com/office/drawing/2014/main" xmlns="" id="{CA4715AF-FF70-45F2-A3B1-441E0DCA0476}"/>
              </a:ext>
            </a:extLst>
          </p:cNvPr>
          <p:cNvSpPr>
            <a:spLocks noChangeArrowheads="1"/>
          </p:cNvSpPr>
          <p:nvPr/>
        </p:nvSpPr>
        <p:spPr bwMode="auto">
          <a:xfrm>
            <a:off x="4842902" y="2151676"/>
            <a:ext cx="435627" cy="594487"/>
          </a:xfrm>
          <a:custGeom>
            <a:avLst/>
            <a:gdLst>
              <a:gd name="T0" fmla="*/ 6 w 1549"/>
              <a:gd name="T1" fmla="*/ 889 h 2112"/>
              <a:gd name="T2" fmla="*/ 6 w 1549"/>
              <a:gd name="T3" fmla="*/ 889 h 2112"/>
              <a:gd name="T4" fmla="*/ 137 w 1549"/>
              <a:gd name="T5" fmla="*/ 1347 h 2112"/>
              <a:gd name="T6" fmla="*/ 137 w 1549"/>
              <a:gd name="T7" fmla="*/ 1347 h 2112"/>
              <a:gd name="T8" fmla="*/ 64 w 1549"/>
              <a:gd name="T9" fmla="*/ 1562 h 2112"/>
              <a:gd name="T10" fmla="*/ 480 w 1549"/>
              <a:gd name="T11" fmla="*/ 2111 h 2112"/>
              <a:gd name="T12" fmla="*/ 618 w 1549"/>
              <a:gd name="T13" fmla="*/ 1707 h 2112"/>
              <a:gd name="T14" fmla="*/ 618 w 1549"/>
              <a:gd name="T15" fmla="*/ 1707 h 2112"/>
              <a:gd name="T16" fmla="*/ 799 w 1549"/>
              <a:gd name="T17" fmla="*/ 1819 h 2112"/>
              <a:gd name="T18" fmla="*/ 799 w 1549"/>
              <a:gd name="T19" fmla="*/ 1819 h 2112"/>
              <a:gd name="T20" fmla="*/ 996 w 1549"/>
              <a:gd name="T21" fmla="*/ 1811 h 2112"/>
              <a:gd name="T22" fmla="*/ 996 w 1549"/>
              <a:gd name="T23" fmla="*/ 1811 h 2112"/>
              <a:gd name="T24" fmla="*/ 1138 w 1549"/>
              <a:gd name="T25" fmla="*/ 1444 h 2112"/>
              <a:gd name="T26" fmla="*/ 1138 w 1549"/>
              <a:gd name="T27" fmla="*/ 1444 h 2112"/>
              <a:gd name="T28" fmla="*/ 1181 w 1549"/>
              <a:gd name="T29" fmla="*/ 1213 h 2112"/>
              <a:gd name="T30" fmla="*/ 1181 w 1549"/>
              <a:gd name="T31" fmla="*/ 1213 h 2112"/>
              <a:gd name="T32" fmla="*/ 6 w 1549"/>
              <a:gd name="T33" fmla="*/ 889 h 2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9" h="2112">
                <a:moveTo>
                  <a:pt x="6" y="889"/>
                </a:moveTo>
                <a:lnTo>
                  <a:pt x="6" y="889"/>
                </a:lnTo>
                <a:cubicBezTo>
                  <a:pt x="7" y="1108"/>
                  <a:pt x="138" y="1283"/>
                  <a:pt x="137" y="1347"/>
                </a:cubicBezTo>
                <a:lnTo>
                  <a:pt x="137" y="1347"/>
                </a:lnTo>
                <a:cubicBezTo>
                  <a:pt x="135" y="1386"/>
                  <a:pt x="64" y="1562"/>
                  <a:pt x="64" y="1562"/>
                </a:cubicBezTo>
                <a:lnTo>
                  <a:pt x="480" y="2111"/>
                </a:lnTo>
                <a:lnTo>
                  <a:pt x="618" y="1707"/>
                </a:lnTo>
                <a:lnTo>
                  <a:pt x="618" y="1707"/>
                </a:lnTo>
                <a:cubicBezTo>
                  <a:pt x="618" y="1707"/>
                  <a:pt x="715" y="1790"/>
                  <a:pt x="799" y="1819"/>
                </a:cubicBezTo>
                <a:lnTo>
                  <a:pt x="799" y="1819"/>
                </a:lnTo>
                <a:cubicBezTo>
                  <a:pt x="799" y="1819"/>
                  <a:pt x="944" y="1887"/>
                  <a:pt x="996" y="1811"/>
                </a:cubicBezTo>
                <a:lnTo>
                  <a:pt x="996" y="1811"/>
                </a:lnTo>
                <a:cubicBezTo>
                  <a:pt x="1064" y="1589"/>
                  <a:pt x="1084" y="1565"/>
                  <a:pt x="1138" y="1444"/>
                </a:cubicBezTo>
                <a:lnTo>
                  <a:pt x="1138" y="1444"/>
                </a:lnTo>
                <a:cubicBezTo>
                  <a:pt x="1259" y="1427"/>
                  <a:pt x="1293" y="1359"/>
                  <a:pt x="1181" y="1213"/>
                </a:cubicBezTo>
                <a:lnTo>
                  <a:pt x="1181" y="1213"/>
                </a:lnTo>
                <a:cubicBezTo>
                  <a:pt x="1548" y="238"/>
                  <a:pt x="0" y="0"/>
                  <a:pt x="6" y="889"/>
                </a:cubicBezTo>
              </a:path>
            </a:pathLst>
          </a:custGeom>
          <a:solidFill>
            <a:srgbClr val="F49D5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mj-lt"/>
            </a:endParaRPr>
          </a:p>
        </p:txBody>
      </p:sp>
      <p:sp>
        <p:nvSpPr>
          <p:cNvPr id="38" name="Freeform 28">
            <a:extLst>
              <a:ext uri="{FF2B5EF4-FFF2-40B4-BE49-F238E27FC236}">
                <a16:creationId xmlns:a16="http://schemas.microsoft.com/office/drawing/2014/main" xmlns="" id="{FA54020B-FCD9-4986-83AB-340760CC686E}"/>
              </a:ext>
            </a:extLst>
          </p:cNvPr>
          <p:cNvSpPr>
            <a:spLocks noChangeArrowheads="1"/>
          </p:cNvSpPr>
          <p:nvPr/>
        </p:nvSpPr>
        <p:spPr bwMode="auto">
          <a:xfrm>
            <a:off x="3737082" y="3453589"/>
            <a:ext cx="909727" cy="816644"/>
          </a:xfrm>
          <a:custGeom>
            <a:avLst/>
            <a:gdLst>
              <a:gd name="T0" fmla="*/ 2265 w 3234"/>
              <a:gd name="T1" fmla="*/ 0 h 2903"/>
              <a:gd name="T2" fmla="*/ 2265 w 3234"/>
              <a:gd name="T3" fmla="*/ 0 h 2903"/>
              <a:gd name="T4" fmla="*/ 2010 w 3234"/>
              <a:gd name="T5" fmla="*/ 1351 h 2903"/>
              <a:gd name="T6" fmla="*/ 0 w 3234"/>
              <a:gd name="T7" fmla="*/ 2433 h 2903"/>
              <a:gd name="T8" fmla="*/ 145 w 3234"/>
              <a:gd name="T9" fmla="*/ 2902 h 2903"/>
              <a:gd name="T10" fmla="*/ 145 w 3234"/>
              <a:gd name="T11" fmla="*/ 2902 h 2903"/>
              <a:gd name="T12" fmla="*/ 2933 w 3234"/>
              <a:gd name="T13" fmla="*/ 1681 h 2903"/>
              <a:gd name="T14" fmla="*/ 3233 w 3234"/>
              <a:gd name="T15" fmla="*/ 265 h 2903"/>
              <a:gd name="T16" fmla="*/ 2265 w 3234"/>
              <a:gd name="T17" fmla="*/ 0 h 2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4" h="2903">
                <a:moveTo>
                  <a:pt x="2265" y="0"/>
                </a:moveTo>
                <a:lnTo>
                  <a:pt x="2265" y="0"/>
                </a:lnTo>
                <a:cubicBezTo>
                  <a:pt x="2288" y="50"/>
                  <a:pt x="2010" y="1351"/>
                  <a:pt x="2010" y="1351"/>
                </a:cubicBezTo>
                <a:lnTo>
                  <a:pt x="0" y="2433"/>
                </a:lnTo>
                <a:lnTo>
                  <a:pt x="145" y="2902"/>
                </a:lnTo>
                <a:lnTo>
                  <a:pt x="145" y="2902"/>
                </a:lnTo>
                <a:cubicBezTo>
                  <a:pt x="145" y="2902"/>
                  <a:pt x="2750" y="1882"/>
                  <a:pt x="2933" y="1681"/>
                </a:cubicBezTo>
                <a:lnTo>
                  <a:pt x="3233" y="265"/>
                </a:lnTo>
                <a:lnTo>
                  <a:pt x="2265" y="0"/>
                </a:lnTo>
              </a:path>
            </a:pathLst>
          </a:custGeom>
          <a:solidFill>
            <a:schemeClr val="bg1">
              <a:lumMod val="50000"/>
            </a:schemeClr>
          </a:solidFill>
          <a:ln>
            <a:noFill/>
          </a:ln>
          <a:effectLst/>
        </p:spPr>
        <p:txBody>
          <a:bodyPr wrap="none" anchor="ctr"/>
          <a:lstStyle/>
          <a:p>
            <a:endParaRPr lang="en-GB" sz="1600" dirty="0">
              <a:latin typeface="+mj-lt"/>
            </a:endParaRPr>
          </a:p>
        </p:txBody>
      </p:sp>
      <p:sp>
        <p:nvSpPr>
          <p:cNvPr id="39" name="Freeform 29">
            <a:extLst>
              <a:ext uri="{FF2B5EF4-FFF2-40B4-BE49-F238E27FC236}">
                <a16:creationId xmlns:a16="http://schemas.microsoft.com/office/drawing/2014/main" xmlns="" id="{8DEB0BDA-39EA-44BB-A664-782112C783A9}"/>
              </a:ext>
            </a:extLst>
          </p:cNvPr>
          <p:cNvSpPr>
            <a:spLocks noChangeArrowheads="1"/>
          </p:cNvSpPr>
          <p:nvPr/>
        </p:nvSpPr>
        <p:spPr bwMode="auto">
          <a:xfrm>
            <a:off x="4237245" y="2624534"/>
            <a:ext cx="723562" cy="278006"/>
          </a:xfrm>
          <a:custGeom>
            <a:avLst/>
            <a:gdLst>
              <a:gd name="T0" fmla="*/ 0 w 2569"/>
              <a:gd name="T1" fmla="*/ 609 h 986"/>
              <a:gd name="T2" fmla="*/ 613 w 2569"/>
              <a:gd name="T3" fmla="*/ 171 h 986"/>
              <a:gd name="T4" fmla="*/ 613 w 2569"/>
              <a:gd name="T5" fmla="*/ 171 h 986"/>
              <a:gd name="T6" fmla="*/ 1461 w 2569"/>
              <a:gd name="T7" fmla="*/ 80 h 986"/>
              <a:gd name="T8" fmla="*/ 1461 w 2569"/>
              <a:gd name="T9" fmla="*/ 80 h 986"/>
              <a:gd name="T10" fmla="*/ 2171 w 2569"/>
              <a:gd name="T11" fmla="*/ 690 h 986"/>
              <a:gd name="T12" fmla="*/ 748 w 2569"/>
              <a:gd name="T13" fmla="*/ 708 h 986"/>
              <a:gd name="T14" fmla="*/ 211 w 2569"/>
              <a:gd name="T15" fmla="*/ 985 h 986"/>
              <a:gd name="T16" fmla="*/ 0 w 2569"/>
              <a:gd name="T17" fmla="*/ 609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9" h="986">
                <a:moveTo>
                  <a:pt x="0" y="609"/>
                </a:moveTo>
                <a:lnTo>
                  <a:pt x="613" y="171"/>
                </a:lnTo>
                <a:lnTo>
                  <a:pt x="613" y="171"/>
                </a:lnTo>
                <a:cubicBezTo>
                  <a:pt x="613" y="171"/>
                  <a:pt x="1046" y="110"/>
                  <a:pt x="1461" y="80"/>
                </a:cubicBezTo>
                <a:lnTo>
                  <a:pt x="1461" y="80"/>
                </a:lnTo>
                <a:cubicBezTo>
                  <a:pt x="2568" y="0"/>
                  <a:pt x="2360" y="688"/>
                  <a:pt x="2171" y="690"/>
                </a:cubicBezTo>
                <a:lnTo>
                  <a:pt x="748" y="708"/>
                </a:lnTo>
                <a:lnTo>
                  <a:pt x="211" y="985"/>
                </a:lnTo>
                <a:lnTo>
                  <a:pt x="0" y="609"/>
                </a:lnTo>
              </a:path>
            </a:pathLst>
          </a:custGeom>
          <a:solidFill>
            <a:schemeClr val="bg1">
              <a:lumMod val="95000"/>
            </a:schemeClr>
          </a:solidFill>
          <a:ln>
            <a:noFill/>
          </a:ln>
          <a:effectLst/>
        </p:spPr>
        <p:txBody>
          <a:bodyPr wrap="none" anchor="ctr"/>
          <a:lstStyle/>
          <a:p>
            <a:endParaRPr lang="en-GB" sz="1600" dirty="0">
              <a:latin typeface="+mj-lt"/>
            </a:endParaRPr>
          </a:p>
        </p:txBody>
      </p:sp>
      <p:sp>
        <p:nvSpPr>
          <p:cNvPr id="40" name="Freeform 30">
            <a:extLst>
              <a:ext uri="{FF2B5EF4-FFF2-40B4-BE49-F238E27FC236}">
                <a16:creationId xmlns:a16="http://schemas.microsoft.com/office/drawing/2014/main" xmlns="" id="{2D571FA0-46B3-4381-B684-8B3239BD4387}"/>
              </a:ext>
            </a:extLst>
          </p:cNvPr>
          <p:cNvSpPr>
            <a:spLocks noChangeArrowheads="1"/>
          </p:cNvSpPr>
          <p:nvPr/>
        </p:nvSpPr>
        <p:spPr bwMode="auto">
          <a:xfrm>
            <a:off x="4803186" y="2202562"/>
            <a:ext cx="423216" cy="328891"/>
          </a:xfrm>
          <a:custGeom>
            <a:avLst/>
            <a:gdLst>
              <a:gd name="T0" fmla="*/ 1443 w 1503"/>
              <a:gd name="T1" fmla="*/ 766 h 1167"/>
              <a:gd name="T2" fmla="*/ 883 w 1503"/>
              <a:gd name="T3" fmla="*/ 649 h 1167"/>
              <a:gd name="T4" fmla="*/ 883 w 1503"/>
              <a:gd name="T5" fmla="*/ 649 h 1167"/>
              <a:gd name="T6" fmla="*/ 275 w 1503"/>
              <a:gd name="T7" fmla="*/ 1166 h 1167"/>
              <a:gd name="T8" fmla="*/ 275 w 1503"/>
              <a:gd name="T9" fmla="*/ 1166 h 1167"/>
              <a:gd name="T10" fmla="*/ 236 w 1503"/>
              <a:gd name="T11" fmla="*/ 380 h 1167"/>
              <a:gd name="T12" fmla="*/ 236 w 1503"/>
              <a:gd name="T13" fmla="*/ 380 h 1167"/>
              <a:gd name="T14" fmla="*/ 940 w 1503"/>
              <a:gd name="T15" fmla="*/ 101 h 1167"/>
              <a:gd name="T16" fmla="*/ 880 w 1503"/>
              <a:gd name="T17" fmla="*/ 171 h 1167"/>
              <a:gd name="T18" fmla="*/ 880 w 1503"/>
              <a:gd name="T19" fmla="*/ 171 h 1167"/>
              <a:gd name="T20" fmla="*/ 1176 w 1503"/>
              <a:gd name="T21" fmla="*/ 210 h 1167"/>
              <a:gd name="T22" fmla="*/ 1176 w 1503"/>
              <a:gd name="T23" fmla="*/ 210 h 1167"/>
              <a:gd name="T24" fmla="*/ 1443 w 1503"/>
              <a:gd name="T25" fmla="*/ 766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03" h="1167">
                <a:moveTo>
                  <a:pt x="1443" y="766"/>
                </a:moveTo>
                <a:lnTo>
                  <a:pt x="883" y="649"/>
                </a:lnTo>
                <a:lnTo>
                  <a:pt x="883" y="649"/>
                </a:lnTo>
                <a:cubicBezTo>
                  <a:pt x="883" y="649"/>
                  <a:pt x="678" y="971"/>
                  <a:pt x="275" y="1166"/>
                </a:cubicBezTo>
                <a:lnTo>
                  <a:pt x="275" y="1166"/>
                </a:lnTo>
                <a:cubicBezTo>
                  <a:pt x="275" y="1166"/>
                  <a:pt x="0" y="799"/>
                  <a:pt x="236" y="380"/>
                </a:cubicBezTo>
                <a:lnTo>
                  <a:pt x="236" y="380"/>
                </a:lnTo>
                <a:cubicBezTo>
                  <a:pt x="236" y="380"/>
                  <a:pt x="434" y="0"/>
                  <a:pt x="940" y="101"/>
                </a:cubicBezTo>
                <a:lnTo>
                  <a:pt x="880" y="171"/>
                </a:lnTo>
                <a:lnTo>
                  <a:pt x="880" y="171"/>
                </a:lnTo>
                <a:cubicBezTo>
                  <a:pt x="880" y="171"/>
                  <a:pt x="867" y="64"/>
                  <a:pt x="1176" y="210"/>
                </a:cubicBezTo>
                <a:lnTo>
                  <a:pt x="1176" y="210"/>
                </a:lnTo>
                <a:cubicBezTo>
                  <a:pt x="1176" y="210"/>
                  <a:pt x="1502" y="386"/>
                  <a:pt x="1443" y="766"/>
                </a:cubicBezTo>
              </a:path>
            </a:pathLst>
          </a:custGeom>
          <a:solidFill>
            <a:srgbClr val="3A3A3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mj-lt"/>
            </a:endParaRPr>
          </a:p>
        </p:txBody>
      </p:sp>
      <p:sp>
        <p:nvSpPr>
          <p:cNvPr id="42" name="Freeform 31">
            <a:extLst>
              <a:ext uri="{FF2B5EF4-FFF2-40B4-BE49-F238E27FC236}">
                <a16:creationId xmlns:a16="http://schemas.microsoft.com/office/drawing/2014/main" xmlns="" id="{E3E3B107-3E87-4820-BC0A-46A06E2DBDC0}"/>
              </a:ext>
            </a:extLst>
          </p:cNvPr>
          <p:cNvSpPr>
            <a:spLocks noChangeArrowheads="1"/>
          </p:cNvSpPr>
          <p:nvPr/>
        </p:nvSpPr>
        <p:spPr bwMode="auto">
          <a:xfrm>
            <a:off x="4919850" y="2413548"/>
            <a:ext cx="76948" cy="95564"/>
          </a:xfrm>
          <a:custGeom>
            <a:avLst/>
            <a:gdLst>
              <a:gd name="T0" fmla="*/ 273 w 274"/>
              <a:gd name="T1" fmla="*/ 140 h 340"/>
              <a:gd name="T2" fmla="*/ 273 w 274"/>
              <a:gd name="T3" fmla="*/ 140 h 340"/>
              <a:gd name="T4" fmla="*/ 135 w 274"/>
              <a:gd name="T5" fmla="*/ 3 h 340"/>
              <a:gd name="T6" fmla="*/ 135 w 274"/>
              <a:gd name="T7" fmla="*/ 3 h 340"/>
              <a:gd name="T8" fmla="*/ 176 w 274"/>
              <a:gd name="T9" fmla="*/ 339 h 340"/>
              <a:gd name="T10" fmla="*/ 273 w 274"/>
              <a:gd name="T11" fmla="*/ 140 h 340"/>
            </a:gdLst>
            <a:ahLst/>
            <a:cxnLst>
              <a:cxn ang="0">
                <a:pos x="T0" y="T1"/>
              </a:cxn>
              <a:cxn ang="0">
                <a:pos x="T2" y="T3"/>
              </a:cxn>
              <a:cxn ang="0">
                <a:pos x="T4" y="T5"/>
              </a:cxn>
              <a:cxn ang="0">
                <a:pos x="T6" y="T7"/>
              </a:cxn>
              <a:cxn ang="0">
                <a:pos x="T8" y="T9"/>
              </a:cxn>
              <a:cxn ang="0">
                <a:pos x="T10" y="T11"/>
              </a:cxn>
            </a:cxnLst>
            <a:rect l="0" t="0" r="r" b="b"/>
            <a:pathLst>
              <a:path w="274" h="340">
                <a:moveTo>
                  <a:pt x="273" y="140"/>
                </a:moveTo>
                <a:lnTo>
                  <a:pt x="273" y="140"/>
                </a:lnTo>
                <a:cubicBezTo>
                  <a:pt x="273" y="140"/>
                  <a:pt x="239" y="6"/>
                  <a:pt x="135" y="3"/>
                </a:cubicBezTo>
                <a:lnTo>
                  <a:pt x="135" y="3"/>
                </a:lnTo>
                <a:cubicBezTo>
                  <a:pt x="0" y="0"/>
                  <a:pt x="105" y="335"/>
                  <a:pt x="176" y="339"/>
                </a:cubicBezTo>
                <a:lnTo>
                  <a:pt x="273" y="140"/>
                </a:lnTo>
              </a:path>
            </a:pathLst>
          </a:custGeom>
          <a:solidFill>
            <a:srgbClr val="F49D5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mj-lt"/>
            </a:endParaRPr>
          </a:p>
        </p:txBody>
      </p:sp>
      <p:sp>
        <p:nvSpPr>
          <p:cNvPr id="44" name="Freeform 32">
            <a:extLst>
              <a:ext uri="{FF2B5EF4-FFF2-40B4-BE49-F238E27FC236}">
                <a16:creationId xmlns:a16="http://schemas.microsoft.com/office/drawing/2014/main" xmlns="" id="{4F10E6FB-959D-44E0-87D5-89C80CF3D808}"/>
              </a:ext>
            </a:extLst>
          </p:cNvPr>
          <p:cNvSpPr>
            <a:spLocks noChangeArrowheads="1"/>
          </p:cNvSpPr>
          <p:nvPr/>
        </p:nvSpPr>
        <p:spPr bwMode="auto">
          <a:xfrm>
            <a:off x="4921093" y="2671696"/>
            <a:ext cx="55849" cy="193612"/>
          </a:xfrm>
          <a:custGeom>
            <a:avLst/>
            <a:gdLst>
              <a:gd name="T0" fmla="*/ 0 w 199"/>
              <a:gd name="T1" fmla="*/ 0 h 689"/>
              <a:gd name="T2" fmla="*/ 102 w 199"/>
              <a:gd name="T3" fmla="*/ 688 h 689"/>
              <a:gd name="T4" fmla="*/ 198 w 199"/>
              <a:gd name="T5" fmla="*/ 263 h 689"/>
              <a:gd name="T6" fmla="*/ 0 w 199"/>
              <a:gd name="T7" fmla="*/ 0 h 689"/>
            </a:gdLst>
            <a:ahLst/>
            <a:cxnLst>
              <a:cxn ang="0">
                <a:pos x="T0" y="T1"/>
              </a:cxn>
              <a:cxn ang="0">
                <a:pos x="T2" y="T3"/>
              </a:cxn>
              <a:cxn ang="0">
                <a:pos x="T4" y="T5"/>
              </a:cxn>
              <a:cxn ang="0">
                <a:pos x="T6" y="T7"/>
              </a:cxn>
            </a:cxnLst>
            <a:rect l="0" t="0" r="r" b="b"/>
            <a:pathLst>
              <a:path w="199" h="689">
                <a:moveTo>
                  <a:pt x="0" y="0"/>
                </a:moveTo>
                <a:lnTo>
                  <a:pt x="102" y="688"/>
                </a:lnTo>
                <a:lnTo>
                  <a:pt x="198" y="263"/>
                </a:lnTo>
                <a:lnTo>
                  <a:pt x="0" y="0"/>
                </a:lnTo>
              </a:path>
            </a:pathLst>
          </a:custGeom>
          <a:solidFill>
            <a:schemeClr val="bg1">
              <a:lumMod val="95000"/>
            </a:schemeClr>
          </a:solidFill>
          <a:ln>
            <a:noFill/>
          </a:ln>
          <a:effectLst/>
        </p:spPr>
        <p:txBody>
          <a:bodyPr wrap="none" anchor="ctr"/>
          <a:lstStyle/>
          <a:p>
            <a:endParaRPr lang="en-GB" sz="1600" dirty="0">
              <a:latin typeface="+mj-lt"/>
            </a:endParaRPr>
          </a:p>
        </p:txBody>
      </p:sp>
      <p:sp>
        <p:nvSpPr>
          <p:cNvPr id="45" name="Freeform 33">
            <a:extLst>
              <a:ext uri="{FF2B5EF4-FFF2-40B4-BE49-F238E27FC236}">
                <a16:creationId xmlns:a16="http://schemas.microsoft.com/office/drawing/2014/main" xmlns="" id="{A785AB29-6CEF-4282-BCEB-72649F7AF169}"/>
              </a:ext>
            </a:extLst>
          </p:cNvPr>
          <p:cNvSpPr>
            <a:spLocks noChangeArrowheads="1"/>
          </p:cNvSpPr>
          <p:nvPr/>
        </p:nvSpPr>
        <p:spPr bwMode="auto">
          <a:xfrm>
            <a:off x="5103533" y="4132470"/>
            <a:ext cx="328892" cy="146450"/>
          </a:xfrm>
          <a:custGeom>
            <a:avLst/>
            <a:gdLst>
              <a:gd name="T0" fmla="*/ 5 w 1167"/>
              <a:gd name="T1" fmla="*/ 161 h 521"/>
              <a:gd name="T2" fmla="*/ 5 w 1167"/>
              <a:gd name="T3" fmla="*/ 161 h 521"/>
              <a:gd name="T4" fmla="*/ 149 w 1167"/>
              <a:gd name="T5" fmla="*/ 520 h 521"/>
              <a:gd name="T6" fmla="*/ 1148 w 1167"/>
              <a:gd name="T7" fmla="*/ 230 h 521"/>
              <a:gd name="T8" fmla="*/ 1148 w 1167"/>
              <a:gd name="T9" fmla="*/ 230 h 521"/>
              <a:gd name="T10" fmla="*/ 913 w 1167"/>
              <a:gd name="T11" fmla="*/ 54 h 521"/>
              <a:gd name="T12" fmla="*/ 460 w 1167"/>
              <a:gd name="T13" fmla="*/ 94 h 521"/>
              <a:gd name="T14" fmla="*/ 336 w 1167"/>
              <a:gd name="T15" fmla="*/ 42 h 521"/>
              <a:gd name="T16" fmla="*/ 5 w 1167"/>
              <a:gd name="T17" fmla="*/ 16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7" h="521">
                <a:moveTo>
                  <a:pt x="5" y="161"/>
                </a:moveTo>
                <a:lnTo>
                  <a:pt x="5" y="161"/>
                </a:lnTo>
                <a:cubicBezTo>
                  <a:pt x="5" y="161"/>
                  <a:pt x="0" y="369"/>
                  <a:pt x="149" y="520"/>
                </a:cubicBezTo>
                <a:lnTo>
                  <a:pt x="1148" y="230"/>
                </a:lnTo>
                <a:lnTo>
                  <a:pt x="1148" y="230"/>
                </a:lnTo>
                <a:cubicBezTo>
                  <a:pt x="1148" y="230"/>
                  <a:pt x="1166" y="0"/>
                  <a:pt x="913" y="54"/>
                </a:cubicBezTo>
                <a:lnTo>
                  <a:pt x="460" y="94"/>
                </a:lnTo>
                <a:lnTo>
                  <a:pt x="336" y="42"/>
                </a:lnTo>
                <a:lnTo>
                  <a:pt x="5" y="161"/>
                </a:lnTo>
              </a:path>
            </a:pathLst>
          </a:custGeom>
          <a:solidFill>
            <a:schemeClr val="tx2">
              <a:lumMod val="95000"/>
              <a:lumOff val="5000"/>
            </a:schemeClr>
          </a:solidFill>
          <a:ln>
            <a:noFill/>
          </a:ln>
          <a:effectLst/>
        </p:spPr>
        <p:txBody>
          <a:bodyPr wrap="none" anchor="ctr"/>
          <a:lstStyle/>
          <a:p>
            <a:endParaRPr lang="en-GB" sz="1600" dirty="0">
              <a:latin typeface="+mj-lt"/>
            </a:endParaRPr>
          </a:p>
        </p:txBody>
      </p:sp>
      <p:sp>
        <p:nvSpPr>
          <p:cNvPr id="46" name="Freeform 34">
            <a:extLst>
              <a:ext uri="{FF2B5EF4-FFF2-40B4-BE49-F238E27FC236}">
                <a16:creationId xmlns:a16="http://schemas.microsoft.com/office/drawing/2014/main" xmlns="" id="{2502A0FF-5A3D-4F1C-8E12-74FBD2812A06}"/>
              </a:ext>
            </a:extLst>
          </p:cNvPr>
          <p:cNvSpPr>
            <a:spLocks noChangeArrowheads="1"/>
          </p:cNvSpPr>
          <p:nvPr/>
        </p:nvSpPr>
        <p:spPr bwMode="auto">
          <a:xfrm>
            <a:off x="3636552" y="4158534"/>
            <a:ext cx="157620" cy="328891"/>
          </a:xfrm>
          <a:custGeom>
            <a:avLst/>
            <a:gdLst>
              <a:gd name="T0" fmla="*/ 380 w 559"/>
              <a:gd name="T1" fmla="*/ 0 h 1169"/>
              <a:gd name="T2" fmla="*/ 380 w 559"/>
              <a:gd name="T3" fmla="*/ 0 h 1169"/>
              <a:gd name="T4" fmla="*/ 0 w 559"/>
              <a:gd name="T5" fmla="*/ 172 h 1169"/>
              <a:gd name="T6" fmla="*/ 327 w 559"/>
              <a:gd name="T7" fmla="*/ 1159 h 1169"/>
              <a:gd name="T8" fmla="*/ 327 w 559"/>
              <a:gd name="T9" fmla="*/ 1159 h 1169"/>
              <a:gd name="T10" fmla="*/ 494 w 559"/>
              <a:gd name="T11" fmla="*/ 918 h 1169"/>
              <a:gd name="T12" fmla="*/ 438 w 559"/>
              <a:gd name="T13" fmla="*/ 467 h 1169"/>
              <a:gd name="T14" fmla="*/ 485 w 559"/>
              <a:gd name="T15" fmla="*/ 340 h 1169"/>
              <a:gd name="T16" fmla="*/ 380 w 559"/>
              <a:gd name="T17" fmla="*/ 0 h 1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9" h="1169">
                <a:moveTo>
                  <a:pt x="380" y="0"/>
                </a:moveTo>
                <a:lnTo>
                  <a:pt x="380" y="0"/>
                </a:lnTo>
                <a:cubicBezTo>
                  <a:pt x="380" y="0"/>
                  <a:pt x="146" y="17"/>
                  <a:pt x="0" y="172"/>
                </a:cubicBezTo>
                <a:lnTo>
                  <a:pt x="327" y="1159"/>
                </a:lnTo>
                <a:lnTo>
                  <a:pt x="327" y="1159"/>
                </a:lnTo>
                <a:cubicBezTo>
                  <a:pt x="327" y="1159"/>
                  <a:pt x="558" y="1168"/>
                  <a:pt x="494" y="918"/>
                </a:cubicBezTo>
                <a:lnTo>
                  <a:pt x="438" y="467"/>
                </a:lnTo>
                <a:lnTo>
                  <a:pt x="485" y="340"/>
                </a:lnTo>
                <a:lnTo>
                  <a:pt x="380" y="0"/>
                </a:lnTo>
              </a:path>
            </a:pathLst>
          </a:custGeom>
          <a:solidFill>
            <a:schemeClr val="tx2">
              <a:lumMod val="95000"/>
              <a:lumOff val="5000"/>
            </a:schemeClr>
          </a:solidFill>
          <a:ln>
            <a:noFill/>
          </a:ln>
          <a:effectLst/>
        </p:spPr>
        <p:txBody>
          <a:bodyPr wrap="none" anchor="ctr"/>
          <a:lstStyle/>
          <a:p>
            <a:endParaRPr lang="en-GB" sz="1600" dirty="0">
              <a:latin typeface="+mj-lt"/>
            </a:endParaRPr>
          </a:p>
        </p:txBody>
      </p:sp>
      <p:sp>
        <p:nvSpPr>
          <p:cNvPr id="47" name="Freeform 35">
            <a:extLst>
              <a:ext uri="{FF2B5EF4-FFF2-40B4-BE49-F238E27FC236}">
                <a16:creationId xmlns:a16="http://schemas.microsoft.com/office/drawing/2014/main" xmlns="" id="{875C6511-79D8-4CF4-BA03-5F7CC111C7ED}"/>
              </a:ext>
            </a:extLst>
          </p:cNvPr>
          <p:cNvSpPr>
            <a:spLocks noChangeArrowheads="1"/>
          </p:cNvSpPr>
          <p:nvPr/>
        </p:nvSpPr>
        <p:spPr bwMode="auto">
          <a:xfrm>
            <a:off x="4949637" y="2710171"/>
            <a:ext cx="34751" cy="64537"/>
          </a:xfrm>
          <a:custGeom>
            <a:avLst/>
            <a:gdLst>
              <a:gd name="T0" fmla="*/ 0 w 122"/>
              <a:gd name="T1" fmla="*/ 0 h 230"/>
              <a:gd name="T2" fmla="*/ 121 w 122"/>
              <a:gd name="T3" fmla="*/ 67 h 230"/>
              <a:gd name="T4" fmla="*/ 86 w 122"/>
              <a:gd name="T5" fmla="*/ 229 h 230"/>
              <a:gd name="T6" fmla="*/ 0 w 122"/>
              <a:gd name="T7" fmla="*/ 0 h 230"/>
            </a:gdLst>
            <a:ahLst/>
            <a:cxnLst>
              <a:cxn ang="0">
                <a:pos x="T0" y="T1"/>
              </a:cxn>
              <a:cxn ang="0">
                <a:pos x="T2" y="T3"/>
              </a:cxn>
              <a:cxn ang="0">
                <a:pos x="T4" y="T5"/>
              </a:cxn>
              <a:cxn ang="0">
                <a:pos x="T6" y="T7"/>
              </a:cxn>
            </a:cxnLst>
            <a:rect l="0" t="0" r="r" b="b"/>
            <a:pathLst>
              <a:path w="122" h="230">
                <a:moveTo>
                  <a:pt x="0" y="0"/>
                </a:moveTo>
                <a:lnTo>
                  <a:pt x="121" y="67"/>
                </a:lnTo>
                <a:lnTo>
                  <a:pt x="86" y="229"/>
                </a:lnTo>
                <a:lnTo>
                  <a:pt x="0" y="0"/>
                </a:lnTo>
              </a:path>
            </a:pathLst>
          </a:custGeom>
          <a:solidFill>
            <a:schemeClr val="accent1"/>
          </a:solidFill>
          <a:ln>
            <a:noFill/>
          </a:ln>
          <a:effectLst/>
        </p:spPr>
        <p:txBody>
          <a:bodyPr wrap="none" anchor="ctr"/>
          <a:lstStyle/>
          <a:p>
            <a:endParaRPr lang="en-GB" sz="1600" dirty="0">
              <a:latin typeface="+mj-lt"/>
            </a:endParaRPr>
          </a:p>
        </p:txBody>
      </p:sp>
      <p:sp>
        <p:nvSpPr>
          <p:cNvPr id="48" name="Freeform 36">
            <a:extLst>
              <a:ext uri="{FF2B5EF4-FFF2-40B4-BE49-F238E27FC236}">
                <a16:creationId xmlns:a16="http://schemas.microsoft.com/office/drawing/2014/main" xmlns="" id="{8C0FA21D-6A63-4D9A-9A23-5BD6E5CE8D00}"/>
              </a:ext>
            </a:extLst>
          </p:cNvPr>
          <p:cNvSpPr>
            <a:spLocks noChangeArrowheads="1"/>
          </p:cNvSpPr>
          <p:nvPr/>
        </p:nvSpPr>
        <p:spPr bwMode="auto">
          <a:xfrm>
            <a:off x="4876411" y="2744922"/>
            <a:ext cx="96806" cy="335097"/>
          </a:xfrm>
          <a:custGeom>
            <a:avLst/>
            <a:gdLst>
              <a:gd name="T0" fmla="*/ 308 w 346"/>
              <a:gd name="T1" fmla="*/ 0 h 1190"/>
              <a:gd name="T2" fmla="*/ 0 w 346"/>
              <a:gd name="T3" fmla="*/ 935 h 1190"/>
              <a:gd name="T4" fmla="*/ 83 w 346"/>
              <a:gd name="T5" fmla="*/ 1189 h 1190"/>
              <a:gd name="T6" fmla="*/ 215 w 346"/>
              <a:gd name="T7" fmla="*/ 1076 h 1190"/>
              <a:gd name="T8" fmla="*/ 345 w 346"/>
              <a:gd name="T9" fmla="*/ 102 h 1190"/>
              <a:gd name="T10" fmla="*/ 308 w 346"/>
              <a:gd name="T11" fmla="*/ 0 h 1190"/>
            </a:gdLst>
            <a:ahLst/>
            <a:cxnLst>
              <a:cxn ang="0">
                <a:pos x="T0" y="T1"/>
              </a:cxn>
              <a:cxn ang="0">
                <a:pos x="T2" y="T3"/>
              </a:cxn>
              <a:cxn ang="0">
                <a:pos x="T4" y="T5"/>
              </a:cxn>
              <a:cxn ang="0">
                <a:pos x="T6" y="T7"/>
              </a:cxn>
              <a:cxn ang="0">
                <a:pos x="T8" y="T9"/>
              </a:cxn>
              <a:cxn ang="0">
                <a:pos x="T10" y="T11"/>
              </a:cxn>
            </a:cxnLst>
            <a:rect l="0" t="0" r="r" b="b"/>
            <a:pathLst>
              <a:path w="346" h="1190">
                <a:moveTo>
                  <a:pt x="308" y="0"/>
                </a:moveTo>
                <a:lnTo>
                  <a:pt x="0" y="935"/>
                </a:lnTo>
                <a:lnTo>
                  <a:pt x="83" y="1189"/>
                </a:lnTo>
                <a:lnTo>
                  <a:pt x="215" y="1076"/>
                </a:lnTo>
                <a:lnTo>
                  <a:pt x="345" y="102"/>
                </a:lnTo>
                <a:lnTo>
                  <a:pt x="308" y="0"/>
                </a:lnTo>
              </a:path>
            </a:pathLst>
          </a:custGeom>
          <a:solidFill>
            <a:schemeClr val="accent1"/>
          </a:solidFill>
          <a:ln>
            <a:noFill/>
          </a:ln>
          <a:effectLst/>
        </p:spPr>
        <p:txBody>
          <a:bodyPr wrap="none" anchor="ctr"/>
          <a:lstStyle/>
          <a:p>
            <a:endParaRPr lang="en-GB" sz="1600" dirty="0">
              <a:latin typeface="+mj-lt"/>
            </a:endParaRPr>
          </a:p>
        </p:txBody>
      </p:sp>
      <p:sp>
        <p:nvSpPr>
          <p:cNvPr id="49" name="Freeform 37">
            <a:extLst>
              <a:ext uri="{FF2B5EF4-FFF2-40B4-BE49-F238E27FC236}">
                <a16:creationId xmlns:a16="http://schemas.microsoft.com/office/drawing/2014/main" xmlns="" id="{A014F427-BD79-4654-B7AD-2778CDE72C3D}"/>
              </a:ext>
            </a:extLst>
          </p:cNvPr>
          <p:cNvSpPr>
            <a:spLocks noChangeArrowheads="1"/>
          </p:cNvSpPr>
          <p:nvPr/>
        </p:nvSpPr>
        <p:spPr bwMode="auto">
          <a:xfrm>
            <a:off x="4351425" y="3298452"/>
            <a:ext cx="889870" cy="897315"/>
          </a:xfrm>
          <a:custGeom>
            <a:avLst/>
            <a:gdLst>
              <a:gd name="T0" fmla="*/ 118 w 3160"/>
              <a:gd name="T1" fmla="*/ 0 h 3189"/>
              <a:gd name="T2" fmla="*/ 118 w 3160"/>
              <a:gd name="T3" fmla="*/ 0 h 3189"/>
              <a:gd name="T4" fmla="*/ 209 w 3160"/>
              <a:gd name="T5" fmla="*/ 747 h 3189"/>
              <a:gd name="T6" fmla="*/ 209 w 3160"/>
              <a:gd name="T7" fmla="*/ 747 h 3189"/>
              <a:gd name="T8" fmla="*/ 2340 w 3160"/>
              <a:gd name="T9" fmla="*/ 853 h 3189"/>
              <a:gd name="T10" fmla="*/ 2340 w 3160"/>
              <a:gd name="T11" fmla="*/ 853 h 3189"/>
              <a:gd name="T12" fmla="*/ 2604 w 3160"/>
              <a:gd name="T13" fmla="*/ 3188 h 3189"/>
              <a:gd name="T14" fmla="*/ 3159 w 3160"/>
              <a:gd name="T15" fmla="*/ 3006 h 3189"/>
              <a:gd name="T16" fmla="*/ 3159 w 3160"/>
              <a:gd name="T17" fmla="*/ 3006 h 3189"/>
              <a:gd name="T18" fmla="*/ 2861 w 3160"/>
              <a:gd name="T19" fmla="*/ 101 h 3189"/>
              <a:gd name="T20" fmla="*/ 118 w 3160"/>
              <a:gd name="T21" fmla="*/ 0 h 3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60" h="3189">
                <a:moveTo>
                  <a:pt x="118" y="0"/>
                </a:moveTo>
                <a:lnTo>
                  <a:pt x="118" y="0"/>
                </a:lnTo>
                <a:cubicBezTo>
                  <a:pt x="0" y="240"/>
                  <a:pt x="13" y="553"/>
                  <a:pt x="209" y="747"/>
                </a:cubicBezTo>
                <a:lnTo>
                  <a:pt x="209" y="747"/>
                </a:lnTo>
                <a:cubicBezTo>
                  <a:pt x="496" y="1029"/>
                  <a:pt x="2340" y="853"/>
                  <a:pt x="2340" y="853"/>
                </a:cubicBezTo>
                <a:lnTo>
                  <a:pt x="2340" y="853"/>
                </a:lnTo>
                <a:cubicBezTo>
                  <a:pt x="2340" y="853"/>
                  <a:pt x="2455" y="2614"/>
                  <a:pt x="2604" y="3188"/>
                </a:cubicBezTo>
                <a:lnTo>
                  <a:pt x="3159" y="3006"/>
                </a:lnTo>
                <a:lnTo>
                  <a:pt x="3159" y="3006"/>
                </a:lnTo>
                <a:cubicBezTo>
                  <a:pt x="3159" y="3006"/>
                  <a:pt x="3068" y="234"/>
                  <a:pt x="2861" y="101"/>
                </a:cubicBezTo>
                <a:lnTo>
                  <a:pt x="118" y="0"/>
                </a:lnTo>
              </a:path>
            </a:pathLst>
          </a:custGeom>
          <a:solidFill>
            <a:schemeClr val="bg1">
              <a:lumMod val="65000"/>
            </a:schemeClr>
          </a:solidFill>
          <a:ln>
            <a:noFill/>
          </a:ln>
          <a:effectLst/>
        </p:spPr>
        <p:txBody>
          <a:bodyPr wrap="none" anchor="ctr"/>
          <a:lstStyle/>
          <a:p>
            <a:endParaRPr lang="en-GB" sz="1600" dirty="0">
              <a:latin typeface="+mj-lt"/>
            </a:endParaRPr>
          </a:p>
        </p:txBody>
      </p:sp>
      <p:sp>
        <p:nvSpPr>
          <p:cNvPr id="83" name="Freeform 49">
            <a:extLst>
              <a:ext uri="{FF2B5EF4-FFF2-40B4-BE49-F238E27FC236}">
                <a16:creationId xmlns:a16="http://schemas.microsoft.com/office/drawing/2014/main" xmlns="" id="{7FA70489-CB93-4AF5-A7E6-7107F79D8097}"/>
              </a:ext>
            </a:extLst>
          </p:cNvPr>
          <p:cNvSpPr>
            <a:spLocks noChangeArrowheads="1"/>
          </p:cNvSpPr>
          <p:nvPr/>
        </p:nvSpPr>
        <p:spPr bwMode="auto">
          <a:xfrm>
            <a:off x="8050595" y="2350910"/>
            <a:ext cx="438109" cy="433143"/>
          </a:xfrm>
          <a:custGeom>
            <a:avLst/>
            <a:gdLst>
              <a:gd name="T0" fmla="*/ 1555 w 1556"/>
              <a:gd name="T1" fmla="*/ 768 h 1538"/>
              <a:gd name="T2" fmla="*/ 765 w 1556"/>
              <a:gd name="T3" fmla="*/ 1537 h 1538"/>
              <a:gd name="T4" fmla="*/ 651 w 1556"/>
              <a:gd name="T5" fmla="*/ 1419 h 1538"/>
              <a:gd name="T6" fmla="*/ 987 w 1556"/>
              <a:gd name="T7" fmla="*/ 1093 h 1538"/>
              <a:gd name="T8" fmla="*/ 0 w 1556"/>
              <a:gd name="T9" fmla="*/ 1093 h 1538"/>
              <a:gd name="T10" fmla="*/ 0 w 1556"/>
              <a:gd name="T11" fmla="*/ 445 h 1538"/>
              <a:gd name="T12" fmla="*/ 987 w 1556"/>
              <a:gd name="T13" fmla="*/ 445 h 1538"/>
              <a:gd name="T14" fmla="*/ 651 w 1556"/>
              <a:gd name="T15" fmla="*/ 117 h 1538"/>
              <a:gd name="T16" fmla="*/ 765 w 1556"/>
              <a:gd name="T17" fmla="*/ 0 h 1538"/>
              <a:gd name="T18" fmla="*/ 1555 w 1556"/>
              <a:gd name="T19" fmla="*/ 768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56" h="1538">
                <a:moveTo>
                  <a:pt x="1555" y="768"/>
                </a:moveTo>
                <a:lnTo>
                  <a:pt x="765" y="1537"/>
                </a:lnTo>
                <a:lnTo>
                  <a:pt x="651" y="1419"/>
                </a:lnTo>
                <a:lnTo>
                  <a:pt x="987" y="1093"/>
                </a:lnTo>
                <a:lnTo>
                  <a:pt x="0" y="1093"/>
                </a:lnTo>
                <a:lnTo>
                  <a:pt x="0" y="445"/>
                </a:lnTo>
                <a:lnTo>
                  <a:pt x="987" y="445"/>
                </a:lnTo>
                <a:lnTo>
                  <a:pt x="651" y="117"/>
                </a:lnTo>
                <a:lnTo>
                  <a:pt x="765" y="0"/>
                </a:lnTo>
                <a:lnTo>
                  <a:pt x="1555" y="768"/>
                </a:lnTo>
              </a:path>
            </a:pathLst>
          </a:custGeom>
          <a:solidFill>
            <a:schemeClr val="accent3"/>
          </a:solidFill>
          <a:ln>
            <a:noFill/>
          </a:ln>
          <a:effectLst/>
        </p:spPr>
        <p:txBody>
          <a:bodyPr wrap="none" anchor="ctr"/>
          <a:lstStyle/>
          <a:p>
            <a:endParaRPr lang="en-GB" sz="1600" dirty="0">
              <a:latin typeface="+mj-lt"/>
            </a:endParaRPr>
          </a:p>
        </p:txBody>
      </p:sp>
      <p:sp>
        <p:nvSpPr>
          <p:cNvPr id="84" name="Freeform 50">
            <a:extLst>
              <a:ext uri="{FF2B5EF4-FFF2-40B4-BE49-F238E27FC236}">
                <a16:creationId xmlns:a16="http://schemas.microsoft.com/office/drawing/2014/main" xmlns="" id="{473B74B6-FBDC-42C6-ABDD-3EA92DBC33A7}"/>
              </a:ext>
            </a:extLst>
          </p:cNvPr>
          <p:cNvSpPr>
            <a:spLocks noChangeArrowheads="1"/>
          </p:cNvSpPr>
          <p:nvPr/>
        </p:nvSpPr>
        <p:spPr bwMode="auto">
          <a:xfrm>
            <a:off x="8988108" y="2350910"/>
            <a:ext cx="438109" cy="433143"/>
          </a:xfrm>
          <a:custGeom>
            <a:avLst/>
            <a:gdLst>
              <a:gd name="T0" fmla="*/ 1554 w 1555"/>
              <a:gd name="T1" fmla="*/ 768 h 1538"/>
              <a:gd name="T2" fmla="*/ 765 w 1555"/>
              <a:gd name="T3" fmla="*/ 1537 h 1538"/>
              <a:gd name="T4" fmla="*/ 650 w 1555"/>
              <a:gd name="T5" fmla="*/ 1419 h 1538"/>
              <a:gd name="T6" fmla="*/ 986 w 1555"/>
              <a:gd name="T7" fmla="*/ 1093 h 1538"/>
              <a:gd name="T8" fmla="*/ 0 w 1555"/>
              <a:gd name="T9" fmla="*/ 1093 h 1538"/>
              <a:gd name="T10" fmla="*/ 0 w 1555"/>
              <a:gd name="T11" fmla="*/ 445 h 1538"/>
              <a:gd name="T12" fmla="*/ 986 w 1555"/>
              <a:gd name="T13" fmla="*/ 445 h 1538"/>
              <a:gd name="T14" fmla="*/ 650 w 1555"/>
              <a:gd name="T15" fmla="*/ 117 h 1538"/>
              <a:gd name="T16" fmla="*/ 765 w 1555"/>
              <a:gd name="T17" fmla="*/ 0 h 1538"/>
              <a:gd name="T18" fmla="*/ 1554 w 1555"/>
              <a:gd name="T19" fmla="*/ 768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55" h="1538">
                <a:moveTo>
                  <a:pt x="1554" y="768"/>
                </a:moveTo>
                <a:lnTo>
                  <a:pt x="765" y="1537"/>
                </a:lnTo>
                <a:lnTo>
                  <a:pt x="650" y="1419"/>
                </a:lnTo>
                <a:lnTo>
                  <a:pt x="986" y="1093"/>
                </a:lnTo>
                <a:lnTo>
                  <a:pt x="0" y="1093"/>
                </a:lnTo>
                <a:lnTo>
                  <a:pt x="0" y="445"/>
                </a:lnTo>
                <a:lnTo>
                  <a:pt x="986" y="445"/>
                </a:lnTo>
                <a:lnTo>
                  <a:pt x="650" y="117"/>
                </a:lnTo>
                <a:lnTo>
                  <a:pt x="765" y="0"/>
                </a:lnTo>
                <a:lnTo>
                  <a:pt x="1554" y="768"/>
                </a:lnTo>
              </a:path>
            </a:pathLst>
          </a:custGeom>
          <a:solidFill>
            <a:schemeClr val="accent4"/>
          </a:solidFill>
          <a:ln>
            <a:noFill/>
          </a:ln>
          <a:effectLst/>
        </p:spPr>
        <p:txBody>
          <a:bodyPr wrap="none" anchor="ctr"/>
          <a:lstStyle/>
          <a:p>
            <a:endParaRPr lang="en-GB" sz="1600" dirty="0">
              <a:latin typeface="+mj-lt"/>
            </a:endParaRPr>
          </a:p>
        </p:txBody>
      </p:sp>
      <p:sp>
        <p:nvSpPr>
          <p:cNvPr id="85" name="Freeform 51">
            <a:extLst>
              <a:ext uri="{FF2B5EF4-FFF2-40B4-BE49-F238E27FC236}">
                <a16:creationId xmlns:a16="http://schemas.microsoft.com/office/drawing/2014/main" xmlns="" id="{89A6E2BD-DE7E-44BD-BCB6-5371C39DD0BE}"/>
              </a:ext>
            </a:extLst>
          </p:cNvPr>
          <p:cNvSpPr>
            <a:spLocks noChangeArrowheads="1"/>
          </p:cNvSpPr>
          <p:nvPr/>
        </p:nvSpPr>
        <p:spPr bwMode="auto">
          <a:xfrm>
            <a:off x="7113082" y="2350910"/>
            <a:ext cx="438109" cy="433143"/>
          </a:xfrm>
          <a:custGeom>
            <a:avLst/>
            <a:gdLst>
              <a:gd name="T0" fmla="*/ 1555 w 1556"/>
              <a:gd name="T1" fmla="*/ 768 h 1538"/>
              <a:gd name="T2" fmla="*/ 765 w 1556"/>
              <a:gd name="T3" fmla="*/ 1537 h 1538"/>
              <a:gd name="T4" fmla="*/ 651 w 1556"/>
              <a:gd name="T5" fmla="*/ 1419 h 1538"/>
              <a:gd name="T6" fmla="*/ 987 w 1556"/>
              <a:gd name="T7" fmla="*/ 1093 h 1538"/>
              <a:gd name="T8" fmla="*/ 0 w 1556"/>
              <a:gd name="T9" fmla="*/ 1093 h 1538"/>
              <a:gd name="T10" fmla="*/ 0 w 1556"/>
              <a:gd name="T11" fmla="*/ 445 h 1538"/>
              <a:gd name="T12" fmla="*/ 987 w 1556"/>
              <a:gd name="T13" fmla="*/ 445 h 1538"/>
              <a:gd name="T14" fmla="*/ 651 w 1556"/>
              <a:gd name="T15" fmla="*/ 117 h 1538"/>
              <a:gd name="T16" fmla="*/ 765 w 1556"/>
              <a:gd name="T17" fmla="*/ 0 h 1538"/>
              <a:gd name="T18" fmla="*/ 1555 w 1556"/>
              <a:gd name="T19" fmla="*/ 768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56" h="1538">
                <a:moveTo>
                  <a:pt x="1555" y="768"/>
                </a:moveTo>
                <a:lnTo>
                  <a:pt x="765" y="1537"/>
                </a:lnTo>
                <a:lnTo>
                  <a:pt x="651" y="1419"/>
                </a:lnTo>
                <a:lnTo>
                  <a:pt x="987" y="1093"/>
                </a:lnTo>
                <a:lnTo>
                  <a:pt x="0" y="1093"/>
                </a:lnTo>
                <a:lnTo>
                  <a:pt x="0" y="445"/>
                </a:lnTo>
                <a:lnTo>
                  <a:pt x="987" y="445"/>
                </a:lnTo>
                <a:lnTo>
                  <a:pt x="651" y="117"/>
                </a:lnTo>
                <a:lnTo>
                  <a:pt x="765" y="0"/>
                </a:lnTo>
                <a:lnTo>
                  <a:pt x="1555" y="768"/>
                </a:lnTo>
              </a:path>
            </a:pathLst>
          </a:custGeom>
          <a:solidFill>
            <a:schemeClr val="accent2"/>
          </a:solidFill>
          <a:ln>
            <a:noFill/>
          </a:ln>
          <a:effectLst/>
        </p:spPr>
        <p:txBody>
          <a:bodyPr wrap="none" anchor="ctr"/>
          <a:lstStyle/>
          <a:p>
            <a:endParaRPr lang="en-GB" sz="1600" dirty="0">
              <a:latin typeface="+mj-lt"/>
            </a:endParaRPr>
          </a:p>
        </p:txBody>
      </p:sp>
      <p:sp>
        <p:nvSpPr>
          <p:cNvPr id="86" name="Freeform 52">
            <a:extLst>
              <a:ext uri="{FF2B5EF4-FFF2-40B4-BE49-F238E27FC236}">
                <a16:creationId xmlns:a16="http://schemas.microsoft.com/office/drawing/2014/main" xmlns="" id="{34A300B3-28BE-4E37-89A6-3CF3FCA98C56}"/>
              </a:ext>
            </a:extLst>
          </p:cNvPr>
          <p:cNvSpPr>
            <a:spLocks noChangeArrowheads="1"/>
          </p:cNvSpPr>
          <p:nvPr/>
        </p:nvSpPr>
        <p:spPr bwMode="auto">
          <a:xfrm>
            <a:off x="6175095" y="2350910"/>
            <a:ext cx="438109" cy="433143"/>
          </a:xfrm>
          <a:custGeom>
            <a:avLst/>
            <a:gdLst>
              <a:gd name="T0" fmla="*/ 1554 w 1555"/>
              <a:gd name="T1" fmla="*/ 768 h 1538"/>
              <a:gd name="T2" fmla="*/ 765 w 1555"/>
              <a:gd name="T3" fmla="*/ 1537 h 1538"/>
              <a:gd name="T4" fmla="*/ 650 w 1555"/>
              <a:gd name="T5" fmla="*/ 1419 h 1538"/>
              <a:gd name="T6" fmla="*/ 986 w 1555"/>
              <a:gd name="T7" fmla="*/ 1093 h 1538"/>
              <a:gd name="T8" fmla="*/ 0 w 1555"/>
              <a:gd name="T9" fmla="*/ 1093 h 1538"/>
              <a:gd name="T10" fmla="*/ 0 w 1555"/>
              <a:gd name="T11" fmla="*/ 445 h 1538"/>
              <a:gd name="T12" fmla="*/ 986 w 1555"/>
              <a:gd name="T13" fmla="*/ 445 h 1538"/>
              <a:gd name="T14" fmla="*/ 650 w 1555"/>
              <a:gd name="T15" fmla="*/ 117 h 1538"/>
              <a:gd name="T16" fmla="*/ 765 w 1555"/>
              <a:gd name="T17" fmla="*/ 0 h 1538"/>
              <a:gd name="T18" fmla="*/ 1554 w 1555"/>
              <a:gd name="T19" fmla="*/ 768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55" h="1538">
                <a:moveTo>
                  <a:pt x="1554" y="768"/>
                </a:moveTo>
                <a:lnTo>
                  <a:pt x="765" y="1537"/>
                </a:lnTo>
                <a:lnTo>
                  <a:pt x="650" y="1419"/>
                </a:lnTo>
                <a:lnTo>
                  <a:pt x="986" y="1093"/>
                </a:lnTo>
                <a:lnTo>
                  <a:pt x="0" y="1093"/>
                </a:lnTo>
                <a:lnTo>
                  <a:pt x="0" y="445"/>
                </a:lnTo>
                <a:lnTo>
                  <a:pt x="986" y="445"/>
                </a:lnTo>
                <a:lnTo>
                  <a:pt x="650" y="117"/>
                </a:lnTo>
                <a:lnTo>
                  <a:pt x="765" y="0"/>
                </a:lnTo>
                <a:lnTo>
                  <a:pt x="1554" y="768"/>
                </a:lnTo>
              </a:path>
            </a:pathLst>
          </a:custGeom>
          <a:solidFill>
            <a:srgbClr val="E94EA1"/>
          </a:solidFill>
          <a:ln>
            <a:noFill/>
          </a:ln>
          <a:effectLst/>
        </p:spPr>
        <p:txBody>
          <a:bodyPr wrap="none" anchor="ctr"/>
          <a:lstStyle/>
          <a:p>
            <a:endParaRPr lang="en-GB" sz="1600" dirty="0">
              <a:latin typeface="+mj-lt"/>
            </a:endParaRPr>
          </a:p>
        </p:txBody>
      </p:sp>
      <p:sp>
        <p:nvSpPr>
          <p:cNvPr id="87" name="L-Shape 58">
            <a:extLst>
              <a:ext uri="{FF2B5EF4-FFF2-40B4-BE49-F238E27FC236}">
                <a16:creationId xmlns:a16="http://schemas.microsoft.com/office/drawing/2014/main" xmlns="" id="{6FB32C32-84E9-4457-B7F9-0A319F58C0AD}"/>
              </a:ext>
            </a:extLst>
          </p:cNvPr>
          <p:cNvSpPr/>
          <p:nvPr/>
        </p:nvSpPr>
        <p:spPr>
          <a:xfrm rot="10800000" flipH="1">
            <a:off x="3315099" y="4612193"/>
            <a:ext cx="1471555" cy="858841"/>
          </a:xfrm>
          <a:prstGeom prst="corner">
            <a:avLst>
              <a:gd name="adj1" fmla="val 17009"/>
              <a:gd name="adj2" fmla="val 16638"/>
            </a:avLst>
          </a:prstGeom>
          <a:solidFill>
            <a:srgbClr val="E94E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88" name="L-Shape 59">
            <a:extLst>
              <a:ext uri="{FF2B5EF4-FFF2-40B4-BE49-F238E27FC236}">
                <a16:creationId xmlns:a16="http://schemas.microsoft.com/office/drawing/2014/main" xmlns="" id="{53317159-A458-4425-ABD8-E5B93F34791A}"/>
              </a:ext>
            </a:extLst>
          </p:cNvPr>
          <p:cNvSpPr/>
          <p:nvPr/>
        </p:nvSpPr>
        <p:spPr>
          <a:xfrm rot="10800000" flipH="1">
            <a:off x="4957636" y="4278801"/>
            <a:ext cx="1471555" cy="858841"/>
          </a:xfrm>
          <a:prstGeom prst="corner">
            <a:avLst>
              <a:gd name="adj1" fmla="val 17009"/>
              <a:gd name="adj2" fmla="val 1663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89" name="Freeform 6">
            <a:extLst>
              <a:ext uri="{FF2B5EF4-FFF2-40B4-BE49-F238E27FC236}">
                <a16:creationId xmlns:a16="http://schemas.microsoft.com/office/drawing/2014/main" xmlns="" id="{B1DCF9CE-FB7E-4530-B867-33E338AE242A}"/>
              </a:ext>
            </a:extLst>
          </p:cNvPr>
          <p:cNvSpPr>
            <a:spLocks noChangeArrowheads="1"/>
          </p:cNvSpPr>
          <p:nvPr/>
        </p:nvSpPr>
        <p:spPr bwMode="auto">
          <a:xfrm>
            <a:off x="9459048" y="3228368"/>
            <a:ext cx="212228" cy="210987"/>
          </a:xfrm>
          <a:custGeom>
            <a:avLst/>
            <a:gdLst>
              <a:gd name="T0" fmla="*/ 0 w 753"/>
              <a:gd name="T1" fmla="*/ 750 h 751"/>
              <a:gd name="T2" fmla="*/ 752 w 753"/>
              <a:gd name="T3" fmla="*/ 750 h 751"/>
              <a:gd name="T4" fmla="*/ 752 w 753"/>
              <a:gd name="T5" fmla="*/ 0 h 751"/>
              <a:gd name="T6" fmla="*/ 749 w 753"/>
              <a:gd name="T7" fmla="*/ 0 h 751"/>
              <a:gd name="T8" fmla="*/ 0 w 753"/>
              <a:gd name="T9" fmla="*/ 750 h 751"/>
            </a:gdLst>
            <a:ahLst/>
            <a:cxnLst>
              <a:cxn ang="0">
                <a:pos x="T0" y="T1"/>
              </a:cxn>
              <a:cxn ang="0">
                <a:pos x="T2" y="T3"/>
              </a:cxn>
              <a:cxn ang="0">
                <a:pos x="T4" y="T5"/>
              </a:cxn>
              <a:cxn ang="0">
                <a:pos x="T6" y="T7"/>
              </a:cxn>
              <a:cxn ang="0">
                <a:pos x="T8" y="T9"/>
              </a:cxn>
            </a:cxnLst>
            <a:rect l="0" t="0" r="r" b="b"/>
            <a:pathLst>
              <a:path w="753" h="751">
                <a:moveTo>
                  <a:pt x="0" y="750"/>
                </a:moveTo>
                <a:lnTo>
                  <a:pt x="752" y="750"/>
                </a:lnTo>
                <a:lnTo>
                  <a:pt x="752" y="0"/>
                </a:lnTo>
                <a:lnTo>
                  <a:pt x="749" y="0"/>
                </a:lnTo>
                <a:lnTo>
                  <a:pt x="0" y="750"/>
                </a:lnTo>
              </a:path>
            </a:pathLst>
          </a:custGeom>
          <a:solidFill>
            <a:schemeClr val="accent4"/>
          </a:solidFill>
          <a:ln>
            <a:noFill/>
          </a:ln>
          <a:effectLst/>
        </p:spPr>
        <p:txBody>
          <a:bodyPr wrap="none" anchor="ctr"/>
          <a:lstStyle/>
          <a:p>
            <a:endParaRPr lang="en-GB" sz="1600" dirty="0">
              <a:latin typeface="+mj-lt"/>
            </a:endParaRPr>
          </a:p>
        </p:txBody>
      </p:sp>
      <p:sp>
        <p:nvSpPr>
          <p:cNvPr id="90" name="L-Shape 62">
            <a:extLst>
              <a:ext uri="{FF2B5EF4-FFF2-40B4-BE49-F238E27FC236}">
                <a16:creationId xmlns:a16="http://schemas.microsoft.com/office/drawing/2014/main" xmlns="" id="{059E9DB4-08E0-46BB-A270-3556ECE2117A}"/>
              </a:ext>
            </a:extLst>
          </p:cNvPr>
          <p:cNvSpPr/>
          <p:nvPr/>
        </p:nvSpPr>
        <p:spPr>
          <a:xfrm rot="10800000" flipH="1">
            <a:off x="8203073" y="3553535"/>
            <a:ext cx="1471555" cy="858841"/>
          </a:xfrm>
          <a:prstGeom prst="corner">
            <a:avLst>
              <a:gd name="adj1" fmla="val 17009"/>
              <a:gd name="adj2" fmla="val 16638"/>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1" name="L-Shape 63">
            <a:extLst>
              <a:ext uri="{FF2B5EF4-FFF2-40B4-BE49-F238E27FC236}">
                <a16:creationId xmlns:a16="http://schemas.microsoft.com/office/drawing/2014/main" xmlns="" id="{D46A6C9D-E849-4D39-993B-4A834424E333}"/>
              </a:ext>
            </a:extLst>
          </p:cNvPr>
          <p:cNvSpPr/>
          <p:nvPr/>
        </p:nvSpPr>
        <p:spPr>
          <a:xfrm rot="10800000" flipH="1">
            <a:off x="9845610" y="3220143"/>
            <a:ext cx="1471555" cy="858841"/>
          </a:xfrm>
          <a:prstGeom prst="corner">
            <a:avLst>
              <a:gd name="adj1" fmla="val 17009"/>
              <a:gd name="adj2" fmla="val 16638"/>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2" name="L-Shape 64">
            <a:extLst>
              <a:ext uri="{FF2B5EF4-FFF2-40B4-BE49-F238E27FC236}">
                <a16:creationId xmlns:a16="http://schemas.microsoft.com/office/drawing/2014/main" xmlns="" id="{E997A26C-EF24-4A08-A846-657920C32C9E}"/>
              </a:ext>
            </a:extLst>
          </p:cNvPr>
          <p:cNvSpPr/>
          <p:nvPr/>
        </p:nvSpPr>
        <p:spPr>
          <a:xfrm rot="10800000" flipH="1">
            <a:off x="6588075" y="3935794"/>
            <a:ext cx="1471555" cy="858841"/>
          </a:xfrm>
          <a:prstGeom prst="corner">
            <a:avLst>
              <a:gd name="adj1" fmla="val 17009"/>
              <a:gd name="adj2" fmla="val 16638"/>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3" name="TextBox 65">
            <a:extLst>
              <a:ext uri="{FF2B5EF4-FFF2-40B4-BE49-F238E27FC236}">
                <a16:creationId xmlns:a16="http://schemas.microsoft.com/office/drawing/2014/main" xmlns="" id="{1D25D463-FE3D-4803-B3CB-FD3AE6979BA1}"/>
              </a:ext>
            </a:extLst>
          </p:cNvPr>
          <p:cNvSpPr txBox="1"/>
          <p:nvPr/>
        </p:nvSpPr>
        <p:spPr>
          <a:xfrm>
            <a:off x="3466268" y="4731503"/>
            <a:ext cx="871713" cy="369332"/>
          </a:xfrm>
          <a:prstGeom prst="rect">
            <a:avLst/>
          </a:prstGeom>
          <a:noFill/>
        </p:spPr>
        <p:txBody>
          <a:bodyPr wrap="none" rtlCol="0" anchor="ctr" anchorCtr="0">
            <a:spAutoFit/>
          </a:bodyPr>
          <a:lstStyle/>
          <a:p>
            <a:r>
              <a:rPr lang="en-GB" b="1" dirty="0">
                <a:solidFill>
                  <a:schemeClr val="tx2"/>
                </a:solidFill>
                <a:latin typeface="+mj-lt"/>
                <a:ea typeface="League Spartan" charset="0"/>
                <a:cs typeface="Poppins" pitchFamily="2" charset="77"/>
              </a:rPr>
              <a:t>Apático</a:t>
            </a:r>
          </a:p>
        </p:txBody>
      </p:sp>
      <p:sp>
        <p:nvSpPr>
          <p:cNvPr id="94" name="Subtitle 2">
            <a:extLst>
              <a:ext uri="{FF2B5EF4-FFF2-40B4-BE49-F238E27FC236}">
                <a16:creationId xmlns:a16="http://schemas.microsoft.com/office/drawing/2014/main" xmlns="" id="{05B99503-CF0B-4C22-A79C-AFF9AECE2B4D}"/>
              </a:ext>
            </a:extLst>
          </p:cNvPr>
          <p:cNvSpPr txBox="1">
            <a:spLocks/>
          </p:cNvSpPr>
          <p:nvPr/>
        </p:nvSpPr>
        <p:spPr>
          <a:xfrm>
            <a:off x="3517068" y="5137643"/>
            <a:ext cx="1266235" cy="88743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solidFill>
                  <a:srgbClr val="245473"/>
                </a:solidFill>
                <a:latin typeface="+mj-lt"/>
                <a:ea typeface="Lato Light" panose="020F0502020204030203" pitchFamily="34" charset="0"/>
                <a:cs typeface="Mukta ExtraLight" panose="020B0000000000000000" pitchFamily="34" charset="77"/>
              </a:rPr>
              <a:t>A quién le importa mientras no tengamos un problema</a:t>
            </a:r>
          </a:p>
        </p:txBody>
      </p:sp>
      <p:sp>
        <p:nvSpPr>
          <p:cNvPr id="96" name="TextBox 67">
            <a:extLst>
              <a:ext uri="{FF2B5EF4-FFF2-40B4-BE49-F238E27FC236}">
                <a16:creationId xmlns:a16="http://schemas.microsoft.com/office/drawing/2014/main" xmlns="" id="{CC7290B2-1777-4BD1-BE77-D12A6AA09F1C}"/>
              </a:ext>
            </a:extLst>
          </p:cNvPr>
          <p:cNvSpPr txBox="1"/>
          <p:nvPr/>
        </p:nvSpPr>
        <p:spPr>
          <a:xfrm>
            <a:off x="5112156" y="4406342"/>
            <a:ext cx="863121" cy="338554"/>
          </a:xfrm>
          <a:prstGeom prst="rect">
            <a:avLst/>
          </a:prstGeom>
          <a:noFill/>
        </p:spPr>
        <p:txBody>
          <a:bodyPr wrap="none" rtlCol="0" anchor="ctr" anchorCtr="0">
            <a:spAutoFit/>
          </a:bodyPr>
          <a:lstStyle/>
          <a:p>
            <a:r>
              <a:rPr lang="en-GB" sz="1600" b="1">
                <a:solidFill>
                  <a:schemeClr val="tx2"/>
                </a:solidFill>
                <a:latin typeface="+mj-lt"/>
                <a:ea typeface="League Spartan" charset="0"/>
                <a:cs typeface="Poppins" pitchFamily="2" charset="77"/>
              </a:rPr>
              <a:t>Reactivo</a:t>
            </a:r>
            <a:endParaRPr lang="en-GB" sz="1600" b="1" dirty="0">
              <a:solidFill>
                <a:schemeClr val="tx2"/>
              </a:solidFill>
              <a:latin typeface="+mj-lt"/>
              <a:ea typeface="League Spartan" charset="0"/>
              <a:cs typeface="Poppins" pitchFamily="2" charset="77"/>
            </a:endParaRPr>
          </a:p>
        </p:txBody>
      </p:sp>
      <p:sp>
        <p:nvSpPr>
          <p:cNvPr id="97" name="Subtitle 2">
            <a:extLst>
              <a:ext uri="{FF2B5EF4-FFF2-40B4-BE49-F238E27FC236}">
                <a16:creationId xmlns:a16="http://schemas.microsoft.com/office/drawing/2014/main" xmlns="" id="{FA769BA7-7CA5-4537-9F66-7667DEB96B4C}"/>
              </a:ext>
            </a:extLst>
          </p:cNvPr>
          <p:cNvSpPr txBox="1">
            <a:spLocks/>
          </p:cNvSpPr>
          <p:nvPr/>
        </p:nvSpPr>
        <p:spPr>
          <a:xfrm>
            <a:off x="5162956" y="4708219"/>
            <a:ext cx="1333753" cy="1214058"/>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a:solidFill>
                  <a:srgbClr val="245473"/>
                </a:solidFill>
                <a:latin typeface="+mj-lt"/>
                <a:ea typeface="Lato Light" panose="020F0502020204030203" pitchFamily="34" charset="0"/>
                <a:cs typeface="Mukta ExtraLight" panose="020B0000000000000000" pitchFamily="34" charset="77"/>
              </a:rPr>
              <a:t>La gestión de la crisis es importante, y hacemos mucho por combatirla una vez que surge la crisis</a:t>
            </a:r>
          </a:p>
        </p:txBody>
      </p:sp>
      <p:sp>
        <p:nvSpPr>
          <p:cNvPr id="98" name="TextBox 69">
            <a:extLst>
              <a:ext uri="{FF2B5EF4-FFF2-40B4-BE49-F238E27FC236}">
                <a16:creationId xmlns:a16="http://schemas.microsoft.com/office/drawing/2014/main" xmlns="" id="{F92068DE-5E64-4456-914C-26097E9E05FC}"/>
              </a:ext>
            </a:extLst>
          </p:cNvPr>
          <p:cNvSpPr txBox="1"/>
          <p:nvPr/>
        </p:nvSpPr>
        <p:spPr>
          <a:xfrm>
            <a:off x="6733560" y="4064219"/>
            <a:ext cx="1054328" cy="338554"/>
          </a:xfrm>
          <a:prstGeom prst="rect">
            <a:avLst/>
          </a:prstGeom>
          <a:noFill/>
        </p:spPr>
        <p:txBody>
          <a:bodyPr wrap="none" rtlCol="0" anchor="ctr" anchorCtr="0">
            <a:spAutoFit/>
          </a:bodyPr>
          <a:lstStyle/>
          <a:p>
            <a:r>
              <a:rPr lang="en-GB" sz="1600" b="1">
                <a:solidFill>
                  <a:schemeClr val="tx2"/>
                </a:solidFill>
                <a:latin typeface="+mj-lt"/>
                <a:ea typeface="League Spartan" charset="0"/>
                <a:cs typeface="Poppins" pitchFamily="2" charset="77"/>
              </a:rPr>
              <a:t>Cálculo</a:t>
            </a:r>
            <a:endParaRPr lang="en-GB" sz="1600" b="1" dirty="0">
              <a:solidFill>
                <a:schemeClr val="tx2"/>
              </a:solidFill>
              <a:latin typeface="+mj-lt"/>
              <a:ea typeface="League Spartan" charset="0"/>
              <a:cs typeface="Poppins" pitchFamily="2" charset="77"/>
            </a:endParaRPr>
          </a:p>
        </p:txBody>
      </p:sp>
      <p:sp>
        <p:nvSpPr>
          <p:cNvPr id="99" name="Subtitle 2">
            <a:extLst>
              <a:ext uri="{FF2B5EF4-FFF2-40B4-BE49-F238E27FC236}">
                <a16:creationId xmlns:a16="http://schemas.microsoft.com/office/drawing/2014/main" xmlns="" id="{FAFFF092-CCEC-4718-AACF-5D3BD8A68618}"/>
              </a:ext>
            </a:extLst>
          </p:cNvPr>
          <p:cNvSpPr txBox="1">
            <a:spLocks/>
          </p:cNvSpPr>
          <p:nvPr/>
        </p:nvSpPr>
        <p:spPr>
          <a:xfrm>
            <a:off x="6784360" y="4356451"/>
            <a:ext cx="1266235" cy="1342683"/>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700" dirty="0">
                <a:solidFill>
                  <a:srgbClr val="245473"/>
                </a:solidFill>
                <a:latin typeface="+mj-lt"/>
                <a:ea typeface="Lato Light" panose="020F0502020204030203" pitchFamily="34" charset="0"/>
                <a:cs typeface="Mukta ExtraLight" panose="020B0000000000000000" pitchFamily="34" charset="77"/>
              </a:rPr>
              <a:t>Disponemos de sistemas para gestionar una crisis </a:t>
            </a:r>
          </a:p>
        </p:txBody>
      </p:sp>
      <p:sp>
        <p:nvSpPr>
          <p:cNvPr id="100" name="TextBox 71">
            <a:extLst>
              <a:ext uri="{FF2B5EF4-FFF2-40B4-BE49-F238E27FC236}">
                <a16:creationId xmlns:a16="http://schemas.microsoft.com/office/drawing/2014/main" xmlns="" id="{EF036112-5C0D-4839-9A3F-87FF5A5A0F86}"/>
              </a:ext>
            </a:extLst>
          </p:cNvPr>
          <p:cNvSpPr txBox="1"/>
          <p:nvPr/>
        </p:nvSpPr>
        <p:spPr>
          <a:xfrm>
            <a:off x="8354243" y="3683578"/>
            <a:ext cx="931665" cy="338554"/>
          </a:xfrm>
          <a:prstGeom prst="rect">
            <a:avLst/>
          </a:prstGeom>
          <a:noFill/>
        </p:spPr>
        <p:txBody>
          <a:bodyPr wrap="none" rtlCol="0" anchor="ctr" anchorCtr="0">
            <a:spAutoFit/>
          </a:bodyPr>
          <a:lstStyle/>
          <a:p>
            <a:r>
              <a:rPr lang="en-GB" sz="1600" b="1">
                <a:solidFill>
                  <a:schemeClr val="tx2"/>
                </a:solidFill>
                <a:latin typeface="+mj-lt"/>
                <a:ea typeface="League Spartan" charset="0"/>
                <a:cs typeface="Poppins" pitchFamily="2" charset="77"/>
              </a:rPr>
              <a:t>Proactivo</a:t>
            </a:r>
            <a:endParaRPr lang="en-GB" sz="1600" b="1" dirty="0">
              <a:solidFill>
                <a:schemeClr val="tx2"/>
              </a:solidFill>
              <a:latin typeface="+mj-lt"/>
              <a:ea typeface="League Spartan" charset="0"/>
              <a:cs typeface="Poppins" pitchFamily="2" charset="77"/>
            </a:endParaRPr>
          </a:p>
        </p:txBody>
      </p:sp>
      <p:sp>
        <p:nvSpPr>
          <p:cNvPr id="101" name="Subtitle 2">
            <a:extLst>
              <a:ext uri="{FF2B5EF4-FFF2-40B4-BE49-F238E27FC236}">
                <a16:creationId xmlns:a16="http://schemas.microsoft.com/office/drawing/2014/main" xmlns="" id="{68BE5925-4707-43AB-80E1-0F9743BBA70C}"/>
              </a:ext>
            </a:extLst>
          </p:cNvPr>
          <p:cNvSpPr txBox="1">
            <a:spLocks/>
          </p:cNvSpPr>
          <p:nvPr/>
        </p:nvSpPr>
        <p:spPr>
          <a:xfrm>
            <a:off x="8405042" y="3975810"/>
            <a:ext cx="1266235" cy="1054143"/>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err="1">
                <a:solidFill>
                  <a:srgbClr val="245473"/>
                </a:solidFill>
                <a:latin typeface="+mj-lt"/>
                <a:ea typeface="Lato Light" panose="020F0502020204030203" pitchFamily="34" charset="0"/>
                <a:cs typeface="Mukta ExtraLight" panose="020B0000000000000000" pitchFamily="34" charset="77"/>
              </a:rPr>
              <a:t>Analizamos </a:t>
            </a:r>
            <a:r>
              <a:rPr lang="en-GB" sz="1800" dirty="0">
                <a:solidFill>
                  <a:srgbClr val="245473"/>
                </a:solidFill>
                <a:latin typeface="+mj-lt"/>
                <a:ea typeface="Lato Light" panose="020F0502020204030203" pitchFamily="34" charset="0"/>
                <a:cs typeface="Mukta ExtraLight" panose="020B0000000000000000" pitchFamily="34" charset="77"/>
              </a:rPr>
              <a:t>y trabajamos constantemente en los problemas que encontramos</a:t>
            </a:r>
          </a:p>
        </p:txBody>
      </p:sp>
      <p:sp>
        <p:nvSpPr>
          <p:cNvPr id="102" name="TextBox 73">
            <a:extLst>
              <a:ext uri="{FF2B5EF4-FFF2-40B4-BE49-F238E27FC236}">
                <a16:creationId xmlns:a16="http://schemas.microsoft.com/office/drawing/2014/main" xmlns="" id="{F9132DA1-5B3C-435D-B066-1ECFA245B5B9}"/>
              </a:ext>
            </a:extLst>
          </p:cNvPr>
          <p:cNvSpPr txBox="1"/>
          <p:nvPr/>
        </p:nvSpPr>
        <p:spPr>
          <a:xfrm>
            <a:off x="10000131" y="3351495"/>
            <a:ext cx="1067921" cy="338554"/>
          </a:xfrm>
          <a:prstGeom prst="rect">
            <a:avLst/>
          </a:prstGeom>
          <a:noFill/>
        </p:spPr>
        <p:txBody>
          <a:bodyPr wrap="none" rtlCol="0" anchor="ctr" anchorCtr="0">
            <a:spAutoFit/>
          </a:bodyPr>
          <a:lstStyle/>
          <a:p>
            <a:r>
              <a:rPr lang="en-GB" sz="1600" b="1">
                <a:solidFill>
                  <a:schemeClr val="tx2"/>
                </a:solidFill>
                <a:latin typeface="+mj-lt"/>
                <a:ea typeface="League Spartan" charset="0"/>
                <a:cs typeface="Poppins" pitchFamily="2" charset="77"/>
              </a:rPr>
              <a:t>Generativo</a:t>
            </a:r>
            <a:endParaRPr lang="en-GB" sz="1600" b="1" dirty="0">
              <a:solidFill>
                <a:schemeClr val="tx2"/>
              </a:solidFill>
              <a:latin typeface="+mj-lt"/>
              <a:ea typeface="League Spartan" charset="0"/>
              <a:cs typeface="Poppins" pitchFamily="2" charset="77"/>
            </a:endParaRPr>
          </a:p>
        </p:txBody>
      </p:sp>
      <p:sp>
        <p:nvSpPr>
          <p:cNvPr id="103" name="Subtitle 2">
            <a:extLst>
              <a:ext uri="{FF2B5EF4-FFF2-40B4-BE49-F238E27FC236}">
                <a16:creationId xmlns:a16="http://schemas.microsoft.com/office/drawing/2014/main" xmlns="" id="{22E8D2F8-EF60-4523-8A77-4CE71FB8FB0A}"/>
              </a:ext>
            </a:extLst>
          </p:cNvPr>
          <p:cNvSpPr txBox="1">
            <a:spLocks/>
          </p:cNvSpPr>
          <p:nvPr/>
        </p:nvSpPr>
        <p:spPr>
          <a:xfrm>
            <a:off x="10050931" y="3643727"/>
            <a:ext cx="1266235" cy="88743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solidFill>
                  <a:srgbClr val="245473"/>
                </a:solidFill>
                <a:latin typeface="+mj-lt"/>
                <a:ea typeface="Lato Light" panose="020F0502020204030203" pitchFamily="34" charset="0"/>
                <a:cs typeface="Mukta ExtraLight" panose="020B0000000000000000" pitchFamily="34" charset="77"/>
              </a:rPr>
              <a:t>Anticipamos y prevenimos las crisis empresariales</a:t>
            </a:r>
          </a:p>
        </p:txBody>
      </p:sp>
      <p:sp>
        <p:nvSpPr>
          <p:cNvPr id="104" name="Freeform 18">
            <a:extLst>
              <a:ext uri="{FF2B5EF4-FFF2-40B4-BE49-F238E27FC236}">
                <a16:creationId xmlns:a16="http://schemas.microsoft.com/office/drawing/2014/main" xmlns="" id="{AC5E0377-A657-4055-8CDA-E2666FD22B5B}"/>
              </a:ext>
            </a:extLst>
          </p:cNvPr>
          <p:cNvSpPr>
            <a:spLocks noChangeArrowheads="1"/>
          </p:cNvSpPr>
          <p:nvPr/>
        </p:nvSpPr>
        <p:spPr bwMode="auto">
          <a:xfrm>
            <a:off x="3787966" y="3086225"/>
            <a:ext cx="127834" cy="132797"/>
          </a:xfrm>
          <a:custGeom>
            <a:avLst/>
            <a:gdLst>
              <a:gd name="T0" fmla="*/ 248 w 453"/>
              <a:gd name="T1" fmla="*/ 462 h 471"/>
              <a:gd name="T2" fmla="*/ 248 w 453"/>
              <a:gd name="T3" fmla="*/ 462 h 471"/>
              <a:gd name="T4" fmla="*/ 215 w 453"/>
              <a:gd name="T5" fmla="*/ 457 h 471"/>
              <a:gd name="T6" fmla="*/ 9 w 453"/>
              <a:gd name="T7" fmla="*/ 188 h 471"/>
              <a:gd name="T8" fmla="*/ 9 w 453"/>
              <a:gd name="T9" fmla="*/ 188 h 471"/>
              <a:gd name="T10" fmla="*/ 13 w 453"/>
              <a:gd name="T11" fmla="*/ 155 h 471"/>
              <a:gd name="T12" fmla="*/ 204 w 453"/>
              <a:gd name="T13" fmla="*/ 9 h 471"/>
              <a:gd name="T14" fmla="*/ 204 w 453"/>
              <a:gd name="T15" fmla="*/ 9 h 471"/>
              <a:gd name="T16" fmla="*/ 237 w 453"/>
              <a:gd name="T17" fmla="*/ 13 h 471"/>
              <a:gd name="T18" fmla="*/ 443 w 453"/>
              <a:gd name="T19" fmla="*/ 282 h 471"/>
              <a:gd name="T20" fmla="*/ 443 w 453"/>
              <a:gd name="T21" fmla="*/ 282 h 471"/>
              <a:gd name="T22" fmla="*/ 439 w 453"/>
              <a:gd name="T23" fmla="*/ 315 h 471"/>
              <a:gd name="T24" fmla="*/ 248 w 453"/>
              <a:gd name="T25" fmla="*/ 462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3" h="471">
                <a:moveTo>
                  <a:pt x="248" y="462"/>
                </a:moveTo>
                <a:lnTo>
                  <a:pt x="248" y="462"/>
                </a:lnTo>
                <a:cubicBezTo>
                  <a:pt x="237" y="470"/>
                  <a:pt x="223" y="469"/>
                  <a:pt x="215" y="457"/>
                </a:cubicBezTo>
                <a:lnTo>
                  <a:pt x="9" y="188"/>
                </a:lnTo>
                <a:lnTo>
                  <a:pt x="9" y="188"/>
                </a:lnTo>
                <a:cubicBezTo>
                  <a:pt x="0" y="178"/>
                  <a:pt x="3" y="163"/>
                  <a:pt x="13" y="155"/>
                </a:cubicBezTo>
                <a:lnTo>
                  <a:pt x="204" y="9"/>
                </a:lnTo>
                <a:lnTo>
                  <a:pt x="204" y="9"/>
                </a:lnTo>
                <a:cubicBezTo>
                  <a:pt x="215" y="0"/>
                  <a:pt x="230" y="3"/>
                  <a:pt x="237" y="13"/>
                </a:cubicBezTo>
                <a:lnTo>
                  <a:pt x="443" y="282"/>
                </a:lnTo>
                <a:lnTo>
                  <a:pt x="443" y="282"/>
                </a:lnTo>
                <a:cubicBezTo>
                  <a:pt x="452" y="294"/>
                  <a:pt x="449" y="308"/>
                  <a:pt x="439" y="315"/>
                </a:cubicBezTo>
                <a:lnTo>
                  <a:pt x="248" y="462"/>
                </a:lnTo>
              </a:path>
            </a:pathLst>
          </a:custGeom>
          <a:solidFill>
            <a:schemeClr val="accent1">
              <a:lumMod val="40000"/>
              <a:lumOff val="60000"/>
            </a:schemeClr>
          </a:solidFill>
          <a:ln>
            <a:noFill/>
          </a:ln>
          <a:effectLst/>
        </p:spPr>
        <p:txBody>
          <a:bodyPr wrap="none" anchor="ctr"/>
          <a:lstStyle/>
          <a:p>
            <a:endParaRPr lang="en-GB" sz="1600" dirty="0">
              <a:latin typeface="+mj-lt"/>
            </a:endParaRPr>
          </a:p>
        </p:txBody>
      </p:sp>
      <p:pic>
        <p:nvPicPr>
          <p:cNvPr id="3" name="Grafik 2">
            <a:extLst>
              <a:ext uri="{FF2B5EF4-FFF2-40B4-BE49-F238E27FC236}">
                <a16:creationId xmlns:a16="http://schemas.microsoft.com/office/drawing/2014/main" xmlns="" id="{AA807139-33D7-4C57-AFB3-D57DDF75CD48}"/>
              </a:ext>
            </a:extLst>
          </p:cNvPr>
          <p:cNvPicPr>
            <a:picLocks noChangeAspect="1"/>
          </p:cNvPicPr>
          <p:nvPr/>
        </p:nvPicPr>
        <p:blipFill>
          <a:blip r:embed="rId7">
            <a:duotone>
              <a:prstClr val="black"/>
              <a:schemeClr val="accent6">
                <a:tint val="45000"/>
                <a:satMod val="400000"/>
              </a:schemeClr>
            </a:duotone>
          </a:blip>
          <a:stretch>
            <a:fillRect/>
          </a:stretch>
        </p:blipFill>
        <p:spPr>
          <a:xfrm>
            <a:off x="10000846" y="2112945"/>
            <a:ext cx="1213209" cy="1042506"/>
          </a:xfrm>
          <a:prstGeom prst="rect">
            <a:avLst/>
          </a:prstGeom>
        </p:spPr>
      </p:pic>
      <p:cxnSp>
        <p:nvCxnSpPr>
          <p:cNvPr id="5" name="Gerade Verbindung mit Pfeil 4">
            <a:extLst>
              <a:ext uri="{FF2B5EF4-FFF2-40B4-BE49-F238E27FC236}">
                <a16:creationId xmlns:a16="http://schemas.microsoft.com/office/drawing/2014/main" xmlns="" id="{10713C62-60A2-49CC-93DA-61A605028238}"/>
              </a:ext>
            </a:extLst>
          </p:cNvPr>
          <p:cNvCxnSpPr>
            <a:cxnSpLocks/>
          </p:cNvCxnSpPr>
          <p:nvPr/>
        </p:nvCxnSpPr>
        <p:spPr>
          <a:xfrm flipV="1">
            <a:off x="3621900" y="4756412"/>
            <a:ext cx="7778661" cy="170482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0" name="TextBox 11">
            <a:extLst>
              <a:ext uri="{FF2B5EF4-FFF2-40B4-BE49-F238E27FC236}">
                <a16:creationId xmlns:a16="http://schemas.microsoft.com/office/drawing/2014/main" xmlns="" id="{C4B71DD2-1C46-4EC2-B318-22E7CE3F4DFC}"/>
              </a:ext>
            </a:extLst>
          </p:cNvPr>
          <p:cNvSpPr txBox="1"/>
          <p:nvPr/>
        </p:nvSpPr>
        <p:spPr>
          <a:xfrm rot="20851621">
            <a:off x="5062769" y="5459640"/>
            <a:ext cx="7115668" cy="400110"/>
          </a:xfrm>
          <a:prstGeom prst="rect">
            <a:avLst/>
          </a:prstGeom>
          <a:noFill/>
        </p:spPr>
        <p:txBody>
          <a:bodyPr wrap="square" rtlCol="0">
            <a:spAutoFit/>
          </a:bodyPr>
          <a:lstStyle>
            <a:defPPr>
              <a:defRPr lang="en-US"/>
            </a:defPPr>
            <a:lvl1pPr>
              <a:defRPr sz="1313">
                <a:latin typeface="+mj-lt"/>
                <a:ea typeface="Lato Light" charset="0"/>
                <a:cs typeface="Lato Light" charset="0"/>
              </a:defRPr>
            </a:lvl1pPr>
          </a:lstStyle>
          <a:p>
            <a:r>
              <a:rPr lang="en-GB" sz="2000" b="1" dirty="0">
                <a:solidFill>
                  <a:schemeClr val="accent1"/>
                </a:solidFill>
              </a:rPr>
              <a:t>Cada vez más resistentes a las crisis y más vigilantes</a:t>
            </a:r>
          </a:p>
        </p:txBody>
      </p:sp>
    </p:spTree>
    <p:extLst>
      <p:ext uri="{BB962C8B-B14F-4D97-AF65-F5344CB8AC3E}">
        <p14:creationId xmlns:p14="http://schemas.microsoft.com/office/powerpoint/2010/main" val="32980270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D826129A-702D-4A96-87C5-ABC7105668F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098"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a16="http://schemas.microsoft.com/office/drawing/2014/main" xmlns=""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11643" y="529642"/>
            <a:ext cx="8852375" cy="697353"/>
          </a:xfrm>
        </p:spPr>
        <p:txBody>
          <a:bodyPr>
            <a:normAutofit/>
          </a:bodyPr>
          <a:lstStyle/>
          <a:p>
            <a:r>
              <a:rPr lang="en-GB" dirty="0"/>
              <a:t>Tipos de resistencia a las crisis</a:t>
            </a:r>
          </a:p>
        </p:txBody>
      </p:sp>
      <p:sp>
        <p:nvSpPr>
          <p:cNvPr id="95" name="Subtitle 2">
            <a:extLst>
              <a:ext uri="{FF2B5EF4-FFF2-40B4-BE49-F238E27FC236}">
                <a16:creationId xmlns:a16="http://schemas.microsoft.com/office/drawing/2014/main" xmlns="" id="{80CD9C37-64A6-4D5D-8180-A277C0BF7767}"/>
              </a:ext>
            </a:extLst>
          </p:cNvPr>
          <p:cNvSpPr txBox="1">
            <a:spLocks/>
          </p:cNvSpPr>
          <p:nvPr/>
        </p:nvSpPr>
        <p:spPr>
          <a:xfrm>
            <a:off x="47674" y="3205909"/>
            <a:ext cx="3867085" cy="3514087"/>
          </a:xfrm>
          <a:prstGeom prst="rect">
            <a:avLst/>
          </a:prstGeom>
        </p:spPr>
        <p:txBody>
          <a:bodyPr vert="horz" wrap="square" lIns="81580" tIns="40791" rIns="81580" bIns="4079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285750" indent="-285750" algn="l">
              <a:lnSpc>
                <a:spcPct val="100000"/>
              </a:lnSpc>
              <a:spcBef>
                <a:spcPts val="600"/>
              </a:spcBef>
              <a:buFont typeface="Wingdings" panose="05000000000000000000" pitchFamily="2" charset="2"/>
              <a:buChar char="à"/>
            </a:pPr>
            <a:r>
              <a:rPr lang="en-GB" sz="1600" dirty="0">
                <a:latin typeface="+mj-lt"/>
                <a:ea typeface="Open Sans Light" panose="020B0306030504020204" pitchFamily="34" charset="0"/>
                <a:cs typeface="Open Sans Light" panose="020B0306030504020204" pitchFamily="34" charset="0"/>
              </a:rPr>
              <a:t>tener líderes capaces de inspirar a la gente con un sentido de esperanza y dirección, a la vez que tienen los pies en la tierra sobre la situación en la que se encuentran,</a:t>
            </a:r>
          </a:p>
          <a:p>
            <a:pPr marL="285750" indent="-285750" algn="l">
              <a:lnSpc>
                <a:spcPct val="100000"/>
              </a:lnSpc>
              <a:spcBef>
                <a:spcPts val="600"/>
              </a:spcBef>
              <a:buFont typeface="Wingdings" panose="05000000000000000000" pitchFamily="2" charset="2"/>
              <a:buChar char="à"/>
            </a:pPr>
            <a:r>
              <a:rPr lang="en-GB" sz="1600" dirty="0">
                <a:latin typeface="+mj-lt"/>
                <a:ea typeface="Open Sans Light" panose="020B0306030504020204" pitchFamily="34" charset="0"/>
                <a:cs typeface="Open Sans Light" panose="020B0306030504020204" pitchFamily="34" charset="0"/>
              </a:rPr>
              <a:t>tener una cultura organizativa que valore la planificación disciplinada y fomente la innovación</a:t>
            </a:r>
          </a:p>
          <a:p>
            <a:pPr marL="285750" indent="-285750" algn="l">
              <a:lnSpc>
                <a:spcPct val="100000"/>
              </a:lnSpc>
              <a:spcBef>
                <a:spcPts val="600"/>
              </a:spcBef>
              <a:buFont typeface="Wingdings" panose="05000000000000000000" pitchFamily="2" charset="2"/>
              <a:buChar char="à"/>
            </a:pPr>
            <a:r>
              <a:rPr lang="en-GB" sz="1600" dirty="0">
                <a:latin typeface="+mj-lt"/>
                <a:ea typeface="Open Sans Light" panose="020B0306030504020204" pitchFamily="34" charset="0"/>
                <a:cs typeface="Open Sans Light" panose="020B0306030504020204" pitchFamily="34" charset="0"/>
              </a:rPr>
              <a:t>planificar y tomar decisiones de forma cuidadosa y estructurada con eficacia, pero con capacidad de respuesta y audacia, y</a:t>
            </a:r>
          </a:p>
          <a:p>
            <a:pPr marL="285750" indent="-285750" algn="l">
              <a:lnSpc>
                <a:spcPct val="100000"/>
              </a:lnSpc>
              <a:spcBef>
                <a:spcPts val="600"/>
              </a:spcBef>
              <a:buFont typeface="Wingdings" panose="05000000000000000000" pitchFamily="2" charset="2"/>
              <a:buChar char="à"/>
            </a:pPr>
            <a:r>
              <a:rPr lang="en-GB" sz="1600" dirty="0">
                <a:latin typeface="+mj-lt"/>
                <a:ea typeface="Open Sans Light" panose="020B0306030504020204" pitchFamily="34" charset="0"/>
                <a:cs typeface="Open Sans Light" panose="020B0306030504020204" pitchFamily="34" charset="0"/>
              </a:rPr>
              <a:t>tener equipos capaces de reconocer patrones e integrar la información para dar sentido a una situación caótica, pero estar atentos a los cambios sutiles a medida que la situación evoluciona.</a:t>
            </a:r>
          </a:p>
        </p:txBody>
      </p:sp>
      <p:sp>
        <p:nvSpPr>
          <p:cNvPr id="51" name="Freeform 5">
            <a:extLst>
              <a:ext uri="{FF2B5EF4-FFF2-40B4-BE49-F238E27FC236}">
                <a16:creationId xmlns:a16="http://schemas.microsoft.com/office/drawing/2014/main" xmlns="" id="{92A2DC3D-DBCA-42DD-92E8-8718E5858C3C}"/>
              </a:ext>
            </a:extLst>
          </p:cNvPr>
          <p:cNvSpPr>
            <a:spLocks/>
          </p:cNvSpPr>
          <p:nvPr/>
        </p:nvSpPr>
        <p:spPr bwMode="auto">
          <a:xfrm>
            <a:off x="6488904" y="2478731"/>
            <a:ext cx="3352800" cy="3355181"/>
          </a:xfrm>
          <a:custGeom>
            <a:avLst/>
            <a:gdLst>
              <a:gd name="T0" fmla="*/ 4438298 w 2605"/>
              <a:gd name="T1" fmla="*/ 2181991 h 2606"/>
              <a:gd name="T2" fmla="*/ 3775814 w 2605"/>
              <a:gd name="T3" fmla="*/ 1570827 h 2606"/>
              <a:gd name="T4" fmla="*/ 3715744 w 2605"/>
              <a:gd name="T5" fmla="*/ 1598296 h 2606"/>
              <a:gd name="T6" fmla="*/ 3715744 w 2605"/>
              <a:gd name="T7" fmla="*/ 1757953 h 2606"/>
              <a:gd name="T8" fmla="*/ 3633363 w 2605"/>
              <a:gd name="T9" fmla="*/ 1840357 h 2606"/>
              <a:gd name="T10" fmla="*/ 3518372 w 2605"/>
              <a:gd name="T11" fmla="*/ 1840357 h 2606"/>
              <a:gd name="T12" fmla="*/ 3518372 w 2605"/>
              <a:gd name="T13" fmla="*/ 1088420 h 2606"/>
              <a:gd name="T14" fmla="*/ 3394800 w 2605"/>
              <a:gd name="T15" fmla="*/ 964814 h 2606"/>
              <a:gd name="T16" fmla="*/ 2641354 w 2605"/>
              <a:gd name="T17" fmla="*/ 964814 h 2606"/>
              <a:gd name="T18" fmla="*/ 2643070 w 2605"/>
              <a:gd name="T19" fmla="*/ 957947 h 2606"/>
              <a:gd name="T20" fmla="*/ 2643070 w 2605"/>
              <a:gd name="T21" fmla="*/ 839491 h 2606"/>
              <a:gd name="T22" fmla="*/ 2725451 w 2605"/>
              <a:gd name="T23" fmla="*/ 757087 h 2606"/>
              <a:gd name="T24" fmla="*/ 2885065 w 2605"/>
              <a:gd name="T25" fmla="*/ 757087 h 2606"/>
              <a:gd name="T26" fmla="*/ 2912526 w 2605"/>
              <a:gd name="T27" fmla="*/ 697001 h 2606"/>
              <a:gd name="T28" fmla="*/ 2301530 w 2605"/>
              <a:gd name="T29" fmla="*/ 34335 h 2606"/>
              <a:gd name="T30" fmla="*/ 2189972 w 2605"/>
              <a:gd name="T31" fmla="*/ 34335 h 2606"/>
              <a:gd name="T32" fmla="*/ 1578977 w 2605"/>
              <a:gd name="T33" fmla="*/ 697001 h 2606"/>
              <a:gd name="T34" fmla="*/ 1606437 w 2605"/>
              <a:gd name="T35" fmla="*/ 757087 h 2606"/>
              <a:gd name="T36" fmla="*/ 1767767 w 2605"/>
              <a:gd name="T37" fmla="*/ 757087 h 2606"/>
              <a:gd name="T38" fmla="*/ 1850149 w 2605"/>
              <a:gd name="T39" fmla="*/ 839491 h 2606"/>
              <a:gd name="T40" fmla="*/ 1850149 w 2605"/>
              <a:gd name="T41" fmla="*/ 957947 h 2606"/>
              <a:gd name="T42" fmla="*/ 1850149 w 2605"/>
              <a:gd name="T43" fmla="*/ 964814 h 2606"/>
              <a:gd name="T44" fmla="*/ 1098419 w 2605"/>
              <a:gd name="T45" fmla="*/ 964814 h 2606"/>
              <a:gd name="T46" fmla="*/ 974847 w 2605"/>
              <a:gd name="T47" fmla="*/ 1088420 h 2606"/>
              <a:gd name="T48" fmla="*/ 974847 w 2605"/>
              <a:gd name="T49" fmla="*/ 1843791 h 2606"/>
              <a:gd name="T50" fmla="*/ 955967 w 2605"/>
              <a:gd name="T51" fmla="*/ 1840357 h 2606"/>
              <a:gd name="T52" fmla="*/ 837544 w 2605"/>
              <a:gd name="T53" fmla="*/ 1840357 h 2606"/>
              <a:gd name="T54" fmla="*/ 755163 w 2605"/>
              <a:gd name="T55" fmla="*/ 1757953 h 2606"/>
              <a:gd name="T56" fmla="*/ 755163 w 2605"/>
              <a:gd name="T57" fmla="*/ 1598296 h 2606"/>
              <a:gd name="T58" fmla="*/ 695093 w 2605"/>
              <a:gd name="T59" fmla="*/ 1570827 h 2606"/>
              <a:gd name="T60" fmla="*/ 32609 w 2605"/>
              <a:gd name="T61" fmla="*/ 2181991 h 2606"/>
              <a:gd name="T62" fmla="*/ 32609 w 2605"/>
              <a:gd name="T63" fmla="*/ 2293580 h 2606"/>
              <a:gd name="T64" fmla="*/ 695093 w 2605"/>
              <a:gd name="T65" fmla="*/ 2904743 h 2606"/>
              <a:gd name="T66" fmla="*/ 755163 w 2605"/>
              <a:gd name="T67" fmla="*/ 2877275 h 2606"/>
              <a:gd name="T68" fmla="*/ 755163 w 2605"/>
              <a:gd name="T69" fmla="*/ 2715901 h 2606"/>
              <a:gd name="T70" fmla="*/ 837544 w 2605"/>
              <a:gd name="T71" fmla="*/ 2633497 h 2606"/>
              <a:gd name="T72" fmla="*/ 955967 w 2605"/>
              <a:gd name="T73" fmla="*/ 2633497 h 2606"/>
              <a:gd name="T74" fmla="*/ 974847 w 2605"/>
              <a:gd name="T75" fmla="*/ 2631780 h 2606"/>
              <a:gd name="T76" fmla="*/ 974847 w 2605"/>
              <a:gd name="T77" fmla="*/ 3385434 h 2606"/>
              <a:gd name="T78" fmla="*/ 1098419 w 2605"/>
              <a:gd name="T79" fmla="*/ 3509040 h 2606"/>
              <a:gd name="T80" fmla="*/ 1850149 w 2605"/>
              <a:gd name="T81" fmla="*/ 3509040 h 2606"/>
              <a:gd name="T82" fmla="*/ 1850149 w 2605"/>
              <a:gd name="T83" fmla="*/ 3515907 h 2606"/>
              <a:gd name="T84" fmla="*/ 1850149 w 2605"/>
              <a:gd name="T85" fmla="*/ 3634363 h 2606"/>
              <a:gd name="T86" fmla="*/ 1767767 w 2605"/>
              <a:gd name="T87" fmla="*/ 3716767 h 2606"/>
              <a:gd name="T88" fmla="*/ 1606437 w 2605"/>
              <a:gd name="T89" fmla="*/ 3716767 h 2606"/>
              <a:gd name="T90" fmla="*/ 1578977 w 2605"/>
              <a:gd name="T91" fmla="*/ 3778570 h 2606"/>
              <a:gd name="T92" fmla="*/ 2189972 w 2605"/>
              <a:gd name="T93" fmla="*/ 4441236 h 2606"/>
              <a:gd name="T94" fmla="*/ 2301530 w 2605"/>
              <a:gd name="T95" fmla="*/ 4441236 h 2606"/>
              <a:gd name="T96" fmla="*/ 2912526 w 2605"/>
              <a:gd name="T97" fmla="*/ 3778570 h 2606"/>
              <a:gd name="T98" fmla="*/ 2885065 w 2605"/>
              <a:gd name="T99" fmla="*/ 3716767 h 2606"/>
              <a:gd name="T100" fmla="*/ 2725451 w 2605"/>
              <a:gd name="T101" fmla="*/ 3716767 h 2606"/>
              <a:gd name="T102" fmla="*/ 2643070 w 2605"/>
              <a:gd name="T103" fmla="*/ 3634363 h 2606"/>
              <a:gd name="T104" fmla="*/ 2643070 w 2605"/>
              <a:gd name="T105" fmla="*/ 3515907 h 2606"/>
              <a:gd name="T106" fmla="*/ 2641354 w 2605"/>
              <a:gd name="T107" fmla="*/ 3509040 h 2606"/>
              <a:gd name="T108" fmla="*/ 3394800 w 2605"/>
              <a:gd name="T109" fmla="*/ 3509040 h 2606"/>
              <a:gd name="T110" fmla="*/ 3518372 w 2605"/>
              <a:gd name="T111" fmla="*/ 3385434 h 2606"/>
              <a:gd name="T112" fmla="*/ 3518372 w 2605"/>
              <a:gd name="T113" fmla="*/ 2633497 h 2606"/>
              <a:gd name="T114" fmla="*/ 3633363 w 2605"/>
              <a:gd name="T115" fmla="*/ 2633497 h 2606"/>
              <a:gd name="T116" fmla="*/ 3715744 w 2605"/>
              <a:gd name="T117" fmla="*/ 2715901 h 2606"/>
              <a:gd name="T118" fmla="*/ 3715744 w 2605"/>
              <a:gd name="T119" fmla="*/ 2877275 h 2606"/>
              <a:gd name="T120" fmla="*/ 3775814 w 2605"/>
              <a:gd name="T121" fmla="*/ 2904743 h 2606"/>
              <a:gd name="T122" fmla="*/ 4438298 w 2605"/>
              <a:gd name="T123" fmla="*/ 2293580 h 2606"/>
              <a:gd name="T124" fmla="*/ 4438298 w 2605"/>
              <a:gd name="T125" fmla="*/ 2181991 h 260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605" h="2606">
                <a:moveTo>
                  <a:pt x="2586" y="1271"/>
                </a:moveTo>
                <a:cubicBezTo>
                  <a:pt x="2200" y="915"/>
                  <a:pt x="2200" y="915"/>
                  <a:pt x="2200" y="915"/>
                </a:cubicBezTo>
                <a:cubicBezTo>
                  <a:pt x="2181" y="897"/>
                  <a:pt x="2165" y="904"/>
                  <a:pt x="2165" y="931"/>
                </a:cubicBezTo>
                <a:cubicBezTo>
                  <a:pt x="2165" y="1024"/>
                  <a:pt x="2165" y="1024"/>
                  <a:pt x="2165" y="1024"/>
                </a:cubicBezTo>
                <a:cubicBezTo>
                  <a:pt x="2165" y="1051"/>
                  <a:pt x="2143" y="1072"/>
                  <a:pt x="2117" y="1072"/>
                </a:cubicBezTo>
                <a:cubicBezTo>
                  <a:pt x="2050" y="1072"/>
                  <a:pt x="2050" y="1072"/>
                  <a:pt x="2050" y="1072"/>
                </a:cubicBezTo>
                <a:cubicBezTo>
                  <a:pt x="2050" y="634"/>
                  <a:pt x="2050" y="634"/>
                  <a:pt x="2050" y="634"/>
                </a:cubicBezTo>
                <a:cubicBezTo>
                  <a:pt x="2050" y="595"/>
                  <a:pt x="2017" y="562"/>
                  <a:pt x="1978" y="562"/>
                </a:cubicBezTo>
                <a:cubicBezTo>
                  <a:pt x="1539" y="562"/>
                  <a:pt x="1539" y="562"/>
                  <a:pt x="1539" y="562"/>
                </a:cubicBezTo>
                <a:cubicBezTo>
                  <a:pt x="1539" y="561"/>
                  <a:pt x="1540" y="559"/>
                  <a:pt x="1540" y="558"/>
                </a:cubicBezTo>
                <a:cubicBezTo>
                  <a:pt x="1540" y="489"/>
                  <a:pt x="1540" y="489"/>
                  <a:pt x="1540" y="489"/>
                </a:cubicBezTo>
                <a:cubicBezTo>
                  <a:pt x="1540" y="462"/>
                  <a:pt x="1561" y="441"/>
                  <a:pt x="1588" y="441"/>
                </a:cubicBezTo>
                <a:cubicBezTo>
                  <a:pt x="1681" y="441"/>
                  <a:pt x="1681" y="441"/>
                  <a:pt x="1681" y="441"/>
                </a:cubicBezTo>
                <a:cubicBezTo>
                  <a:pt x="1708" y="441"/>
                  <a:pt x="1715" y="425"/>
                  <a:pt x="1697" y="406"/>
                </a:cubicBezTo>
                <a:cubicBezTo>
                  <a:pt x="1341" y="20"/>
                  <a:pt x="1341" y="20"/>
                  <a:pt x="1341" y="20"/>
                </a:cubicBezTo>
                <a:cubicBezTo>
                  <a:pt x="1323" y="0"/>
                  <a:pt x="1294" y="0"/>
                  <a:pt x="1276" y="20"/>
                </a:cubicBezTo>
                <a:cubicBezTo>
                  <a:pt x="920" y="406"/>
                  <a:pt x="920" y="406"/>
                  <a:pt x="920" y="406"/>
                </a:cubicBezTo>
                <a:cubicBezTo>
                  <a:pt x="903" y="425"/>
                  <a:pt x="910" y="441"/>
                  <a:pt x="936" y="441"/>
                </a:cubicBezTo>
                <a:cubicBezTo>
                  <a:pt x="1030" y="441"/>
                  <a:pt x="1030" y="441"/>
                  <a:pt x="1030" y="441"/>
                </a:cubicBezTo>
                <a:cubicBezTo>
                  <a:pt x="1056" y="441"/>
                  <a:pt x="1078" y="462"/>
                  <a:pt x="1078" y="489"/>
                </a:cubicBezTo>
                <a:cubicBezTo>
                  <a:pt x="1078" y="558"/>
                  <a:pt x="1078" y="558"/>
                  <a:pt x="1078" y="558"/>
                </a:cubicBezTo>
                <a:cubicBezTo>
                  <a:pt x="1078" y="559"/>
                  <a:pt x="1078" y="561"/>
                  <a:pt x="1078" y="562"/>
                </a:cubicBezTo>
                <a:cubicBezTo>
                  <a:pt x="640" y="562"/>
                  <a:pt x="640" y="562"/>
                  <a:pt x="640" y="562"/>
                </a:cubicBezTo>
                <a:cubicBezTo>
                  <a:pt x="600" y="562"/>
                  <a:pt x="568" y="595"/>
                  <a:pt x="568" y="634"/>
                </a:cubicBezTo>
                <a:cubicBezTo>
                  <a:pt x="568" y="1074"/>
                  <a:pt x="568" y="1074"/>
                  <a:pt x="568" y="1074"/>
                </a:cubicBezTo>
                <a:cubicBezTo>
                  <a:pt x="564" y="1073"/>
                  <a:pt x="561" y="1072"/>
                  <a:pt x="557" y="1072"/>
                </a:cubicBezTo>
                <a:cubicBezTo>
                  <a:pt x="488" y="1072"/>
                  <a:pt x="488" y="1072"/>
                  <a:pt x="488" y="1072"/>
                </a:cubicBezTo>
                <a:cubicBezTo>
                  <a:pt x="462" y="1072"/>
                  <a:pt x="440" y="1051"/>
                  <a:pt x="440" y="1024"/>
                </a:cubicBezTo>
                <a:cubicBezTo>
                  <a:pt x="440" y="931"/>
                  <a:pt x="440" y="931"/>
                  <a:pt x="440" y="931"/>
                </a:cubicBezTo>
                <a:cubicBezTo>
                  <a:pt x="440" y="904"/>
                  <a:pt x="424" y="897"/>
                  <a:pt x="405" y="915"/>
                </a:cubicBezTo>
                <a:cubicBezTo>
                  <a:pt x="19" y="1271"/>
                  <a:pt x="19" y="1271"/>
                  <a:pt x="19" y="1271"/>
                </a:cubicBezTo>
                <a:cubicBezTo>
                  <a:pt x="0" y="1289"/>
                  <a:pt x="0" y="1318"/>
                  <a:pt x="19" y="1336"/>
                </a:cubicBezTo>
                <a:cubicBezTo>
                  <a:pt x="405" y="1692"/>
                  <a:pt x="405" y="1692"/>
                  <a:pt x="405" y="1692"/>
                </a:cubicBezTo>
                <a:cubicBezTo>
                  <a:pt x="424" y="1709"/>
                  <a:pt x="440" y="1702"/>
                  <a:pt x="440" y="1676"/>
                </a:cubicBezTo>
                <a:cubicBezTo>
                  <a:pt x="440" y="1582"/>
                  <a:pt x="440" y="1582"/>
                  <a:pt x="440" y="1582"/>
                </a:cubicBezTo>
                <a:cubicBezTo>
                  <a:pt x="440" y="1556"/>
                  <a:pt x="462" y="1534"/>
                  <a:pt x="488" y="1534"/>
                </a:cubicBezTo>
                <a:cubicBezTo>
                  <a:pt x="557" y="1534"/>
                  <a:pt x="557" y="1534"/>
                  <a:pt x="557" y="1534"/>
                </a:cubicBezTo>
                <a:cubicBezTo>
                  <a:pt x="561" y="1534"/>
                  <a:pt x="564" y="1534"/>
                  <a:pt x="568" y="1533"/>
                </a:cubicBezTo>
                <a:cubicBezTo>
                  <a:pt x="568" y="1972"/>
                  <a:pt x="568" y="1972"/>
                  <a:pt x="568" y="1972"/>
                </a:cubicBezTo>
                <a:cubicBezTo>
                  <a:pt x="568" y="2012"/>
                  <a:pt x="600" y="2044"/>
                  <a:pt x="640" y="2044"/>
                </a:cubicBezTo>
                <a:cubicBezTo>
                  <a:pt x="1078" y="2044"/>
                  <a:pt x="1078" y="2044"/>
                  <a:pt x="1078" y="2044"/>
                </a:cubicBezTo>
                <a:cubicBezTo>
                  <a:pt x="1078" y="2046"/>
                  <a:pt x="1078" y="2047"/>
                  <a:pt x="1078" y="2048"/>
                </a:cubicBezTo>
                <a:cubicBezTo>
                  <a:pt x="1078" y="2117"/>
                  <a:pt x="1078" y="2117"/>
                  <a:pt x="1078" y="2117"/>
                </a:cubicBezTo>
                <a:cubicBezTo>
                  <a:pt x="1078" y="2144"/>
                  <a:pt x="1056" y="2165"/>
                  <a:pt x="1030" y="2165"/>
                </a:cubicBezTo>
                <a:cubicBezTo>
                  <a:pt x="936" y="2165"/>
                  <a:pt x="936" y="2165"/>
                  <a:pt x="936" y="2165"/>
                </a:cubicBezTo>
                <a:cubicBezTo>
                  <a:pt x="910" y="2165"/>
                  <a:pt x="903" y="2181"/>
                  <a:pt x="920" y="2201"/>
                </a:cubicBezTo>
                <a:cubicBezTo>
                  <a:pt x="1276" y="2587"/>
                  <a:pt x="1276" y="2587"/>
                  <a:pt x="1276" y="2587"/>
                </a:cubicBezTo>
                <a:cubicBezTo>
                  <a:pt x="1294" y="2606"/>
                  <a:pt x="1323" y="2606"/>
                  <a:pt x="1341" y="2587"/>
                </a:cubicBezTo>
                <a:cubicBezTo>
                  <a:pt x="1697" y="2201"/>
                  <a:pt x="1697" y="2201"/>
                  <a:pt x="1697" y="2201"/>
                </a:cubicBezTo>
                <a:cubicBezTo>
                  <a:pt x="1715" y="2181"/>
                  <a:pt x="1708" y="2165"/>
                  <a:pt x="1681" y="2165"/>
                </a:cubicBezTo>
                <a:cubicBezTo>
                  <a:pt x="1588" y="2165"/>
                  <a:pt x="1588" y="2165"/>
                  <a:pt x="1588" y="2165"/>
                </a:cubicBezTo>
                <a:cubicBezTo>
                  <a:pt x="1561" y="2165"/>
                  <a:pt x="1540" y="2144"/>
                  <a:pt x="1540" y="2117"/>
                </a:cubicBezTo>
                <a:cubicBezTo>
                  <a:pt x="1540" y="2048"/>
                  <a:pt x="1540" y="2048"/>
                  <a:pt x="1540" y="2048"/>
                </a:cubicBezTo>
                <a:cubicBezTo>
                  <a:pt x="1540" y="2047"/>
                  <a:pt x="1539" y="2046"/>
                  <a:pt x="1539" y="2044"/>
                </a:cubicBezTo>
                <a:cubicBezTo>
                  <a:pt x="1978" y="2044"/>
                  <a:pt x="1978" y="2044"/>
                  <a:pt x="1978" y="2044"/>
                </a:cubicBezTo>
                <a:cubicBezTo>
                  <a:pt x="2017" y="2044"/>
                  <a:pt x="2050" y="2012"/>
                  <a:pt x="2050" y="1972"/>
                </a:cubicBezTo>
                <a:cubicBezTo>
                  <a:pt x="2050" y="1534"/>
                  <a:pt x="2050" y="1534"/>
                  <a:pt x="2050" y="1534"/>
                </a:cubicBezTo>
                <a:cubicBezTo>
                  <a:pt x="2117" y="1534"/>
                  <a:pt x="2117" y="1534"/>
                  <a:pt x="2117" y="1534"/>
                </a:cubicBezTo>
                <a:cubicBezTo>
                  <a:pt x="2143" y="1534"/>
                  <a:pt x="2165" y="1556"/>
                  <a:pt x="2165" y="1582"/>
                </a:cubicBezTo>
                <a:cubicBezTo>
                  <a:pt x="2165" y="1676"/>
                  <a:pt x="2165" y="1676"/>
                  <a:pt x="2165" y="1676"/>
                </a:cubicBezTo>
                <a:cubicBezTo>
                  <a:pt x="2165" y="1702"/>
                  <a:pt x="2181" y="1709"/>
                  <a:pt x="2200" y="1692"/>
                </a:cubicBezTo>
                <a:cubicBezTo>
                  <a:pt x="2586" y="1336"/>
                  <a:pt x="2586" y="1336"/>
                  <a:pt x="2586" y="1336"/>
                </a:cubicBezTo>
                <a:cubicBezTo>
                  <a:pt x="2605" y="1318"/>
                  <a:pt x="2605" y="1289"/>
                  <a:pt x="2586" y="1271"/>
                </a:cubicBezTo>
                <a:close/>
              </a:path>
            </a:pathLst>
          </a:custGeom>
          <a:solidFill>
            <a:schemeClr val="bg1">
              <a:lumMod val="50000"/>
            </a:schemeClr>
          </a:solidFill>
          <a:ln>
            <a:noFill/>
          </a:ln>
        </p:spPr>
        <p:txBody>
          <a:bodyPr/>
          <a:lstStyle/>
          <a:p>
            <a:endParaRPr lang="en-GB" sz="1600" dirty="0">
              <a:latin typeface="+mj-lt"/>
            </a:endParaRPr>
          </a:p>
        </p:txBody>
      </p:sp>
      <p:sp>
        <p:nvSpPr>
          <p:cNvPr id="52" name="Freeform 6">
            <a:extLst>
              <a:ext uri="{FF2B5EF4-FFF2-40B4-BE49-F238E27FC236}">
                <a16:creationId xmlns:a16="http://schemas.microsoft.com/office/drawing/2014/main" xmlns="" id="{2E5B3586-B524-4B26-B919-FA441CC02BDD}"/>
              </a:ext>
            </a:extLst>
          </p:cNvPr>
          <p:cNvSpPr>
            <a:spLocks/>
          </p:cNvSpPr>
          <p:nvPr/>
        </p:nvSpPr>
        <p:spPr bwMode="auto">
          <a:xfrm>
            <a:off x="4491036" y="2321568"/>
            <a:ext cx="3656410" cy="1816894"/>
          </a:xfrm>
          <a:custGeom>
            <a:avLst/>
            <a:gdLst>
              <a:gd name="T0" fmla="*/ 2626806 w 2842"/>
              <a:gd name="T1" fmla="*/ 2422601 h 1411"/>
              <a:gd name="T2" fmla="*/ 2664552 w 2842"/>
              <a:gd name="T3" fmla="*/ 2355640 h 1411"/>
              <a:gd name="T4" fmla="*/ 3326830 w 2842"/>
              <a:gd name="T5" fmla="*/ 1746127 h 1411"/>
              <a:gd name="T6" fmla="*/ 3393744 w 2842"/>
              <a:gd name="T7" fmla="*/ 1715222 h 1411"/>
              <a:gd name="T8" fmla="*/ 3467521 w 2842"/>
              <a:gd name="T9" fmla="*/ 1807937 h 1411"/>
              <a:gd name="T10" fmla="*/ 3467521 w 2842"/>
              <a:gd name="T11" fmla="*/ 1967612 h 1411"/>
              <a:gd name="T12" fmla="*/ 3501836 w 2842"/>
              <a:gd name="T13" fmla="*/ 2001951 h 1411"/>
              <a:gd name="T14" fmla="*/ 3591055 w 2842"/>
              <a:gd name="T15" fmla="*/ 2001951 h 1411"/>
              <a:gd name="T16" fmla="*/ 3591055 w 2842"/>
              <a:gd name="T17" fmla="*/ 1298006 h 1411"/>
              <a:gd name="T18" fmla="*/ 3762629 w 2842"/>
              <a:gd name="T19" fmla="*/ 1126312 h 1411"/>
              <a:gd name="T20" fmla="*/ 4466085 w 2842"/>
              <a:gd name="T21" fmla="*/ 1126312 h 1411"/>
              <a:gd name="T22" fmla="*/ 4466085 w 2842"/>
              <a:gd name="T23" fmla="*/ 1049050 h 1411"/>
              <a:gd name="T24" fmla="*/ 4431770 w 2842"/>
              <a:gd name="T25" fmla="*/ 1014711 h 1411"/>
              <a:gd name="T26" fmla="*/ 4270490 w 2842"/>
              <a:gd name="T27" fmla="*/ 1014711 h 1411"/>
              <a:gd name="T28" fmla="*/ 4184703 w 2842"/>
              <a:gd name="T29" fmla="*/ 968354 h 1411"/>
              <a:gd name="T30" fmla="*/ 4208723 w 2842"/>
              <a:gd name="T31" fmla="*/ 873922 h 1411"/>
              <a:gd name="T32" fmla="*/ 4817813 w 2842"/>
              <a:gd name="T33" fmla="*/ 211184 h 1411"/>
              <a:gd name="T34" fmla="*/ 4876148 w 2842"/>
              <a:gd name="T35" fmla="*/ 175128 h 1411"/>
              <a:gd name="T36" fmla="*/ 4876148 w 2842"/>
              <a:gd name="T37" fmla="*/ 0 h 1411"/>
              <a:gd name="T38" fmla="*/ 123534 w 2842"/>
              <a:gd name="T39" fmla="*/ 0 h 1411"/>
              <a:gd name="T40" fmla="*/ 0 w 2842"/>
              <a:gd name="T41" fmla="*/ 123620 h 1411"/>
              <a:gd name="T42" fmla="*/ 0 w 2842"/>
              <a:gd name="T43" fmla="*/ 2422601 h 1411"/>
              <a:gd name="T44" fmla="*/ 2626806 w 2842"/>
              <a:gd name="T45" fmla="*/ 2422601 h 141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842" h="1411">
                <a:moveTo>
                  <a:pt x="1531" y="1411"/>
                </a:moveTo>
                <a:cubicBezTo>
                  <a:pt x="1534" y="1396"/>
                  <a:pt x="1542" y="1383"/>
                  <a:pt x="1553" y="1372"/>
                </a:cubicBezTo>
                <a:cubicBezTo>
                  <a:pt x="1939" y="1017"/>
                  <a:pt x="1939" y="1017"/>
                  <a:pt x="1939" y="1017"/>
                </a:cubicBezTo>
                <a:cubicBezTo>
                  <a:pt x="1952" y="1005"/>
                  <a:pt x="1965" y="999"/>
                  <a:pt x="1978" y="999"/>
                </a:cubicBezTo>
                <a:cubicBezTo>
                  <a:pt x="1999" y="999"/>
                  <a:pt x="2021" y="1016"/>
                  <a:pt x="2021" y="1053"/>
                </a:cubicBezTo>
                <a:cubicBezTo>
                  <a:pt x="2021" y="1146"/>
                  <a:pt x="2021" y="1146"/>
                  <a:pt x="2021" y="1146"/>
                </a:cubicBezTo>
                <a:cubicBezTo>
                  <a:pt x="2021" y="1157"/>
                  <a:pt x="2030" y="1166"/>
                  <a:pt x="2041" y="1166"/>
                </a:cubicBezTo>
                <a:cubicBezTo>
                  <a:pt x="2093" y="1166"/>
                  <a:pt x="2093" y="1166"/>
                  <a:pt x="2093" y="1166"/>
                </a:cubicBezTo>
                <a:cubicBezTo>
                  <a:pt x="2093" y="756"/>
                  <a:pt x="2093" y="756"/>
                  <a:pt x="2093" y="756"/>
                </a:cubicBezTo>
                <a:cubicBezTo>
                  <a:pt x="2093" y="701"/>
                  <a:pt x="2137" y="656"/>
                  <a:pt x="2193" y="656"/>
                </a:cubicBezTo>
                <a:cubicBezTo>
                  <a:pt x="2603" y="656"/>
                  <a:pt x="2603" y="656"/>
                  <a:pt x="2603" y="656"/>
                </a:cubicBezTo>
                <a:cubicBezTo>
                  <a:pt x="2603" y="611"/>
                  <a:pt x="2603" y="611"/>
                  <a:pt x="2603" y="611"/>
                </a:cubicBezTo>
                <a:cubicBezTo>
                  <a:pt x="2603" y="600"/>
                  <a:pt x="2594" y="591"/>
                  <a:pt x="2583" y="591"/>
                </a:cubicBezTo>
                <a:cubicBezTo>
                  <a:pt x="2489" y="591"/>
                  <a:pt x="2489" y="591"/>
                  <a:pt x="2489" y="591"/>
                </a:cubicBezTo>
                <a:cubicBezTo>
                  <a:pt x="2455" y="591"/>
                  <a:pt x="2443" y="572"/>
                  <a:pt x="2439" y="564"/>
                </a:cubicBezTo>
                <a:cubicBezTo>
                  <a:pt x="2435" y="556"/>
                  <a:pt x="2430" y="534"/>
                  <a:pt x="2453" y="509"/>
                </a:cubicBezTo>
                <a:cubicBezTo>
                  <a:pt x="2808" y="123"/>
                  <a:pt x="2808" y="123"/>
                  <a:pt x="2808" y="123"/>
                </a:cubicBezTo>
                <a:cubicBezTo>
                  <a:pt x="2818" y="113"/>
                  <a:pt x="2829" y="106"/>
                  <a:pt x="2842" y="102"/>
                </a:cubicBezTo>
                <a:cubicBezTo>
                  <a:pt x="2842" y="0"/>
                  <a:pt x="2842" y="0"/>
                  <a:pt x="2842" y="0"/>
                </a:cubicBezTo>
                <a:cubicBezTo>
                  <a:pt x="72" y="0"/>
                  <a:pt x="72" y="0"/>
                  <a:pt x="72" y="0"/>
                </a:cubicBezTo>
                <a:cubicBezTo>
                  <a:pt x="32" y="0"/>
                  <a:pt x="0" y="33"/>
                  <a:pt x="0" y="72"/>
                </a:cubicBezTo>
                <a:cubicBezTo>
                  <a:pt x="0" y="1411"/>
                  <a:pt x="0" y="1411"/>
                  <a:pt x="0" y="1411"/>
                </a:cubicBezTo>
                <a:lnTo>
                  <a:pt x="1531" y="1411"/>
                </a:lnTo>
                <a:close/>
              </a:path>
            </a:pathLst>
          </a:custGeom>
          <a:solidFill>
            <a:schemeClr val="accent1">
              <a:lumMod val="60000"/>
              <a:lumOff val="40000"/>
            </a:schemeClr>
          </a:solidFill>
          <a:ln>
            <a:noFill/>
          </a:ln>
        </p:spPr>
        <p:txBody>
          <a:bodyPr/>
          <a:lstStyle/>
          <a:p>
            <a:endParaRPr lang="en-GB" sz="1600" dirty="0">
              <a:latin typeface="+mj-lt"/>
            </a:endParaRPr>
          </a:p>
        </p:txBody>
      </p:sp>
      <p:sp>
        <p:nvSpPr>
          <p:cNvPr id="53" name="Freeform 7">
            <a:extLst>
              <a:ext uri="{FF2B5EF4-FFF2-40B4-BE49-F238E27FC236}">
                <a16:creationId xmlns:a16="http://schemas.microsoft.com/office/drawing/2014/main" xmlns="" id="{31BF3DF7-FFB7-44FA-A185-8EFDF01E6DCC}"/>
              </a:ext>
            </a:extLst>
          </p:cNvPr>
          <p:cNvSpPr>
            <a:spLocks/>
          </p:cNvSpPr>
          <p:nvPr/>
        </p:nvSpPr>
        <p:spPr bwMode="auto">
          <a:xfrm>
            <a:off x="8184355" y="2321568"/>
            <a:ext cx="3655219" cy="1816894"/>
          </a:xfrm>
          <a:custGeom>
            <a:avLst/>
            <a:gdLst>
              <a:gd name="T0" fmla="*/ 0 w 2841"/>
              <a:gd name="T1" fmla="*/ 100 h 1411"/>
              <a:gd name="T2" fmla="*/ 45 w 2841"/>
              <a:gd name="T3" fmla="*/ 123 h 1411"/>
              <a:gd name="T4" fmla="*/ 400 w 2841"/>
              <a:gd name="T5" fmla="*/ 509 h 1411"/>
              <a:gd name="T6" fmla="*/ 414 w 2841"/>
              <a:gd name="T7" fmla="*/ 564 h 1411"/>
              <a:gd name="T8" fmla="*/ 364 w 2841"/>
              <a:gd name="T9" fmla="*/ 591 h 1411"/>
              <a:gd name="T10" fmla="*/ 271 w 2841"/>
              <a:gd name="T11" fmla="*/ 591 h 1411"/>
              <a:gd name="T12" fmla="*/ 251 w 2841"/>
              <a:gd name="T13" fmla="*/ 611 h 1411"/>
              <a:gd name="T14" fmla="*/ 251 w 2841"/>
              <a:gd name="T15" fmla="*/ 656 h 1411"/>
              <a:gd name="T16" fmla="*/ 661 w 2841"/>
              <a:gd name="T17" fmla="*/ 656 h 1411"/>
              <a:gd name="T18" fmla="*/ 761 w 2841"/>
              <a:gd name="T19" fmla="*/ 756 h 1411"/>
              <a:gd name="T20" fmla="*/ 761 w 2841"/>
              <a:gd name="T21" fmla="*/ 1166 h 1411"/>
              <a:gd name="T22" fmla="*/ 800 w 2841"/>
              <a:gd name="T23" fmla="*/ 1166 h 1411"/>
              <a:gd name="T24" fmla="*/ 820 w 2841"/>
              <a:gd name="T25" fmla="*/ 1146 h 1411"/>
              <a:gd name="T26" fmla="*/ 820 w 2841"/>
              <a:gd name="T27" fmla="*/ 1053 h 1411"/>
              <a:gd name="T28" fmla="*/ 863 w 2841"/>
              <a:gd name="T29" fmla="*/ 999 h 1411"/>
              <a:gd name="T30" fmla="*/ 902 w 2841"/>
              <a:gd name="T31" fmla="*/ 1017 h 1411"/>
              <a:gd name="T32" fmla="*/ 1288 w 2841"/>
              <a:gd name="T33" fmla="*/ 1372 h 1411"/>
              <a:gd name="T34" fmla="*/ 1310 w 2841"/>
              <a:gd name="T35" fmla="*/ 1411 h 1411"/>
              <a:gd name="T36" fmla="*/ 2841 w 2841"/>
              <a:gd name="T37" fmla="*/ 1411 h 1411"/>
              <a:gd name="T38" fmla="*/ 2841 w 2841"/>
              <a:gd name="T39" fmla="*/ 72 h 1411"/>
              <a:gd name="T40" fmla="*/ 2769 w 2841"/>
              <a:gd name="T41" fmla="*/ 0 h 1411"/>
              <a:gd name="T42" fmla="*/ 0 w 2841"/>
              <a:gd name="T43" fmla="*/ 0 h 1411"/>
              <a:gd name="T44" fmla="*/ 0 w 2841"/>
              <a:gd name="T45" fmla="*/ 100 h 1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41" h="1411">
                <a:moveTo>
                  <a:pt x="0" y="100"/>
                </a:moveTo>
                <a:cubicBezTo>
                  <a:pt x="17" y="102"/>
                  <a:pt x="33" y="110"/>
                  <a:pt x="45" y="123"/>
                </a:cubicBezTo>
                <a:cubicBezTo>
                  <a:pt x="400" y="509"/>
                  <a:pt x="400" y="509"/>
                  <a:pt x="400" y="509"/>
                </a:cubicBezTo>
                <a:cubicBezTo>
                  <a:pt x="424" y="534"/>
                  <a:pt x="418" y="556"/>
                  <a:pt x="414" y="564"/>
                </a:cubicBezTo>
                <a:cubicBezTo>
                  <a:pt x="411" y="572"/>
                  <a:pt x="399" y="591"/>
                  <a:pt x="364" y="591"/>
                </a:cubicBezTo>
                <a:cubicBezTo>
                  <a:pt x="271" y="591"/>
                  <a:pt x="271" y="591"/>
                  <a:pt x="271" y="591"/>
                </a:cubicBezTo>
                <a:cubicBezTo>
                  <a:pt x="260" y="591"/>
                  <a:pt x="251" y="600"/>
                  <a:pt x="251" y="611"/>
                </a:cubicBezTo>
                <a:cubicBezTo>
                  <a:pt x="251" y="656"/>
                  <a:pt x="251" y="656"/>
                  <a:pt x="251" y="656"/>
                </a:cubicBezTo>
                <a:cubicBezTo>
                  <a:pt x="661" y="656"/>
                  <a:pt x="661" y="656"/>
                  <a:pt x="661" y="656"/>
                </a:cubicBezTo>
                <a:cubicBezTo>
                  <a:pt x="716" y="656"/>
                  <a:pt x="761" y="701"/>
                  <a:pt x="761" y="756"/>
                </a:cubicBezTo>
                <a:cubicBezTo>
                  <a:pt x="761" y="1166"/>
                  <a:pt x="761" y="1166"/>
                  <a:pt x="761" y="1166"/>
                </a:cubicBezTo>
                <a:cubicBezTo>
                  <a:pt x="800" y="1166"/>
                  <a:pt x="800" y="1166"/>
                  <a:pt x="800" y="1166"/>
                </a:cubicBezTo>
                <a:cubicBezTo>
                  <a:pt x="811" y="1166"/>
                  <a:pt x="820" y="1157"/>
                  <a:pt x="820" y="1146"/>
                </a:cubicBezTo>
                <a:cubicBezTo>
                  <a:pt x="820" y="1053"/>
                  <a:pt x="820" y="1053"/>
                  <a:pt x="820" y="1053"/>
                </a:cubicBezTo>
                <a:cubicBezTo>
                  <a:pt x="820" y="1016"/>
                  <a:pt x="842" y="999"/>
                  <a:pt x="863" y="999"/>
                </a:cubicBezTo>
                <a:cubicBezTo>
                  <a:pt x="877" y="999"/>
                  <a:pt x="890" y="1005"/>
                  <a:pt x="902" y="1017"/>
                </a:cubicBezTo>
                <a:cubicBezTo>
                  <a:pt x="1288" y="1372"/>
                  <a:pt x="1288" y="1372"/>
                  <a:pt x="1288" y="1372"/>
                </a:cubicBezTo>
                <a:cubicBezTo>
                  <a:pt x="1300" y="1383"/>
                  <a:pt x="1307" y="1396"/>
                  <a:pt x="1310" y="1411"/>
                </a:cubicBezTo>
                <a:cubicBezTo>
                  <a:pt x="2841" y="1411"/>
                  <a:pt x="2841" y="1411"/>
                  <a:pt x="2841" y="1411"/>
                </a:cubicBezTo>
                <a:cubicBezTo>
                  <a:pt x="2841" y="72"/>
                  <a:pt x="2841" y="72"/>
                  <a:pt x="2841" y="72"/>
                </a:cubicBezTo>
                <a:cubicBezTo>
                  <a:pt x="2841" y="33"/>
                  <a:pt x="2809" y="0"/>
                  <a:pt x="2769" y="0"/>
                </a:cubicBezTo>
                <a:cubicBezTo>
                  <a:pt x="0" y="0"/>
                  <a:pt x="0" y="0"/>
                  <a:pt x="0" y="0"/>
                </a:cubicBezTo>
                <a:lnTo>
                  <a:pt x="0" y="100"/>
                </a:lnTo>
                <a:close/>
              </a:path>
            </a:pathLst>
          </a:custGeom>
          <a:solidFill>
            <a:schemeClr val="accent6"/>
          </a:solidFill>
          <a:ln>
            <a:noFill/>
          </a:ln>
        </p:spPr>
        <p:txBody>
          <a:bodyPr/>
          <a:lstStyle/>
          <a:p>
            <a:pPr>
              <a:defRPr/>
            </a:pPr>
            <a:endParaRPr lang="en-GB" sz="1600" dirty="0">
              <a:latin typeface="+mj-lt"/>
            </a:endParaRPr>
          </a:p>
        </p:txBody>
      </p:sp>
      <p:sp>
        <p:nvSpPr>
          <p:cNvPr id="54" name="Freeform 8">
            <a:extLst>
              <a:ext uri="{FF2B5EF4-FFF2-40B4-BE49-F238E27FC236}">
                <a16:creationId xmlns:a16="http://schemas.microsoft.com/office/drawing/2014/main" xmlns="" id="{0B96D29B-68CD-4725-8DA2-75B278660A19}"/>
              </a:ext>
            </a:extLst>
          </p:cNvPr>
          <p:cNvSpPr>
            <a:spLocks/>
          </p:cNvSpPr>
          <p:nvPr/>
        </p:nvSpPr>
        <p:spPr bwMode="auto">
          <a:xfrm>
            <a:off x="8184355" y="4174180"/>
            <a:ext cx="3655219" cy="1816894"/>
          </a:xfrm>
          <a:custGeom>
            <a:avLst/>
            <a:gdLst>
              <a:gd name="T0" fmla="*/ 1310 w 2841"/>
              <a:gd name="T1" fmla="*/ 0 h 1411"/>
              <a:gd name="T2" fmla="*/ 1288 w 2841"/>
              <a:gd name="T3" fmla="*/ 39 h 1411"/>
              <a:gd name="T4" fmla="*/ 902 w 2841"/>
              <a:gd name="T5" fmla="*/ 395 h 1411"/>
              <a:gd name="T6" fmla="*/ 863 w 2841"/>
              <a:gd name="T7" fmla="*/ 412 h 1411"/>
              <a:gd name="T8" fmla="*/ 863 w 2841"/>
              <a:gd name="T9" fmla="*/ 412 h 1411"/>
              <a:gd name="T10" fmla="*/ 820 w 2841"/>
              <a:gd name="T11" fmla="*/ 359 h 1411"/>
              <a:gd name="T12" fmla="*/ 820 w 2841"/>
              <a:gd name="T13" fmla="*/ 265 h 1411"/>
              <a:gd name="T14" fmla="*/ 800 w 2841"/>
              <a:gd name="T15" fmla="*/ 245 h 1411"/>
              <a:gd name="T16" fmla="*/ 761 w 2841"/>
              <a:gd name="T17" fmla="*/ 245 h 1411"/>
              <a:gd name="T18" fmla="*/ 761 w 2841"/>
              <a:gd name="T19" fmla="*/ 655 h 1411"/>
              <a:gd name="T20" fmla="*/ 661 w 2841"/>
              <a:gd name="T21" fmla="*/ 755 h 1411"/>
              <a:gd name="T22" fmla="*/ 251 w 2841"/>
              <a:gd name="T23" fmla="*/ 755 h 1411"/>
              <a:gd name="T24" fmla="*/ 251 w 2841"/>
              <a:gd name="T25" fmla="*/ 800 h 1411"/>
              <a:gd name="T26" fmla="*/ 271 w 2841"/>
              <a:gd name="T27" fmla="*/ 820 h 1411"/>
              <a:gd name="T28" fmla="*/ 364 w 2841"/>
              <a:gd name="T29" fmla="*/ 820 h 1411"/>
              <a:gd name="T30" fmla="*/ 414 w 2841"/>
              <a:gd name="T31" fmla="*/ 847 h 1411"/>
              <a:gd name="T32" fmla="*/ 400 w 2841"/>
              <a:gd name="T33" fmla="*/ 903 h 1411"/>
              <a:gd name="T34" fmla="*/ 45 w 2841"/>
              <a:gd name="T35" fmla="*/ 1288 h 1411"/>
              <a:gd name="T36" fmla="*/ 0 w 2841"/>
              <a:gd name="T37" fmla="*/ 1312 h 1411"/>
              <a:gd name="T38" fmla="*/ 0 w 2841"/>
              <a:gd name="T39" fmla="*/ 1411 h 1411"/>
              <a:gd name="T40" fmla="*/ 2769 w 2841"/>
              <a:gd name="T41" fmla="*/ 1411 h 1411"/>
              <a:gd name="T42" fmla="*/ 2841 w 2841"/>
              <a:gd name="T43" fmla="*/ 1339 h 1411"/>
              <a:gd name="T44" fmla="*/ 2841 w 2841"/>
              <a:gd name="T45" fmla="*/ 0 h 1411"/>
              <a:gd name="T46" fmla="*/ 1310 w 2841"/>
              <a:gd name="T47" fmla="*/ 0 h 1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41" h="1411">
                <a:moveTo>
                  <a:pt x="1310" y="0"/>
                </a:moveTo>
                <a:cubicBezTo>
                  <a:pt x="1307" y="15"/>
                  <a:pt x="1300" y="29"/>
                  <a:pt x="1288" y="39"/>
                </a:cubicBezTo>
                <a:cubicBezTo>
                  <a:pt x="902" y="395"/>
                  <a:pt x="902" y="395"/>
                  <a:pt x="902" y="395"/>
                </a:cubicBezTo>
                <a:cubicBezTo>
                  <a:pt x="890" y="407"/>
                  <a:pt x="877" y="412"/>
                  <a:pt x="863" y="412"/>
                </a:cubicBezTo>
                <a:cubicBezTo>
                  <a:pt x="863" y="412"/>
                  <a:pt x="863" y="412"/>
                  <a:pt x="863" y="412"/>
                </a:cubicBezTo>
                <a:cubicBezTo>
                  <a:pt x="842" y="412"/>
                  <a:pt x="820" y="396"/>
                  <a:pt x="820" y="359"/>
                </a:cubicBezTo>
                <a:cubicBezTo>
                  <a:pt x="820" y="265"/>
                  <a:pt x="820" y="265"/>
                  <a:pt x="820" y="265"/>
                </a:cubicBezTo>
                <a:cubicBezTo>
                  <a:pt x="820" y="254"/>
                  <a:pt x="811" y="245"/>
                  <a:pt x="800" y="245"/>
                </a:cubicBezTo>
                <a:cubicBezTo>
                  <a:pt x="761" y="245"/>
                  <a:pt x="761" y="245"/>
                  <a:pt x="761" y="245"/>
                </a:cubicBezTo>
                <a:cubicBezTo>
                  <a:pt x="761" y="655"/>
                  <a:pt x="761" y="655"/>
                  <a:pt x="761" y="655"/>
                </a:cubicBezTo>
                <a:cubicBezTo>
                  <a:pt x="761" y="710"/>
                  <a:pt x="716" y="755"/>
                  <a:pt x="661" y="755"/>
                </a:cubicBezTo>
                <a:cubicBezTo>
                  <a:pt x="251" y="755"/>
                  <a:pt x="251" y="755"/>
                  <a:pt x="251" y="755"/>
                </a:cubicBezTo>
                <a:cubicBezTo>
                  <a:pt x="251" y="800"/>
                  <a:pt x="251" y="800"/>
                  <a:pt x="251" y="800"/>
                </a:cubicBezTo>
                <a:cubicBezTo>
                  <a:pt x="251" y="811"/>
                  <a:pt x="260" y="820"/>
                  <a:pt x="271" y="820"/>
                </a:cubicBezTo>
                <a:cubicBezTo>
                  <a:pt x="364" y="820"/>
                  <a:pt x="364" y="820"/>
                  <a:pt x="364" y="820"/>
                </a:cubicBezTo>
                <a:cubicBezTo>
                  <a:pt x="399" y="820"/>
                  <a:pt x="411" y="839"/>
                  <a:pt x="414" y="847"/>
                </a:cubicBezTo>
                <a:cubicBezTo>
                  <a:pt x="418" y="856"/>
                  <a:pt x="424" y="877"/>
                  <a:pt x="400" y="903"/>
                </a:cubicBezTo>
                <a:cubicBezTo>
                  <a:pt x="45" y="1288"/>
                  <a:pt x="45" y="1288"/>
                  <a:pt x="45" y="1288"/>
                </a:cubicBezTo>
                <a:cubicBezTo>
                  <a:pt x="33" y="1302"/>
                  <a:pt x="17" y="1310"/>
                  <a:pt x="0" y="1312"/>
                </a:cubicBezTo>
                <a:cubicBezTo>
                  <a:pt x="0" y="1411"/>
                  <a:pt x="0" y="1411"/>
                  <a:pt x="0" y="1411"/>
                </a:cubicBezTo>
                <a:cubicBezTo>
                  <a:pt x="2769" y="1411"/>
                  <a:pt x="2769" y="1411"/>
                  <a:pt x="2769" y="1411"/>
                </a:cubicBezTo>
                <a:cubicBezTo>
                  <a:pt x="2809" y="1411"/>
                  <a:pt x="2841" y="1378"/>
                  <a:pt x="2841" y="1339"/>
                </a:cubicBezTo>
                <a:cubicBezTo>
                  <a:pt x="2841" y="0"/>
                  <a:pt x="2841" y="0"/>
                  <a:pt x="2841" y="0"/>
                </a:cubicBezTo>
                <a:lnTo>
                  <a:pt x="1310" y="0"/>
                </a:lnTo>
                <a:close/>
              </a:path>
            </a:pathLst>
          </a:custGeom>
          <a:solidFill>
            <a:schemeClr val="accent1">
              <a:lumMod val="60000"/>
              <a:lumOff val="40000"/>
            </a:schemeClr>
          </a:solidFill>
          <a:ln>
            <a:noFill/>
          </a:ln>
        </p:spPr>
        <p:txBody>
          <a:bodyPr/>
          <a:lstStyle/>
          <a:p>
            <a:pPr>
              <a:defRPr/>
            </a:pPr>
            <a:endParaRPr lang="en-GB" sz="1600" dirty="0">
              <a:latin typeface="+mj-lt"/>
            </a:endParaRPr>
          </a:p>
        </p:txBody>
      </p:sp>
      <p:sp>
        <p:nvSpPr>
          <p:cNvPr id="55" name="Freeform 9">
            <a:extLst>
              <a:ext uri="{FF2B5EF4-FFF2-40B4-BE49-F238E27FC236}">
                <a16:creationId xmlns:a16="http://schemas.microsoft.com/office/drawing/2014/main" xmlns="" id="{CB174D17-BF03-4FC9-89B1-CB24E139C26C}"/>
              </a:ext>
            </a:extLst>
          </p:cNvPr>
          <p:cNvSpPr>
            <a:spLocks/>
          </p:cNvSpPr>
          <p:nvPr/>
        </p:nvSpPr>
        <p:spPr bwMode="auto">
          <a:xfrm>
            <a:off x="4491036" y="4174180"/>
            <a:ext cx="3656410" cy="1816894"/>
          </a:xfrm>
          <a:custGeom>
            <a:avLst/>
            <a:gdLst>
              <a:gd name="T0" fmla="*/ 2842 w 2842"/>
              <a:gd name="T1" fmla="*/ 1309 h 1411"/>
              <a:gd name="T2" fmla="*/ 2808 w 2842"/>
              <a:gd name="T3" fmla="*/ 1288 h 1411"/>
              <a:gd name="T4" fmla="*/ 2453 w 2842"/>
              <a:gd name="T5" fmla="*/ 903 h 1411"/>
              <a:gd name="T6" fmla="*/ 2439 w 2842"/>
              <a:gd name="T7" fmla="*/ 847 h 1411"/>
              <a:gd name="T8" fmla="*/ 2489 w 2842"/>
              <a:gd name="T9" fmla="*/ 820 h 1411"/>
              <a:gd name="T10" fmla="*/ 2583 w 2842"/>
              <a:gd name="T11" fmla="*/ 820 h 1411"/>
              <a:gd name="T12" fmla="*/ 2603 w 2842"/>
              <a:gd name="T13" fmla="*/ 800 h 1411"/>
              <a:gd name="T14" fmla="*/ 2603 w 2842"/>
              <a:gd name="T15" fmla="*/ 755 h 1411"/>
              <a:gd name="T16" fmla="*/ 2193 w 2842"/>
              <a:gd name="T17" fmla="*/ 755 h 1411"/>
              <a:gd name="T18" fmla="*/ 2093 w 2842"/>
              <a:gd name="T19" fmla="*/ 655 h 1411"/>
              <a:gd name="T20" fmla="*/ 2093 w 2842"/>
              <a:gd name="T21" fmla="*/ 245 h 1411"/>
              <a:gd name="T22" fmla="*/ 2041 w 2842"/>
              <a:gd name="T23" fmla="*/ 245 h 1411"/>
              <a:gd name="T24" fmla="*/ 2021 w 2842"/>
              <a:gd name="T25" fmla="*/ 265 h 1411"/>
              <a:gd name="T26" fmla="*/ 2021 w 2842"/>
              <a:gd name="T27" fmla="*/ 359 h 1411"/>
              <a:gd name="T28" fmla="*/ 1978 w 2842"/>
              <a:gd name="T29" fmla="*/ 412 h 1411"/>
              <a:gd name="T30" fmla="*/ 1939 w 2842"/>
              <a:gd name="T31" fmla="*/ 395 h 1411"/>
              <a:gd name="T32" fmla="*/ 1553 w 2842"/>
              <a:gd name="T33" fmla="*/ 39 h 1411"/>
              <a:gd name="T34" fmla="*/ 1531 w 2842"/>
              <a:gd name="T35" fmla="*/ 0 h 1411"/>
              <a:gd name="T36" fmla="*/ 0 w 2842"/>
              <a:gd name="T37" fmla="*/ 0 h 1411"/>
              <a:gd name="T38" fmla="*/ 0 w 2842"/>
              <a:gd name="T39" fmla="*/ 1339 h 1411"/>
              <a:gd name="T40" fmla="*/ 72 w 2842"/>
              <a:gd name="T41" fmla="*/ 1411 h 1411"/>
              <a:gd name="T42" fmla="*/ 2842 w 2842"/>
              <a:gd name="T43" fmla="*/ 1411 h 1411"/>
              <a:gd name="T44" fmla="*/ 2842 w 2842"/>
              <a:gd name="T45" fmla="*/ 1309 h 1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42" h="1411">
                <a:moveTo>
                  <a:pt x="2842" y="1309"/>
                </a:moveTo>
                <a:cubicBezTo>
                  <a:pt x="2829" y="1306"/>
                  <a:pt x="2818" y="1299"/>
                  <a:pt x="2808" y="1288"/>
                </a:cubicBezTo>
                <a:cubicBezTo>
                  <a:pt x="2453" y="903"/>
                  <a:pt x="2453" y="903"/>
                  <a:pt x="2453" y="903"/>
                </a:cubicBezTo>
                <a:cubicBezTo>
                  <a:pt x="2430" y="877"/>
                  <a:pt x="2435" y="856"/>
                  <a:pt x="2439" y="847"/>
                </a:cubicBezTo>
                <a:cubicBezTo>
                  <a:pt x="2443" y="839"/>
                  <a:pt x="2455" y="820"/>
                  <a:pt x="2489" y="820"/>
                </a:cubicBezTo>
                <a:cubicBezTo>
                  <a:pt x="2583" y="820"/>
                  <a:pt x="2583" y="820"/>
                  <a:pt x="2583" y="820"/>
                </a:cubicBezTo>
                <a:cubicBezTo>
                  <a:pt x="2594" y="820"/>
                  <a:pt x="2603" y="811"/>
                  <a:pt x="2603" y="800"/>
                </a:cubicBezTo>
                <a:cubicBezTo>
                  <a:pt x="2603" y="755"/>
                  <a:pt x="2603" y="755"/>
                  <a:pt x="2603" y="755"/>
                </a:cubicBezTo>
                <a:cubicBezTo>
                  <a:pt x="2193" y="755"/>
                  <a:pt x="2193" y="755"/>
                  <a:pt x="2193" y="755"/>
                </a:cubicBezTo>
                <a:cubicBezTo>
                  <a:pt x="2137" y="755"/>
                  <a:pt x="2093" y="710"/>
                  <a:pt x="2093" y="655"/>
                </a:cubicBezTo>
                <a:cubicBezTo>
                  <a:pt x="2093" y="245"/>
                  <a:pt x="2093" y="245"/>
                  <a:pt x="2093" y="245"/>
                </a:cubicBezTo>
                <a:cubicBezTo>
                  <a:pt x="2041" y="245"/>
                  <a:pt x="2041" y="245"/>
                  <a:pt x="2041" y="245"/>
                </a:cubicBezTo>
                <a:cubicBezTo>
                  <a:pt x="2030" y="245"/>
                  <a:pt x="2021" y="254"/>
                  <a:pt x="2021" y="265"/>
                </a:cubicBezTo>
                <a:cubicBezTo>
                  <a:pt x="2021" y="359"/>
                  <a:pt x="2021" y="359"/>
                  <a:pt x="2021" y="359"/>
                </a:cubicBezTo>
                <a:cubicBezTo>
                  <a:pt x="2021" y="396"/>
                  <a:pt x="1999" y="412"/>
                  <a:pt x="1978" y="412"/>
                </a:cubicBezTo>
                <a:cubicBezTo>
                  <a:pt x="1965" y="412"/>
                  <a:pt x="1952" y="407"/>
                  <a:pt x="1939" y="395"/>
                </a:cubicBezTo>
                <a:cubicBezTo>
                  <a:pt x="1553" y="39"/>
                  <a:pt x="1553" y="39"/>
                  <a:pt x="1553" y="39"/>
                </a:cubicBezTo>
                <a:cubicBezTo>
                  <a:pt x="1542" y="29"/>
                  <a:pt x="1534" y="15"/>
                  <a:pt x="1531" y="0"/>
                </a:cubicBezTo>
                <a:cubicBezTo>
                  <a:pt x="0" y="0"/>
                  <a:pt x="0" y="0"/>
                  <a:pt x="0" y="0"/>
                </a:cubicBezTo>
                <a:cubicBezTo>
                  <a:pt x="0" y="1339"/>
                  <a:pt x="0" y="1339"/>
                  <a:pt x="0" y="1339"/>
                </a:cubicBezTo>
                <a:cubicBezTo>
                  <a:pt x="0" y="1378"/>
                  <a:pt x="32" y="1411"/>
                  <a:pt x="72" y="1411"/>
                </a:cubicBezTo>
                <a:cubicBezTo>
                  <a:pt x="2842" y="1411"/>
                  <a:pt x="2842" y="1411"/>
                  <a:pt x="2842" y="1411"/>
                </a:cubicBezTo>
                <a:lnTo>
                  <a:pt x="2842" y="1309"/>
                </a:lnTo>
                <a:close/>
              </a:path>
            </a:pathLst>
          </a:custGeom>
          <a:solidFill>
            <a:schemeClr val="accent2"/>
          </a:solidFill>
          <a:ln>
            <a:noFill/>
          </a:ln>
        </p:spPr>
        <p:txBody>
          <a:bodyPr/>
          <a:lstStyle/>
          <a:p>
            <a:pPr>
              <a:defRPr/>
            </a:pPr>
            <a:endParaRPr lang="en-GB" sz="1600" dirty="0">
              <a:latin typeface="+mj-lt"/>
            </a:endParaRPr>
          </a:p>
        </p:txBody>
      </p:sp>
      <p:sp>
        <p:nvSpPr>
          <p:cNvPr id="56" name="TextBox 18">
            <a:extLst>
              <a:ext uri="{FF2B5EF4-FFF2-40B4-BE49-F238E27FC236}">
                <a16:creationId xmlns:a16="http://schemas.microsoft.com/office/drawing/2014/main" xmlns="" id="{8BC7E339-04DD-4117-9101-6AA52641DB03}"/>
              </a:ext>
            </a:extLst>
          </p:cNvPr>
          <p:cNvSpPr txBox="1"/>
          <p:nvPr/>
        </p:nvSpPr>
        <p:spPr>
          <a:xfrm>
            <a:off x="9666967" y="2503434"/>
            <a:ext cx="1730730" cy="954107"/>
          </a:xfrm>
          <a:prstGeom prst="rect">
            <a:avLst/>
          </a:prstGeom>
          <a:noFill/>
        </p:spPr>
        <p:txBody>
          <a:bodyPr wrap="square" rtlCol="0" anchor="ctr" anchorCtr="0">
            <a:spAutoFit/>
          </a:bodyPr>
          <a:lstStyle/>
          <a:p>
            <a:r>
              <a:rPr lang="en-GB" sz="2800" b="1" dirty="0">
                <a:solidFill>
                  <a:schemeClr val="bg1"/>
                </a:solidFill>
                <a:latin typeface="+mj-lt"/>
                <a:ea typeface="League Spartan" charset="0"/>
                <a:cs typeface="Poppins" pitchFamily="2" charset="77"/>
              </a:rPr>
              <a:t>Resiliencia dinámica</a:t>
            </a:r>
          </a:p>
        </p:txBody>
      </p:sp>
      <p:sp>
        <p:nvSpPr>
          <p:cNvPr id="58" name="TextBox 20">
            <a:extLst>
              <a:ext uri="{FF2B5EF4-FFF2-40B4-BE49-F238E27FC236}">
                <a16:creationId xmlns:a16="http://schemas.microsoft.com/office/drawing/2014/main" xmlns="" id="{D96D4866-D21F-4D1E-A1DB-5129730351F8}"/>
              </a:ext>
            </a:extLst>
          </p:cNvPr>
          <p:cNvSpPr txBox="1"/>
          <p:nvPr/>
        </p:nvSpPr>
        <p:spPr>
          <a:xfrm>
            <a:off x="9631691" y="4605573"/>
            <a:ext cx="1591269" cy="954107"/>
          </a:xfrm>
          <a:prstGeom prst="rect">
            <a:avLst/>
          </a:prstGeom>
          <a:noFill/>
        </p:spPr>
        <p:txBody>
          <a:bodyPr wrap="square" rtlCol="0" anchor="ctr" anchorCtr="0">
            <a:spAutoFit/>
          </a:bodyPr>
          <a:lstStyle/>
          <a:p>
            <a:r>
              <a:rPr lang="en-GB" sz="2800" b="1" dirty="0">
                <a:solidFill>
                  <a:schemeClr val="bg1"/>
                </a:solidFill>
                <a:latin typeface="+mj-lt"/>
                <a:ea typeface="League Spartan" charset="0"/>
                <a:cs typeface="Poppins" pitchFamily="2" charset="77"/>
              </a:rPr>
              <a:t>Resiliencia ad hoc</a:t>
            </a:r>
          </a:p>
        </p:txBody>
      </p:sp>
      <p:sp>
        <p:nvSpPr>
          <p:cNvPr id="60" name="TextBox 22">
            <a:extLst>
              <a:ext uri="{FF2B5EF4-FFF2-40B4-BE49-F238E27FC236}">
                <a16:creationId xmlns:a16="http://schemas.microsoft.com/office/drawing/2014/main" xmlns="" id="{A776C29F-8321-43E9-9B9C-1BBF02437CBA}"/>
              </a:ext>
            </a:extLst>
          </p:cNvPr>
          <p:cNvSpPr txBox="1"/>
          <p:nvPr/>
        </p:nvSpPr>
        <p:spPr>
          <a:xfrm>
            <a:off x="4824603" y="2532214"/>
            <a:ext cx="1687450" cy="954107"/>
          </a:xfrm>
          <a:prstGeom prst="rect">
            <a:avLst/>
          </a:prstGeom>
          <a:noFill/>
        </p:spPr>
        <p:txBody>
          <a:bodyPr wrap="square" rtlCol="0" anchor="ctr" anchorCtr="0">
            <a:spAutoFit/>
          </a:bodyPr>
          <a:lstStyle/>
          <a:p>
            <a:pPr algn="r"/>
            <a:r>
              <a:rPr lang="en-GB" sz="2800" b="1" dirty="0">
                <a:solidFill>
                  <a:schemeClr val="bg1"/>
                </a:solidFill>
                <a:latin typeface="+mj-lt"/>
                <a:ea typeface="League Spartan" charset="0"/>
                <a:cs typeface="Poppins" pitchFamily="2" charset="77"/>
              </a:rPr>
              <a:t>Resiliencia planificada</a:t>
            </a:r>
          </a:p>
        </p:txBody>
      </p:sp>
      <p:sp>
        <p:nvSpPr>
          <p:cNvPr id="62" name="TextBox 24">
            <a:extLst>
              <a:ext uri="{FF2B5EF4-FFF2-40B4-BE49-F238E27FC236}">
                <a16:creationId xmlns:a16="http://schemas.microsoft.com/office/drawing/2014/main" xmlns="" id="{89EDA933-87A6-449C-B9DE-7DAB6582DE7C}"/>
              </a:ext>
            </a:extLst>
          </p:cNvPr>
          <p:cNvSpPr txBox="1"/>
          <p:nvPr/>
        </p:nvSpPr>
        <p:spPr>
          <a:xfrm>
            <a:off x="4612811" y="4485900"/>
            <a:ext cx="1869693" cy="954107"/>
          </a:xfrm>
          <a:prstGeom prst="rect">
            <a:avLst/>
          </a:prstGeom>
          <a:noFill/>
        </p:spPr>
        <p:txBody>
          <a:bodyPr wrap="square" rtlCol="0" anchor="ctr" anchorCtr="0">
            <a:spAutoFit/>
          </a:bodyPr>
          <a:lstStyle/>
          <a:p>
            <a:pPr algn="r"/>
            <a:r>
              <a:rPr lang="en-GB" sz="2800" b="1" dirty="0">
                <a:solidFill>
                  <a:schemeClr val="bg1"/>
                </a:solidFill>
                <a:latin typeface="+mj-lt"/>
                <a:ea typeface="League Spartan" charset="0"/>
                <a:cs typeface="Poppins" pitchFamily="2" charset="77"/>
              </a:rPr>
              <a:t>Resiliencia latente</a:t>
            </a:r>
          </a:p>
        </p:txBody>
      </p:sp>
      <p:sp>
        <p:nvSpPr>
          <p:cNvPr id="64" name="TextBox 26">
            <a:extLst>
              <a:ext uri="{FF2B5EF4-FFF2-40B4-BE49-F238E27FC236}">
                <a16:creationId xmlns:a16="http://schemas.microsoft.com/office/drawing/2014/main" xmlns="" id="{88E50221-BD3D-4F48-BB07-C78CB71E58A7}"/>
              </a:ext>
            </a:extLst>
          </p:cNvPr>
          <p:cNvSpPr txBox="1"/>
          <p:nvPr/>
        </p:nvSpPr>
        <p:spPr>
          <a:xfrm>
            <a:off x="7618800" y="3235131"/>
            <a:ext cx="1172861" cy="646331"/>
          </a:xfrm>
          <a:prstGeom prst="rect">
            <a:avLst/>
          </a:prstGeom>
          <a:noFill/>
        </p:spPr>
        <p:txBody>
          <a:bodyPr wrap="square" rtlCol="0" anchor="ctr" anchorCtr="0">
            <a:spAutoFit/>
          </a:bodyPr>
          <a:lstStyle/>
          <a:p>
            <a:pPr algn="ctr"/>
            <a:r>
              <a:rPr lang="en-GB" b="1" dirty="0">
                <a:solidFill>
                  <a:schemeClr val="bg1"/>
                </a:solidFill>
                <a:latin typeface="+mj-lt"/>
                <a:ea typeface="League Spartan" charset="0"/>
                <a:cs typeface="Poppins" pitchFamily="2" charset="77"/>
              </a:rPr>
              <a:t>Tipos de </a:t>
            </a:r>
            <a:br>
              <a:rPr lang="en-GB" b="1" dirty="0">
                <a:solidFill>
                  <a:schemeClr val="bg1"/>
                </a:solidFill>
                <a:latin typeface="+mj-lt"/>
                <a:ea typeface="League Spartan" charset="0"/>
                <a:cs typeface="Poppins" pitchFamily="2" charset="77"/>
              </a:rPr>
            </a:br>
            <a:r>
              <a:rPr lang="en-GB" b="1" dirty="0">
                <a:solidFill>
                  <a:schemeClr val="bg1"/>
                </a:solidFill>
                <a:latin typeface="+mj-lt"/>
                <a:ea typeface="League Spartan" charset="0"/>
                <a:cs typeface="Poppins" pitchFamily="2" charset="77"/>
              </a:rPr>
              <a:t>Resiliencia</a:t>
            </a:r>
          </a:p>
        </p:txBody>
      </p:sp>
      <p:sp>
        <p:nvSpPr>
          <p:cNvPr id="65" name="Subtitle 2">
            <a:extLst>
              <a:ext uri="{FF2B5EF4-FFF2-40B4-BE49-F238E27FC236}">
                <a16:creationId xmlns:a16="http://schemas.microsoft.com/office/drawing/2014/main" xmlns="" id="{63C2CF84-D016-4086-AE4C-F05472C20806}"/>
              </a:ext>
            </a:extLst>
          </p:cNvPr>
          <p:cNvSpPr txBox="1">
            <a:spLocks/>
          </p:cNvSpPr>
          <p:nvPr/>
        </p:nvSpPr>
        <p:spPr>
          <a:xfrm>
            <a:off x="7313258" y="3901486"/>
            <a:ext cx="1709358" cy="1168828"/>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88"/>
              </a:lnSpc>
            </a:pPr>
            <a:r>
              <a:rPr lang="en-GB" sz="1600" dirty="0">
                <a:solidFill>
                  <a:schemeClr val="bg1"/>
                </a:solidFill>
                <a:latin typeface="+mj-lt"/>
                <a:ea typeface="Open Sans Light" panose="020B0306030504020204" pitchFamily="34" charset="0"/>
                <a:cs typeface="Open Sans Light" panose="020B0306030504020204" pitchFamily="34" charset="0"/>
              </a:rPr>
              <a:t>Existen diferentes tipos de resistencia a las crisis según el enfoque de la Planificación Estratégica de Crisis</a:t>
            </a:r>
          </a:p>
        </p:txBody>
      </p:sp>
      <p:cxnSp>
        <p:nvCxnSpPr>
          <p:cNvPr id="66" name="Gerade Verbindung mit Pfeil 65">
            <a:extLst>
              <a:ext uri="{FF2B5EF4-FFF2-40B4-BE49-F238E27FC236}">
                <a16:creationId xmlns:a16="http://schemas.microsoft.com/office/drawing/2014/main" xmlns="" id="{877C61E5-77B9-45A6-BAB7-11B7893E3D02}"/>
              </a:ext>
            </a:extLst>
          </p:cNvPr>
          <p:cNvCxnSpPr>
            <a:cxnSpLocks/>
          </p:cNvCxnSpPr>
          <p:nvPr/>
        </p:nvCxnSpPr>
        <p:spPr>
          <a:xfrm>
            <a:off x="4326936" y="6092678"/>
            <a:ext cx="783020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7" name="TextBox 11">
            <a:extLst>
              <a:ext uri="{FF2B5EF4-FFF2-40B4-BE49-F238E27FC236}">
                <a16:creationId xmlns:a16="http://schemas.microsoft.com/office/drawing/2014/main" xmlns="" id="{A1A97FA1-43DE-4FA8-80B7-17711EC8E184}"/>
              </a:ext>
            </a:extLst>
          </p:cNvPr>
          <p:cNvSpPr txBox="1"/>
          <p:nvPr/>
        </p:nvSpPr>
        <p:spPr>
          <a:xfrm>
            <a:off x="6734524" y="6064438"/>
            <a:ext cx="2861559" cy="338554"/>
          </a:xfrm>
          <a:prstGeom prst="rect">
            <a:avLst/>
          </a:prstGeom>
          <a:noFill/>
        </p:spPr>
        <p:txBody>
          <a:bodyPr wrap="square" rtlCol="0">
            <a:spAutoFit/>
          </a:bodyPr>
          <a:lstStyle>
            <a:defPPr>
              <a:defRPr lang="en-US"/>
            </a:defPPr>
            <a:lvl1pPr>
              <a:defRPr sz="1313">
                <a:latin typeface="+mj-lt"/>
                <a:ea typeface="Lato Light" charset="0"/>
                <a:cs typeface="Lato Light" charset="0"/>
              </a:defRPr>
            </a:lvl1pPr>
          </a:lstStyle>
          <a:p>
            <a:pPr algn="ctr"/>
            <a:r>
              <a:rPr lang="en-GB" sz="1600" b="1"/>
              <a:t>Adaptable </a:t>
            </a:r>
            <a:endParaRPr lang="en-GB" sz="1600" b="1" dirty="0"/>
          </a:p>
        </p:txBody>
      </p:sp>
      <p:sp>
        <p:nvSpPr>
          <p:cNvPr id="68" name="TextBox 11">
            <a:extLst>
              <a:ext uri="{FF2B5EF4-FFF2-40B4-BE49-F238E27FC236}">
                <a16:creationId xmlns:a16="http://schemas.microsoft.com/office/drawing/2014/main" xmlns="" id="{8F0331DC-F04A-4DCE-942E-1551CAC41ACD}"/>
              </a:ext>
            </a:extLst>
          </p:cNvPr>
          <p:cNvSpPr txBox="1"/>
          <p:nvPr/>
        </p:nvSpPr>
        <p:spPr>
          <a:xfrm>
            <a:off x="4757241" y="6062949"/>
            <a:ext cx="2861559" cy="338554"/>
          </a:xfrm>
          <a:prstGeom prst="rect">
            <a:avLst/>
          </a:prstGeom>
          <a:noFill/>
        </p:spPr>
        <p:txBody>
          <a:bodyPr wrap="square" rtlCol="0">
            <a:spAutoFit/>
          </a:bodyPr>
          <a:lstStyle>
            <a:defPPr>
              <a:defRPr lang="en-US"/>
            </a:defPPr>
            <a:lvl1pPr>
              <a:defRPr sz="1313">
                <a:latin typeface="+mj-lt"/>
                <a:ea typeface="Lato Light" charset="0"/>
                <a:cs typeface="Lato Light" charset="0"/>
              </a:defRPr>
            </a:lvl1pPr>
          </a:lstStyle>
          <a:p>
            <a:pPr algn="ctr"/>
            <a:r>
              <a:rPr lang="en-GB" sz="1600" dirty="0"/>
              <a:t>Bajo</a:t>
            </a:r>
          </a:p>
        </p:txBody>
      </p:sp>
      <p:sp>
        <p:nvSpPr>
          <p:cNvPr id="69" name="TextBox 11">
            <a:extLst>
              <a:ext uri="{FF2B5EF4-FFF2-40B4-BE49-F238E27FC236}">
                <a16:creationId xmlns:a16="http://schemas.microsoft.com/office/drawing/2014/main" xmlns="" id="{03C790AD-C07A-441C-9A37-EB16F8A1E8BF}"/>
              </a:ext>
            </a:extLst>
          </p:cNvPr>
          <p:cNvSpPr txBox="1"/>
          <p:nvPr/>
        </p:nvSpPr>
        <p:spPr>
          <a:xfrm>
            <a:off x="8853446" y="6064438"/>
            <a:ext cx="2861559" cy="338554"/>
          </a:xfrm>
          <a:prstGeom prst="rect">
            <a:avLst/>
          </a:prstGeom>
          <a:noFill/>
        </p:spPr>
        <p:txBody>
          <a:bodyPr wrap="square" rtlCol="0">
            <a:spAutoFit/>
          </a:bodyPr>
          <a:lstStyle>
            <a:defPPr>
              <a:defRPr lang="en-US"/>
            </a:defPPr>
            <a:lvl1pPr>
              <a:defRPr sz="1313">
                <a:latin typeface="+mj-lt"/>
                <a:ea typeface="Lato Light" charset="0"/>
                <a:cs typeface="Lato Light" charset="0"/>
              </a:defRPr>
            </a:lvl1pPr>
          </a:lstStyle>
          <a:p>
            <a:pPr algn="ctr"/>
            <a:r>
              <a:rPr lang="en-GB" sz="1600"/>
              <a:t>Alto </a:t>
            </a:r>
            <a:endParaRPr lang="en-GB" sz="1600" dirty="0"/>
          </a:p>
        </p:txBody>
      </p:sp>
      <p:cxnSp>
        <p:nvCxnSpPr>
          <p:cNvPr id="70" name="Gerade Verbindung mit Pfeil 69">
            <a:extLst>
              <a:ext uri="{FF2B5EF4-FFF2-40B4-BE49-F238E27FC236}">
                <a16:creationId xmlns:a16="http://schemas.microsoft.com/office/drawing/2014/main" xmlns="" id="{075A11D6-7129-4E66-BF25-A4588AD23D20}"/>
              </a:ext>
            </a:extLst>
          </p:cNvPr>
          <p:cNvCxnSpPr>
            <a:cxnSpLocks/>
          </p:cNvCxnSpPr>
          <p:nvPr/>
        </p:nvCxnSpPr>
        <p:spPr>
          <a:xfrm flipV="1">
            <a:off x="4326936" y="2163597"/>
            <a:ext cx="0" cy="39290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3" name="TextBox 11">
            <a:extLst>
              <a:ext uri="{FF2B5EF4-FFF2-40B4-BE49-F238E27FC236}">
                <a16:creationId xmlns:a16="http://schemas.microsoft.com/office/drawing/2014/main" xmlns="" id="{96928BDF-9255-4C88-9534-9B87655D5720}"/>
              </a:ext>
            </a:extLst>
          </p:cNvPr>
          <p:cNvSpPr txBox="1"/>
          <p:nvPr/>
        </p:nvSpPr>
        <p:spPr>
          <a:xfrm rot="16200000">
            <a:off x="2760396" y="4004903"/>
            <a:ext cx="2861559" cy="338554"/>
          </a:xfrm>
          <a:prstGeom prst="rect">
            <a:avLst/>
          </a:prstGeom>
          <a:noFill/>
        </p:spPr>
        <p:txBody>
          <a:bodyPr wrap="square" lIns="91440" tIns="45720" rIns="91440" bIns="45720" rtlCol="0" anchor="t">
            <a:spAutoFit/>
          </a:bodyPr>
          <a:lstStyle>
            <a:defPPr>
              <a:defRPr lang="en-US"/>
            </a:defPPr>
            <a:lvl1pPr>
              <a:defRPr sz="1313">
                <a:latin typeface="+mj-lt"/>
                <a:ea typeface="Lato Light" charset="0"/>
                <a:cs typeface="Lato Light" charset="0"/>
              </a:defRPr>
            </a:lvl1pPr>
          </a:lstStyle>
          <a:p>
            <a:pPr algn="ctr"/>
            <a:r>
              <a:rPr lang="en-GB" sz="1600" b="1" dirty="0"/>
              <a:t>Estratégico</a:t>
            </a:r>
          </a:p>
        </p:txBody>
      </p:sp>
      <p:sp>
        <p:nvSpPr>
          <p:cNvPr id="74" name="TextBox 11">
            <a:extLst>
              <a:ext uri="{FF2B5EF4-FFF2-40B4-BE49-F238E27FC236}">
                <a16:creationId xmlns:a16="http://schemas.microsoft.com/office/drawing/2014/main" xmlns="" id="{46166CEA-4FF1-476B-BDB8-34F97BC33AE0}"/>
              </a:ext>
            </a:extLst>
          </p:cNvPr>
          <p:cNvSpPr txBox="1"/>
          <p:nvPr/>
        </p:nvSpPr>
        <p:spPr>
          <a:xfrm rot="16200000">
            <a:off x="2640140" y="4868989"/>
            <a:ext cx="2861559" cy="338554"/>
          </a:xfrm>
          <a:prstGeom prst="rect">
            <a:avLst/>
          </a:prstGeom>
          <a:noFill/>
        </p:spPr>
        <p:txBody>
          <a:bodyPr wrap="square" lIns="91440" tIns="45720" rIns="91440" bIns="45720" rtlCol="0" anchor="t">
            <a:spAutoFit/>
          </a:bodyPr>
          <a:lstStyle>
            <a:defPPr>
              <a:defRPr lang="en-US"/>
            </a:defPPr>
            <a:lvl1pPr>
              <a:defRPr sz="1313">
                <a:latin typeface="+mj-lt"/>
                <a:ea typeface="Lato Light" charset="0"/>
                <a:cs typeface="Lato Light" charset="0"/>
              </a:defRPr>
            </a:lvl1pPr>
          </a:lstStyle>
          <a:p>
            <a:pPr algn="ctr"/>
            <a:r>
              <a:rPr lang="en-GB" sz="1600" dirty="0"/>
              <a:t>Bajo</a:t>
            </a:r>
          </a:p>
        </p:txBody>
      </p:sp>
      <p:sp>
        <p:nvSpPr>
          <p:cNvPr id="75" name="TextBox 11">
            <a:extLst>
              <a:ext uri="{FF2B5EF4-FFF2-40B4-BE49-F238E27FC236}">
                <a16:creationId xmlns:a16="http://schemas.microsoft.com/office/drawing/2014/main" xmlns="" id="{E9C58AC4-6639-4CB2-93ED-9C6C95BB922D}"/>
              </a:ext>
            </a:extLst>
          </p:cNvPr>
          <p:cNvSpPr txBox="1"/>
          <p:nvPr/>
        </p:nvSpPr>
        <p:spPr>
          <a:xfrm rot="16200000">
            <a:off x="2582263" y="2855807"/>
            <a:ext cx="2861559" cy="338554"/>
          </a:xfrm>
          <a:prstGeom prst="rect">
            <a:avLst/>
          </a:prstGeom>
          <a:noFill/>
        </p:spPr>
        <p:txBody>
          <a:bodyPr wrap="square" lIns="91440" tIns="45720" rIns="91440" bIns="45720" rtlCol="0" anchor="t">
            <a:spAutoFit/>
          </a:bodyPr>
          <a:lstStyle>
            <a:defPPr>
              <a:defRPr lang="en-US"/>
            </a:defPPr>
            <a:lvl1pPr>
              <a:defRPr sz="1313">
                <a:latin typeface="+mj-lt"/>
                <a:ea typeface="Lato Light" charset="0"/>
                <a:cs typeface="Lato Light" charset="0"/>
              </a:defRPr>
            </a:lvl1pPr>
          </a:lstStyle>
          <a:p>
            <a:pPr algn="ctr"/>
            <a:r>
              <a:rPr lang="en-GB" sz="1600" dirty="0"/>
              <a:t>Alto</a:t>
            </a:r>
          </a:p>
        </p:txBody>
      </p:sp>
      <p:sp>
        <p:nvSpPr>
          <p:cNvPr id="25" name="TextBox 24">
            <a:extLst>
              <a:ext uri="{FF2B5EF4-FFF2-40B4-BE49-F238E27FC236}">
                <a16:creationId xmlns:a16="http://schemas.microsoft.com/office/drawing/2014/main" xmlns="" id="{4EB6FE0C-FA0C-4B51-A117-720009A35F14}"/>
              </a:ext>
            </a:extLst>
          </p:cNvPr>
          <p:cNvSpPr txBox="1"/>
          <p:nvPr/>
        </p:nvSpPr>
        <p:spPr>
          <a:xfrm>
            <a:off x="200103" y="1795015"/>
            <a:ext cx="3867085" cy="1477328"/>
          </a:xfrm>
          <a:prstGeom prst="rect">
            <a:avLst/>
          </a:prstGeom>
          <a:noFill/>
        </p:spPr>
        <p:txBody>
          <a:bodyPr wrap="square">
            <a:spAutoFit/>
          </a:bodyPr>
          <a:lstStyle/>
          <a:p>
            <a:pPr algn="l">
              <a:lnSpc>
                <a:spcPct val="100000"/>
              </a:lnSpc>
              <a:spcBef>
                <a:spcPts val="600"/>
              </a:spcBef>
            </a:pPr>
            <a:r>
              <a:rPr lang="en-GB" sz="1800" dirty="0">
                <a:solidFill>
                  <a:schemeClr val="tx2"/>
                </a:solidFill>
                <a:latin typeface="+mj-lt"/>
                <a:ea typeface="Open Sans Light" panose="020B0306030504020204" pitchFamily="34" charset="0"/>
                <a:cs typeface="Open Sans Light" panose="020B0306030504020204" pitchFamily="34" charset="0"/>
              </a:rPr>
              <a:t>Para ser resistentes en tiempos de crisis, las organizaciones tienen que sortear un conjunto de aparentes contradicciones que yuxtaponen la </a:t>
            </a:r>
            <a:r>
              <a:rPr lang="en-GB" sz="1800" b="1" dirty="0">
                <a:solidFill>
                  <a:schemeClr val="tx2"/>
                </a:solidFill>
                <a:latin typeface="+mj-lt"/>
                <a:ea typeface="Open Sans Light" panose="020B0306030504020204" pitchFamily="34" charset="0"/>
                <a:cs typeface="Open Sans Light" panose="020B0306030504020204" pitchFamily="34" charset="0"/>
              </a:rPr>
              <a:t>planificación eficaz </a:t>
            </a:r>
            <a:r>
              <a:rPr lang="en-GB" sz="1800" dirty="0">
                <a:solidFill>
                  <a:schemeClr val="tx2"/>
                </a:solidFill>
                <a:latin typeface="+mj-lt"/>
                <a:ea typeface="Open Sans Light" panose="020B0306030504020204" pitchFamily="34" charset="0"/>
                <a:cs typeface="Open Sans Light" panose="020B0306030504020204" pitchFamily="34" charset="0"/>
              </a:rPr>
              <a:t>con la </a:t>
            </a:r>
            <a:r>
              <a:rPr lang="en-GB" sz="1800" b="1" dirty="0">
                <a:solidFill>
                  <a:schemeClr val="tx2"/>
                </a:solidFill>
                <a:latin typeface="+mj-lt"/>
                <a:ea typeface="Open Sans Light" panose="020B0306030504020204" pitchFamily="34" charset="0"/>
                <a:cs typeface="Open Sans Light" panose="020B0306030504020204" pitchFamily="34" charset="0"/>
              </a:rPr>
              <a:t>adaptabilidad a las circunstancias cambiantes</a:t>
            </a:r>
            <a:r>
              <a:rPr lang="en-GB" sz="1800" dirty="0">
                <a:solidFill>
                  <a:schemeClr val="tx2"/>
                </a:solidFill>
                <a:latin typeface="+mj-lt"/>
                <a:ea typeface="Open Sans Light" panose="020B0306030504020204" pitchFamily="34" charset="0"/>
                <a:cs typeface="Open Sans Light" panose="020B0306030504020204" pitchFamily="34" charset="0"/>
              </a:rPr>
              <a:t>, entre ellas: </a:t>
            </a:r>
            <a:endParaRPr lang="en-US" sz="1800" dirty="0">
              <a:solidFill>
                <a:schemeClr val="tx2"/>
              </a:solidFill>
            </a:endParaRPr>
          </a:p>
        </p:txBody>
      </p:sp>
    </p:spTree>
    <p:extLst>
      <p:ext uri="{BB962C8B-B14F-4D97-AF65-F5344CB8AC3E}">
        <p14:creationId xmlns:p14="http://schemas.microsoft.com/office/powerpoint/2010/main" val="28526960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D826129A-702D-4A96-87C5-ABC7105668F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122"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a16="http://schemas.microsoft.com/office/drawing/2014/main" xmlns=""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132980" y="542021"/>
            <a:ext cx="8852375" cy="697353"/>
          </a:xfrm>
        </p:spPr>
        <p:txBody>
          <a:bodyPr>
            <a:normAutofit/>
          </a:bodyPr>
          <a:lstStyle/>
          <a:p>
            <a:r>
              <a:rPr lang="en-GB" dirty="0"/>
              <a:t>Conceptualización de la resiliencia organizativa</a:t>
            </a:r>
          </a:p>
        </p:txBody>
      </p:sp>
      <p:sp>
        <p:nvSpPr>
          <p:cNvPr id="95" name="Subtitle 2">
            <a:extLst>
              <a:ext uri="{FF2B5EF4-FFF2-40B4-BE49-F238E27FC236}">
                <a16:creationId xmlns:a16="http://schemas.microsoft.com/office/drawing/2014/main" xmlns="" id="{80CD9C37-64A6-4D5D-8180-A277C0BF7767}"/>
              </a:ext>
            </a:extLst>
          </p:cNvPr>
          <p:cNvSpPr txBox="1">
            <a:spLocks/>
          </p:cNvSpPr>
          <p:nvPr/>
        </p:nvSpPr>
        <p:spPr>
          <a:xfrm>
            <a:off x="68002" y="1870968"/>
            <a:ext cx="3668469" cy="4822138"/>
          </a:xfrm>
          <a:prstGeom prst="rect">
            <a:avLst/>
          </a:prstGeom>
        </p:spPr>
        <p:txBody>
          <a:bodyPr vert="horz" wrap="square" lIns="81580" tIns="40791" rIns="81580" bIns="4079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latin typeface="+mj-lt"/>
                <a:ea typeface="Open Sans Light" panose="020B0306030504020204" pitchFamily="34" charset="0"/>
                <a:cs typeface="Open Sans Light" panose="020B0306030504020204" pitchFamily="34" charset="0"/>
              </a:rPr>
              <a:t>Resiliencia significa responder eficazmente a los eventos adversos, no sólo después de los eventos adversos, sino también antes, durante y después. </a:t>
            </a:r>
            <a:endParaRPr lang="en-US" sz="1800" dirty="0"/>
          </a:p>
          <a:p>
            <a:pPr marL="342900" indent="-342900" algn="l">
              <a:lnSpc>
                <a:spcPct val="100000"/>
              </a:lnSpc>
              <a:spcBef>
                <a:spcPts val="600"/>
              </a:spcBef>
              <a:buAutoNum type="arabicParenBoth"/>
            </a:pPr>
            <a:r>
              <a:rPr lang="en-GB" sz="1800" dirty="0">
                <a:latin typeface="+mj-lt"/>
                <a:ea typeface="Open Sans Light" panose="020B0306030504020204" pitchFamily="34" charset="0"/>
                <a:cs typeface="Open Sans Light" panose="020B0306030504020204" pitchFamily="34" charset="0"/>
              </a:rPr>
              <a:t>la primera etapa del proceso de resiliencia se refiere al intento de anticiparse a los acontecimientos críticos y a las posibles amenazas y estar preparado</a:t>
            </a:r>
          </a:p>
          <a:p>
            <a:pPr marL="342900" indent="-342900" algn="l">
              <a:lnSpc>
                <a:spcPct val="100000"/>
              </a:lnSpc>
              <a:spcBef>
                <a:spcPts val="600"/>
              </a:spcBef>
              <a:buAutoNum type="arabicParenBoth"/>
            </a:pPr>
            <a:r>
              <a:rPr lang="en-GB" sz="1800" dirty="0">
                <a:latin typeface="+mj-lt"/>
                <a:ea typeface="Open Sans Light" panose="020B0306030504020204" pitchFamily="34" charset="0"/>
                <a:cs typeface="Open Sans Light" panose="020B0306030504020204" pitchFamily="34" charset="0"/>
              </a:rPr>
              <a:t>Más allá de eso, una respuesta ofensiva comprende un afrontamiento intencionado durante situaciones críticas</a:t>
            </a:r>
          </a:p>
          <a:p>
            <a:pPr marL="342900" indent="-342900" algn="l">
              <a:lnSpc>
                <a:spcPct val="100000"/>
              </a:lnSpc>
              <a:spcBef>
                <a:spcPts val="600"/>
              </a:spcBef>
              <a:buAutoNum type="arabicParenBoth"/>
            </a:pPr>
            <a:r>
              <a:rPr lang="en-GB" sz="1800" dirty="0">
                <a:latin typeface="+mj-lt"/>
                <a:ea typeface="Open Sans Light" panose="020B0306030504020204" pitchFamily="34" charset="0"/>
                <a:cs typeface="Open Sans Light" panose="020B0306030504020204" pitchFamily="34" charset="0"/>
              </a:rPr>
              <a:t>así como una adecuada adaptación, transformación y aprendizaje después de que se produzcan situaciones críticas</a:t>
            </a:r>
          </a:p>
          <a:p>
            <a:pPr marL="342900" indent="-342900" algn="l">
              <a:lnSpc>
                <a:spcPct val="100000"/>
              </a:lnSpc>
              <a:spcBef>
                <a:spcPts val="600"/>
              </a:spcBef>
              <a:buAutoNum type="arabicParenBoth"/>
            </a:pPr>
            <a:endParaRPr lang="en-GB" sz="1800" dirty="0">
              <a:latin typeface="+mj-lt"/>
              <a:ea typeface="Open Sans Light" panose="020B0306030504020204" pitchFamily="34" charset="0"/>
              <a:cs typeface="Open Sans Light" panose="020B0306030504020204" pitchFamily="34" charset="0"/>
            </a:endParaRPr>
          </a:p>
        </p:txBody>
      </p:sp>
      <p:sp>
        <p:nvSpPr>
          <p:cNvPr id="3" name="Rechteck 2">
            <a:extLst>
              <a:ext uri="{FF2B5EF4-FFF2-40B4-BE49-F238E27FC236}">
                <a16:creationId xmlns:a16="http://schemas.microsoft.com/office/drawing/2014/main" xmlns="" id="{D4F782D4-83E6-47F6-B648-B730FE8AB97A}"/>
              </a:ext>
            </a:extLst>
          </p:cNvPr>
          <p:cNvSpPr/>
          <p:nvPr/>
        </p:nvSpPr>
        <p:spPr>
          <a:xfrm>
            <a:off x="5458854" y="2172931"/>
            <a:ext cx="6442842" cy="295502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600" b="1">
                <a:solidFill>
                  <a:schemeClr val="tx1"/>
                </a:solidFill>
              </a:rPr>
              <a:t>Resiliencia organizativa</a:t>
            </a:r>
            <a:endParaRPr lang="en-GB" sz="1600" b="1" dirty="0">
              <a:solidFill>
                <a:schemeClr val="tx1"/>
              </a:solidFill>
            </a:endParaRPr>
          </a:p>
        </p:txBody>
      </p:sp>
      <p:sp>
        <p:nvSpPr>
          <p:cNvPr id="25" name="Rechteck 24">
            <a:extLst>
              <a:ext uri="{FF2B5EF4-FFF2-40B4-BE49-F238E27FC236}">
                <a16:creationId xmlns:a16="http://schemas.microsoft.com/office/drawing/2014/main" xmlns="" id="{A52AC1FA-C6A3-4AFC-8C88-18110DCAD6A3}"/>
              </a:ext>
            </a:extLst>
          </p:cNvPr>
          <p:cNvSpPr/>
          <p:nvPr/>
        </p:nvSpPr>
        <p:spPr>
          <a:xfrm>
            <a:off x="5611254" y="2757905"/>
            <a:ext cx="1665890" cy="2155693"/>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600" b="1">
                <a:solidFill>
                  <a:schemeClr val="tx1"/>
                </a:solidFill>
              </a:rPr>
              <a:t>Anticipación</a:t>
            </a:r>
            <a:br>
              <a:rPr lang="en-GB" sz="1600" b="1">
                <a:solidFill>
                  <a:schemeClr val="tx1"/>
                </a:solidFill>
              </a:rPr>
            </a:br>
            <a:r>
              <a:rPr lang="en-GB" sz="1600">
                <a:solidFill>
                  <a:schemeClr val="tx1"/>
                </a:solidFill>
              </a:rPr>
              <a:t>Acción proactiva</a:t>
            </a:r>
            <a:br>
              <a:rPr lang="en-GB" sz="1600">
                <a:solidFill>
                  <a:schemeClr val="tx1"/>
                </a:solidFill>
              </a:rPr>
            </a:br>
            <a:endParaRPr lang="en-GB" sz="1600" b="1">
              <a:solidFill>
                <a:schemeClr val="tx1"/>
              </a:solidFill>
            </a:endParaRPr>
          </a:p>
          <a:p>
            <a:pPr algn="ctr"/>
            <a:r>
              <a:rPr lang="en-GB" sz="1600" i="1">
                <a:solidFill>
                  <a:schemeClr val="bg1"/>
                </a:solidFill>
                <a:highlight>
                  <a:srgbClr val="808080"/>
                </a:highlight>
              </a:rPr>
              <a:t>Observación e identificación</a:t>
            </a:r>
          </a:p>
          <a:p>
            <a:pPr algn="ctr"/>
            <a:endParaRPr lang="en-GB" sz="1600" i="1">
              <a:solidFill>
                <a:schemeClr val="tx1"/>
              </a:solidFill>
            </a:endParaRPr>
          </a:p>
          <a:p>
            <a:pPr algn="ctr"/>
            <a:r>
              <a:rPr lang="en-GB" sz="1600">
                <a:solidFill>
                  <a:schemeClr val="bg1"/>
                </a:solidFill>
                <a:highlight>
                  <a:srgbClr val="008080"/>
                </a:highlight>
              </a:rPr>
              <a:t>Preparación</a:t>
            </a:r>
          </a:p>
          <a:p>
            <a:pPr algn="ctr"/>
            <a:endParaRPr lang="en-GB" sz="1600">
              <a:solidFill>
                <a:schemeClr val="tx1"/>
              </a:solidFill>
            </a:endParaRPr>
          </a:p>
          <a:p>
            <a:pPr algn="ctr"/>
            <a:endParaRPr lang="en-GB" sz="1600" dirty="0">
              <a:solidFill>
                <a:schemeClr val="tx1"/>
              </a:solidFill>
            </a:endParaRPr>
          </a:p>
        </p:txBody>
      </p:sp>
      <p:sp>
        <p:nvSpPr>
          <p:cNvPr id="28" name="Rechteck 27">
            <a:extLst>
              <a:ext uri="{FF2B5EF4-FFF2-40B4-BE49-F238E27FC236}">
                <a16:creationId xmlns:a16="http://schemas.microsoft.com/office/drawing/2014/main" xmlns="" id="{A8D7A17A-3276-4F6F-913E-925E356BB83A}"/>
              </a:ext>
            </a:extLst>
          </p:cNvPr>
          <p:cNvSpPr/>
          <p:nvPr/>
        </p:nvSpPr>
        <p:spPr>
          <a:xfrm>
            <a:off x="7847330" y="2757938"/>
            <a:ext cx="1665890" cy="2155693"/>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600" b="1">
                <a:solidFill>
                  <a:schemeClr val="tx1"/>
                </a:solidFill>
              </a:rPr>
              <a:t>Cómo hacer frente a la situación</a:t>
            </a:r>
            <a:br>
              <a:rPr lang="en-GB" sz="1600" b="1">
                <a:solidFill>
                  <a:schemeClr val="tx1"/>
                </a:solidFill>
              </a:rPr>
            </a:br>
            <a:r>
              <a:rPr lang="en-GB" sz="1600">
                <a:solidFill>
                  <a:schemeClr val="tx1"/>
                </a:solidFill>
              </a:rPr>
              <a:t>Acción concurrente</a:t>
            </a:r>
            <a:endParaRPr lang="en-GB" sz="1600" b="1">
              <a:solidFill>
                <a:schemeClr val="tx1"/>
              </a:solidFill>
            </a:endParaRPr>
          </a:p>
          <a:p>
            <a:pPr algn="ctr"/>
            <a:endParaRPr lang="en-GB" sz="1600" b="1">
              <a:solidFill>
                <a:schemeClr val="tx1"/>
              </a:solidFill>
            </a:endParaRPr>
          </a:p>
          <a:p>
            <a:pPr algn="ctr"/>
            <a:r>
              <a:rPr lang="en-GB" sz="1600" i="1">
                <a:solidFill>
                  <a:schemeClr val="bg1"/>
                </a:solidFill>
                <a:highlight>
                  <a:srgbClr val="808080"/>
                </a:highlight>
              </a:rPr>
              <a:t>Aceptando</a:t>
            </a:r>
          </a:p>
          <a:p>
            <a:pPr algn="ctr"/>
            <a:endParaRPr lang="en-GB" sz="1600" i="1">
              <a:solidFill>
                <a:schemeClr val="tx1"/>
              </a:solidFill>
            </a:endParaRPr>
          </a:p>
          <a:p>
            <a:pPr algn="ctr"/>
            <a:r>
              <a:rPr lang="en-GB" sz="1600">
                <a:solidFill>
                  <a:schemeClr val="bg1"/>
                </a:solidFill>
                <a:highlight>
                  <a:srgbClr val="008080"/>
                </a:highlight>
              </a:rPr>
              <a:t>Desarrollar y aplicar soluciones</a:t>
            </a:r>
          </a:p>
          <a:p>
            <a:pPr algn="ctr"/>
            <a:endParaRPr lang="en-GB" sz="1600">
              <a:solidFill>
                <a:schemeClr val="tx1"/>
              </a:solidFill>
            </a:endParaRPr>
          </a:p>
          <a:p>
            <a:pPr algn="ctr"/>
            <a:endParaRPr lang="en-GB" sz="1600" dirty="0">
              <a:solidFill>
                <a:schemeClr val="tx1"/>
              </a:solidFill>
            </a:endParaRPr>
          </a:p>
        </p:txBody>
      </p:sp>
      <p:sp>
        <p:nvSpPr>
          <p:cNvPr id="29" name="Rechteck 28">
            <a:extLst>
              <a:ext uri="{FF2B5EF4-FFF2-40B4-BE49-F238E27FC236}">
                <a16:creationId xmlns:a16="http://schemas.microsoft.com/office/drawing/2014/main" xmlns="" id="{B2CA2772-2102-4DAF-A2CE-90693F869DDD}"/>
              </a:ext>
            </a:extLst>
          </p:cNvPr>
          <p:cNvSpPr/>
          <p:nvPr/>
        </p:nvSpPr>
        <p:spPr>
          <a:xfrm>
            <a:off x="10083406" y="2757938"/>
            <a:ext cx="1665890" cy="2155693"/>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600" b="1">
                <a:solidFill>
                  <a:schemeClr val="tx1"/>
                </a:solidFill>
              </a:rPr>
              <a:t>Adaptación</a:t>
            </a:r>
            <a:br>
              <a:rPr lang="en-GB" sz="1600" b="1">
                <a:solidFill>
                  <a:schemeClr val="tx1"/>
                </a:solidFill>
              </a:rPr>
            </a:br>
            <a:r>
              <a:rPr lang="en-GB" sz="1600">
                <a:solidFill>
                  <a:schemeClr val="tx1"/>
                </a:solidFill>
              </a:rPr>
              <a:t>Acción reactiva</a:t>
            </a:r>
            <a:endParaRPr lang="en-GB" sz="1600" b="1">
              <a:solidFill>
                <a:schemeClr val="tx1"/>
              </a:solidFill>
            </a:endParaRPr>
          </a:p>
          <a:p>
            <a:pPr algn="ctr"/>
            <a:endParaRPr lang="en-GB" sz="1600" b="1">
              <a:solidFill>
                <a:schemeClr val="tx1"/>
              </a:solidFill>
            </a:endParaRPr>
          </a:p>
          <a:p>
            <a:pPr algn="ctr"/>
            <a:r>
              <a:rPr lang="en-GB" sz="1600" i="1">
                <a:solidFill>
                  <a:schemeClr val="bg1"/>
                </a:solidFill>
                <a:highlight>
                  <a:srgbClr val="808080"/>
                </a:highlight>
              </a:rPr>
              <a:t>Reflexión y aprendizaje</a:t>
            </a:r>
          </a:p>
          <a:p>
            <a:pPr algn="ctr"/>
            <a:endParaRPr lang="en-GB" sz="1600" i="1">
              <a:solidFill>
                <a:schemeClr val="bg1"/>
              </a:solidFill>
            </a:endParaRPr>
          </a:p>
          <a:p>
            <a:pPr algn="ctr"/>
            <a:r>
              <a:rPr lang="en-GB" sz="1600">
                <a:solidFill>
                  <a:schemeClr val="bg1"/>
                </a:solidFill>
                <a:highlight>
                  <a:srgbClr val="008080"/>
                </a:highlight>
              </a:rPr>
              <a:t>Cambiar</a:t>
            </a:r>
          </a:p>
          <a:p>
            <a:pPr algn="ctr"/>
            <a:endParaRPr lang="en-GB" sz="1600">
              <a:solidFill>
                <a:schemeClr val="tx1"/>
              </a:solidFill>
            </a:endParaRPr>
          </a:p>
          <a:p>
            <a:pPr algn="ctr"/>
            <a:endParaRPr lang="en-GB" sz="1600" dirty="0">
              <a:solidFill>
                <a:schemeClr val="tx1"/>
              </a:solidFill>
            </a:endParaRPr>
          </a:p>
        </p:txBody>
      </p:sp>
      <p:sp>
        <p:nvSpPr>
          <p:cNvPr id="5" name="Textfeld 4">
            <a:extLst>
              <a:ext uri="{FF2B5EF4-FFF2-40B4-BE49-F238E27FC236}">
                <a16:creationId xmlns:a16="http://schemas.microsoft.com/office/drawing/2014/main" xmlns="" id="{117282F0-5B6F-4970-83C3-4DDF486F9492}"/>
              </a:ext>
            </a:extLst>
          </p:cNvPr>
          <p:cNvSpPr txBox="1"/>
          <p:nvPr/>
        </p:nvSpPr>
        <p:spPr>
          <a:xfrm>
            <a:off x="3475493" y="5567525"/>
            <a:ext cx="2083675" cy="338554"/>
          </a:xfrm>
          <a:prstGeom prst="rect">
            <a:avLst/>
          </a:prstGeom>
          <a:noFill/>
        </p:spPr>
        <p:txBody>
          <a:bodyPr wrap="square" rtlCol="0">
            <a:spAutoFit/>
          </a:bodyPr>
          <a:lstStyle/>
          <a:p>
            <a:pPr algn="ctr"/>
            <a:r>
              <a:rPr lang="en-GB" sz="1600">
                <a:solidFill>
                  <a:schemeClr val="bg1"/>
                </a:solidFill>
                <a:highlight>
                  <a:srgbClr val="808080"/>
                </a:highlight>
              </a:rPr>
              <a:t>Acción cognitiva</a:t>
            </a:r>
            <a:endParaRPr lang="en-GB" sz="1600" dirty="0">
              <a:solidFill>
                <a:schemeClr val="bg1"/>
              </a:solidFill>
              <a:highlight>
                <a:srgbClr val="808080"/>
              </a:highlight>
            </a:endParaRPr>
          </a:p>
        </p:txBody>
      </p:sp>
      <p:sp>
        <p:nvSpPr>
          <p:cNvPr id="32" name="Textfeld 31">
            <a:extLst>
              <a:ext uri="{FF2B5EF4-FFF2-40B4-BE49-F238E27FC236}">
                <a16:creationId xmlns:a16="http://schemas.microsoft.com/office/drawing/2014/main" xmlns="" id="{2552AB53-DBB8-4752-832D-B037432D8ABD}"/>
              </a:ext>
            </a:extLst>
          </p:cNvPr>
          <p:cNvSpPr txBox="1"/>
          <p:nvPr/>
        </p:nvSpPr>
        <p:spPr>
          <a:xfrm>
            <a:off x="3383860" y="6258480"/>
            <a:ext cx="2083675" cy="338554"/>
          </a:xfrm>
          <a:prstGeom prst="rect">
            <a:avLst/>
          </a:prstGeom>
          <a:noFill/>
        </p:spPr>
        <p:txBody>
          <a:bodyPr wrap="square" rtlCol="0">
            <a:spAutoFit/>
          </a:bodyPr>
          <a:lstStyle/>
          <a:p>
            <a:pPr algn="ctr"/>
            <a:r>
              <a:rPr lang="en-GB" sz="1600">
                <a:solidFill>
                  <a:schemeClr val="bg1"/>
                </a:solidFill>
                <a:highlight>
                  <a:srgbClr val="008080"/>
                </a:highlight>
              </a:rPr>
              <a:t>Acción conductual</a:t>
            </a:r>
            <a:endParaRPr lang="en-GB" sz="1600" dirty="0">
              <a:solidFill>
                <a:schemeClr val="bg1"/>
              </a:solidFill>
              <a:highlight>
                <a:srgbClr val="008080"/>
              </a:highlight>
            </a:endParaRPr>
          </a:p>
        </p:txBody>
      </p:sp>
      <p:sp>
        <p:nvSpPr>
          <p:cNvPr id="33" name="Rechteck 32">
            <a:extLst>
              <a:ext uri="{FF2B5EF4-FFF2-40B4-BE49-F238E27FC236}">
                <a16:creationId xmlns:a16="http://schemas.microsoft.com/office/drawing/2014/main" xmlns="" id="{3B43AF34-1934-4F61-A6A9-2540C7121A5C}"/>
              </a:ext>
            </a:extLst>
          </p:cNvPr>
          <p:cNvSpPr/>
          <p:nvPr/>
        </p:nvSpPr>
        <p:spPr>
          <a:xfrm>
            <a:off x="3660271" y="2757938"/>
            <a:ext cx="1665890" cy="215569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a:solidFill>
                  <a:schemeClr val="tx1"/>
                </a:solidFill>
              </a:rPr>
              <a:t>Base de conocimientos previos</a:t>
            </a:r>
            <a:endParaRPr lang="en-GB" sz="1600">
              <a:solidFill>
                <a:schemeClr val="tx1"/>
              </a:solidFill>
            </a:endParaRPr>
          </a:p>
          <a:p>
            <a:pPr algn="ctr"/>
            <a:endParaRPr lang="en-GB" sz="1600" dirty="0">
              <a:solidFill>
                <a:schemeClr val="tx1"/>
              </a:solidFill>
            </a:endParaRPr>
          </a:p>
        </p:txBody>
      </p:sp>
      <p:cxnSp>
        <p:nvCxnSpPr>
          <p:cNvPr id="8" name="Verbinder: gewinkelt 7">
            <a:extLst>
              <a:ext uri="{FF2B5EF4-FFF2-40B4-BE49-F238E27FC236}">
                <a16:creationId xmlns:a16="http://schemas.microsoft.com/office/drawing/2014/main" xmlns="" id="{0A1DADB7-293D-4A69-A5A3-4AB3B1A32DF8}"/>
              </a:ext>
            </a:extLst>
          </p:cNvPr>
          <p:cNvCxnSpPr>
            <a:cxnSpLocks/>
          </p:cNvCxnSpPr>
          <p:nvPr/>
        </p:nvCxnSpPr>
        <p:spPr>
          <a:xfrm flipH="1">
            <a:off x="4493216" y="3650444"/>
            <a:ext cx="7408480" cy="1263187"/>
          </a:xfrm>
          <a:prstGeom prst="bentConnector4">
            <a:avLst>
              <a:gd name="adj1" fmla="val -3086"/>
              <a:gd name="adj2" fmla="val 135064"/>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1" name="Gerade Verbindung mit Pfeil 10">
            <a:extLst>
              <a:ext uri="{FF2B5EF4-FFF2-40B4-BE49-F238E27FC236}">
                <a16:creationId xmlns:a16="http://schemas.microsoft.com/office/drawing/2014/main" xmlns="" id="{A69A6A17-265D-4D5F-9CEF-C0ED4724A32F}"/>
              </a:ext>
            </a:extLst>
          </p:cNvPr>
          <p:cNvCxnSpPr>
            <a:cxnSpLocks/>
          </p:cNvCxnSpPr>
          <p:nvPr/>
        </p:nvCxnSpPr>
        <p:spPr>
          <a:xfrm flipV="1">
            <a:off x="5326161" y="3835752"/>
            <a:ext cx="285093" cy="33"/>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1" name="Gerade Verbindung mit Pfeil 40">
            <a:extLst>
              <a:ext uri="{FF2B5EF4-FFF2-40B4-BE49-F238E27FC236}">
                <a16:creationId xmlns:a16="http://schemas.microsoft.com/office/drawing/2014/main" xmlns="" id="{77C20A78-59CF-43AE-AA43-B113E70F929D}"/>
              </a:ext>
            </a:extLst>
          </p:cNvPr>
          <p:cNvCxnSpPr>
            <a:cxnSpLocks/>
          </p:cNvCxnSpPr>
          <p:nvPr/>
        </p:nvCxnSpPr>
        <p:spPr>
          <a:xfrm>
            <a:off x="7277144" y="3835752"/>
            <a:ext cx="570186" cy="33"/>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4" name="Gerade Verbindung mit Pfeil 43">
            <a:extLst>
              <a:ext uri="{FF2B5EF4-FFF2-40B4-BE49-F238E27FC236}">
                <a16:creationId xmlns:a16="http://schemas.microsoft.com/office/drawing/2014/main" xmlns="" id="{242B84BF-A7DD-4ACF-B1B5-115E6188F34F}"/>
              </a:ext>
            </a:extLst>
          </p:cNvPr>
          <p:cNvCxnSpPr>
            <a:cxnSpLocks/>
          </p:cNvCxnSpPr>
          <p:nvPr/>
        </p:nvCxnSpPr>
        <p:spPr>
          <a:xfrm>
            <a:off x="9513220" y="3835785"/>
            <a:ext cx="570186"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47" name="Gerade Verbindung mit Pfeil 46">
            <a:extLst>
              <a:ext uri="{FF2B5EF4-FFF2-40B4-BE49-F238E27FC236}">
                <a16:creationId xmlns:a16="http://schemas.microsoft.com/office/drawing/2014/main" xmlns="" id="{26F99E2D-35C1-4AAF-A86D-CC8FF0AA9AFB}"/>
              </a:ext>
            </a:extLst>
          </p:cNvPr>
          <p:cNvCxnSpPr>
            <a:cxnSpLocks/>
          </p:cNvCxnSpPr>
          <p:nvPr/>
        </p:nvCxnSpPr>
        <p:spPr>
          <a:xfrm flipH="1" flipV="1">
            <a:off x="9513220" y="4001496"/>
            <a:ext cx="559019" cy="1"/>
          </a:xfrm>
          <a:prstGeom prst="straightConnector1">
            <a:avLst/>
          </a:prstGeom>
          <a:ln w="190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0" name="Gerade Verbindung mit Pfeil 49">
            <a:extLst>
              <a:ext uri="{FF2B5EF4-FFF2-40B4-BE49-F238E27FC236}">
                <a16:creationId xmlns:a16="http://schemas.microsoft.com/office/drawing/2014/main" xmlns="" id="{D1E18446-2DD8-49E4-A30D-5D2930234BAB}"/>
              </a:ext>
            </a:extLst>
          </p:cNvPr>
          <p:cNvCxnSpPr>
            <a:cxnSpLocks/>
          </p:cNvCxnSpPr>
          <p:nvPr/>
        </p:nvCxnSpPr>
        <p:spPr>
          <a:xfrm flipH="1" flipV="1">
            <a:off x="7277144" y="4001497"/>
            <a:ext cx="559019" cy="1"/>
          </a:xfrm>
          <a:prstGeom prst="straightConnector1">
            <a:avLst/>
          </a:prstGeom>
          <a:ln w="190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7" name="Gerade Verbindung mit Pfeil 56">
            <a:extLst>
              <a:ext uri="{FF2B5EF4-FFF2-40B4-BE49-F238E27FC236}">
                <a16:creationId xmlns:a16="http://schemas.microsoft.com/office/drawing/2014/main" xmlns="" id="{6A5E843C-7426-478D-8AE8-840C7E285146}"/>
              </a:ext>
            </a:extLst>
          </p:cNvPr>
          <p:cNvCxnSpPr>
            <a:cxnSpLocks/>
          </p:cNvCxnSpPr>
          <p:nvPr/>
        </p:nvCxnSpPr>
        <p:spPr>
          <a:xfrm>
            <a:off x="6636013" y="4913631"/>
            <a:ext cx="0" cy="445512"/>
          </a:xfrm>
          <a:prstGeom prst="straightConnector1">
            <a:avLst/>
          </a:prstGeom>
          <a:ln w="19050">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9" name="Gerade Verbindung mit Pfeil 58">
            <a:extLst>
              <a:ext uri="{FF2B5EF4-FFF2-40B4-BE49-F238E27FC236}">
                <a16:creationId xmlns:a16="http://schemas.microsoft.com/office/drawing/2014/main" xmlns="" id="{9F05DBE8-CB7D-418B-9D96-011183EFA1FA}"/>
              </a:ext>
            </a:extLst>
          </p:cNvPr>
          <p:cNvCxnSpPr>
            <a:cxnSpLocks/>
          </p:cNvCxnSpPr>
          <p:nvPr/>
        </p:nvCxnSpPr>
        <p:spPr>
          <a:xfrm>
            <a:off x="8911502" y="4913631"/>
            <a:ext cx="0" cy="445545"/>
          </a:xfrm>
          <a:prstGeom prst="straightConnector1">
            <a:avLst/>
          </a:prstGeom>
          <a:ln w="19050">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1" name="Gerade Verbindung mit Pfeil 60">
            <a:extLst>
              <a:ext uri="{FF2B5EF4-FFF2-40B4-BE49-F238E27FC236}">
                <a16:creationId xmlns:a16="http://schemas.microsoft.com/office/drawing/2014/main" xmlns="" id="{680416D8-F20F-47FA-A019-286037BD9F41}"/>
              </a:ext>
            </a:extLst>
          </p:cNvPr>
          <p:cNvCxnSpPr>
            <a:cxnSpLocks/>
          </p:cNvCxnSpPr>
          <p:nvPr/>
        </p:nvCxnSpPr>
        <p:spPr>
          <a:xfrm>
            <a:off x="11144951" y="4913631"/>
            <a:ext cx="0" cy="445545"/>
          </a:xfrm>
          <a:prstGeom prst="straightConnector1">
            <a:avLst/>
          </a:prstGeom>
          <a:ln w="19050">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3" name="Ellipse 22">
            <a:extLst>
              <a:ext uri="{FF2B5EF4-FFF2-40B4-BE49-F238E27FC236}">
                <a16:creationId xmlns:a16="http://schemas.microsoft.com/office/drawing/2014/main" xmlns="" id="{20DB5987-3161-47BF-847F-7D77C4F428A5}"/>
              </a:ext>
            </a:extLst>
          </p:cNvPr>
          <p:cNvSpPr/>
          <p:nvPr/>
        </p:nvSpPr>
        <p:spPr>
          <a:xfrm>
            <a:off x="5611254" y="5589539"/>
            <a:ext cx="1665890" cy="52194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Disponibilidad de recursos</a:t>
            </a:r>
            <a:endParaRPr lang="en-GB" sz="1600" dirty="0">
              <a:solidFill>
                <a:schemeClr val="tx1"/>
              </a:solidFill>
            </a:endParaRPr>
          </a:p>
        </p:txBody>
      </p:sp>
      <p:sp>
        <p:nvSpPr>
          <p:cNvPr id="63" name="Ellipse 62">
            <a:extLst>
              <a:ext uri="{FF2B5EF4-FFF2-40B4-BE49-F238E27FC236}">
                <a16:creationId xmlns:a16="http://schemas.microsoft.com/office/drawing/2014/main" xmlns="" id="{713701D7-7EB1-447E-A9DB-C0C46A7E394B}"/>
              </a:ext>
            </a:extLst>
          </p:cNvPr>
          <p:cNvSpPr/>
          <p:nvPr/>
        </p:nvSpPr>
        <p:spPr>
          <a:xfrm>
            <a:off x="7847330" y="5589539"/>
            <a:ext cx="1665890" cy="52194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Recursos sociales</a:t>
            </a:r>
            <a:endParaRPr lang="en-GB" sz="1600" dirty="0">
              <a:solidFill>
                <a:schemeClr val="tx1"/>
              </a:solidFill>
            </a:endParaRPr>
          </a:p>
        </p:txBody>
      </p:sp>
      <p:sp>
        <p:nvSpPr>
          <p:cNvPr id="71" name="Ellipse 70">
            <a:extLst>
              <a:ext uri="{FF2B5EF4-FFF2-40B4-BE49-F238E27FC236}">
                <a16:creationId xmlns:a16="http://schemas.microsoft.com/office/drawing/2014/main" xmlns="" id="{3F2CB6CE-7869-49CE-97C4-C126DF6B03F9}"/>
              </a:ext>
            </a:extLst>
          </p:cNvPr>
          <p:cNvSpPr/>
          <p:nvPr/>
        </p:nvSpPr>
        <p:spPr>
          <a:xfrm>
            <a:off x="10073761" y="5589539"/>
            <a:ext cx="1834686" cy="526768"/>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Poder y responsabilidad</a:t>
            </a:r>
            <a:endParaRPr lang="en-GB" sz="1600" dirty="0">
              <a:solidFill>
                <a:schemeClr val="tx1"/>
              </a:solidFill>
            </a:endParaRPr>
          </a:p>
        </p:txBody>
      </p:sp>
      <p:cxnSp>
        <p:nvCxnSpPr>
          <p:cNvPr id="72" name="Gerade Verbindung mit Pfeil 71">
            <a:extLst>
              <a:ext uri="{FF2B5EF4-FFF2-40B4-BE49-F238E27FC236}">
                <a16:creationId xmlns:a16="http://schemas.microsoft.com/office/drawing/2014/main" xmlns="" id="{4422CCBA-8604-42CD-8B13-C083ED3CC3CB}"/>
              </a:ext>
            </a:extLst>
          </p:cNvPr>
          <p:cNvCxnSpPr>
            <a:cxnSpLocks/>
          </p:cNvCxnSpPr>
          <p:nvPr/>
        </p:nvCxnSpPr>
        <p:spPr>
          <a:xfrm flipV="1">
            <a:off x="6444199" y="4913598"/>
            <a:ext cx="0" cy="675941"/>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6" name="Gerade Verbindung mit Pfeil 75">
            <a:extLst>
              <a:ext uri="{FF2B5EF4-FFF2-40B4-BE49-F238E27FC236}">
                <a16:creationId xmlns:a16="http://schemas.microsoft.com/office/drawing/2014/main" xmlns="" id="{95DF6E3F-9223-42CE-8178-0429C2C864F3}"/>
              </a:ext>
            </a:extLst>
          </p:cNvPr>
          <p:cNvCxnSpPr>
            <a:cxnSpLocks/>
          </p:cNvCxnSpPr>
          <p:nvPr/>
        </p:nvCxnSpPr>
        <p:spPr>
          <a:xfrm flipV="1">
            <a:off x="8680275" y="4913631"/>
            <a:ext cx="0" cy="675908"/>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7" name="Gerade Verbindung mit Pfeil 76">
            <a:extLst>
              <a:ext uri="{FF2B5EF4-FFF2-40B4-BE49-F238E27FC236}">
                <a16:creationId xmlns:a16="http://schemas.microsoft.com/office/drawing/2014/main" xmlns="" id="{E8CA57DC-0442-4EB7-B169-397C97EB08F7}"/>
              </a:ext>
            </a:extLst>
          </p:cNvPr>
          <p:cNvCxnSpPr>
            <a:cxnSpLocks/>
          </p:cNvCxnSpPr>
          <p:nvPr/>
        </p:nvCxnSpPr>
        <p:spPr>
          <a:xfrm flipV="1">
            <a:off x="10916351" y="4913631"/>
            <a:ext cx="0" cy="675908"/>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8" name="Gerade Verbindung mit Pfeil 77">
            <a:extLst>
              <a:ext uri="{FF2B5EF4-FFF2-40B4-BE49-F238E27FC236}">
                <a16:creationId xmlns:a16="http://schemas.microsoft.com/office/drawing/2014/main" xmlns="" id="{28AEC609-88AE-46D8-9B69-DDF663B2D71B}"/>
              </a:ext>
            </a:extLst>
          </p:cNvPr>
          <p:cNvCxnSpPr>
            <a:cxnSpLocks/>
          </p:cNvCxnSpPr>
          <p:nvPr/>
        </p:nvCxnSpPr>
        <p:spPr>
          <a:xfrm flipV="1">
            <a:off x="6444199" y="4913631"/>
            <a:ext cx="2236076" cy="675908"/>
          </a:xfrm>
          <a:prstGeom prst="straightConnector1">
            <a:avLst/>
          </a:prstGeom>
          <a:ln w="190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9" name="Gerade Verbindung mit Pfeil 78">
            <a:extLst>
              <a:ext uri="{FF2B5EF4-FFF2-40B4-BE49-F238E27FC236}">
                <a16:creationId xmlns:a16="http://schemas.microsoft.com/office/drawing/2014/main" xmlns="" id="{DDADAC26-8E27-46FE-80AB-4E28D7A5F8C9}"/>
              </a:ext>
            </a:extLst>
          </p:cNvPr>
          <p:cNvCxnSpPr>
            <a:cxnSpLocks/>
          </p:cNvCxnSpPr>
          <p:nvPr/>
        </p:nvCxnSpPr>
        <p:spPr>
          <a:xfrm flipV="1">
            <a:off x="6444199" y="4913631"/>
            <a:ext cx="4472152" cy="675908"/>
          </a:xfrm>
          <a:prstGeom prst="straightConnector1">
            <a:avLst/>
          </a:prstGeom>
          <a:ln w="19050">
            <a:prstDash val="dash"/>
            <a:tailEnd type="triangle"/>
          </a:ln>
        </p:spPr>
        <p:style>
          <a:lnRef idx="1">
            <a:schemeClr val="accent1"/>
          </a:lnRef>
          <a:fillRef idx="0">
            <a:schemeClr val="accent1"/>
          </a:fillRef>
          <a:effectRef idx="0">
            <a:schemeClr val="accent1"/>
          </a:effectRef>
          <a:fontRef idx="minor">
            <a:schemeClr val="tx1"/>
          </a:fontRef>
        </p:style>
      </p:cxnSp>
      <p:cxnSp>
        <p:nvCxnSpPr>
          <p:cNvPr id="93" name="Gerade Verbindung mit Pfeil 92">
            <a:extLst>
              <a:ext uri="{FF2B5EF4-FFF2-40B4-BE49-F238E27FC236}">
                <a16:creationId xmlns:a16="http://schemas.microsoft.com/office/drawing/2014/main" xmlns="" id="{9C1A634F-B90B-48E4-80D5-B5AA84494855}"/>
              </a:ext>
            </a:extLst>
          </p:cNvPr>
          <p:cNvCxnSpPr>
            <a:cxnSpLocks/>
          </p:cNvCxnSpPr>
          <p:nvPr/>
        </p:nvCxnSpPr>
        <p:spPr>
          <a:xfrm>
            <a:off x="4493217" y="5978421"/>
            <a:ext cx="0" cy="280059"/>
          </a:xfrm>
          <a:prstGeom prst="straightConnector1">
            <a:avLst/>
          </a:prstGeom>
          <a:ln w="19050">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99" name="Textfeld 98">
            <a:extLst>
              <a:ext uri="{FF2B5EF4-FFF2-40B4-BE49-F238E27FC236}">
                <a16:creationId xmlns:a16="http://schemas.microsoft.com/office/drawing/2014/main" xmlns="" id="{C13D6C72-DBFC-40E6-B5BA-EBF6B0F2BC4E}"/>
              </a:ext>
            </a:extLst>
          </p:cNvPr>
          <p:cNvSpPr txBox="1"/>
          <p:nvPr/>
        </p:nvSpPr>
        <p:spPr>
          <a:xfrm>
            <a:off x="5402361" y="2436043"/>
            <a:ext cx="2083675" cy="338554"/>
          </a:xfrm>
          <a:prstGeom prst="rect">
            <a:avLst/>
          </a:prstGeom>
          <a:noFill/>
        </p:spPr>
        <p:txBody>
          <a:bodyPr wrap="square" rtlCol="0">
            <a:spAutoFit/>
          </a:bodyPr>
          <a:lstStyle/>
          <a:p>
            <a:pPr algn="ctr"/>
            <a:r>
              <a:rPr lang="en-GB" sz="1600"/>
              <a:t>Antes de la crisis </a:t>
            </a:r>
            <a:endParaRPr lang="en-GB" sz="1600" dirty="0"/>
          </a:p>
        </p:txBody>
      </p:sp>
      <p:sp>
        <p:nvSpPr>
          <p:cNvPr id="100" name="Textfeld 99">
            <a:extLst>
              <a:ext uri="{FF2B5EF4-FFF2-40B4-BE49-F238E27FC236}">
                <a16:creationId xmlns:a16="http://schemas.microsoft.com/office/drawing/2014/main" xmlns="" id="{23DC280A-5A0E-40BF-B5B1-60B82D744287}"/>
              </a:ext>
            </a:extLst>
          </p:cNvPr>
          <p:cNvSpPr txBox="1"/>
          <p:nvPr/>
        </p:nvSpPr>
        <p:spPr>
          <a:xfrm>
            <a:off x="7638437" y="2436043"/>
            <a:ext cx="2083675" cy="338554"/>
          </a:xfrm>
          <a:prstGeom prst="rect">
            <a:avLst/>
          </a:prstGeom>
          <a:noFill/>
        </p:spPr>
        <p:txBody>
          <a:bodyPr wrap="square" rtlCol="0">
            <a:spAutoFit/>
          </a:bodyPr>
          <a:lstStyle/>
          <a:p>
            <a:pPr algn="ctr"/>
            <a:r>
              <a:rPr lang="en-GB" sz="1600"/>
              <a:t>Durante la crisis </a:t>
            </a:r>
            <a:endParaRPr lang="en-GB" sz="1600" dirty="0"/>
          </a:p>
        </p:txBody>
      </p:sp>
      <p:sp>
        <p:nvSpPr>
          <p:cNvPr id="101" name="Textfeld 100">
            <a:extLst>
              <a:ext uri="{FF2B5EF4-FFF2-40B4-BE49-F238E27FC236}">
                <a16:creationId xmlns:a16="http://schemas.microsoft.com/office/drawing/2014/main" xmlns="" id="{3B8312C7-619C-41BA-9D8D-C24828322A60}"/>
              </a:ext>
            </a:extLst>
          </p:cNvPr>
          <p:cNvSpPr txBox="1"/>
          <p:nvPr/>
        </p:nvSpPr>
        <p:spPr>
          <a:xfrm>
            <a:off x="9874512" y="2436043"/>
            <a:ext cx="2083675" cy="338554"/>
          </a:xfrm>
          <a:prstGeom prst="rect">
            <a:avLst/>
          </a:prstGeom>
          <a:noFill/>
        </p:spPr>
        <p:txBody>
          <a:bodyPr wrap="square" rtlCol="0">
            <a:spAutoFit/>
          </a:bodyPr>
          <a:lstStyle/>
          <a:p>
            <a:pPr algn="ctr"/>
            <a:r>
              <a:rPr lang="en-GB" sz="1600"/>
              <a:t>Después de la crisis </a:t>
            </a:r>
            <a:endParaRPr lang="en-GB" sz="1600" dirty="0"/>
          </a:p>
        </p:txBody>
      </p:sp>
      <p:sp>
        <p:nvSpPr>
          <p:cNvPr id="102" name="TextBox 87">
            <a:extLst>
              <a:ext uri="{FF2B5EF4-FFF2-40B4-BE49-F238E27FC236}">
                <a16:creationId xmlns:a16="http://schemas.microsoft.com/office/drawing/2014/main" xmlns="" id="{B5084934-B90A-441E-907C-263ACB7A623D}"/>
              </a:ext>
            </a:extLst>
          </p:cNvPr>
          <p:cNvSpPr txBox="1"/>
          <p:nvPr/>
        </p:nvSpPr>
        <p:spPr>
          <a:xfrm>
            <a:off x="63177" y="6610481"/>
            <a:ext cx="5545722" cy="246221"/>
          </a:xfrm>
          <a:prstGeom prst="rect">
            <a:avLst/>
          </a:prstGeom>
          <a:noFill/>
        </p:spPr>
        <p:txBody>
          <a:bodyPr wrap="square" rtlCol="0" anchor="b" anchorCtr="0">
            <a:spAutoFit/>
          </a:bodyPr>
          <a:lstStyle/>
          <a:p>
            <a:r>
              <a:rPr lang="en-GB" sz="1000">
                <a:latin typeface="+mj-lt"/>
                <a:ea typeface="League Spartan" charset="0"/>
                <a:cs typeface="Poppins" pitchFamily="2" charset="77"/>
              </a:rPr>
              <a:t>Fuente: Adaptado de Demmer, Vickery y Calantone 2011</a:t>
            </a:r>
            <a:endParaRPr lang="en-GB" sz="1000" dirty="0">
              <a:latin typeface="+mj-lt"/>
              <a:ea typeface="League Spartan" charset="0"/>
              <a:cs typeface="Poppins" pitchFamily="2" charset="77"/>
            </a:endParaRPr>
          </a:p>
        </p:txBody>
      </p:sp>
    </p:spTree>
    <p:extLst>
      <p:ext uri="{BB962C8B-B14F-4D97-AF65-F5344CB8AC3E}">
        <p14:creationId xmlns:p14="http://schemas.microsoft.com/office/powerpoint/2010/main" val="2786565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D826129A-702D-4A96-87C5-ABC7105668FA}"/>
              </a:ext>
            </a:extLst>
          </p:cNvPr>
          <p:cNvGraphicFramePr>
            <a:graphicFrameLocks noChangeAspect="1"/>
          </p:cNvGraphicFramePr>
          <p:nvPr>
            <p:custDataLst>
              <p:tags r:id="rId2"/>
            </p:custDataLst>
            <p:extLst>
              <p:ext uri="{D42A27DB-BD31-4B8C-83A1-F6EECF244321}">
                <p14:modId xmlns:p14="http://schemas.microsoft.com/office/powerpoint/2010/main" val="14316172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146"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a16="http://schemas.microsoft.com/office/drawing/2014/main" xmlns=""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52607" y="338087"/>
            <a:ext cx="8852375" cy="697353"/>
          </a:xfrm>
        </p:spPr>
        <p:txBody>
          <a:bodyPr>
            <a:normAutofit/>
          </a:bodyPr>
          <a:lstStyle/>
          <a:p>
            <a:r>
              <a:rPr lang="en-GB" dirty="0"/>
              <a:t>Aprender de lo que sale bien</a:t>
            </a:r>
          </a:p>
        </p:txBody>
      </p:sp>
      <p:sp>
        <p:nvSpPr>
          <p:cNvPr id="44" name="Isosceles Triangle 26">
            <a:extLst>
              <a:ext uri="{FF2B5EF4-FFF2-40B4-BE49-F238E27FC236}">
                <a16:creationId xmlns:a16="http://schemas.microsoft.com/office/drawing/2014/main" xmlns="" id="{C9790993-EB1E-4160-95CE-0ED96E4808C9}"/>
              </a:ext>
            </a:extLst>
          </p:cNvPr>
          <p:cNvSpPr/>
          <p:nvPr/>
        </p:nvSpPr>
        <p:spPr bwMode="auto">
          <a:xfrm flipV="1">
            <a:off x="6589804" y="4046798"/>
            <a:ext cx="1341217" cy="1504335"/>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4">
              <a:alpha val="8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endParaRPr lang="en-GB" sz="750" dirty="0">
              <a:solidFill>
                <a:schemeClr val="bg1">
                  <a:lumMod val="65000"/>
                </a:schemeClr>
              </a:solidFill>
              <a:latin typeface="Lato Light"/>
            </a:endParaRPr>
          </a:p>
        </p:txBody>
      </p:sp>
      <p:sp>
        <p:nvSpPr>
          <p:cNvPr id="45" name="Isosceles Triangle 26">
            <a:extLst>
              <a:ext uri="{FF2B5EF4-FFF2-40B4-BE49-F238E27FC236}">
                <a16:creationId xmlns:a16="http://schemas.microsoft.com/office/drawing/2014/main" xmlns="" id="{581C5FE3-A757-4922-943D-49D2C6EC8630}"/>
              </a:ext>
            </a:extLst>
          </p:cNvPr>
          <p:cNvSpPr/>
          <p:nvPr/>
        </p:nvSpPr>
        <p:spPr bwMode="auto">
          <a:xfrm>
            <a:off x="3524354" y="3833870"/>
            <a:ext cx="1341218" cy="229662"/>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6" name="Isosceles Triangle 26">
            <a:extLst>
              <a:ext uri="{FF2B5EF4-FFF2-40B4-BE49-F238E27FC236}">
                <a16:creationId xmlns:a16="http://schemas.microsoft.com/office/drawing/2014/main" xmlns="" id="{D11806CD-6B44-4EF6-A6B0-19CDF8165765}"/>
              </a:ext>
            </a:extLst>
          </p:cNvPr>
          <p:cNvSpPr/>
          <p:nvPr/>
        </p:nvSpPr>
        <p:spPr bwMode="auto">
          <a:xfrm flipV="1">
            <a:off x="4077589" y="4055164"/>
            <a:ext cx="1341217" cy="1605843"/>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2">
              <a:alpha val="8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7" name="Isosceles Triangle 26">
            <a:extLst>
              <a:ext uri="{FF2B5EF4-FFF2-40B4-BE49-F238E27FC236}">
                <a16:creationId xmlns:a16="http://schemas.microsoft.com/office/drawing/2014/main" xmlns="" id="{37E831E7-81A5-4DDC-BA44-58A20F3A6150}"/>
              </a:ext>
            </a:extLst>
          </p:cNvPr>
          <p:cNvSpPr/>
          <p:nvPr/>
        </p:nvSpPr>
        <p:spPr bwMode="auto">
          <a:xfrm>
            <a:off x="4649813" y="3462367"/>
            <a:ext cx="1341217" cy="601656"/>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3">
              <a:alpha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8" name="Isosceles Triangle 26">
            <a:extLst>
              <a:ext uri="{FF2B5EF4-FFF2-40B4-BE49-F238E27FC236}">
                <a16:creationId xmlns:a16="http://schemas.microsoft.com/office/drawing/2014/main" xmlns="" id="{834A4F1D-C186-45E6-AD42-EA921528F45B}"/>
              </a:ext>
            </a:extLst>
          </p:cNvPr>
          <p:cNvSpPr/>
          <p:nvPr/>
        </p:nvSpPr>
        <p:spPr bwMode="auto">
          <a:xfrm flipV="1">
            <a:off x="5320421" y="4064023"/>
            <a:ext cx="1341217" cy="1440209"/>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4">
              <a:alpha val="8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9" name="Isosceles Triangle 26">
            <a:extLst>
              <a:ext uri="{FF2B5EF4-FFF2-40B4-BE49-F238E27FC236}">
                <a16:creationId xmlns:a16="http://schemas.microsoft.com/office/drawing/2014/main" xmlns="" id="{2F028AF4-65E7-4929-A57B-A6353CAE1EBB}"/>
              </a:ext>
            </a:extLst>
          </p:cNvPr>
          <p:cNvSpPr/>
          <p:nvPr/>
        </p:nvSpPr>
        <p:spPr bwMode="auto">
          <a:xfrm flipV="1">
            <a:off x="5991030" y="4064024"/>
            <a:ext cx="1341217" cy="23707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5">
              <a:alpha val="8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68" name="Isosceles Triangle 26">
            <a:extLst>
              <a:ext uri="{FF2B5EF4-FFF2-40B4-BE49-F238E27FC236}">
                <a16:creationId xmlns:a16="http://schemas.microsoft.com/office/drawing/2014/main" xmlns="" id="{6C965A10-1353-4808-8429-0DAA2BE72A3E}"/>
              </a:ext>
            </a:extLst>
          </p:cNvPr>
          <p:cNvSpPr/>
          <p:nvPr/>
        </p:nvSpPr>
        <p:spPr bwMode="auto">
          <a:xfrm>
            <a:off x="7189133" y="3657599"/>
            <a:ext cx="1341218" cy="406425"/>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71" name="Isosceles Triangle 26">
            <a:extLst>
              <a:ext uri="{FF2B5EF4-FFF2-40B4-BE49-F238E27FC236}">
                <a16:creationId xmlns:a16="http://schemas.microsoft.com/office/drawing/2014/main" xmlns="" id="{246991EA-E3DE-4DE6-948B-2C8ACCBB51C4}"/>
              </a:ext>
            </a:extLst>
          </p:cNvPr>
          <p:cNvSpPr/>
          <p:nvPr/>
        </p:nvSpPr>
        <p:spPr bwMode="auto">
          <a:xfrm flipV="1">
            <a:off x="7762638" y="4063530"/>
            <a:ext cx="1341218" cy="205082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2">
              <a:alpha val="8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72" name="Isosceles Triangle 26">
            <a:extLst>
              <a:ext uri="{FF2B5EF4-FFF2-40B4-BE49-F238E27FC236}">
                <a16:creationId xmlns:a16="http://schemas.microsoft.com/office/drawing/2014/main" xmlns="" id="{9F27CB69-BBFD-494C-859F-7703A83817F5}"/>
              </a:ext>
            </a:extLst>
          </p:cNvPr>
          <p:cNvSpPr/>
          <p:nvPr/>
        </p:nvSpPr>
        <p:spPr bwMode="auto">
          <a:xfrm>
            <a:off x="8334863" y="3429001"/>
            <a:ext cx="1341218" cy="63502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3">
              <a:alpha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73" name="Isosceles Triangle 26">
            <a:extLst>
              <a:ext uri="{FF2B5EF4-FFF2-40B4-BE49-F238E27FC236}">
                <a16:creationId xmlns:a16="http://schemas.microsoft.com/office/drawing/2014/main" xmlns="" id="{63CC026D-8F51-47EF-8691-3329FD5EE4D4}"/>
              </a:ext>
            </a:extLst>
          </p:cNvPr>
          <p:cNvSpPr/>
          <p:nvPr/>
        </p:nvSpPr>
        <p:spPr bwMode="auto">
          <a:xfrm>
            <a:off x="9005471" y="3826950"/>
            <a:ext cx="1341218" cy="23707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4">
              <a:alpha val="8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74" name="Isosceles Triangle 26">
            <a:extLst>
              <a:ext uri="{FF2B5EF4-FFF2-40B4-BE49-F238E27FC236}">
                <a16:creationId xmlns:a16="http://schemas.microsoft.com/office/drawing/2014/main" xmlns="" id="{B1D13FA2-9545-47E2-B664-6E391972E510}"/>
              </a:ext>
            </a:extLst>
          </p:cNvPr>
          <p:cNvSpPr/>
          <p:nvPr/>
        </p:nvSpPr>
        <p:spPr bwMode="auto">
          <a:xfrm flipV="1">
            <a:off x="9676079" y="4064022"/>
            <a:ext cx="1341218" cy="209857"/>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5">
              <a:alpha val="8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83" name="Isosceles Triangle 26">
            <a:extLst>
              <a:ext uri="{FF2B5EF4-FFF2-40B4-BE49-F238E27FC236}">
                <a16:creationId xmlns:a16="http://schemas.microsoft.com/office/drawing/2014/main" xmlns="" id="{D0CF9356-5E75-481A-8BA9-6CAA19788753}"/>
              </a:ext>
            </a:extLst>
          </p:cNvPr>
          <p:cNvSpPr/>
          <p:nvPr/>
        </p:nvSpPr>
        <p:spPr bwMode="auto">
          <a:xfrm>
            <a:off x="10274852" y="3676910"/>
            <a:ext cx="1341218" cy="386620"/>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6">
              <a:alpha val="8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cxnSp>
        <p:nvCxnSpPr>
          <p:cNvPr id="4" name="Gerader Verbinder 3">
            <a:extLst>
              <a:ext uri="{FF2B5EF4-FFF2-40B4-BE49-F238E27FC236}">
                <a16:creationId xmlns:a16="http://schemas.microsoft.com/office/drawing/2014/main" xmlns="" id="{42B9690F-6500-4247-8297-A783C89891A1}"/>
              </a:ext>
            </a:extLst>
          </p:cNvPr>
          <p:cNvCxnSpPr>
            <a:cxnSpLocks/>
            <a:stCxn id="45" idx="0"/>
          </p:cNvCxnSpPr>
          <p:nvPr/>
        </p:nvCxnSpPr>
        <p:spPr>
          <a:xfrm flipV="1">
            <a:off x="3524354" y="4044220"/>
            <a:ext cx="8517082" cy="19312"/>
          </a:xfrm>
          <a:prstGeom prst="line">
            <a:avLst/>
          </a:prstGeom>
          <a:ln w="79375">
            <a:solidFill>
              <a:schemeClr val="tx1">
                <a:lumMod val="50000"/>
                <a:lumOff val="50000"/>
              </a:schemeClr>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8" name="Gerade Verbindung mit Pfeil 7">
            <a:extLst>
              <a:ext uri="{FF2B5EF4-FFF2-40B4-BE49-F238E27FC236}">
                <a16:creationId xmlns:a16="http://schemas.microsoft.com/office/drawing/2014/main" xmlns="" id="{1043B69F-1ACF-4A50-9375-ACBC4DB1022E}"/>
              </a:ext>
            </a:extLst>
          </p:cNvPr>
          <p:cNvCxnSpPr/>
          <p:nvPr/>
        </p:nvCxnSpPr>
        <p:spPr>
          <a:xfrm>
            <a:off x="3524354" y="2044206"/>
            <a:ext cx="0" cy="4164376"/>
          </a:xfrm>
          <a:prstGeom prst="straightConnector1">
            <a:avLst/>
          </a:prstGeom>
          <a:ln w="793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7" name="TextBox 63">
            <a:extLst>
              <a:ext uri="{FF2B5EF4-FFF2-40B4-BE49-F238E27FC236}">
                <a16:creationId xmlns:a16="http://schemas.microsoft.com/office/drawing/2014/main" xmlns="" id="{F68B30ED-1CFE-4218-B4F0-D6A7C104A822}"/>
              </a:ext>
            </a:extLst>
          </p:cNvPr>
          <p:cNvSpPr txBox="1"/>
          <p:nvPr/>
        </p:nvSpPr>
        <p:spPr>
          <a:xfrm rot="16200000">
            <a:off x="2482496" y="3903549"/>
            <a:ext cx="1695397" cy="369332"/>
          </a:xfrm>
          <a:prstGeom prst="rect">
            <a:avLst/>
          </a:prstGeom>
          <a:noFill/>
        </p:spPr>
        <p:txBody>
          <a:bodyPr wrap="square" rtlCol="0" anchor="b" anchorCtr="0">
            <a:noAutofit/>
          </a:bodyPr>
          <a:lstStyle/>
          <a:p>
            <a:pPr algn="ctr"/>
            <a:r>
              <a:rPr lang="en-GB" b="1" dirty="0">
                <a:solidFill>
                  <a:schemeClr val="tx2"/>
                </a:solidFill>
                <a:ea typeface="League Spartan" charset="0"/>
                <a:cs typeface="Poppins" pitchFamily="2" charset="77"/>
              </a:rPr>
              <a:t>Valor del resultado</a:t>
            </a:r>
          </a:p>
        </p:txBody>
      </p:sp>
      <p:sp>
        <p:nvSpPr>
          <p:cNvPr id="88" name="TextBox 63">
            <a:extLst>
              <a:ext uri="{FF2B5EF4-FFF2-40B4-BE49-F238E27FC236}">
                <a16:creationId xmlns:a16="http://schemas.microsoft.com/office/drawing/2014/main" xmlns="" id="{ADCE4B97-E2F5-40C8-8C4F-D8FE93EA712D}"/>
              </a:ext>
            </a:extLst>
          </p:cNvPr>
          <p:cNvSpPr txBox="1"/>
          <p:nvPr/>
        </p:nvSpPr>
        <p:spPr>
          <a:xfrm>
            <a:off x="10913250" y="4142375"/>
            <a:ext cx="1695397" cy="369332"/>
          </a:xfrm>
          <a:prstGeom prst="rect">
            <a:avLst/>
          </a:prstGeom>
          <a:noFill/>
        </p:spPr>
        <p:txBody>
          <a:bodyPr wrap="square" rtlCol="0" anchor="b" anchorCtr="0">
            <a:noAutofit/>
          </a:bodyPr>
          <a:lstStyle/>
          <a:p>
            <a:pPr algn="ctr"/>
            <a:r>
              <a:rPr lang="en-GB" b="1" dirty="0">
                <a:solidFill>
                  <a:schemeClr val="tx2"/>
                </a:solidFill>
                <a:ea typeface="League Spartan" charset="0"/>
                <a:cs typeface="Poppins" pitchFamily="2" charset="77"/>
              </a:rPr>
              <a:t>Tiempo</a:t>
            </a:r>
          </a:p>
        </p:txBody>
      </p:sp>
      <p:sp>
        <p:nvSpPr>
          <p:cNvPr id="89" name="TextBox 63">
            <a:extLst>
              <a:ext uri="{FF2B5EF4-FFF2-40B4-BE49-F238E27FC236}">
                <a16:creationId xmlns:a16="http://schemas.microsoft.com/office/drawing/2014/main" xmlns="" id="{937EF20E-989A-4A01-BF43-AD967F25466A}"/>
              </a:ext>
            </a:extLst>
          </p:cNvPr>
          <p:cNvSpPr txBox="1"/>
          <p:nvPr/>
        </p:nvSpPr>
        <p:spPr>
          <a:xfrm rot="16200000">
            <a:off x="2469616" y="2211419"/>
            <a:ext cx="1695397" cy="369332"/>
          </a:xfrm>
          <a:prstGeom prst="rect">
            <a:avLst/>
          </a:prstGeom>
          <a:noFill/>
        </p:spPr>
        <p:txBody>
          <a:bodyPr wrap="square" rtlCol="0" anchor="b" anchorCtr="0">
            <a:noAutofit/>
          </a:bodyPr>
          <a:lstStyle/>
          <a:p>
            <a:pPr algn="ctr"/>
            <a:r>
              <a:rPr lang="en-GB" dirty="0">
                <a:solidFill>
                  <a:schemeClr val="tx2"/>
                </a:solidFill>
                <a:ea typeface="League Spartan" charset="0"/>
                <a:cs typeface="Poppins" pitchFamily="2" charset="77"/>
              </a:rPr>
              <a:t>Positivo</a:t>
            </a:r>
          </a:p>
        </p:txBody>
      </p:sp>
      <p:sp>
        <p:nvSpPr>
          <p:cNvPr id="90" name="TextBox 63">
            <a:extLst>
              <a:ext uri="{FF2B5EF4-FFF2-40B4-BE49-F238E27FC236}">
                <a16:creationId xmlns:a16="http://schemas.microsoft.com/office/drawing/2014/main" xmlns="" id="{E02BEA56-CEE7-40ED-9122-DA774E14B0F2}"/>
              </a:ext>
            </a:extLst>
          </p:cNvPr>
          <p:cNvSpPr txBox="1"/>
          <p:nvPr/>
        </p:nvSpPr>
        <p:spPr>
          <a:xfrm rot="16200000">
            <a:off x="2474439" y="5580049"/>
            <a:ext cx="1695397" cy="369332"/>
          </a:xfrm>
          <a:prstGeom prst="rect">
            <a:avLst/>
          </a:prstGeom>
          <a:noFill/>
        </p:spPr>
        <p:txBody>
          <a:bodyPr wrap="square" rtlCol="0" anchor="b" anchorCtr="0">
            <a:noAutofit/>
          </a:bodyPr>
          <a:lstStyle/>
          <a:p>
            <a:pPr algn="ctr"/>
            <a:r>
              <a:rPr lang="en-GB" dirty="0">
                <a:solidFill>
                  <a:schemeClr val="tx2"/>
                </a:solidFill>
                <a:ea typeface="League Spartan" charset="0"/>
                <a:cs typeface="Poppins" pitchFamily="2" charset="77"/>
              </a:rPr>
              <a:t>Negativo</a:t>
            </a:r>
          </a:p>
        </p:txBody>
      </p:sp>
      <p:sp>
        <p:nvSpPr>
          <p:cNvPr id="95" name="Subtitle 2">
            <a:extLst>
              <a:ext uri="{FF2B5EF4-FFF2-40B4-BE49-F238E27FC236}">
                <a16:creationId xmlns:a16="http://schemas.microsoft.com/office/drawing/2014/main" xmlns="" id="{80CD9C37-64A6-4D5D-8180-A277C0BF7767}"/>
              </a:ext>
            </a:extLst>
          </p:cNvPr>
          <p:cNvSpPr txBox="1">
            <a:spLocks/>
          </p:cNvSpPr>
          <p:nvPr/>
        </p:nvSpPr>
        <p:spPr>
          <a:xfrm>
            <a:off x="48709" y="1823639"/>
            <a:ext cx="3145440" cy="5006804"/>
          </a:xfrm>
          <a:prstGeom prst="rect">
            <a:avLst/>
          </a:prstGeom>
        </p:spPr>
        <p:txBody>
          <a:bodyPr vert="horz" wrap="square" lIns="81580" tIns="40791" rIns="81580" bIns="40791"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i="1" dirty="0">
                <a:latin typeface="+mj-lt"/>
                <a:ea typeface="Open Sans Light" panose="020B0306030504020204" pitchFamily="34" charset="0"/>
                <a:cs typeface="Open Sans Light" panose="020B0306030504020204" pitchFamily="34" charset="0"/>
              </a:rPr>
              <a:t>"</a:t>
            </a:r>
            <a:r>
              <a:rPr lang="en-GB" sz="2000" i="1" dirty="0">
                <a:latin typeface="+mj-lt"/>
                <a:ea typeface="Open Sans Light" panose="020B0306030504020204" pitchFamily="34" charset="0"/>
                <a:cs typeface="Open Sans Light" panose="020B0306030504020204" pitchFamily="34" charset="0"/>
              </a:rPr>
              <a:t>Para lograr un estado de seguridad, tenemos que entender lo que ocurre cuando las cosas van bien. Tenemos que entender la naturaleza de la variabilidad del rendimiento diario. De hecho, incluso cuando nos damos cuenta de que algo ha ido mal, deberíamos darnos cuenta de que probablemente se ha hecho muchas veces antes (y se volverá a hacer muchas veces) y que normalmente ha salido bien - y saldrá bien" (</a:t>
            </a:r>
            <a:r>
              <a:rPr lang="en-GB" sz="2000" dirty="0">
                <a:latin typeface="+mj-lt"/>
                <a:ea typeface="Open Sans Light" panose="020B0306030504020204" pitchFamily="34" charset="0"/>
                <a:cs typeface="Open Sans Light" panose="020B0306030504020204" pitchFamily="34" charset="0"/>
              </a:rPr>
              <a:t>Erik Hollnagel)</a:t>
            </a:r>
            <a:endParaRPr lang="en-GB" sz="1800" dirty="0">
              <a:latin typeface="+mj-lt"/>
              <a:ea typeface="Open Sans Light" panose="020B0306030504020204" pitchFamily="34" charset="0"/>
              <a:cs typeface="Open Sans Light" panose="020B0306030504020204" pitchFamily="34" charset="0"/>
            </a:endParaRPr>
          </a:p>
        </p:txBody>
      </p:sp>
      <p:sp>
        <p:nvSpPr>
          <p:cNvPr id="24" name="TextBox 23">
            <a:extLst>
              <a:ext uri="{FF2B5EF4-FFF2-40B4-BE49-F238E27FC236}">
                <a16:creationId xmlns:a16="http://schemas.microsoft.com/office/drawing/2014/main" xmlns="" id="{1AB96115-CA2D-48A6-8DA9-D60D66DEC399}"/>
              </a:ext>
            </a:extLst>
          </p:cNvPr>
          <p:cNvSpPr txBox="1"/>
          <p:nvPr/>
        </p:nvSpPr>
        <p:spPr>
          <a:xfrm>
            <a:off x="1252606" y="837473"/>
            <a:ext cx="9998963" cy="830997"/>
          </a:xfrm>
          <a:prstGeom prst="rect">
            <a:avLst/>
          </a:prstGeom>
          <a:noFill/>
        </p:spPr>
        <p:txBody>
          <a:bodyPr wrap="square">
            <a:spAutoFit/>
          </a:bodyPr>
          <a:lstStyle/>
          <a:p>
            <a:pPr algn="l">
              <a:lnSpc>
                <a:spcPct val="100000"/>
              </a:lnSpc>
              <a:spcBef>
                <a:spcPts val="600"/>
              </a:spcBef>
            </a:pPr>
            <a:r>
              <a:rPr lang="en-GB" sz="2400" dirty="0">
                <a:solidFill>
                  <a:schemeClr val="tx2"/>
                </a:solidFill>
                <a:latin typeface="+mj-lt"/>
                <a:ea typeface="Open Sans Light" panose="020B0306030504020204" pitchFamily="34" charset="0"/>
                <a:cs typeface="Open Sans Light" panose="020B0306030504020204" pitchFamily="34" charset="0"/>
              </a:rPr>
              <a:t>Sabemos algo sobre lo que va mal, pero casi nada sobre lo que va bien. </a:t>
            </a:r>
            <a:endParaRPr lang="en-US" sz="2400" dirty="0">
              <a:solidFill>
                <a:schemeClr val="tx2"/>
              </a:solidFill>
            </a:endParaRPr>
          </a:p>
        </p:txBody>
      </p:sp>
    </p:spTree>
    <p:extLst>
      <p:ext uri="{BB962C8B-B14F-4D97-AF65-F5344CB8AC3E}">
        <p14:creationId xmlns:p14="http://schemas.microsoft.com/office/powerpoint/2010/main" val="6634932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D826129A-702D-4A96-87C5-ABC7105668F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7170"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a16="http://schemas.microsoft.com/office/drawing/2014/main" xmlns=""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156416" y="460483"/>
            <a:ext cx="8852375" cy="697353"/>
          </a:xfrm>
        </p:spPr>
        <p:txBody>
          <a:bodyPr>
            <a:normAutofit/>
          </a:bodyPr>
          <a:lstStyle/>
          <a:p>
            <a:r>
              <a:rPr lang="en-GB" dirty="0"/>
              <a:t>Aprender de lo que sale bien</a:t>
            </a:r>
          </a:p>
        </p:txBody>
      </p:sp>
      <p:sp>
        <p:nvSpPr>
          <p:cNvPr id="44" name="Isosceles Triangle 26">
            <a:extLst>
              <a:ext uri="{FF2B5EF4-FFF2-40B4-BE49-F238E27FC236}">
                <a16:creationId xmlns:a16="http://schemas.microsoft.com/office/drawing/2014/main" xmlns="" id="{C9790993-EB1E-4160-95CE-0ED96E4808C9}"/>
              </a:ext>
            </a:extLst>
          </p:cNvPr>
          <p:cNvSpPr/>
          <p:nvPr/>
        </p:nvSpPr>
        <p:spPr bwMode="auto">
          <a:xfrm flipV="1">
            <a:off x="6589804" y="4046798"/>
            <a:ext cx="1341217" cy="1504335"/>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4">
              <a:alpha val="8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endParaRPr lang="en-GB" sz="750" dirty="0">
              <a:solidFill>
                <a:schemeClr val="bg1">
                  <a:lumMod val="65000"/>
                </a:schemeClr>
              </a:solidFill>
              <a:latin typeface="Lato Light"/>
            </a:endParaRPr>
          </a:p>
        </p:txBody>
      </p:sp>
      <p:sp>
        <p:nvSpPr>
          <p:cNvPr id="45" name="Isosceles Triangle 26">
            <a:extLst>
              <a:ext uri="{FF2B5EF4-FFF2-40B4-BE49-F238E27FC236}">
                <a16:creationId xmlns:a16="http://schemas.microsoft.com/office/drawing/2014/main" xmlns="" id="{581C5FE3-A757-4922-943D-49D2C6EC8630}"/>
              </a:ext>
            </a:extLst>
          </p:cNvPr>
          <p:cNvSpPr/>
          <p:nvPr/>
        </p:nvSpPr>
        <p:spPr bwMode="auto">
          <a:xfrm>
            <a:off x="3524354" y="3833870"/>
            <a:ext cx="1341218" cy="229662"/>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6" name="Isosceles Triangle 26">
            <a:extLst>
              <a:ext uri="{FF2B5EF4-FFF2-40B4-BE49-F238E27FC236}">
                <a16:creationId xmlns:a16="http://schemas.microsoft.com/office/drawing/2014/main" xmlns="" id="{D11806CD-6B44-4EF6-A6B0-19CDF8165765}"/>
              </a:ext>
            </a:extLst>
          </p:cNvPr>
          <p:cNvSpPr/>
          <p:nvPr/>
        </p:nvSpPr>
        <p:spPr bwMode="auto">
          <a:xfrm flipV="1">
            <a:off x="4077589" y="4055164"/>
            <a:ext cx="1341217" cy="1605843"/>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2">
              <a:alpha val="8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7" name="Isosceles Triangle 26">
            <a:extLst>
              <a:ext uri="{FF2B5EF4-FFF2-40B4-BE49-F238E27FC236}">
                <a16:creationId xmlns:a16="http://schemas.microsoft.com/office/drawing/2014/main" xmlns="" id="{37E831E7-81A5-4DDC-BA44-58A20F3A6150}"/>
              </a:ext>
            </a:extLst>
          </p:cNvPr>
          <p:cNvSpPr/>
          <p:nvPr/>
        </p:nvSpPr>
        <p:spPr bwMode="auto">
          <a:xfrm>
            <a:off x="4649813" y="3462367"/>
            <a:ext cx="1341217" cy="601656"/>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3">
              <a:alpha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8" name="Isosceles Triangle 26">
            <a:extLst>
              <a:ext uri="{FF2B5EF4-FFF2-40B4-BE49-F238E27FC236}">
                <a16:creationId xmlns:a16="http://schemas.microsoft.com/office/drawing/2014/main" xmlns="" id="{834A4F1D-C186-45E6-AD42-EA921528F45B}"/>
              </a:ext>
            </a:extLst>
          </p:cNvPr>
          <p:cNvSpPr/>
          <p:nvPr/>
        </p:nvSpPr>
        <p:spPr bwMode="auto">
          <a:xfrm flipV="1">
            <a:off x="5320421" y="4064023"/>
            <a:ext cx="1341217" cy="1440209"/>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4">
              <a:alpha val="8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49" name="Isosceles Triangle 26">
            <a:extLst>
              <a:ext uri="{FF2B5EF4-FFF2-40B4-BE49-F238E27FC236}">
                <a16:creationId xmlns:a16="http://schemas.microsoft.com/office/drawing/2014/main" xmlns="" id="{2F028AF4-65E7-4929-A57B-A6353CAE1EBB}"/>
              </a:ext>
            </a:extLst>
          </p:cNvPr>
          <p:cNvSpPr/>
          <p:nvPr/>
        </p:nvSpPr>
        <p:spPr bwMode="auto">
          <a:xfrm flipV="1">
            <a:off x="5991030" y="4064024"/>
            <a:ext cx="1341217" cy="23707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5">
              <a:alpha val="8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68" name="Isosceles Triangle 26">
            <a:extLst>
              <a:ext uri="{FF2B5EF4-FFF2-40B4-BE49-F238E27FC236}">
                <a16:creationId xmlns:a16="http://schemas.microsoft.com/office/drawing/2014/main" xmlns="" id="{6C965A10-1353-4808-8429-0DAA2BE72A3E}"/>
              </a:ext>
            </a:extLst>
          </p:cNvPr>
          <p:cNvSpPr/>
          <p:nvPr/>
        </p:nvSpPr>
        <p:spPr bwMode="auto">
          <a:xfrm>
            <a:off x="7189133" y="3657599"/>
            <a:ext cx="1341218" cy="406425"/>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71" name="Isosceles Triangle 26">
            <a:extLst>
              <a:ext uri="{FF2B5EF4-FFF2-40B4-BE49-F238E27FC236}">
                <a16:creationId xmlns:a16="http://schemas.microsoft.com/office/drawing/2014/main" xmlns="" id="{246991EA-E3DE-4DE6-948B-2C8ACCBB51C4}"/>
              </a:ext>
            </a:extLst>
          </p:cNvPr>
          <p:cNvSpPr/>
          <p:nvPr/>
        </p:nvSpPr>
        <p:spPr bwMode="auto">
          <a:xfrm flipV="1">
            <a:off x="7762638" y="4063530"/>
            <a:ext cx="1341218" cy="205082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2">
              <a:alpha val="8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72" name="Isosceles Triangle 26">
            <a:extLst>
              <a:ext uri="{FF2B5EF4-FFF2-40B4-BE49-F238E27FC236}">
                <a16:creationId xmlns:a16="http://schemas.microsoft.com/office/drawing/2014/main" xmlns="" id="{9F27CB69-BBFD-494C-859F-7703A83817F5}"/>
              </a:ext>
            </a:extLst>
          </p:cNvPr>
          <p:cNvSpPr/>
          <p:nvPr/>
        </p:nvSpPr>
        <p:spPr bwMode="auto">
          <a:xfrm>
            <a:off x="8334863" y="3429001"/>
            <a:ext cx="1341218" cy="63502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3">
              <a:alpha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73" name="Isosceles Triangle 26">
            <a:extLst>
              <a:ext uri="{FF2B5EF4-FFF2-40B4-BE49-F238E27FC236}">
                <a16:creationId xmlns:a16="http://schemas.microsoft.com/office/drawing/2014/main" xmlns="" id="{63CC026D-8F51-47EF-8691-3329FD5EE4D4}"/>
              </a:ext>
            </a:extLst>
          </p:cNvPr>
          <p:cNvSpPr/>
          <p:nvPr/>
        </p:nvSpPr>
        <p:spPr bwMode="auto">
          <a:xfrm>
            <a:off x="9005471" y="3826950"/>
            <a:ext cx="1341218" cy="237074"/>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4">
              <a:alpha val="8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74" name="Isosceles Triangle 26">
            <a:extLst>
              <a:ext uri="{FF2B5EF4-FFF2-40B4-BE49-F238E27FC236}">
                <a16:creationId xmlns:a16="http://schemas.microsoft.com/office/drawing/2014/main" xmlns="" id="{B1D13FA2-9545-47E2-B664-6E391972E510}"/>
              </a:ext>
            </a:extLst>
          </p:cNvPr>
          <p:cNvSpPr/>
          <p:nvPr/>
        </p:nvSpPr>
        <p:spPr bwMode="auto">
          <a:xfrm flipV="1">
            <a:off x="9676079" y="4064022"/>
            <a:ext cx="1341218" cy="209857"/>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5">
              <a:alpha val="8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sp>
        <p:nvSpPr>
          <p:cNvPr id="83" name="Isosceles Triangle 26">
            <a:extLst>
              <a:ext uri="{FF2B5EF4-FFF2-40B4-BE49-F238E27FC236}">
                <a16:creationId xmlns:a16="http://schemas.microsoft.com/office/drawing/2014/main" xmlns="" id="{D0CF9356-5E75-481A-8BA9-6CAA19788753}"/>
              </a:ext>
            </a:extLst>
          </p:cNvPr>
          <p:cNvSpPr/>
          <p:nvPr/>
        </p:nvSpPr>
        <p:spPr bwMode="auto">
          <a:xfrm>
            <a:off x="10274852" y="3676910"/>
            <a:ext cx="1341218" cy="386620"/>
          </a:xfrm>
          <a:custGeom>
            <a:avLst/>
            <a:gdLst>
              <a:gd name="connsiteX0" fmla="*/ 0 w 1523036"/>
              <a:gd name="connsiteY0" fmla="*/ 1312962 h 1312962"/>
              <a:gd name="connsiteX1" fmla="*/ 761518 w 1523036"/>
              <a:gd name="connsiteY1" fmla="*/ 0 h 1312962"/>
              <a:gd name="connsiteX2" fmla="*/ 1523036 w 1523036"/>
              <a:gd name="connsiteY2" fmla="*/ 1312962 h 1312962"/>
              <a:gd name="connsiteX3" fmla="*/ 0 w 1523036"/>
              <a:gd name="connsiteY3" fmla="*/ 1312962 h 1312962"/>
              <a:gd name="connsiteX0" fmla="*/ 0 w 1523036"/>
              <a:gd name="connsiteY0" fmla="*/ 1122131 h 1122131"/>
              <a:gd name="connsiteX1" fmla="*/ 761518 w 1523036"/>
              <a:gd name="connsiteY1" fmla="*/ 0 h 1122131"/>
              <a:gd name="connsiteX2" fmla="*/ 1523036 w 1523036"/>
              <a:gd name="connsiteY2" fmla="*/ 1122131 h 1122131"/>
              <a:gd name="connsiteX3" fmla="*/ 0 w 1523036"/>
              <a:gd name="connsiteY3" fmla="*/ 1122131 h 1122131"/>
              <a:gd name="connsiteX0" fmla="*/ 0 w 1523036"/>
              <a:gd name="connsiteY0" fmla="*/ 1122198 h 1122198"/>
              <a:gd name="connsiteX1" fmla="*/ 761518 w 1523036"/>
              <a:gd name="connsiteY1" fmla="*/ 67 h 1122198"/>
              <a:gd name="connsiteX2" fmla="*/ 1523036 w 1523036"/>
              <a:gd name="connsiteY2" fmla="*/ 1122198 h 1122198"/>
              <a:gd name="connsiteX3" fmla="*/ 0 w 1523036"/>
              <a:gd name="connsiteY3" fmla="*/ 1122198 h 1122198"/>
              <a:gd name="connsiteX0" fmla="*/ 0 w 1523036"/>
              <a:gd name="connsiteY0" fmla="*/ 1678761 h 1678761"/>
              <a:gd name="connsiteX1" fmla="*/ 769469 w 1523036"/>
              <a:gd name="connsiteY1" fmla="*/ 39 h 1678761"/>
              <a:gd name="connsiteX2" fmla="*/ 1523036 w 1523036"/>
              <a:gd name="connsiteY2" fmla="*/ 1678761 h 1678761"/>
              <a:gd name="connsiteX3" fmla="*/ 0 w 1523036"/>
              <a:gd name="connsiteY3" fmla="*/ 1678761 h 1678761"/>
              <a:gd name="connsiteX0" fmla="*/ 0 w 1523036"/>
              <a:gd name="connsiteY0" fmla="*/ 1678756 h 1678756"/>
              <a:gd name="connsiteX1" fmla="*/ 769469 w 1523036"/>
              <a:gd name="connsiteY1" fmla="*/ 34 h 1678756"/>
              <a:gd name="connsiteX2" fmla="*/ 1523036 w 1523036"/>
              <a:gd name="connsiteY2" fmla="*/ 1678756 h 1678756"/>
              <a:gd name="connsiteX3" fmla="*/ 0 w 1523036"/>
              <a:gd name="connsiteY3" fmla="*/ 1678756 h 1678756"/>
            </a:gdLst>
            <a:ahLst/>
            <a:cxnLst>
              <a:cxn ang="0">
                <a:pos x="connsiteX0" y="connsiteY0"/>
              </a:cxn>
              <a:cxn ang="0">
                <a:pos x="connsiteX1" y="connsiteY1"/>
              </a:cxn>
              <a:cxn ang="0">
                <a:pos x="connsiteX2" y="connsiteY2"/>
              </a:cxn>
              <a:cxn ang="0">
                <a:pos x="connsiteX3" y="connsiteY3"/>
              </a:cxn>
            </a:cxnLst>
            <a:rect l="l" t="t" r="r" b="b"/>
            <a:pathLst>
              <a:path w="1523036" h="1678756">
                <a:moveTo>
                  <a:pt x="0" y="1678756"/>
                </a:moveTo>
                <a:cubicBezTo>
                  <a:pt x="253839" y="1304712"/>
                  <a:pt x="634900" y="7652"/>
                  <a:pt x="769469" y="34"/>
                </a:cubicBezTo>
                <a:cubicBezTo>
                  <a:pt x="904038" y="-7584"/>
                  <a:pt x="1269197" y="1304712"/>
                  <a:pt x="1523036" y="1678756"/>
                </a:cubicBezTo>
                <a:lnTo>
                  <a:pt x="0" y="1678756"/>
                </a:lnTo>
                <a:close/>
              </a:path>
            </a:pathLst>
          </a:custGeom>
          <a:solidFill>
            <a:schemeClr val="accent6">
              <a:alpha val="8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endParaRPr lang="en-GB" sz="750" dirty="0">
              <a:solidFill>
                <a:schemeClr val="bg1">
                  <a:lumMod val="65000"/>
                </a:schemeClr>
              </a:solidFill>
              <a:latin typeface="Lato Light"/>
              <a:cs typeface="Lato Light"/>
            </a:endParaRPr>
          </a:p>
        </p:txBody>
      </p:sp>
      <p:cxnSp>
        <p:nvCxnSpPr>
          <p:cNvPr id="4" name="Gerader Verbinder 3">
            <a:extLst>
              <a:ext uri="{FF2B5EF4-FFF2-40B4-BE49-F238E27FC236}">
                <a16:creationId xmlns:a16="http://schemas.microsoft.com/office/drawing/2014/main" xmlns="" id="{42B9690F-6500-4247-8297-A783C89891A1}"/>
              </a:ext>
            </a:extLst>
          </p:cNvPr>
          <p:cNvCxnSpPr>
            <a:cxnSpLocks/>
            <a:stCxn id="45" idx="0"/>
          </p:cNvCxnSpPr>
          <p:nvPr/>
        </p:nvCxnSpPr>
        <p:spPr>
          <a:xfrm flipV="1">
            <a:off x="3524354" y="4044220"/>
            <a:ext cx="8517082" cy="19312"/>
          </a:xfrm>
          <a:prstGeom prst="line">
            <a:avLst/>
          </a:prstGeom>
          <a:ln w="79375">
            <a:solidFill>
              <a:schemeClr val="tx1">
                <a:lumMod val="50000"/>
                <a:lumOff val="50000"/>
              </a:schemeClr>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8" name="Gerade Verbindung mit Pfeil 7">
            <a:extLst>
              <a:ext uri="{FF2B5EF4-FFF2-40B4-BE49-F238E27FC236}">
                <a16:creationId xmlns:a16="http://schemas.microsoft.com/office/drawing/2014/main" xmlns="" id="{1043B69F-1ACF-4A50-9375-ACBC4DB1022E}"/>
              </a:ext>
            </a:extLst>
          </p:cNvPr>
          <p:cNvCxnSpPr/>
          <p:nvPr/>
        </p:nvCxnSpPr>
        <p:spPr>
          <a:xfrm>
            <a:off x="3524354" y="1981836"/>
            <a:ext cx="0" cy="4164376"/>
          </a:xfrm>
          <a:prstGeom prst="straightConnector1">
            <a:avLst/>
          </a:prstGeom>
          <a:ln w="793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7" name="TextBox 63">
            <a:extLst>
              <a:ext uri="{FF2B5EF4-FFF2-40B4-BE49-F238E27FC236}">
                <a16:creationId xmlns:a16="http://schemas.microsoft.com/office/drawing/2014/main" xmlns="" id="{F68B30ED-1CFE-4218-B4F0-D6A7C104A822}"/>
              </a:ext>
            </a:extLst>
          </p:cNvPr>
          <p:cNvSpPr txBox="1"/>
          <p:nvPr/>
        </p:nvSpPr>
        <p:spPr>
          <a:xfrm rot="16200000">
            <a:off x="2482496" y="3903549"/>
            <a:ext cx="1695397" cy="369332"/>
          </a:xfrm>
          <a:prstGeom prst="rect">
            <a:avLst/>
          </a:prstGeom>
          <a:noFill/>
        </p:spPr>
        <p:txBody>
          <a:bodyPr wrap="square" rtlCol="0" anchor="b" anchorCtr="0">
            <a:noAutofit/>
          </a:bodyPr>
          <a:lstStyle/>
          <a:p>
            <a:pPr algn="ctr"/>
            <a:r>
              <a:rPr lang="en-GB" b="1" dirty="0">
                <a:solidFill>
                  <a:schemeClr val="tx2"/>
                </a:solidFill>
                <a:ea typeface="League Spartan" charset="0"/>
                <a:cs typeface="Poppins" pitchFamily="2" charset="77"/>
              </a:rPr>
              <a:t>Valor del resultado</a:t>
            </a:r>
          </a:p>
        </p:txBody>
      </p:sp>
      <p:sp>
        <p:nvSpPr>
          <p:cNvPr id="88" name="TextBox 63">
            <a:extLst>
              <a:ext uri="{FF2B5EF4-FFF2-40B4-BE49-F238E27FC236}">
                <a16:creationId xmlns:a16="http://schemas.microsoft.com/office/drawing/2014/main" xmlns="" id="{ADCE4B97-E2F5-40C8-8C4F-D8FE93EA712D}"/>
              </a:ext>
            </a:extLst>
          </p:cNvPr>
          <p:cNvSpPr txBox="1"/>
          <p:nvPr/>
        </p:nvSpPr>
        <p:spPr>
          <a:xfrm>
            <a:off x="10913250" y="4142375"/>
            <a:ext cx="1695397" cy="369332"/>
          </a:xfrm>
          <a:prstGeom prst="rect">
            <a:avLst/>
          </a:prstGeom>
          <a:noFill/>
        </p:spPr>
        <p:txBody>
          <a:bodyPr wrap="square" rtlCol="0" anchor="b" anchorCtr="0">
            <a:noAutofit/>
          </a:bodyPr>
          <a:lstStyle/>
          <a:p>
            <a:pPr algn="ctr"/>
            <a:r>
              <a:rPr lang="en-GB" b="1" dirty="0">
                <a:solidFill>
                  <a:schemeClr val="tx2"/>
                </a:solidFill>
                <a:ea typeface="League Spartan" charset="0"/>
                <a:cs typeface="Poppins" pitchFamily="2" charset="77"/>
              </a:rPr>
              <a:t>Tiempo</a:t>
            </a:r>
          </a:p>
        </p:txBody>
      </p:sp>
      <p:sp>
        <p:nvSpPr>
          <p:cNvPr id="89" name="TextBox 63">
            <a:extLst>
              <a:ext uri="{FF2B5EF4-FFF2-40B4-BE49-F238E27FC236}">
                <a16:creationId xmlns:a16="http://schemas.microsoft.com/office/drawing/2014/main" xmlns="" id="{937EF20E-989A-4A01-BF43-AD967F25466A}"/>
              </a:ext>
            </a:extLst>
          </p:cNvPr>
          <p:cNvSpPr txBox="1"/>
          <p:nvPr/>
        </p:nvSpPr>
        <p:spPr>
          <a:xfrm rot="16200000">
            <a:off x="2474439" y="2172837"/>
            <a:ext cx="1695397" cy="369332"/>
          </a:xfrm>
          <a:prstGeom prst="rect">
            <a:avLst/>
          </a:prstGeom>
          <a:noFill/>
        </p:spPr>
        <p:txBody>
          <a:bodyPr wrap="square" rtlCol="0" anchor="b" anchorCtr="0">
            <a:noAutofit/>
          </a:bodyPr>
          <a:lstStyle/>
          <a:p>
            <a:pPr algn="ctr"/>
            <a:r>
              <a:rPr lang="en-GB" dirty="0">
                <a:solidFill>
                  <a:schemeClr val="tx2"/>
                </a:solidFill>
                <a:ea typeface="League Spartan" charset="0"/>
                <a:cs typeface="Poppins" pitchFamily="2" charset="77"/>
              </a:rPr>
              <a:t>Positivo</a:t>
            </a:r>
          </a:p>
        </p:txBody>
      </p:sp>
      <p:sp>
        <p:nvSpPr>
          <p:cNvPr id="90" name="TextBox 63">
            <a:extLst>
              <a:ext uri="{FF2B5EF4-FFF2-40B4-BE49-F238E27FC236}">
                <a16:creationId xmlns:a16="http://schemas.microsoft.com/office/drawing/2014/main" xmlns="" id="{E02BEA56-CEE7-40ED-9122-DA774E14B0F2}"/>
              </a:ext>
            </a:extLst>
          </p:cNvPr>
          <p:cNvSpPr txBox="1"/>
          <p:nvPr/>
        </p:nvSpPr>
        <p:spPr>
          <a:xfrm rot="16200000">
            <a:off x="2474439" y="5580049"/>
            <a:ext cx="1695397" cy="369332"/>
          </a:xfrm>
          <a:prstGeom prst="rect">
            <a:avLst/>
          </a:prstGeom>
          <a:noFill/>
        </p:spPr>
        <p:txBody>
          <a:bodyPr wrap="square" rtlCol="0" anchor="b" anchorCtr="0">
            <a:noAutofit/>
          </a:bodyPr>
          <a:lstStyle/>
          <a:p>
            <a:pPr algn="ctr"/>
            <a:r>
              <a:rPr lang="en-GB" dirty="0">
                <a:solidFill>
                  <a:schemeClr val="tx2"/>
                </a:solidFill>
                <a:ea typeface="League Spartan" charset="0"/>
                <a:cs typeface="Poppins" pitchFamily="2" charset="77"/>
              </a:rPr>
              <a:t>Negativo</a:t>
            </a:r>
          </a:p>
        </p:txBody>
      </p:sp>
      <p:sp>
        <p:nvSpPr>
          <p:cNvPr id="91" name="TextBox 63">
            <a:extLst>
              <a:ext uri="{FF2B5EF4-FFF2-40B4-BE49-F238E27FC236}">
                <a16:creationId xmlns:a16="http://schemas.microsoft.com/office/drawing/2014/main" xmlns="" id="{DE0CEEB5-B8B1-4679-8D00-7451A8701724}"/>
              </a:ext>
            </a:extLst>
          </p:cNvPr>
          <p:cNvSpPr txBox="1"/>
          <p:nvPr/>
        </p:nvSpPr>
        <p:spPr>
          <a:xfrm>
            <a:off x="4519671" y="5915566"/>
            <a:ext cx="3411350" cy="369332"/>
          </a:xfrm>
          <a:prstGeom prst="rect">
            <a:avLst/>
          </a:prstGeom>
          <a:noFill/>
        </p:spPr>
        <p:txBody>
          <a:bodyPr wrap="square" rtlCol="0" anchor="t" anchorCtr="0">
            <a:noAutofit/>
          </a:bodyPr>
          <a:lstStyle/>
          <a:p>
            <a:pPr algn="ctr"/>
            <a:r>
              <a:rPr lang="en-GB" sz="2000" dirty="0">
                <a:solidFill>
                  <a:srgbClr val="E53292"/>
                </a:solidFill>
                <a:ea typeface="League Spartan" charset="0"/>
                <a:cs typeface="Poppins" pitchFamily="2" charset="77"/>
              </a:rPr>
              <a:t>Analizamos y sabemos lo que</a:t>
            </a:r>
            <a:br>
              <a:rPr lang="en-GB" sz="2000" dirty="0">
                <a:solidFill>
                  <a:srgbClr val="E53292"/>
                </a:solidFill>
                <a:ea typeface="League Spartan" charset="0"/>
                <a:cs typeface="Poppins" pitchFamily="2" charset="77"/>
              </a:rPr>
            </a:br>
            <a:r>
              <a:rPr lang="en-GB" sz="2000" dirty="0">
                <a:solidFill>
                  <a:srgbClr val="E53292"/>
                </a:solidFill>
                <a:ea typeface="League Spartan" charset="0"/>
                <a:cs typeface="Poppins" pitchFamily="2" charset="77"/>
              </a:rPr>
              <a:t>ocurrió aquí</a:t>
            </a:r>
          </a:p>
        </p:txBody>
      </p:sp>
      <p:cxnSp>
        <p:nvCxnSpPr>
          <p:cNvPr id="5" name="Gerade Verbindung mit Pfeil 4">
            <a:extLst>
              <a:ext uri="{FF2B5EF4-FFF2-40B4-BE49-F238E27FC236}">
                <a16:creationId xmlns:a16="http://schemas.microsoft.com/office/drawing/2014/main" xmlns="" id="{01D14652-DFAC-4F1B-A7AD-A684833D510B}"/>
              </a:ext>
            </a:extLst>
          </p:cNvPr>
          <p:cNvCxnSpPr>
            <a:stCxn id="91" idx="0"/>
          </p:cNvCxnSpPr>
          <p:nvPr/>
        </p:nvCxnSpPr>
        <p:spPr>
          <a:xfrm flipH="1" flipV="1">
            <a:off x="4939862" y="5661007"/>
            <a:ext cx="1285484" cy="254559"/>
          </a:xfrm>
          <a:prstGeom prst="straightConnector1">
            <a:avLst/>
          </a:prstGeom>
          <a:ln>
            <a:solidFill>
              <a:srgbClr val="E94EA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Gerade Verbindung mit Pfeil 31">
            <a:extLst>
              <a:ext uri="{FF2B5EF4-FFF2-40B4-BE49-F238E27FC236}">
                <a16:creationId xmlns:a16="http://schemas.microsoft.com/office/drawing/2014/main" xmlns="" id="{A947EEF5-C4E4-484F-89F7-843FC47EA6B3}"/>
              </a:ext>
            </a:extLst>
          </p:cNvPr>
          <p:cNvCxnSpPr>
            <a:cxnSpLocks/>
            <a:stCxn id="91" idx="0"/>
          </p:cNvCxnSpPr>
          <p:nvPr/>
        </p:nvCxnSpPr>
        <p:spPr>
          <a:xfrm flipH="1" flipV="1">
            <a:off x="6096000" y="5609929"/>
            <a:ext cx="129346" cy="305637"/>
          </a:xfrm>
          <a:prstGeom prst="straightConnector1">
            <a:avLst/>
          </a:prstGeom>
          <a:ln>
            <a:solidFill>
              <a:srgbClr val="E94EA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Gerade Verbindung mit Pfeil 34">
            <a:extLst>
              <a:ext uri="{FF2B5EF4-FFF2-40B4-BE49-F238E27FC236}">
                <a16:creationId xmlns:a16="http://schemas.microsoft.com/office/drawing/2014/main" xmlns="" id="{348FC8CC-6E5A-4585-994A-F22B3405FEBB}"/>
              </a:ext>
            </a:extLst>
          </p:cNvPr>
          <p:cNvCxnSpPr>
            <a:cxnSpLocks/>
            <a:stCxn id="91" idx="0"/>
          </p:cNvCxnSpPr>
          <p:nvPr/>
        </p:nvCxnSpPr>
        <p:spPr>
          <a:xfrm flipV="1">
            <a:off x="6225346" y="5661007"/>
            <a:ext cx="893170" cy="254559"/>
          </a:xfrm>
          <a:prstGeom prst="straightConnector1">
            <a:avLst/>
          </a:prstGeom>
          <a:ln>
            <a:solidFill>
              <a:srgbClr val="E94EA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Gerade Verbindung mit Pfeil 37">
            <a:extLst>
              <a:ext uri="{FF2B5EF4-FFF2-40B4-BE49-F238E27FC236}">
                <a16:creationId xmlns:a16="http://schemas.microsoft.com/office/drawing/2014/main" xmlns="" id="{6A5CB9CC-3EBF-4589-A3FC-68692B926099}"/>
              </a:ext>
            </a:extLst>
          </p:cNvPr>
          <p:cNvCxnSpPr>
            <a:cxnSpLocks/>
            <a:stCxn id="91" idx="0"/>
          </p:cNvCxnSpPr>
          <p:nvPr/>
        </p:nvCxnSpPr>
        <p:spPr>
          <a:xfrm flipV="1">
            <a:off x="6225346" y="5762747"/>
            <a:ext cx="1857109" cy="152819"/>
          </a:xfrm>
          <a:prstGeom prst="straightConnector1">
            <a:avLst/>
          </a:prstGeom>
          <a:ln>
            <a:solidFill>
              <a:srgbClr val="E94EA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30590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UZhYgDBPgDtA1MLG6uoW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29</TotalTime>
  <Words>1790</Words>
  <Application>Microsoft Office PowerPoint</Application>
  <PresentationFormat>Custom</PresentationFormat>
  <Paragraphs>291</Paragraphs>
  <Slides>25</Slides>
  <Notes>25</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25</vt:i4>
      </vt:variant>
    </vt:vector>
  </HeadingPairs>
  <TitlesOfParts>
    <vt:vector size="28" baseType="lpstr">
      <vt:lpstr>Office Theme</vt:lpstr>
      <vt:lpstr>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ma mustajbasic</dc:creator>
  <cp:lastModifiedBy>Carol Daniels</cp:lastModifiedBy>
  <cp:revision>198</cp:revision>
  <dcterms:created xsi:type="dcterms:W3CDTF">2020-11-19T10:19:39Z</dcterms:created>
  <dcterms:modified xsi:type="dcterms:W3CDTF">2022-04-21T15:11:06Z</dcterms:modified>
</cp:coreProperties>
</file>